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83" r:id="rId3"/>
    <p:sldMasterId id="2147483720" r:id="rId4"/>
  </p:sldMasterIdLst>
  <p:notesMasterIdLst>
    <p:notesMasterId r:id="rId17"/>
  </p:notesMasterIdLst>
  <p:sldIdLst>
    <p:sldId id="2144867969" r:id="rId5"/>
    <p:sldId id="2147138232" r:id="rId6"/>
    <p:sldId id="2147138303" r:id="rId7"/>
    <p:sldId id="2147138238" r:id="rId8"/>
    <p:sldId id="2147138296" r:id="rId9"/>
    <p:sldId id="2147138297" r:id="rId10"/>
    <p:sldId id="2147138298" r:id="rId11"/>
    <p:sldId id="2147138299" r:id="rId12"/>
    <p:sldId id="2147138300" r:id="rId13"/>
    <p:sldId id="2147138302" r:id="rId14"/>
    <p:sldId id="2147138282" r:id="rId15"/>
    <p:sldId id="2147138239" r:id="rId16"/>
  </p:sldIdLst>
  <p:sldSz cx="12192000" cy="6858000"/>
  <p:notesSz cx="6858000" cy="9144000"/>
  <p:custDataLst>
    <p:tags r:id="rId1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FFE"/>
    <a:srgbClr val="FF0000"/>
    <a:srgbClr val="0F2D69"/>
    <a:srgbClr val="002060"/>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98" autoAdjust="0"/>
    <p:restoredTop sz="94660"/>
  </p:normalViewPr>
  <p:slideViewPr>
    <p:cSldViewPr snapToGrid="0">
      <p:cViewPr varScale="1">
        <p:scale>
          <a:sx n="68" d="100"/>
          <a:sy n="68" d="100"/>
        </p:scale>
        <p:origin x="852"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D:\&#31119;&#29305;&#39033;&#30446;\CDX707\GO%20NO%20GO\R07\&#21407;&#22987;&#26448;&#26009;.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31119;&#29305;&#39033;&#30446;\CDX707\GO%20NO%20GO\R07\&#21407;&#22987;&#26448;&#26009;.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31119;&#29305;&#39033;&#30446;\CDX707\GO%20NO%20GO\R07\&#21407;&#22987;&#26448;&#26009;.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pieChart>
        <c:varyColors val="1"/>
        <c:ser>
          <c:idx val="0"/>
          <c:order val="0"/>
          <c:tx>
            <c:strRef>
              <c:f>Sheet4!$E$9</c:f>
              <c:strCache>
                <c:ptCount val="1"/>
                <c:pt idx="0">
                  <c:v>G类问题分布</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AF3-4685-B16A-53475B9F37F0}"/>
              </c:ext>
            </c:extLst>
          </c:dPt>
          <c:dPt>
            <c:idx val="1"/>
            <c:bubble3D val="0"/>
            <c:spPr>
              <a:solidFill>
                <a:srgbClr val="00B050"/>
              </a:solidFill>
              <a:ln w="19050">
                <a:solidFill>
                  <a:schemeClr val="lt1"/>
                </a:solidFill>
              </a:ln>
              <a:effectLst/>
            </c:spPr>
            <c:extLst>
              <c:ext xmlns:c16="http://schemas.microsoft.com/office/drawing/2014/chart" uri="{C3380CC4-5D6E-409C-BE32-E72D297353CC}">
                <c16:uniqueId val="{00000003-4AF3-4685-B16A-53475B9F37F0}"/>
              </c:ext>
            </c:extLst>
          </c:dPt>
          <c:dLbls>
            <c:dLbl>
              <c:idx val="1"/>
              <c:layou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4AF3-4685-B16A-53475B9F37F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4!$D$10:$D$11</c:f>
              <c:strCache>
                <c:ptCount val="2"/>
                <c:pt idx="1">
                  <c:v>已解决合入R07.1</c:v>
                </c:pt>
              </c:strCache>
            </c:strRef>
          </c:cat>
          <c:val>
            <c:numRef>
              <c:f>Sheet4!$E$10:$E$11</c:f>
              <c:numCache>
                <c:formatCode>General</c:formatCode>
                <c:ptCount val="2"/>
                <c:pt idx="1">
                  <c:v>11</c:v>
                </c:pt>
              </c:numCache>
            </c:numRef>
          </c:val>
          <c:extLst>
            <c:ext xmlns:c16="http://schemas.microsoft.com/office/drawing/2014/chart" uri="{C3380CC4-5D6E-409C-BE32-E72D297353CC}">
              <c16:uniqueId val="{00000004-4AF3-4685-B16A-53475B9F37F0}"/>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pieChart>
        <c:varyColors val="1"/>
        <c:ser>
          <c:idx val="0"/>
          <c:order val="0"/>
          <c:tx>
            <c:strRef>
              <c:f>Sheet4!$E$23</c:f>
              <c:strCache>
                <c:ptCount val="1"/>
                <c:pt idx="0">
                  <c:v>H类问题分布</c:v>
                </c:pt>
              </c:strCache>
            </c:strRef>
          </c:tx>
          <c:dPt>
            <c:idx val="0"/>
            <c:bubble3D val="0"/>
            <c:spPr>
              <a:solidFill>
                <a:srgbClr val="FFC000"/>
              </a:solidFill>
              <a:ln w="19050">
                <a:solidFill>
                  <a:schemeClr val="lt1"/>
                </a:solidFill>
              </a:ln>
              <a:effectLst/>
            </c:spPr>
            <c:extLst>
              <c:ext xmlns:c16="http://schemas.microsoft.com/office/drawing/2014/chart" uri="{C3380CC4-5D6E-409C-BE32-E72D297353CC}">
                <c16:uniqueId val="{00000001-D7BD-48E7-9F82-ADBCD8D5F66F}"/>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D7BD-48E7-9F82-ADBCD8D5F66F}"/>
              </c:ext>
            </c:extLst>
          </c:dPt>
          <c:dLbls>
            <c:dLbl>
              <c:idx val="0"/>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7BD-48E7-9F82-ADBCD8D5F66F}"/>
                </c:ext>
              </c:extLst>
            </c:dLbl>
            <c:dLbl>
              <c:idx val="1"/>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7BD-48E7-9F82-ADBCD8D5F66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4!$D$24:$D$25</c:f>
              <c:strCache>
                <c:ptCount val="2"/>
                <c:pt idx="0">
                  <c:v>分析中</c:v>
                </c:pt>
                <c:pt idx="1">
                  <c:v>已解决合入R07.1</c:v>
                </c:pt>
              </c:strCache>
            </c:strRef>
          </c:cat>
          <c:val>
            <c:numRef>
              <c:f>Sheet4!$E$24:$E$25</c:f>
              <c:numCache>
                <c:formatCode>General</c:formatCode>
                <c:ptCount val="2"/>
                <c:pt idx="0">
                  <c:v>2</c:v>
                </c:pt>
                <c:pt idx="1">
                  <c:v>19</c:v>
                </c:pt>
              </c:numCache>
            </c:numRef>
          </c:val>
          <c:extLst>
            <c:ext xmlns:c16="http://schemas.microsoft.com/office/drawing/2014/chart" uri="{C3380CC4-5D6E-409C-BE32-E72D297353CC}">
              <c16:uniqueId val="{00000004-D7BD-48E7-9F82-ADBCD8D5F66F}"/>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492B5E-21AF-4788-8F5E-F6A6AD0BAB8C}" type="datetimeFigureOut">
              <a:rPr lang="en-US" smtClean="0"/>
              <a:t>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923A57-B226-4FF3-9E43-989B8386B271}" type="slidenum">
              <a:rPr lang="en-US" smtClean="0"/>
              <a:t>‹#›</a:t>
            </a:fld>
            <a:endParaRPr lang="en-US"/>
          </a:p>
        </p:txBody>
      </p:sp>
    </p:spTree>
    <p:extLst>
      <p:ext uri="{BB962C8B-B14F-4D97-AF65-F5344CB8AC3E}">
        <p14:creationId xmlns:p14="http://schemas.microsoft.com/office/powerpoint/2010/main" val="1659299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a:t>
            </a:r>
            <a:r>
              <a:rPr lang="en-US" altLang="zh-CN" dirty="0"/>
              <a:t>t actions</a:t>
            </a:r>
          </a:p>
          <a:p>
            <a:r>
              <a:rPr lang="en-US" dirty="0"/>
              <a:t>1.Share with Sheena, Robert</a:t>
            </a:r>
          </a:p>
          <a:p>
            <a:r>
              <a:rPr lang="en-US" dirty="0"/>
              <a:t>2.ECDX SAR,  PCE SAR-next Tuesday</a:t>
            </a:r>
          </a:p>
          <a:p>
            <a:r>
              <a:rPr lang="en-US" dirty="0"/>
              <a:t>3. Set up meetings</a:t>
            </a:r>
          </a:p>
          <a:p>
            <a:r>
              <a:rPr lang="en-US" dirty="0"/>
              <a:t>4. Set up ground rule :</a:t>
            </a:r>
            <a:r>
              <a:rPr lang="zh-CN" altLang="en-US" dirty="0"/>
              <a:t>内存，量</a:t>
            </a:r>
            <a:endParaRPr lang="en-US" altLang="zh-CN" dirty="0"/>
          </a:p>
          <a:p>
            <a:r>
              <a:rPr lang="en-US" dirty="0"/>
              <a:t>5.</a:t>
            </a:r>
            <a:r>
              <a:rPr lang="en-US" altLang="zh-CN" dirty="0"/>
              <a:t>Funding structure</a:t>
            </a:r>
            <a:r>
              <a:rPr lang="zh-CN" altLang="en-US" dirty="0"/>
              <a:t>：</a:t>
            </a:r>
            <a:r>
              <a:rPr lang="en-US" altLang="zh-CN" dirty="0"/>
              <a:t>talk with Francis</a:t>
            </a:r>
          </a:p>
          <a:p>
            <a:r>
              <a:rPr lang="en-US" dirty="0"/>
              <a:t>6.</a:t>
            </a:r>
            <a:r>
              <a:rPr lang="en-US" altLang="zh-CN" dirty="0"/>
              <a:t>Questions to follow up </a:t>
            </a:r>
            <a:r>
              <a:rPr lang="zh-CN" altLang="en-US" dirty="0"/>
              <a:t>：</a:t>
            </a:r>
            <a:endParaRPr lang="en-US" altLang="zh-CN" dirty="0"/>
          </a:p>
          <a:p>
            <a:r>
              <a:rPr lang="en-US" altLang="zh-CN" dirty="0"/>
              <a:t>1)RTO cover in step 2</a:t>
            </a:r>
          </a:p>
          <a:p>
            <a:r>
              <a:rPr lang="en-US" altLang="zh-CN" dirty="0"/>
              <a:t>2)Resource constraint: check with Henry , how can we know </a:t>
            </a:r>
            <a:r>
              <a:rPr lang="en-US" altLang="zh-CN" dirty="0" err="1"/>
              <a:t>th</a:t>
            </a:r>
            <a:r>
              <a:rPr lang="en-US" altLang="zh-CN" dirty="0"/>
              <a:t> e capacity</a:t>
            </a:r>
          </a:p>
          <a:p>
            <a:r>
              <a:rPr lang="en-US" altLang="zh-CN" dirty="0"/>
              <a:t>3)EESE effort: get them involved, co-</a:t>
            </a:r>
            <a:r>
              <a:rPr lang="en-US" altLang="zh-CN" dirty="0" err="1"/>
              <a:t>orperate</a:t>
            </a:r>
            <a:r>
              <a:rPr lang="en-US" altLang="zh-CN" dirty="0"/>
              <a:t> attitude, force to present in SAR to raise</a:t>
            </a:r>
          </a:p>
          <a:p>
            <a:r>
              <a:rPr lang="en-US" altLang="zh-CN" dirty="0"/>
              <a:t>the challenge</a:t>
            </a:r>
          </a:p>
          <a:p>
            <a:r>
              <a:rPr lang="en-US" altLang="zh-CN" dirty="0"/>
              <a:t>7. Final scoping</a:t>
            </a:r>
            <a:r>
              <a:rPr lang="en-US" altLang="zh-CN"/>
              <a:t>: clarify what </a:t>
            </a:r>
            <a:r>
              <a:rPr lang="en-US" altLang="zh-CN" dirty="0"/>
              <a:t>are the channel to do that in workpla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B742C8-DEC3-4F62-8014-7551D38D89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5849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44DA1-55A4-4606-A83B-6A74C47E5E74}"/>
              </a:ext>
            </a:extLst>
          </p:cNvPr>
          <p:cNvSpPr>
            <a:spLocks noGrp="1"/>
          </p:cNvSpPr>
          <p:nvPr>
            <p:ph type="ctrTitle"/>
          </p:nvPr>
        </p:nvSpPr>
        <p:spPr>
          <a:xfrm>
            <a:off x="1524000" y="1122363"/>
            <a:ext cx="9144000" cy="2387600"/>
          </a:xfrm>
        </p:spPr>
        <p:txBody>
          <a:bodyPr anchor="b"/>
          <a:lstStyle>
            <a:lvl1pPr algn="ctr">
              <a:defRPr sz="6000"/>
            </a:lvl1pPr>
          </a:lstStyle>
          <a:p>
            <a:r>
              <a:rPr lang="en-US" altLang="zh-CN"/>
              <a:t>Click to edit Master title style</a:t>
            </a:r>
            <a:endParaRPr lang="zh-CN" altLang="en-US"/>
          </a:p>
        </p:txBody>
      </p:sp>
      <p:sp>
        <p:nvSpPr>
          <p:cNvPr id="3" name="Subtitle 2">
            <a:extLst>
              <a:ext uri="{FF2B5EF4-FFF2-40B4-BE49-F238E27FC236}">
                <a16:creationId xmlns:a16="http://schemas.microsoft.com/office/drawing/2014/main" id="{B8168F66-42D1-49F8-9BCF-BC8B7EDA97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a:t>Click to edit Master subtitle style</a:t>
            </a:r>
            <a:endParaRPr lang="zh-CN" altLang="en-US"/>
          </a:p>
        </p:txBody>
      </p:sp>
      <p:sp>
        <p:nvSpPr>
          <p:cNvPr id="4" name="Date Placeholder 3">
            <a:extLst>
              <a:ext uri="{FF2B5EF4-FFF2-40B4-BE49-F238E27FC236}">
                <a16:creationId xmlns:a16="http://schemas.microsoft.com/office/drawing/2014/main" id="{4D0A810B-1D3B-41EC-9917-35C1E2EA7978}"/>
              </a:ext>
            </a:extLst>
          </p:cNvPr>
          <p:cNvSpPr>
            <a:spLocks noGrp="1"/>
          </p:cNvSpPr>
          <p:nvPr>
            <p:ph type="dt" sz="half" idx="10"/>
          </p:nvPr>
        </p:nvSpPr>
        <p:spPr/>
        <p:txBody>
          <a:bodyPr/>
          <a:lstStyle/>
          <a:p>
            <a:fld id="{752959B0-7B04-44EF-BC76-BB1434632F60}" type="datetimeFigureOut">
              <a:rPr lang="zh-CN" altLang="en-US" smtClean="0"/>
              <a:t>2023/2/3</a:t>
            </a:fld>
            <a:endParaRPr lang="zh-CN" altLang="en-US"/>
          </a:p>
        </p:txBody>
      </p:sp>
      <p:sp>
        <p:nvSpPr>
          <p:cNvPr id="5" name="Footer Placeholder 4">
            <a:extLst>
              <a:ext uri="{FF2B5EF4-FFF2-40B4-BE49-F238E27FC236}">
                <a16:creationId xmlns:a16="http://schemas.microsoft.com/office/drawing/2014/main" id="{46727353-561C-486E-8312-F491A8EBFFEA}"/>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E4E19D9A-CB20-484C-BD18-BD1A6F83A1DE}"/>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093238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FCB01-17C3-4AA8-85DD-9097BDF9C946}"/>
              </a:ext>
            </a:extLst>
          </p:cNvPr>
          <p:cNvSpPr>
            <a:spLocks noGrp="1"/>
          </p:cNvSpPr>
          <p:nvPr>
            <p:ph type="title"/>
          </p:nvPr>
        </p:nvSpPr>
        <p:spPr/>
        <p:txBody>
          <a:bodyPr/>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91933390-6D85-4E59-A312-672302543025}"/>
              </a:ext>
            </a:extLst>
          </p:cNvPr>
          <p:cNvSpPr>
            <a:spLocks noGrp="1"/>
          </p:cNvSpPr>
          <p:nvPr>
            <p:ph type="body" orient="vert" idx="1"/>
          </p:nvPr>
        </p:nvSpPr>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6CFB1D17-A9AF-4E7B-B2D6-A362876611D9}"/>
              </a:ext>
            </a:extLst>
          </p:cNvPr>
          <p:cNvSpPr>
            <a:spLocks noGrp="1"/>
          </p:cNvSpPr>
          <p:nvPr>
            <p:ph type="dt" sz="half" idx="10"/>
          </p:nvPr>
        </p:nvSpPr>
        <p:spPr/>
        <p:txBody>
          <a:bodyPr/>
          <a:lstStyle/>
          <a:p>
            <a:fld id="{752959B0-7B04-44EF-BC76-BB1434632F60}" type="datetimeFigureOut">
              <a:rPr lang="zh-CN" altLang="en-US" smtClean="0"/>
              <a:t>2023/2/3</a:t>
            </a:fld>
            <a:endParaRPr lang="zh-CN" altLang="en-US"/>
          </a:p>
        </p:txBody>
      </p:sp>
      <p:sp>
        <p:nvSpPr>
          <p:cNvPr id="5" name="Footer Placeholder 4">
            <a:extLst>
              <a:ext uri="{FF2B5EF4-FFF2-40B4-BE49-F238E27FC236}">
                <a16:creationId xmlns:a16="http://schemas.microsoft.com/office/drawing/2014/main" id="{03F2C9B3-0A65-4EC2-B47F-DC40921211DC}"/>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BE16EF26-6C09-4E0E-8723-0835FBC99632}"/>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889606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9F87252-54D7-4F5F-AAC7-104E200422A1}"/>
              </a:ext>
            </a:extLst>
          </p:cNvPr>
          <p:cNvSpPr>
            <a:spLocks noGrp="1"/>
          </p:cNvSpPr>
          <p:nvPr>
            <p:ph type="title" orient="vert"/>
          </p:nvPr>
        </p:nvSpPr>
        <p:spPr>
          <a:xfrm>
            <a:off x="8724900" y="365125"/>
            <a:ext cx="2628900" cy="5811838"/>
          </a:xfrm>
        </p:spPr>
        <p:txBody>
          <a:bodyPr vert="eaVert"/>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95576A16-990C-4411-A478-A88EC32A9DE2}"/>
              </a:ext>
            </a:extLst>
          </p:cNvPr>
          <p:cNvSpPr>
            <a:spLocks noGrp="1"/>
          </p:cNvSpPr>
          <p:nvPr>
            <p:ph type="body" orient="vert" idx="1"/>
          </p:nvPr>
        </p:nvSpPr>
        <p:spPr>
          <a:xfrm>
            <a:off x="838200" y="365125"/>
            <a:ext cx="7734300" cy="5811838"/>
          </a:xfrm>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AFE4380B-E5D8-49E3-B088-EDFCF38B9C8B}"/>
              </a:ext>
            </a:extLst>
          </p:cNvPr>
          <p:cNvSpPr>
            <a:spLocks noGrp="1"/>
          </p:cNvSpPr>
          <p:nvPr>
            <p:ph type="dt" sz="half" idx="10"/>
          </p:nvPr>
        </p:nvSpPr>
        <p:spPr/>
        <p:txBody>
          <a:bodyPr/>
          <a:lstStyle/>
          <a:p>
            <a:fld id="{752959B0-7B04-44EF-BC76-BB1434632F60}" type="datetimeFigureOut">
              <a:rPr lang="zh-CN" altLang="en-US" smtClean="0"/>
              <a:t>2023/2/3</a:t>
            </a:fld>
            <a:endParaRPr lang="zh-CN" altLang="en-US"/>
          </a:p>
        </p:txBody>
      </p:sp>
      <p:sp>
        <p:nvSpPr>
          <p:cNvPr id="5" name="Footer Placeholder 4">
            <a:extLst>
              <a:ext uri="{FF2B5EF4-FFF2-40B4-BE49-F238E27FC236}">
                <a16:creationId xmlns:a16="http://schemas.microsoft.com/office/drawing/2014/main" id="{1D17707F-EDDC-4D7F-8254-4D5FD7310EB6}"/>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597C81A9-1816-43DD-A6ED-48A1FB4F5D03}"/>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26180677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 2">
    <p:bg>
      <p:bgPr>
        <a:solidFill>
          <a:srgbClr val="00095B"/>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dirty="0"/>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baseline="0">
                <a:solidFill>
                  <a:schemeClr val="bg1"/>
                </a:solidFill>
              </a:defRPr>
            </a:lvl1pPr>
          </a:lstStyle>
          <a:p>
            <a:pPr lvl="0"/>
            <a:r>
              <a:rPr lang="en-US" dirty="0"/>
              <a:t>CLICK TO EDIT SUBTITLE</a:t>
            </a:r>
          </a:p>
        </p:txBody>
      </p:sp>
      <p:pic>
        <p:nvPicPr>
          <p:cNvPr id="7" name="Picture 6">
            <a:extLst>
              <a:ext uri="{FF2B5EF4-FFF2-40B4-BE49-F238E27FC236}">
                <a16:creationId xmlns:a16="http://schemas.microsoft.com/office/drawing/2014/main" id="{ECC3236C-A093-481C-8336-5856DBFFC5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423" t="17707" r="9665" b="16389"/>
          <a:stretch/>
        </p:blipFill>
        <p:spPr>
          <a:xfrm>
            <a:off x="8032830" y="4954182"/>
            <a:ext cx="3951480" cy="1615319"/>
          </a:xfrm>
          <a:prstGeom prst="rect">
            <a:avLst/>
          </a:prstGeom>
        </p:spPr>
      </p:pic>
    </p:spTree>
    <p:extLst>
      <p:ext uri="{BB962C8B-B14F-4D97-AF65-F5344CB8AC3E}">
        <p14:creationId xmlns:p14="http://schemas.microsoft.com/office/powerpoint/2010/main" val="97571474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0095B"/>
        </a:soli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43BE8579-A5C4-4F18-A2AE-3554DE4FE58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328"/>
            <a:ext cx="12192000" cy="6853344"/>
          </a:xfrm>
          <a:prstGeom prst="rect">
            <a:avLst/>
          </a:prstGeom>
        </p:spPr>
      </p:pic>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baseline="0">
                <a:solidFill>
                  <a:schemeClr val="bg1"/>
                </a:solidFill>
              </a:defRPr>
            </a:lvl1pPr>
          </a:lstStyle>
          <a:p>
            <a:pPr lvl="0"/>
            <a:r>
              <a:rPr lang="en-US"/>
              <a:t>CLICK TO EDIT SUBTITLE</a:t>
            </a:r>
          </a:p>
        </p:txBody>
      </p:sp>
      <p:pic>
        <p:nvPicPr>
          <p:cNvPr id="9" name="Picture 8">
            <a:extLst>
              <a:ext uri="{FF2B5EF4-FFF2-40B4-BE49-F238E27FC236}">
                <a16:creationId xmlns:a16="http://schemas.microsoft.com/office/drawing/2014/main" id="{8740167E-EA5F-4680-A5F9-90D4C966D48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21111275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solidFill>
          <a:srgbClr val="00095B"/>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baseline="0">
                <a:solidFill>
                  <a:schemeClr val="bg1"/>
                </a:solidFill>
              </a:defRPr>
            </a:lvl1pPr>
          </a:lstStyle>
          <a:p>
            <a:pPr lvl="0"/>
            <a:r>
              <a:rPr lang="en-US"/>
              <a:t>CLICK TO EDIT SUBTITLE</a:t>
            </a:r>
          </a:p>
        </p:txBody>
      </p:sp>
      <p:pic>
        <p:nvPicPr>
          <p:cNvPr id="7" name="Picture 6">
            <a:extLst>
              <a:ext uri="{FF2B5EF4-FFF2-40B4-BE49-F238E27FC236}">
                <a16:creationId xmlns:a16="http://schemas.microsoft.com/office/drawing/2014/main" id="{ECC3236C-A093-481C-8336-5856DBFFC5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3620528676"/>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638C16B-CBAB-4087-A9D0-20D22A45A2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5400000">
            <a:off x="2661708" y="-2661708"/>
            <a:ext cx="6868583" cy="12191999"/>
          </a:xfrm>
          <a:prstGeom prst="rect">
            <a:avLst/>
          </a:prstGeom>
        </p:spPr>
      </p:pic>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a:solidFill>
                  <a:schemeClr val="bg1"/>
                </a:solidFill>
              </a:defRPr>
            </a:lvl1pPr>
          </a:lstStyle>
          <a:p>
            <a:pPr lvl="0"/>
            <a:r>
              <a:rPr lang="en-US"/>
              <a:t>CLICK TO EDIT SUBTITLE</a:t>
            </a:r>
          </a:p>
        </p:txBody>
      </p:sp>
      <p:pic>
        <p:nvPicPr>
          <p:cNvPr id="8" name="Picture 7">
            <a:extLst>
              <a:ext uri="{FF2B5EF4-FFF2-40B4-BE49-F238E27FC236}">
                <a16:creationId xmlns:a16="http://schemas.microsoft.com/office/drawing/2014/main" id="{CE4E9409-9E8B-4307-BD5F-02EAFB7C0DA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989747619"/>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rgbClr val="00095B"/>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pic>
        <p:nvPicPr>
          <p:cNvPr id="7" name="Picture 6">
            <a:extLst>
              <a:ext uri="{FF2B5EF4-FFF2-40B4-BE49-F238E27FC236}">
                <a16:creationId xmlns:a16="http://schemas.microsoft.com/office/drawing/2014/main" id="{ECC3236C-A093-481C-8336-5856DBFFC5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424311023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Bla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F1190E0-FE8A-0B4D-A20E-C82DF71F10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baseline="0" smtClean="0">
                <a:solidFill>
                  <a:srgbClr val="00095B"/>
                </a:solidFill>
                <a:latin typeface="+mj-lt"/>
              </a:rPr>
              <a:pPr lvl="0" algn="r"/>
              <a:t>‹#›</a:t>
            </a:fld>
            <a:endParaRPr lang="en-US" altLang="en-US" sz="1100" b="0" spc="0" baseline="0">
              <a:solidFill>
                <a:srgbClr val="00095B"/>
              </a:solidFill>
              <a:latin typeface="+mj-lt"/>
            </a:endParaRPr>
          </a:p>
        </p:txBody>
      </p:sp>
      <p:sp>
        <p:nvSpPr>
          <p:cNvPr id="6" name="Title 1">
            <a:extLst>
              <a:ext uri="{FF2B5EF4-FFF2-40B4-BE49-F238E27FC236}">
                <a16:creationId xmlns:a16="http://schemas.microsoft.com/office/drawing/2014/main" id="{42906E7B-FDBC-4838-9E44-493E4BA4BC6D}"/>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5" name="TextBox 4">
            <a:extLst>
              <a:ext uri="{FF2B5EF4-FFF2-40B4-BE49-F238E27FC236}">
                <a16:creationId xmlns:a16="http://schemas.microsoft.com/office/drawing/2014/main" id="{34DAA1FB-1FFD-4BB3-B14A-A131EB88DEFD}"/>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sp>
        <p:nvSpPr>
          <p:cNvPr id="7" name="Text Box 14">
            <a:extLst>
              <a:ext uri="{FF2B5EF4-FFF2-40B4-BE49-F238E27FC236}">
                <a16:creationId xmlns:a16="http://schemas.microsoft.com/office/drawing/2014/main" id="{FCD1AE66-EA44-4E5B-8040-07FB933D35C9}"/>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7656721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Box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F1190E0-FE8A-0B4D-A20E-C82DF71F10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baseline="0" smtClean="0">
                <a:solidFill>
                  <a:srgbClr val="00095B"/>
                </a:solidFill>
                <a:latin typeface="+mj-lt"/>
              </a:rPr>
              <a:pPr lvl="0" algn="r"/>
              <a:t>‹#›</a:t>
            </a:fld>
            <a:endParaRPr lang="en-US" altLang="en-US" sz="1100" b="0" spc="0" baseline="0">
              <a:solidFill>
                <a:srgbClr val="00095B"/>
              </a:solidFill>
              <a:latin typeface="+mj-lt"/>
            </a:endParaRPr>
          </a:p>
        </p:txBody>
      </p:sp>
      <p:sp>
        <p:nvSpPr>
          <p:cNvPr id="6" name="Title 1">
            <a:extLst>
              <a:ext uri="{FF2B5EF4-FFF2-40B4-BE49-F238E27FC236}">
                <a16:creationId xmlns:a16="http://schemas.microsoft.com/office/drawing/2014/main" id="{42906E7B-FDBC-4838-9E44-493E4BA4BC6D}"/>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5" name="TextBox 4">
            <a:extLst>
              <a:ext uri="{FF2B5EF4-FFF2-40B4-BE49-F238E27FC236}">
                <a16:creationId xmlns:a16="http://schemas.microsoft.com/office/drawing/2014/main" id="{34DAA1FB-1FFD-4BB3-B14A-A131EB88DEFD}"/>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cxnSp>
        <p:nvCxnSpPr>
          <p:cNvPr id="13" name="Straight Connector 12">
            <a:extLst>
              <a:ext uri="{FF2B5EF4-FFF2-40B4-BE49-F238E27FC236}">
                <a16:creationId xmlns:a16="http://schemas.microsoft.com/office/drawing/2014/main" id="{2DE847C5-D550-41F6-AE79-E721314CE238}"/>
              </a:ext>
            </a:extLst>
          </p:cNvPr>
          <p:cNvCxnSpPr/>
          <p:nvPr userDrawn="1"/>
        </p:nvCxnSpPr>
        <p:spPr>
          <a:xfrm flipH="1">
            <a:off x="6358545"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78CA2B5-3170-4516-A822-6E1F89FFA431}"/>
              </a:ext>
            </a:extLst>
          </p:cNvPr>
          <p:cNvCxnSpPr/>
          <p:nvPr userDrawn="1"/>
        </p:nvCxnSpPr>
        <p:spPr>
          <a:xfrm flipH="1">
            <a:off x="709712"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Text Placeholder 25">
            <a:extLst>
              <a:ext uri="{FF2B5EF4-FFF2-40B4-BE49-F238E27FC236}">
                <a16:creationId xmlns:a16="http://schemas.microsoft.com/office/drawing/2014/main" id="{D4B70212-B25D-4337-A794-6C0A99DE9388}"/>
              </a:ext>
            </a:extLst>
          </p:cNvPr>
          <p:cNvSpPr>
            <a:spLocks noGrp="1"/>
          </p:cNvSpPr>
          <p:nvPr>
            <p:ph type="body" sz="quarter" idx="23" hasCustomPrompt="1"/>
          </p:nvPr>
        </p:nvSpPr>
        <p:spPr>
          <a:xfrm>
            <a:off x="690955"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18" name="Text Placeholder 25">
            <a:extLst>
              <a:ext uri="{FF2B5EF4-FFF2-40B4-BE49-F238E27FC236}">
                <a16:creationId xmlns:a16="http://schemas.microsoft.com/office/drawing/2014/main" id="{EC06D312-BAEE-4CA9-AD23-390F5FAE675B}"/>
              </a:ext>
            </a:extLst>
          </p:cNvPr>
          <p:cNvSpPr>
            <a:spLocks noGrp="1"/>
          </p:cNvSpPr>
          <p:nvPr>
            <p:ph type="body" sz="quarter" idx="24" hasCustomPrompt="1"/>
          </p:nvPr>
        </p:nvSpPr>
        <p:spPr>
          <a:xfrm>
            <a:off x="6339788"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cxnSp>
        <p:nvCxnSpPr>
          <p:cNvPr id="25" name="Straight Connector 24">
            <a:extLst>
              <a:ext uri="{FF2B5EF4-FFF2-40B4-BE49-F238E27FC236}">
                <a16:creationId xmlns:a16="http://schemas.microsoft.com/office/drawing/2014/main" id="{FF89A758-7746-466B-8194-FFDF139D5EC1}"/>
              </a:ext>
            </a:extLst>
          </p:cNvPr>
          <p:cNvCxnSpPr/>
          <p:nvPr userDrawn="1"/>
        </p:nvCxnSpPr>
        <p:spPr>
          <a:xfrm flipH="1">
            <a:off x="6352306" y="4176180"/>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A07FA3F-DBFE-43B0-AA22-FA8435603F6D}"/>
              </a:ext>
            </a:extLst>
          </p:cNvPr>
          <p:cNvCxnSpPr/>
          <p:nvPr userDrawn="1"/>
        </p:nvCxnSpPr>
        <p:spPr>
          <a:xfrm flipH="1">
            <a:off x="703473" y="4176180"/>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 Placeholder 25">
            <a:extLst>
              <a:ext uri="{FF2B5EF4-FFF2-40B4-BE49-F238E27FC236}">
                <a16:creationId xmlns:a16="http://schemas.microsoft.com/office/drawing/2014/main" id="{AB96C133-9501-4264-908E-33C10F748FCE}"/>
              </a:ext>
            </a:extLst>
          </p:cNvPr>
          <p:cNvSpPr>
            <a:spLocks noGrp="1"/>
          </p:cNvSpPr>
          <p:nvPr>
            <p:ph type="body" sz="quarter" idx="25" hasCustomPrompt="1"/>
          </p:nvPr>
        </p:nvSpPr>
        <p:spPr>
          <a:xfrm>
            <a:off x="684716" y="3918527"/>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8" name="Text Placeholder 25">
            <a:extLst>
              <a:ext uri="{FF2B5EF4-FFF2-40B4-BE49-F238E27FC236}">
                <a16:creationId xmlns:a16="http://schemas.microsoft.com/office/drawing/2014/main" id="{1BA04DEC-1A47-4EE7-87DD-E7A28420677B}"/>
              </a:ext>
            </a:extLst>
          </p:cNvPr>
          <p:cNvSpPr>
            <a:spLocks noGrp="1"/>
          </p:cNvSpPr>
          <p:nvPr>
            <p:ph type="body" sz="quarter" idx="26" hasCustomPrompt="1"/>
          </p:nvPr>
        </p:nvSpPr>
        <p:spPr>
          <a:xfrm>
            <a:off x="6333549" y="3918527"/>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16" name="Text Box 14">
            <a:extLst>
              <a:ext uri="{FF2B5EF4-FFF2-40B4-BE49-F238E27FC236}">
                <a16:creationId xmlns:a16="http://schemas.microsoft.com/office/drawing/2014/main" id="{92F3472B-73F7-4D39-A7F7-B59DDE1B0ACB}"/>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386829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Boxer &amp; Bump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5451AB9-478B-4D3F-A0FA-2E7BD3CAEA08}"/>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trike="noStrike" spc="0">
                <a:solidFill>
                  <a:schemeClr val="bg1"/>
                </a:solidFill>
                <a:latin typeface="Ford Antenna Regular" panose="02000505000000020004" pitchFamily="50" charset="0"/>
              </a:defRPr>
            </a:lvl1pPr>
          </a:lstStyle>
          <a:p>
            <a:pPr lvl="0"/>
            <a:r>
              <a:rPr lang="en-US"/>
              <a:t>Click To Edit Text</a:t>
            </a:r>
          </a:p>
        </p:txBody>
      </p:sp>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8" name="Title 1">
            <a:extLst>
              <a:ext uri="{FF2B5EF4-FFF2-40B4-BE49-F238E27FC236}">
                <a16:creationId xmlns:a16="http://schemas.microsoft.com/office/drawing/2014/main" id="{3DAEEACF-C2C6-422E-8A81-7811B3BD0E5B}"/>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726A9168-F214-4E95-A79F-CC4FAC0D4A09}"/>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pic>
        <p:nvPicPr>
          <p:cNvPr id="12" name="Picture 11">
            <a:extLst>
              <a:ext uri="{FF2B5EF4-FFF2-40B4-BE49-F238E27FC236}">
                <a16:creationId xmlns:a16="http://schemas.microsoft.com/office/drawing/2014/main" id="{38500CCA-21C8-B941-9144-8C165BE4B29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cxnSp>
        <p:nvCxnSpPr>
          <p:cNvPr id="14" name="Straight Connector 13">
            <a:extLst>
              <a:ext uri="{FF2B5EF4-FFF2-40B4-BE49-F238E27FC236}">
                <a16:creationId xmlns:a16="http://schemas.microsoft.com/office/drawing/2014/main" id="{FAC88143-4EE4-4E67-BDAE-6B59E1DEF0D7}"/>
              </a:ext>
            </a:extLst>
          </p:cNvPr>
          <p:cNvCxnSpPr/>
          <p:nvPr userDrawn="1"/>
        </p:nvCxnSpPr>
        <p:spPr>
          <a:xfrm flipH="1">
            <a:off x="6358545"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FD063C5-EE5B-4BCB-9F05-C95D06EB052E}"/>
              </a:ext>
            </a:extLst>
          </p:cNvPr>
          <p:cNvCxnSpPr/>
          <p:nvPr userDrawn="1"/>
        </p:nvCxnSpPr>
        <p:spPr>
          <a:xfrm flipH="1">
            <a:off x="709712"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25">
            <a:extLst>
              <a:ext uri="{FF2B5EF4-FFF2-40B4-BE49-F238E27FC236}">
                <a16:creationId xmlns:a16="http://schemas.microsoft.com/office/drawing/2014/main" id="{ECE2C6CF-6D48-464D-9956-F227B150FB6B}"/>
              </a:ext>
            </a:extLst>
          </p:cNvPr>
          <p:cNvSpPr>
            <a:spLocks noGrp="1"/>
          </p:cNvSpPr>
          <p:nvPr>
            <p:ph type="body" sz="quarter" idx="23" hasCustomPrompt="1"/>
          </p:nvPr>
        </p:nvSpPr>
        <p:spPr>
          <a:xfrm>
            <a:off x="690955"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17" name="Text Placeholder 25">
            <a:extLst>
              <a:ext uri="{FF2B5EF4-FFF2-40B4-BE49-F238E27FC236}">
                <a16:creationId xmlns:a16="http://schemas.microsoft.com/office/drawing/2014/main" id="{56770E66-081D-493A-B0A4-49615DACAA4A}"/>
              </a:ext>
            </a:extLst>
          </p:cNvPr>
          <p:cNvSpPr>
            <a:spLocks noGrp="1"/>
          </p:cNvSpPr>
          <p:nvPr>
            <p:ph type="body" sz="quarter" idx="24" hasCustomPrompt="1"/>
          </p:nvPr>
        </p:nvSpPr>
        <p:spPr>
          <a:xfrm>
            <a:off x="6339788"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cxnSp>
        <p:nvCxnSpPr>
          <p:cNvPr id="18" name="Straight Connector 17">
            <a:extLst>
              <a:ext uri="{FF2B5EF4-FFF2-40B4-BE49-F238E27FC236}">
                <a16:creationId xmlns:a16="http://schemas.microsoft.com/office/drawing/2014/main" id="{6B94F41C-06AF-405B-ADDA-3343AA418689}"/>
              </a:ext>
            </a:extLst>
          </p:cNvPr>
          <p:cNvCxnSpPr/>
          <p:nvPr userDrawn="1"/>
        </p:nvCxnSpPr>
        <p:spPr>
          <a:xfrm flipH="1">
            <a:off x="6358545" y="296405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7A948E7-74BD-44A9-BD1A-06E7A0B90E67}"/>
              </a:ext>
            </a:extLst>
          </p:cNvPr>
          <p:cNvCxnSpPr/>
          <p:nvPr userDrawn="1"/>
        </p:nvCxnSpPr>
        <p:spPr>
          <a:xfrm flipH="1">
            <a:off x="709712" y="296405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8DF2291-D523-4879-8C5E-3CCBF3C069BE}"/>
              </a:ext>
            </a:extLst>
          </p:cNvPr>
          <p:cNvCxnSpPr/>
          <p:nvPr userDrawn="1"/>
        </p:nvCxnSpPr>
        <p:spPr>
          <a:xfrm flipH="1">
            <a:off x="6377302" y="349620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3C181C0-4F6A-4857-9B28-A2E6B5A2906F}"/>
              </a:ext>
            </a:extLst>
          </p:cNvPr>
          <p:cNvCxnSpPr/>
          <p:nvPr userDrawn="1"/>
        </p:nvCxnSpPr>
        <p:spPr>
          <a:xfrm flipH="1">
            <a:off x="728469" y="349620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Text Placeholder 25">
            <a:extLst>
              <a:ext uri="{FF2B5EF4-FFF2-40B4-BE49-F238E27FC236}">
                <a16:creationId xmlns:a16="http://schemas.microsoft.com/office/drawing/2014/main" id="{217995AE-2B4F-4E51-986D-70B344422EC0}"/>
              </a:ext>
            </a:extLst>
          </p:cNvPr>
          <p:cNvSpPr>
            <a:spLocks noGrp="1"/>
          </p:cNvSpPr>
          <p:nvPr>
            <p:ph type="body" sz="quarter" idx="25" hasCustomPrompt="1"/>
          </p:nvPr>
        </p:nvSpPr>
        <p:spPr>
          <a:xfrm>
            <a:off x="709712" y="3238556"/>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3" name="Text Placeholder 25">
            <a:extLst>
              <a:ext uri="{FF2B5EF4-FFF2-40B4-BE49-F238E27FC236}">
                <a16:creationId xmlns:a16="http://schemas.microsoft.com/office/drawing/2014/main" id="{611BE6CC-9935-40D8-B1B7-288F6DF45EF9}"/>
              </a:ext>
            </a:extLst>
          </p:cNvPr>
          <p:cNvSpPr>
            <a:spLocks noGrp="1"/>
          </p:cNvSpPr>
          <p:nvPr>
            <p:ph type="body" sz="quarter" idx="26" hasCustomPrompt="1"/>
          </p:nvPr>
        </p:nvSpPr>
        <p:spPr>
          <a:xfrm>
            <a:off x="6358545" y="3238556"/>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cxnSp>
        <p:nvCxnSpPr>
          <p:cNvPr id="24" name="Straight Connector 23">
            <a:extLst>
              <a:ext uri="{FF2B5EF4-FFF2-40B4-BE49-F238E27FC236}">
                <a16:creationId xmlns:a16="http://schemas.microsoft.com/office/drawing/2014/main" id="{C43160E7-51A5-4DB2-BBCB-F8C1402FC2E9}"/>
              </a:ext>
            </a:extLst>
          </p:cNvPr>
          <p:cNvCxnSpPr/>
          <p:nvPr userDrawn="1"/>
        </p:nvCxnSpPr>
        <p:spPr>
          <a:xfrm flipH="1">
            <a:off x="6377302" y="503213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4F37513-E9B1-469F-AA54-8649D4AB5779}"/>
              </a:ext>
            </a:extLst>
          </p:cNvPr>
          <p:cNvCxnSpPr/>
          <p:nvPr userDrawn="1"/>
        </p:nvCxnSpPr>
        <p:spPr>
          <a:xfrm flipH="1">
            <a:off x="728469" y="503213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 Box 14">
            <a:extLst>
              <a:ext uri="{FF2B5EF4-FFF2-40B4-BE49-F238E27FC236}">
                <a16:creationId xmlns:a16="http://schemas.microsoft.com/office/drawing/2014/main" id="{CA15CDA6-2796-4985-A019-6110FB4687C1}"/>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bg1"/>
              </a:solidFill>
              <a:latin typeface="+mn-lt"/>
            </a:endParaRPr>
          </a:p>
          <a:p>
            <a:pPr algn="r" eaLnBrk="1" hangingPunct="1">
              <a:defRPr/>
            </a:pPr>
            <a:r>
              <a:rPr lang="en-US" sz="600" baseline="0">
                <a:solidFill>
                  <a:schemeClr val="bg1"/>
                </a:solidFill>
                <a:latin typeface="+mn-lt"/>
              </a:rPr>
              <a:t>  GIS1 23.01,12 / GIS2 Secret Template v24  (May 2021)</a:t>
            </a:r>
            <a:endParaRPr lang="en-US" sz="600" b="1" baseline="0">
              <a:solidFill>
                <a:schemeClr val="bg1"/>
              </a:solidFill>
              <a:latin typeface="+mn-lt"/>
            </a:endParaRPr>
          </a:p>
        </p:txBody>
      </p:sp>
    </p:spTree>
    <p:extLst>
      <p:ext uri="{BB962C8B-B14F-4D97-AF65-F5344CB8AC3E}">
        <p14:creationId xmlns:p14="http://schemas.microsoft.com/office/powerpoint/2010/main" val="27398977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34E8F-5760-49DB-8CC8-92D8FB03FC9E}"/>
              </a:ext>
            </a:extLst>
          </p:cNvPr>
          <p:cNvSpPr>
            <a:spLocks noGrp="1"/>
          </p:cNvSpPr>
          <p:nvPr>
            <p:ph type="title"/>
          </p:nvPr>
        </p:nvSpPr>
        <p:spPr/>
        <p:txBody>
          <a:body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22B4D7D3-7AA0-4024-A313-1EE0B7E86257}"/>
              </a:ext>
            </a:extLst>
          </p:cNvPr>
          <p:cNvSpPr>
            <a:spLocks noGrp="1"/>
          </p:cNvSpPr>
          <p:nvPr>
            <p:ph idx="1"/>
          </p:nvPr>
        </p:nvSpPr>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B7EEEC78-F52E-42EC-9CC1-303E69D0DC1B}"/>
              </a:ext>
            </a:extLst>
          </p:cNvPr>
          <p:cNvSpPr>
            <a:spLocks noGrp="1"/>
          </p:cNvSpPr>
          <p:nvPr>
            <p:ph type="dt" sz="half" idx="10"/>
          </p:nvPr>
        </p:nvSpPr>
        <p:spPr/>
        <p:txBody>
          <a:bodyPr/>
          <a:lstStyle/>
          <a:p>
            <a:fld id="{752959B0-7B04-44EF-BC76-BB1434632F60}" type="datetimeFigureOut">
              <a:rPr lang="zh-CN" altLang="en-US" smtClean="0"/>
              <a:t>2023/2/3</a:t>
            </a:fld>
            <a:endParaRPr lang="zh-CN" altLang="en-US"/>
          </a:p>
        </p:txBody>
      </p:sp>
      <p:sp>
        <p:nvSpPr>
          <p:cNvPr id="5" name="Footer Placeholder 4">
            <a:extLst>
              <a:ext uri="{FF2B5EF4-FFF2-40B4-BE49-F238E27FC236}">
                <a16:creationId xmlns:a16="http://schemas.microsoft.com/office/drawing/2014/main" id="{F94EE304-E856-489C-BED3-AD27B7C473F8}"/>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64378D1B-AC7C-4C0E-8947-B5F698E8DDF9}"/>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7056047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8" name="Content Placeholder 2">
            <a:extLst>
              <a:ext uri="{FF2B5EF4-FFF2-40B4-BE49-F238E27FC236}">
                <a16:creationId xmlns:a16="http://schemas.microsoft.com/office/drawing/2014/main" id="{DC16A891-4EBD-4F5B-9985-C05A4F406408}"/>
              </a:ext>
            </a:extLst>
          </p:cNvPr>
          <p:cNvSpPr>
            <a:spLocks noGrp="1"/>
          </p:cNvSpPr>
          <p:nvPr>
            <p:ph idx="1"/>
          </p:nvPr>
        </p:nvSpPr>
        <p:spPr>
          <a:xfrm>
            <a:off x="653935" y="1005840"/>
            <a:ext cx="108737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9" name="Title 1">
            <a:extLst>
              <a:ext uri="{FF2B5EF4-FFF2-40B4-BE49-F238E27FC236}">
                <a16:creationId xmlns:a16="http://schemas.microsoft.com/office/drawing/2014/main" id="{DCD1B45F-BDEE-4492-890A-F31C90242335}"/>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F91FEDAB-02BF-4C54-97BF-ADA9F4552921}"/>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6D5CCEE0-95C2-0449-8388-BFB2D48352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2" name="Text Box 14">
            <a:extLst>
              <a:ext uri="{FF2B5EF4-FFF2-40B4-BE49-F238E27FC236}">
                <a16:creationId xmlns:a16="http://schemas.microsoft.com/office/drawing/2014/main" id="{69314E55-037B-4970-A67B-3CF9F81F1D81}"/>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1478864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10" name="Title 1">
            <a:extLst>
              <a:ext uri="{FF2B5EF4-FFF2-40B4-BE49-F238E27FC236}">
                <a16:creationId xmlns:a16="http://schemas.microsoft.com/office/drawing/2014/main" id="{728807DE-09DE-48F7-9ED7-97930D4D4326}"/>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1" name="TextBox 10">
            <a:extLst>
              <a:ext uri="{FF2B5EF4-FFF2-40B4-BE49-F238E27FC236}">
                <a16:creationId xmlns:a16="http://schemas.microsoft.com/office/drawing/2014/main" id="{025BDFD9-0D81-4C7D-BC45-D395D28691D0}"/>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sp>
        <p:nvSpPr>
          <p:cNvPr id="12" name="Content Placeholder 2">
            <a:extLst>
              <a:ext uri="{FF2B5EF4-FFF2-40B4-BE49-F238E27FC236}">
                <a16:creationId xmlns:a16="http://schemas.microsoft.com/office/drawing/2014/main" id="{569B5871-2F77-0B4A-8CA5-1E8F45AE157E}"/>
              </a:ext>
            </a:extLst>
          </p:cNvPr>
          <p:cNvSpPr>
            <a:spLocks noGrp="1"/>
          </p:cNvSpPr>
          <p:nvPr>
            <p:ph idx="10"/>
          </p:nvPr>
        </p:nvSpPr>
        <p:spPr>
          <a:xfrm>
            <a:off x="653936" y="1005840"/>
            <a:ext cx="48393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3" name="Content Placeholder 2">
            <a:extLst>
              <a:ext uri="{FF2B5EF4-FFF2-40B4-BE49-F238E27FC236}">
                <a16:creationId xmlns:a16="http://schemas.microsoft.com/office/drawing/2014/main" id="{1D5D3212-B690-C84C-9A5D-1A6803B1D449}"/>
              </a:ext>
            </a:extLst>
          </p:cNvPr>
          <p:cNvSpPr>
            <a:spLocks noGrp="1"/>
          </p:cNvSpPr>
          <p:nvPr>
            <p:ph idx="11"/>
          </p:nvPr>
        </p:nvSpPr>
        <p:spPr>
          <a:xfrm>
            <a:off x="5789701" y="1005840"/>
            <a:ext cx="48393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pic>
        <p:nvPicPr>
          <p:cNvPr id="8" name="Picture 7">
            <a:extLst>
              <a:ext uri="{FF2B5EF4-FFF2-40B4-BE49-F238E27FC236}">
                <a16:creationId xmlns:a16="http://schemas.microsoft.com/office/drawing/2014/main" id="{A89FB69B-C95E-9F4D-A243-95F4FAF9E0A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4" name="Text Box 14">
            <a:extLst>
              <a:ext uri="{FF2B5EF4-FFF2-40B4-BE49-F238E27FC236}">
                <a16:creationId xmlns:a16="http://schemas.microsoft.com/office/drawing/2014/main" id="{2867DA68-D6AA-462F-BB6A-DB46692AFDA6}"/>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29562634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aded Picture">
    <p:spTree>
      <p:nvGrpSpPr>
        <p:cNvPr id="1" name=""/>
        <p:cNvGrpSpPr/>
        <p:nvPr/>
      </p:nvGrpSpPr>
      <p:grpSpPr>
        <a:xfrm>
          <a:off x="0" y="0"/>
          <a:ext cx="0" cy="0"/>
          <a:chOff x="0" y="0"/>
          <a:chExt cx="0" cy="0"/>
        </a:xfrm>
      </p:grpSpPr>
      <p:sp>
        <p:nvSpPr>
          <p:cNvPr id="6" name="TextBox 3">
            <a:extLst>
              <a:ext uri="{FF2B5EF4-FFF2-40B4-BE49-F238E27FC236}">
                <a16:creationId xmlns:a16="http://schemas.microsoft.com/office/drawing/2014/main" id="{3302C9CF-B0BD-4F10-ADDF-FA844D2E775B}"/>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rgbClr val="00095B"/>
                </a:solidFill>
                <a:latin typeface="+mj-lt"/>
              </a:rPr>
              <a:pPr lvl="0" algn="r"/>
              <a:t>‹#›</a:t>
            </a:fld>
            <a:endParaRPr lang="en-US" altLang="en-US" sz="1100" b="0" spc="0">
              <a:solidFill>
                <a:srgbClr val="00095B"/>
              </a:solidFill>
              <a:latin typeface="+mj-lt"/>
            </a:endParaRPr>
          </a:p>
        </p:txBody>
      </p:sp>
      <p:pic>
        <p:nvPicPr>
          <p:cNvPr id="5" name="Picture 4">
            <a:extLst>
              <a:ext uri="{FF2B5EF4-FFF2-40B4-BE49-F238E27FC236}">
                <a16:creationId xmlns:a16="http://schemas.microsoft.com/office/drawing/2014/main" id="{7AEDD835-9254-D642-8F0D-CD6AA64076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Text Box 14">
            <a:extLst>
              <a:ext uri="{FF2B5EF4-FFF2-40B4-BE49-F238E27FC236}">
                <a16:creationId xmlns:a16="http://schemas.microsoft.com/office/drawing/2014/main" id="{4AE1A495-565A-49E0-81BE-E6E67C9039C7}"/>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52821173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conomics Layou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9F29E01-D320-47A1-9388-31441C909F6F}"/>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rgbClr val="00095B"/>
                </a:solidFill>
                <a:latin typeface="+mj-lt"/>
              </a:rPr>
              <a:pPr lvl="0" algn="r"/>
              <a:t>‹#›</a:t>
            </a:fld>
            <a:endParaRPr lang="en-US" altLang="en-US" sz="1100" b="0" spc="0">
              <a:solidFill>
                <a:srgbClr val="00095B"/>
              </a:solidFill>
              <a:latin typeface="+mj-lt"/>
            </a:endParaRPr>
          </a:p>
        </p:txBody>
      </p:sp>
      <p:sp>
        <p:nvSpPr>
          <p:cNvPr id="5" name="TextBox 4">
            <a:extLst>
              <a:ext uri="{FF2B5EF4-FFF2-40B4-BE49-F238E27FC236}">
                <a16:creationId xmlns:a16="http://schemas.microsoft.com/office/drawing/2014/main" id="{D85B98DB-4C71-4604-AD6E-4FA4D8BF69CA}"/>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6" name="Picture 5">
            <a:extLst>
              <a:ext uri="{FF2B5EF4-FFF2-40B4-BE49-F238E27FC236}">
                <a16:creationId xmlns:a16="http://schemas.microsoft.com/office/drawing/2014/main" id="{5EE35587-8B27-4393-8F2F-546F1532852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Left-Right Arrow 13">
            <a:extLst>
              <a:ext uri="{FF2B5EF4-FFF2-40B4-BE49-F238E27FC236}">
                <a16:creationId xmlns:a16="http://schemas.microsoft.com/office/drawing/2014/main" id="{A95C13C6-C2E6-49DD-B117-BBA50C855835}"/>
              </a:ext>
            </a:extLst>
          </p:cNvPr>
          <p:cNvSpPr/>
          <p:nvPr userDrawn="1"/>
        </p:nvSpPr>
        <p:spPr>
          <a:xfrm>
            <a:off x="554143" y="5614416"/>
            <a:ext cx="11083715" cy="830424"/>
          </a:xfrm>
          <a:prstGeom prst="leftRightArrow">
            <a:avLst/>
          </a:prstGeom>
          <a:gradFill flip="none" rotWithShape="1">
            <a:gsLst>
              <a:gs pos="48000">
                <a:srgbClr val="92D050"/>
              </a:gs>
              <a:gs pos="62000">
                <a:srgbClr val="FFC000"/>
              </a:gs>
              <a:gs pos="89000">
                <a:srgbClr val="FF0000"/>
              </a:gs>
              <a:gs pos="100000">
                <a:srgbClr val="FF0000"/>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mn-lt"/>
              <a:ea typeface="+mn-ea"/>
              <a:cs typeface="+mn-cs"/>
            </a:endParaRPr>
          </a:p>
        </p:txBody>
      </p:sp>
      <p:sp>
        <p:nvSpPr>
          <p:cNvPr id="9" name="Freeform 3">
            <a:extLst>
              <a:ext uri="{FF2B5EF4-FFF2-40B4-BE49-F238E27FC236}">
                <a16:creationId xmlns:a16="http://schemas.microsoft.com/office/drawing/2014/main" id="{C11D477C-151D-4647-83BC-900531FEB838}"/>
              </a:ext>
            </a:extLst>
          </p:cNvPr>
          <p:cNvSpPr/>
          <p:nvPr userDrawn="1"/>
        </p:nvSpPr>
        <p:spPr>
          <a:xfrm>
            <a:off x="560888" y="1747746"/>
            <a:ext cx="3611880" cy="3823858"/>
          </a:xfrm>
          <a:custGeom>
            <a:avLst/>
            <a:gdLst>
              <a:gd name="connsiteX0" fmla="*/ 0 w 2618550"/>
              <a:gd name="connsiteY0" fmla="*/ 0 h 3394043"/>
              <a:gd name="connsiteX1" fmla="*/ 2618550 w 2618550"/>
              <a:gd name="connsiteY1" fmla="*/ 0 h 3394043"/>
              <a:gd name="connsiteX2" fmla="*/ 2618550 w 2618550"/>
              <a:gd name="connsiteY2" fmla="*/ 3394043 h 3394043"/>
              <a:gd name="connsiteX3" fmla="*/ 0 w 2618550"/>
              <a:gd name="connsiteY3" fmla="*/ 3394043 h 3394043"/>
              <a:gd name="connsiteX4" fmla="*/ 0 w 2618550"/>
              <a:gd name="connsiteY4" fmla="*/ 0 h 339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550" h="3394043">
                <a:moveTo>
                  <a:pt x="0" y="0"/>
                </a:moveTo>
                <a:lnTo>
                  <a:pt x="2618550" y="0"/>
                </a:lnTo>
                <a:lnTo>
                  <a:pt x="2618550" y="3394043"/>
                </a:lnTo>
                <a:lnTo>
                  <a:pt x="0" y="339404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46304" rIns="142240" bIns="142240" numCol="1" spcCol="1270" anchor="t" anchorCtr="0">
            <a:noAutofit/>
          </a:bodyPr>
          <a:lstStyle/>
          <a:p>
            <a:pPr marL="0" marR="0" lvl="1" indent="0" algn="l" defTabSz="889000" rtl="0" eaLnBrk="1" fontAlgn="auto" latinLnBrk="0" hangingPunct="1">
              <a:lnSpc>
                <a:spcPct val="100000"/>
              </a:lnSpc>
              <a:spcBef>
                <a:spcPts val="0"/>
              </a:spcBef>
              <a:spcAft>
                <a:spcPts val="300"/>
              </a:spcAft>
              <a:buClrTx/>
              <a:buSzTx/>
              <a:buFontTx/>
              <a:buNone/>
              <a:tabLst/>
              <a:defRPr/>
            </a:pPr>
            <a:endParaRPr kumimoji="0" lang="en-US" altLang="zh-CN" sz="1500" b="0" i="0" u="none" strike="noStrike" kern="1200" cap="none" spc="0" normalizeH="0" baseline="0" noProof="0">
              <a:ln>
                <a:noFill/>
              </a:ln>
              <a:solidFill>
                <a:schemeClr val="bg1"/>
              </a:solidFill>
              <a:effectLst/>
              <a:uLnTx/>
              <a:uFillTx/>
              <a:latin typeface="+mn-lt"/>
              <a:ea typeface="黑体" panose="02010609060101010101" pitchFamily="49" charset="-122"/>
              <a:cs typeface="Arial" panose="020B0604020202020204" pitchFamily="34" charset="0"/>
            </a:endParaRPr>
          </a:p>
        </p:txBody>
      </p:sp>
      <p:sp>
        <p:nvSpPr>
          <p:cNvPr id="10" name="Freeform 6">
            <a:extLst>
              <a:ext uri="{FF2B5EF4-FFF2-40B4-BE49-F238E27FC236}">
                <a16:creationId xmlns:a16="http://schemas.microsoft.com/office/drawing/2014/main" id="{AED4B782-48BD-4614-A2FF-EB79EC6DD4F5}"/>
              </a:ext>
            </a:extLst>
          </p:cNvPr>
          <p:cNvSpPr/>
          <p:nvPr userDrawn="1"/>
        </p:nvSpPr>
        <p:spPr>
          <a:xfrm>
            <a:off x="4280687" y="1747746"/>
            <a:ext cx="3611880" cy="3823858"/>
          </a:xfrm>
          <a:custGeom>
            <a:avLst/>
            <a:gdLst>
              <a:gd name="connsiteX0" fmla="*/ 0 w 2984138"/>
              <a:gd name="connsiteY0" fmla="*/ 0 h 3394043"/>
              <a:gd name="connsiteX1" fmla="*/ 2984138 w 2984138"/>
              <a:gd name="connsiteY1" fmla="*/ 0 h 3394043"/>
              <a:gd name="connsiteX2" fmla="*/ 2984138 w 2984138"/>
              <a:gd name="connsiteY2" fmla="*/ 3394043 h 3394043"/>
              <a:gd name="connsiteX3" fmla="*/ 0 w 2984138"/>
              <a:gd name="connsiteY3" fmla="*/ 3394043 h 3394043"/>
              <a:gd name="connsiteX4" fmla="*/ 0 w 2984138"/>
              <a:gd name="connsiteY4" fmla="*/ 0 h 339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138" h="3394043">
                <a:moveTo>
                  <a:pt x="0" y="0"/>
                </a:moveTo>
                <a:lnTo>
                  <a:pt x="2984138" y="0"/>
                </a:lnTo>
                <a:lnTo>
                  <a:pt x="2984138" y="3394043"/>
                </a:lnTo>
                <a:lnTo>
                  <a:pt x="0" y="339404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46304" rIns="142240" bIns="142240" numCol="1" spcCol="1270" anchor="t" anchorCtr="0">
            <a:noAutofit/>
          </a:bodyPr>
          <a:lstStyle/>
          <a:p>
            <a:pPr marL="0" marR="0" lvl="1" indent="0" algn="l" defTabSz="889000" rtl="0" eaLnBrk="1" fontAlgn="auto" latinLnBrk="0" hangingPunct="1">
              <a:lnSpc>
                <a:spcPct val="100000"/>
              </a:lnSpc>
              <a:spcBef>
                <a:spcPts val="0"/>
              </a:spcBef>
              <a:spcAft>
                <a:spcPts val="300"/>
              </a:spcAft>
              <a:buClrTx/>
              <a:buSzTx/>
              <a:buFontTx/>
              <a:buNone/>
              <a:tabLst/>
              <a:defRPr/>
            </a:pPr>
            <a:endParaRPr lang="en-US" sz="1500" b="0" spc="0" baseline="0">
              <a:solidFill>
                <a:schemeClr val="bg1"/>
              </a:solidFill>
              <a:latin typeface="+mn-lt"/>
              <a:cs typeface="Arial" panose="020B0604020202020204" pitchFamily="34" charset="0"/>
            </a:endParaRPr>
          </a:p>
        </p:txBody>
      </p:sp>
      <p:sp>
        <p:nvSpPr>
          <p:cNvPr id="11" name="Freeform 14">
            <a:extLst>
              <a:ext uri="{FF2B5EF4-FFF2-40B4-BE49-F238E27FC236}">
                <a16:creationId xmlns:a16="http://schemas.microsoft.com/office/drawing/2014/main" id="{83FF962B-7759-4AD2-ADF6-B003C5E6A43F}"/>
              </a:ext>
            </a:extLst>
          </p:cNvPr>
          <p:cNvSpPr/>
          <p:nvPr userDrawn="1"/>
        </p:nvSpPr>
        <p:spPr>
          <a:xfrm>
            <a:off x="8019233" y="1747746"/>
            <a:ext cx="3611880" cy="3823858"/>
          </a:xfrm>
          <a:custGeom>
            <a:avLst/>
            <a:gdLst>
              <a:gd name="connsiteX0" fmla="*/ 0 w 2912733"/>
              <a:gd name="connsiteY0" fmla="*/ 0 h 3394043"/>
              <a:gd name="connsiteX1" fmla="*/ 2912733 w 2912733"/>
              <a:gd name="connsiteY1" fmla="*/ 0 h 3394043"/>
              <a:gd name="connsiteX2" fmla="*/ 2912733 w 2912733"/>
              <a:gd name="connsiteY2" fmla="*/ 3394043 h 3394043"/>
              <a:gd name="connsiteX3" fmla="*/ 0 w 2912733"/>
              <a:gd name="connsiteY3" fmla="*/ 3394043 h 3394043"/>
              <a:gd name="connsiteX4" fmla="*/ 0 w 2912733"/>
              <a:gd name="connsiteY4" fmla="*/ 0 h 339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2733" h="3394043">
                <a:moveTo>
                  <a:pt x="0" y="0"/>
                </a:moveTo>
                <a:lnTo>
                  <a:pt x="2912733" y="0"/>
                </a:lnTo>
                <a:lnTo>
                  <a:pt x="2912733" y="3394043"/>
                </a:lnTo>
                <a:lnTo>
                  <a:pt x="0" y="339404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46304" rIns="142240" bIns="142240" numCol="1" spcCol="1270" anchor="t" anchorCtr="0">
            <a:noAutofit/>
          </a:bodyPr>
          <a:lstStyle/>
          <a:p>
            <a:pPr marL="0" lvl="2" indent="0" defTabSz="889000">
              <a:spcBef>
                <a:spcPct val="0"/>
              </a:spcBef>
              <a:spcAft>
                <a:spcPts val="300"/>
              </a:spcAft>
              <a:buFont typeface="Arial" panose="020B0604020202020204" pitchFamily="34" charset="0"/>
              <a:buNone/>
              <a:defRPr/>
            </a:pPr>
            <a:endParaRPr lang="en-US" sz="1500" b="0" spc="0" baseline="0">
              <a:solidFill>
                <a:schemeClr val="bg1"/>
              </a:solidFill>
              <a:latin typeface="+mn-lt"/>
              <a:cs typeface="Arial" panose="020B0604020202020204" pitchFamily="34" charset="0"/>
            </a:endParaRPr>
          </a:p>
        </p:txBody>
      </p:sp>
      <p:sp>
        <p:nvSpPr>
          <p:cNvPr id="24" name="Text Placeholder 25">
            <a:extLst>
              <a:ext uri="{FF2B5EF4-FFF2-40B4-BE49-F238E27FC236}">
                <a16:creationId xmlns:a16="http://schemas.microsoft.com/office/drawing/2014/main" id="{819D97B3-47F1-4AE7-A834-4A1DE576B37C}"/>
              </a:ext>
            </a:extLst>
          </p:cNvPr>
          <p:cNvSpPr>
            <a:spLocks noGrp="1"/>
          </p:cNvSpPr>
          <p:nvPr>
            <p:ph type="body" sz="quarter" idx="23" hasCustomPrompt="1"/>
          </p:nvPr>
        </p:nvSpPr>
        <p:spPr>
          <a:xfrm>
            <a:off x="595916" y="1177623"/>
            <a:ext cx="3541825" cy="502920"/>
          </a:xfrm>
          <a:prstGeom prst="rect">
            <a:avLst/>
          </a:prstGeom>
        </p:spPr>
        <p:txBody>
          <a:bodyPr/>
          <a:lstStyle>
            <a:lvl1pPr marL="0" indent="0" algn="ctr">
              <a:buNone/>
              <a:defRPr sz="1600" b="0" spc="0" baseline="0">
                <a:solidFill>
                  <a:schemeClr val="accent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5" name="Text Placeholder 25">
            <a:extLst>
              <a:ext uri="{FF2B5EF4-FFF2-40B4-BE49-F238E27FC236}">
                <a16:creationId xmlns:a16="http://schemas.microsoft.com/office/drawing/2014/main" id="{7AAE9399-BD00-4748-A42E-40E813D2ABAD}"/>
              </a:ext>
            </a:extLst>
          </p:cNvPr>
          <p:cNvSpPr>
            <a:spLocks noGrp="1"/>
          </p:cNvSpPr>
          <p:nvPr>
            <p:ph type="body" sz="quarter" idx="24" hasCustomPrompt="1"/>
          </p:nvPr>
        </p:nvSpPr>
        <p:spPr>
          <a:xfrm>
            <a:off x="4315715" y="1177623"/>
            <a:ext cx="3541825" cy="502920"/>
          </a:xfrm>
          <a:prstGeom prst="rect">
            <a:avLst/>
          </a:prstGeom>
        </p:spPr>
        <p:txBody>
          <a:bodyPr/>
          <a:lstStyle>
            <a:lvl1pPr marL="0" indent="0" algn="ctr">
              <a:buNone/>
              <a:defRPr sz="1600" b="0" spc="0">
                <a:solidFill>
                  <a:schemeClr val="accent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6" name="Text Placeholder 25">
            <a:extLst>
              <a:ext uri="{FF2B5EF4-FFF2-40B4-BE49-F238E27FC236}">
                <a16:creationId xmlns:a16="http://schemas.microsoft.com/office/drawing/2014/main" id="{61AB7E2E-F2B0-4134-9794-3F5AA5193C8F}"/>
              </a:ext>
            </a:extLst>
          </p:cNvPr>
          <p:cNvSpPr>
            <a:spLocks noGrp="1"/>
          </p:cNvSpPr>
          <p:nvPr>
            <p:ph type="body" sz="quarter" idx="25" hasCustomPrompt="1"/>
          </p:nvPr>
        </p:nvSpPr>
        <p:spPr>
          <a:xfrm>
            <a:off x="8054261" y="1177623"/>
            <a:ext cx="3541825" cy="502920"/>
          </a:xfrm>
          <a:prstGeom prst="rect">
            <a:avLst/>
          </a:prstGeom>
        </p:spPr>
        <p:txBody>
          <a:bodyPr/>
          <a:lstStyle>
            <a:lvl1pPr marL="0" indent="0" algn="ctr">
              <a:buNone/>
              <a:defRPr sz="1600" b="0" spc="0">
                <a:solidFill>
                  <a:schemeClr val="accent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7" name="Text Placeholder 2">
            <a:extLst>
              <a:ext uri="{FF2B5EF4-FFF2-40B4-BE49-F238E27FC236}">
                <a16:creationId xmlns:a16="http://schemas.microsoft.com/office/drawing/2014/main" id="{701B0506-215B-4738-815B-C6FC082E9645}"/>
              </a:ext>
            </a:extLst>
          </p:cNvPr>
          <p:cNvSpPr>
            <a:spLocks noGrp="1"/>
          </p:cNvSpPr>
          <p:nvPr>
            <p:ph type="body" sz="quarter" idx="26" hasCustomPrompt="1"/>
          </p:nvPr>
        </p:nvSpPr>
        <p:spPr>
          <a:xfrm>
            <a:off x="586839" y="1828800"/>
            <a:ext cx="3557558" cy="3718413"/>
          </a:xfrm>
          <a:prstGeom prst="rect">
            <a:avLst/>
          </a:prstGeom>
        </p:spPr>
        <p:txBody>
          <a:bodyPr/>
          <a:lstStyle>
            <a:lvl1pPr marL="0" indent="0">
              <a:buNone/>
              <a:defRPr sz="1500" b="0" spc="0" baseline="0">
                <a:solidFill>
                  <a:schemeClr val="bg1"/>
                </a:solidFill>
                <a:latin typeface="+mn-lt"/>
              </a:defRPr>
            </a:lvl1pPr>
            <a:lvl2pPr>
              <a:defRPr sz="1200" b="1">
                <a:solidFill>
                  <a:schemeClr val="bg1"/>
                </a:solidFill>
              </a:defRPr>
            </a:lvl2pPr>
            <a:lvl3pPr>
              <a:defRPr sz="1200" b="1">
                <a:solidFill>
                  <a:schemeClr val="bg1"/>
                </a:solidFill>
              </a:defRPr>
            </a:lvl3pPr>
            <a:lvl4pPr>
              <a:defRPr sz="1200" b="1">
                <a:solidFill>
                  <a:schemeClr val="bg1"/>
                </a:solidFill>
              </a:defRPr>
            </a:lvl4pPr>
            <a:lvl5pPr>
              <a:defRPr sz="1200" b="1">
                <a:solidFill>
                  <a:schemeClr val="bg1"/>
                </a:solidFill>
              </a:defRPr>
            </a:lvl5pPr>
          </a:lstStyle>
          <a:p>
            <a:pPr lvl="0"/>
            <a:r>
              <a:rPr lang="en-US"/>
              <a:t>Click to add text</a:t>
            </a:r>
          </a:p>
        </p:txBody>
      </p:sp>
      <p:sp>
        <p:nvSpPr>
          <p:cNvPr id="28" name="Text Placeholder 2">
            <a:extLst>
              <a:ext uri="{FF2B5EF4-FFF2-40B4-BE49-F238E27FC236}">
                <a16:creationId xmlns:a16="http://schemas.microsoft.com/office/drawing/2014/main" id="{D709C4F3-5811-492D-BA8A-A65C7DE8D367}"/>
              </a:ext>
            </a:extLst>
          </p:cNvPr>
          <p:cNvSpPr>
            <a:spLocks noGrp="1"/>
          </p:cNvSpPr>
          <p:nvPr>
            <p:ph type="body" sz="quarter" idx="27" hasCustomPrompt="1"/>
          </p:nvPr>
        </p:nvSpPr>
        <p:spPr>
          <a:xfrm>
            <a:off x="4301592" y="1828800"/>
            <a:ext cx="3557558" cy="3718413"/>
          </a:xfrm>
          <a:prstGeom prst="rect">
            <a:avLst/>
          </a:prstGeom>
        </p:spPr>
        <p:txBody>
          <a:bodyPr/>
          <a:lstStyle>
            <a:lvl1pPr marL="0" indent="0">
              <a:buNone/>
              <a:defRPr sz="1500" b="0" spc="0" baseline="0">
                <a:solidFill>
                  <a:schemeClr val="bg1"/>
                </a:solidFill>
                <a:latin typeface="+mn-lt"/>
              </a:defRPr>
            </a:lvl1pPr>
            <a:lvl2pPr>
              <a:defRPr sz="1200" b="1">
                <a:solidFill>
                  <a:schemeClr val="bg1"/>
                </a:solidFill>
              </a:defRPr>
            </a:lvl2pPr>
            <a:lvl3pPr>
              <a:defRPr sz="1200" b="1">
                <a:solidFill>
                  <a:schemeClr val="bg1"/>
                </a:solidFill>
              </a:defRPr>
            </a:lvl3pPr>
            <a:lvl4pPr>
              <a:defRPr sz="1200" b="1">
                <a:solidFill>
                  <a:schemeClr val="bg1"/>
                </a:solidFill>
              </a:defRPr>
            </a:lvl4pPr>
            <a:lvl5pPr>
              <a:defRPr sz="1200" b="1">
                <a:solidFill>
                  <a:schemeClr val="bg1"/>
                </a:solidFill>
              </a:defRPr>
            </a:lvl5pPr>
          </a:lstStyle>
          <a:p>
            <a:pPr lvl="0"/>
            <a:r>
              <a:rPr lang="en-US"/>
              <a:t>Click to add text</a:t>
            </a:r>
          </a:p>
        </p:txBody>
      </p:sp>
      <p:sp>
        <p:nvSpPr>
          <p:cNvPr id="29" name="Text Placeholder 2">
            <a:extLst>
              <a:ext uri="{FF2B5EF4-FFF2-40B4-BE49-F238E27FC236}">
                <a16:creationId xmlns:a16="http://schemas.microsoft.com/office/drawing/2014/main" id="{189E8D7F-D469-4FE7-958D-EDB44134FFB5}"/>
              </a:ext>
            </a:extLst>
          </p:cNvPr>
          <p:cNvSpPr>
            <a:spLocks noGrp="1"/>
          </p:cNvSpPr>
          <p:nvPr>
            <p:ph type="body" sz="quarter" idx="28" hasCustomPrompt="1"/>
          </p:nvPr>
        </p:nvSpPr>
        <p:spPr>
          <a:xfrm>
            <a:off x="8029625" y="1828800"/>
            <a:ext cx="3557558" cy="3718413"/>
          </a:xfrm>
          <a:prstGeom prst="rect">
            <a:avLst/>
          </a:prstGeom>
        </p:spPr>
        <p:txBody>
          <a:bodyPr/>
          <a:lstStyle>
            <a:lvl1pPr marL="0" indent="0">
              <a:buNone/>
              <a:defRPr sz="1500" b="0" spc="0" baseline="0">
                <a:solidFill>
                  <a:schemeClr val="bg1"/>
                </a:solidFill>
                <a:latin typeface="+mn-lt"/>
              </a:defRPr>
            </a:lvl1pPr>
            <a:lvl2pPr>
              <a:defRPr sz="1200" b="1">
                <a:solidFill>
                  <a:schemeClr val="bg1"/>
                </a:solidFill>
              </a:defRPr>
            </a:lvl2pPr>
            <a:lvl3pPr>
              <a:defRPr sz="1200" b="1">
                <a:solidFill>
                  <a:schemeClr val="bg1"/>
                </a:solidFill>
              </a:defRPr>
            </a:lvl3pPr>
            <a:lvl4pPr>
              <a:defRPr sz="1200" b="1">
                <a:solidFill>
                  <a:schemeClr val="bg1"/>
                </a:solidFill>
              </a:defRPr>
            </a:lvl4pPr>
            <a:lvl5pPr>
              <a:defRPr sz="1200" b="1">
                <a:solidFill>
                  <a:schemeClr val="bg1"/>
                </a:solidFill>
              </a:defRPr>
            </a:lvl5pPr>
          </a:lstStyle>
          <a:p>
            <a:pPr lvl="0"/>
            <a:r>
              <a:rPr lang="en-US"/>
              <a:t>Click to add text</a:t>
            </a:r>
          </a:p>
        </p:txBody>
      </p:sp>
      <p:sp>
        <p:nvSpPr>
          <p:cNvPr id="30" name="Text Placeholder 25">
            <a:extLst>
              <a:ext uri="{FF2B5EF4-FFF2-40B4-BE49-F238E27FC236}">
                <a16:creationId xmlns:a16="http://schemas.microsoft.com/office/drawing/2014/main" id="{BFD3EAB2-073A-4870-BCAC-D3578E1999EE}"/>
              </a:ext>
            </a:extLst>
          </p:cNvPr>
          <p:cNvSpPr>
            <a:spLocks noGrp="1"/>
          </p:cNvSpPr>
          <p:nvPr>
            <p:ph type="body" sz="quarter" idx="29" hasCustomPrompt="1"/>
          </p:nvPr>
        </p:nvSpPr>
        <p:spPr>
          <a:xfrm>
            <a:off x="957072" y="5846748"/>
            <a:ext cx="10277856" cy="365760"/>
          </a:xfrm>
          <a:prstGeom prst="rect">
            <a:avLst/>
          </a:prstGeom>
        </p:spPr>
        <p:txBody>
          <a:bodyPr/>
          <a:lstStyle>
            <a:lvl1pPr marL="0" indent="0" algn="ctr">
              <a:buNone/>
              <a:defRPr sz="1800" b="0">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ext</a:t>
            </a:r>
          </a:p>
        </p:txBody>
      </p:sp>
      <p:sp>
        <p:nvSpPr>
          <p:cNvPr id="31" name="Title 1">
            <a:extLst>
              <a:ext uri="{FF2B5EF4-FFF2-40B4-BE49-F238E27FC236}">
                <a16:creationId xmlns:a16="http://schemas.microsoft.com/office/drawing/2014/main" id="{D7B78037-C889-4B6F-90DC-8301BDA83AE9}"/>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8" name="Text Box 14">
            <a:extLst>
              <a:ext uri="{FF2B5EF4-FFF2-40B4-BE49-F238E27FC236}">
                <a16:creationId xmlns:a16="http://schemas.microsoft.com/office/drawing/2014/main" id="{3B9046E9-03EA-469E-B245-B22D4E871975}"/>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40268458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mper &amp; 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5451AB9-478B-4D3F-A0FA-2E7BD3CAEA08}"/>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trike="noStrike" spc="0">
                <a:solidFill>
                  <a:schemeClr val="bg1"/>
                </a:solidFill>
                <a:latin typeface="Ford Antenna Regular" panose="02000505000000020004" pitchFamily="50" charset="0"/>
              </a:defRPr>
            </a:lvl1pPr>
          </a:lstStyle>
          <a:p>
            <a:pPr lvl="0"/>
            <a:r>
              <a:rPr lang="en-US"/>
              <a:t>Click To Edit Text</a:t>
            </a:r>
          </a:p>
        </p:txBody>
      </p:sp>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8" name="Title 1">
            <a:extLst>
              <a:ext uri="{FF2B5EF4-FFF2-40B4-BE49-F238E27FC236}">
                <a16:creationId xmlns:a16="http://schemas.microsoft.com/office/drawing/2014/main" id="{3DAEEACF-C2C6-422E-8A81-7811B3BD0E5B}"/>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726A9168-F214-4E95-A79F-CC4FAC0D4A09}"/>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sp>
        <p:nvSpPr>
          <p:cNvPr id="9" name="Content Placeholder 2">
            <a:extLst>
              <a:ext uri="{FF2B5EF4-FFF2-40B4-BE49-F238E27FC236}">
                <a16:creationId xmlns:a16="http://schemas.microsoft.com/office/drawing/2014/main" id="{8B0DC88A-6BC1-D440-B482-566460EC6DF1}"/>
              </a:ext>
            </a:extLst>
          </p:cNvPr>
          <p:cNvSpPr>
            <a:spLocks noGrp="1"/>
          </p:cNvSpPr>
          <p:nvPr>
            <p:ph idx="11"/>
          </p:nvPr>
        </p:nvSpPr>
        <p:spPr>
          <a:xfrm>
            <a:off x="653936" y="1005840"/>
            <a:ext cx="4839340" cy="4801801"/>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1" name="Content Placeholder 2">
            <a:extLst>
              <a:ext uri="{FF2B5EF4-FFF2-40B4-BE49-F238E27FC236}">
                <a16:creationId xmlns:a16="http://schemas.microsoft.com/office/drawing/2014/main" id="{FE6D78E5-671F-1940-9AC2-4CDB59D2BE47}"/>
              </a:ext>
            </a:extLst>
          </p:cNvPr>
          <p:cNvSpPr>
            <a:spLocks noGrp="1"/>
          </p:cNvSpPr>
          <p:nvPr>
            <p:ph idx="12"/>
          </p:nvPr>
        </p:nvSpPr>
        <p:spPr>
          <a:xfrm>
            <a:off x="5789701" y="1005840"/>
            <a:ext cx="4839340" cy="4801801"/>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pic>
        <p:nvPicPr>
          <p:cNvPr id="12" name="Picture 11">
            <a:extLst>
              <a:ext uri="{FF2B5EF4-FFF2-40B4-BE49-F238E27FC236}">
                <a16:creationId xmlns:a16="http://schemas.microsoft.com/office/drawing/2014/main" id="{38500CCA-21C8-B941-9144-8C165BE4B29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3" name="Text Box 14">
            <a:extLst>
              <a:ext uri="{FF2B5EF4-FFF2-40B4-BE49-F238E27FC236}">
                <a16:creationId xmlns:a16="http://schemas.microsoft.com/office/drawing/2014/main" id="{3BEC5971-47F0-46FC-BBA2-1F7CEBC07D8F}"/>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bg1"/>
              </a:solidFill>
              <a:latin typeface="+mn-lt"/>
            </a:endParaRPr>
          </a:p>
          <a:p>
            <a:pPr algn="r" eaLnBrk="1" hangingPunct="1">
              <a:defRPr/>
            </a:pPr>
            <a:r>
              <a:rPr lang="en-US" sz="600" baseline="0">
                <a:solidFill>
                  <a:schemeClr val="bg1"/>
                </a:solidFill>
                <a:latin typeface="+mn-lt"/>
              </a:rPr>
              <a:t>  GIS1 23.01,12 / GIS2 Secret Template v24  (May 2021)</a:t>
            </a:r>
            <a:endParaRPr lang="en-US" sz="600" b="1" baseline="0">
              <a:solidFill>
                <a:schemeClr val="bg1"/>
              </a:solidFill>
              <a:latin typeface="+mn-lt"/>
            </a:endParaRPr>
          </a:p>
        </p:txBody>
      </p:sp>
    </p:spTree>
    <p:extLst>
      <p:ext uri="{BB962C8B-B14F-4D97-AF65-F5344CB8AC3E}">
        <p14:creationId xmlns:p14="http://schemas.microsoft.com/office/powerpoint/2010/main" val="41714433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umper &amp;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10" name="Title 1">
            <a:extLst>
              <a:ext uri="{FF2B5EF4-FFF2-40B4-BE49-F238E27FC236}">
                <a16:creationId xmlns:a16="http://schemas.microsoft.com/office/drawing/2014/main" id="{C215011C-147D-4417-A4AA-0DE142301DF7}"/>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1" name="TextBox 10">
            <a:extLst>
              <a:ext uri="{FF2B5EF4-FFF2-40B4-BE49-F238E27FC236}">
                <a16:creationId xmlns:a16="http://schemas.microsoft.com/office/drawing/2014/main" id="{18101578-AE51-4099-9DDE-B91D47F23A0B}"/>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sp>
        <p:nvSpPr>
          <p:cNvPr id="12" name="Text Placeholder 4">
            <a:extLst>
              <a:ext uri="{FF2B5EF4-FFF2-40B4-BE49-F238E27FC236}">
                <a16:creationId xmlns:a16="http://schemas.microsoft.com/office/drawing/2014/main" id="{8465B7D4-D200-44AD-9598-BB1C2BE7846E}"/>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pc="0">
                <a:solidFill>
                  <a:schemeClr val="bg1"/>
                </a:solidFill>
                <a:latin typeface="Ford Antenna Regular" panose="02000505000000020004" pitchFamily="50" charset="0"/>
              </a:defRPr>
            </a:lvl1pPr>
          </a:lstStyle>
          <a:p>
            <a:pPr lvl="0"/>
            <a:r>
              <a:rPr lang="en-US"/>
              <a:t>Click To Edit Text</a:t>
            </a:r>
          </a:p>
        </p:txBody>
      </p:sp>
      <p:sp>
        <p:nvSpPr>
          <p:cNvPr id="9" name="Content Placeholder 2">
            <a:extLst>
              <a:ext uri="{FF2B5EF4-FFF2-40B4-BE49-F238E27FC236}">
                <a16:creationId xmlns:a16="http://schemas.microsoft.com/office/drawing/2014/main" id="{F83FDDF5-D413-7D4C-AE2A-E33A3466B3E1}"/>
              </a:ext>
            </a:extLst>
          </p:cNvPr>
          <p:cNvSpPr>
            <a:spLocks noGrp="1"/>
          </p:cNvSpPr>
          <p:nvPr>
            <p:ph idx="1"/>
          </p:nvPr>
        </p:nvSpPr>
        <p:spPr>
          <a:xfrm>
            <a:off x="653935" y="1005840"/>
            <a:ext cx="108737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pic>
        <p:nvPicPr>
          <p:cNvPr id="8" name="Picture 7">
            <a:extLst>
              <a:ext uri="{FF2B5EF4-FFF2-40B4-BE49-F238E27FC236}">
                <a16:creationId xmlns:a16="http://schemas.microsoft.com/office/drawing/2014/main" id="{90EE08FC-771C-9E41-8B93-103EBE35212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3" name="Text Box 14">
            <a:extLst>
              <a:ext uri="{FF2B5EF4-FFF2-40B4-BE49-F238E27FC236}">
                <a16:creationId xmlns:a16="http://schemas.microsoft.com/office/drawing/2014/main" id="{47FEB8D9-BA44-4F5D-AED0-D1B6891D81DA}"/>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bg1"/>
              </a:solidFill>
              <a:latin typeface="+mn-lt"/>
            </a:endParaRPr>
          </a:p>
          <a:p>
            <a:pPr algn="r" eaLnBrk="1" hangingPunct="1">
              <a:defRPr/>
            </a:pPr>
            <a:r>
              <a:rPr lang="en-US" sz="600" baseline="0">
                <a:solidFill>
                  <a:schemeClr val="bg1"/>
                </a:solidFill>
                <a:latin typeface="+mn-lt"/>
              </a:rPr>
              <a:t>  GIS1 23.01,12 / GIS2 Secret Template v24  (May 2021)</a:t>
            </a:r>
            <a:endParaRPr lang="en-US" sz="600" b="1" baseline="0">
              <a:solidFill>
                <a:schemeClr val="bg1"/>
              </a:solidFill>
              <a:latin typeface="+mn-lt"/>
            </a:endParaRPr>
          </a:p>
        </p:txBody>
      </p:sp>
    </p:spTree>
    <p:extLst>
      <p:ext uri="{BB962C8B-B14F-4D97-AF65-F5344CB8AC3E}">
        <p14:creationId xmlns:p14="http://schemas.microsoft.com/office/powerpoint/2010/main" val="2813666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mper &amp; Content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8" name="Title 1">
            <a:extLst>
              <a:ext uri="{FF2B5EF4-FFF2-40B4-BE49-F238E27FC236}">
                <a16:creationId xmlns:a16="http://schemas.microsoft.com/office/drawing/2014/main" id="{6B382748-0ABF-482E-8571-07E382330671}"/>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rgbClr val="00095B"/>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D8937095-E032-4EB4-98E7-CFC6D324DF24}"/>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sp>
        <p:nvSpPr>
          <p:cNvPr id="11" name="Text Placeholder 4">
            <a:extLst>
              <a:ext uri="{FF2B5EF4-FFF2-40B4-BE49-F238E27FC236}">
                <a16:creationId xmlns:a16="http://schemas.microsoft.com/office/drawing/2014/main" id="{FABAF30D-C1D5-4CEC-9203-44EA83DB98EA}"/>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pc="0">
                <a:solidFill>
                  <a:schemeClr val="bg1"/>
                </a:solidFill>
                <a:latin typeface="Ford Antenna Regular" panose="02000505000000020004" pitchFamily="50" charset="0"/>
              </a:defRPr>
            </a:lvl1pPr>
          </a:lstStyle>
          <a:p>
            <a:pPr lvl="0"/>
            <a:r>
              <a:rPr lang="en-US"/>
              <a:t>Click To Edit Text</a:t>
            </a:r>
          </a:p>
        </p:txBody>
      </p:sp>
      <p:pic>
        <p:nvPicPr>
          <p:cNvPr id="9" name="Picture 8">
            <a:extLst>
              <a:ext uri="{FF2B5EF4-FFF2-40B4-BE49-F238E27FC236}">
                <a16:creationId xmlns:a16="http://schemas.microsoft.com/office/drawing/2014/main" id="{52BFA87A-7886-D44E-9B19-7860A68C7E8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Tree>
    <p:extLst>
      <p:ext uri="{BB962C8B-B14F-4D97-AF65-F5344CB8AC3E}">
        <p14:creationId xmlns:p14="http://schemas.microsoft.com/office/powerpoint/2010/main" val="28893225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ide Bumper &amp; Blank">
    <p:spTree>
      <p:nvGrpSpPr>
        <p:cNvPr id="1" name=""/>
        <p:cNvGrpSpPr/>
        <p:nvPr/>
      </p:nvGrpSpPr>
      <p:grpSpPr>
        <a:xfrm>
          <a:off x="0" y="0"/>
          <a:ext cx="0" cy="0"/>
          <a:chOff x="0" y="0"/>
          <a:chExt cx="0" cy="0"/>
        </a:xfrm>
      </p:grpSpPr>
      <p:sp>
        <p:nvSpPr>
          <p:cNvPr id="8" name="TextBox 3">
            <a:extLst>
              <a:ext uri="{FF2B5EF4-FFF2-40B4-BE49-F238E27FC236}">
                <a16:creationId xmlns:a16="http://schemas.microsoft.com/office/drawing/2014/main" id="{9A894AD6-E175-4688-9BCE-A86E6F9A96E2}"/>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10" name="Text Placeholder 32">
            <a:extLst>
              <a:ext uri="{FF2B5EF4-FFF2-40B4-BE49-F238E27FC236}">
                <a16:creationId xmlns:a16="http://schemas.microsoft.com/office/drawing/2014/main" id="{4013E102-F74C-41ED-8ABA-6DC5308E3D7F}"/>
              </a:ext>
            </a:extLst>
          </p:cNvPr>
          <p:cNvSpPr>
            <a:spLocks noGrp="1"/>
          </p:cNvSpPr>
          <p:nvPr>
            <p:ph type="body" sz="quarter" idx="11" hasCustomPrompt="1"/>
          </p:nvPr>
        </p:nvSpPr>
        <p:spPr>
          <a:xfrm>
            <a:off x="0" y="9"/>
            <a:ext cx="3688207" cy="6857991"/>
          </a:xfrm>
          <a:prstGeom prst="rect">
            <a:avLst/>
          </a:prstGeom>
          <a:solidFill>
            <a:srgbClr val="F3F3F3">
              <a:alpha val="49804"/>
            </a:srgbClr>
          </a:solidFill>
        </p:spPr>
        <p:txBody>
          <a:bodyPr anchor="ctr"/>
          <a:lstStyle>
            <a:lvl1pPr marL="0" indent="0">
              <a:buFont typeface="Arial" panose="020B0604020202020204" pitchFamily="34" charset="0"/>
              <a:buNone/>
              <a:defRPr sz="1600" b="0" spc="0" baseline="0">
                <a:solidFill>
                  <a:schemeClr val="accent1"/>
                </a:solidFill>
              </a:defRPr>
            </a:lvl1pPr>
          </a:lstStyle>
          <a:p>
            <a:pPr lvl="0"/>
            <a:r>
              <a:rPr lang="en-US"/>
              <a:t> </a:t>
            </a:r>
          </a:p>
        </p:txBody>
      </p:sp>
      <p:sp>
        <p:nvSpPr>
          <p:cNvPr id="7" name="Title 1">
            <a:extLst>
              <a:ext uri="{FF2B5EF4-FFF2-40B4-BE49-F238E27FC236}">
                <a16:creationId xmlns:a16="http://schemas.microsoft.com/office/drawing/2014/main" id="{13E4D6A2-7890-4BE6-B12D-90E54BC5A6D5}"/>
              </a:ext>
            </a:extLst>
          </p:cNvPr>
          <p:cNvSpPr>
            <a:spLocks noGrp="1"/>
          </p:cNvSpPr>
          <p:nvPr>
            <p:ph type="title" hasCustomPrompt="1"/>
          </p:nvPr>
        </p:nvSpPr>
        <p:spPr>
          <a:xfrm>
            <a:off x="125318" y="267018"/>
            <a:ext cx="3477103" cy="613713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br>
              <a:rPr lang="en-US"/>
            </a:br>
            <a:r>
              <a:rPr lang="en-US"/>
              <a:t/>
            </a:r>
            <a:br>
              <a:rPr lang="en-US"/>
            </a:br>
            <a:r>
              <a:rPr lang="en-US" sz="1600">
                <a:latin typeface="Arial Nova Light" panose="020B0304020202020204" pitchFamily="34" charset="0"/>
              </a:rPr>
              <a:t>Leave one row between title and body text</a:t>
            </a:r>
            <a:endParaRPr lang="en-US"/>
          </a:p>
        </p:txBody>
      </p:sp>
      <p:sp>
        <p:nvSpPr>
          <p:cNvPr id="11" name="TextBox 10">
            <a:extLst>
              <a:ext uri="{FF2B5EF4-FFF2-40B4-BE49-F238E27FC236}">
                <a16:creationId xmlns:a16="http://schemas.microsoft.com/office/drawing/2014/main" id="{F5E7B04B-5DFE-4AFF-A55D-2C1EC9242116}"/>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9" name="Picture 8">
            <a:extLst>
              <a:ext uri="{FF2B5EF4-FFF2-40B4-BE49-F238E27FC236}">
                <a16:creationId xmlns:a16="http://schemas.microsoft.com/office/drawing/2014/main" id="{C70FFD5E-7699-534C-935D-4091C2F188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3" name="Text Box 14">
            <a:extLst>
              <a:ext uri="{FF2B5EF4-FFF2-40B4-BE49-F238E27FC236}">
                <a16:creationId xmlns:a16="http://schemas.microsoft.com/office/drawing/2014/main" id="{909832A5-19B5-45F5-9A81-B82F45E7EA9D}"/>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6137188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 Bumper &amp; Content (1)">
    <p:spTree>
      <p:nvGrpSpPr>
        <p:cNvPr id="1" name=""/>
        <p:cNvGrpSpPr/>
        <p:nvPr/>
      </p:nvGrpSpPr>
      <p:grpSpPr>
        <a:xfrm>
          <a:off x="0" y="0"/>
          <a:ext cx="0" cy="0"/>
          <a:chOff x="0" y="0"/>
          <a:chExt cx="0" cy="0"/>
        </a:xfrm>
      </p:grpSpPr>
      <p:sp>
        <p:nvSpPr>
          <p:cNvPr id="5" name="Text Placeholder 32">
            <a:extLst>
              <a:ext uri="{FF2B5EF4-FFF2-40B4-BE49-F238E27FC236}">
                <a16:creationId xmlns:a16="http://schemas.microsoft.com/office/drawing/2014/main" id="{444397A0-DEE3-441C-8902-D004E77D6ADA}"/>
              </a:ext>
            </a:extLst>
          </p:cNvPr>
          <p:cNvSpPr>
            <a:spLocks noGrp="1"/>
          </p:cNvSpPr>
          <p:nvPr>
            <p:ph type="body" sz="quarter" idx="10" hasCustomPrompt="1"/>
          </p:nvPr>
        </p:nvSpPr>
        <p:spPr>
          <a:xfrm>
            <a:off x="0" y="9"/>
            <a:ext cx="3688207" cy="6857991"/>
          </a:xfrm>
          <a:prstGeom prst="rect">
            <a:avLst/>
          </a:prstGeom>
          <a:solidFill>
            <a:srgbClr val="F3F3F3">
              <a:alpha val="49804"/>
            </a:srgbClr>
          </a:solidFill>
        </p:spPr>
        <p:txBody>
          <a:bodyPr anchor="ctr"/>
          <a:lstStyle>
            <a:lvl1pPr marL="0" indent="0">
              <a:buFont typeface="Arial" panose="020B0604020202020204" pitchFamily="34" charset="0"/>
              <a:buNone/>
              <a:defRPr sz="1600" b="0" spc="0">
                <a:solidFill>
                  <a:schemeClr val="accent1"/>
                </a:solidFill>
              </a:defRPr>
            </a:lvl1pPr>
          </a:lstStyle>
          <a:p>
            <a:pPr lvl="0"/>
            <a:r>
              <a:rPr lang="en-US"/>
              <a:t> </a:t>
            </a:r>
          </a:p>
        </p:txBody>
      </p:sp>
      <p:sp>
        <p:nvSpPr>
          <p:cNvPr id="28" name="TextBox 3">
            <a:extLst>
              <a:ext uri="{FF2B5EF4-FFF2-40B4-BE49-F238E27FC236}">
                <a16:creationId xmlns:a16="http://schemas.microsoft.com/office/drawing/2014/main" id="{AB02084C-D1B6-4A9F-9AE0-5A736E6DB9BB}"/>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8" name="Title 1">
            <a:extLst>
              <a:ext uri="{FF2B5EF4-FFF2-40B4-BE49-F238E27FC236}">
                <a16:creationId xmlns:a16="http://schemas.microsoft.com/office/drawing/2014/main" id="{907781B0-8FD1-4242-9F5E-3BAE2885CAA7}"/>
              </a:ext>
            </a:extLst>
          </p:cNvPr>
          <p:cNvSpPr>
            <a:spLocks noGrp="1"/>
          </p:cNvSpPr>
          <p:nvPr>
            <p:ph type="title" hasCustomPrompt="1"/>
          </p:nvPr>
        </p:nvSpPr>
        <p:spPr>
          <a:xfrm>
            <a:off x="125318" y="267018"/>
            <a:ext cx="3477103" cy="613713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br>
              <a:rPr lang="en-US"/>
            </a:br>
            <a:r>
              <a:rPr lang="en-US"/>
              <a:t/>
            </a:r>
            <a:br>
              <a:rPr lang="en-US"/>
            </a:br>
            <a:r>
              <a:rPr lang="en-US" sz="1600">
                <a:latin typeface="Arial Nova Light" panose="020B0304020202020204" pitchFamily="34" charset="0"/>
              </a:rPr>
              <a:t>Leave one row between title and body text</a:t>
            </a:r>
            <a:endParaRPr lang="en-US"/>
          </a:p>
        </p:txBody>
      </p:sp>
      <p:sp>
        <p:nvSpPr>
          <p:cNvPr id="9" name="TextBox 8">
            <a:extLst>
              <a:ext uri="{FF2B5EF4-FFF2-40B4-BE49-F238E27FC236}">
                <a16:creationId xmlns:a16="http://schemas.microsoft.com/office/drawing/2014/main" id="{E499416A-FE61-4C02-A8A5-0468F0EA39FD}"/>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0" name="Picture 9">
            <a:extLst>
              <a:ext uri="{FF2B5EF4-FFF2-40B4-BE49-F238E27FC236}">
                <a16:creationId xmlns:a16="http://schemas.microsoft.com/office/drawing/2014/main" id="{6B7BA05B-FC1B-5D47-B779-62BC9196F6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1" name="Content Placeholder 2">
            <a:extLst>
              <a:ext uri="{FF2B5EF4-FFF2-40B4-BE49-F238E27FC236}">
                <a16:creationId xmlns:a16="http://schemas.microsoft.com/office/drawing/2014/main" id="{8C8FEB5E-AA82-4042-82E4-6240EC4603D1}"/>
              </a:ext>
            </a:extLst>
          </p:cNvPr>
          <p:cNvSpPr>
            <a:spLocks noGrp="1"/>
          </p:cNvSpPr>
          <p:nvPr>
            <p:ph idx="11"/>
          </p:nvPr>
        </p:nvSpPr>
        <p:spPr>
          <a:xfrm>
            <a:off x="3940848" y="1454150"/>
            <a:ext cx="7928064" cy="455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3" name="Text Box 14">
            <a:extLst>
              <a:ext uri="{FF2B5EF4-FFF2-40B4-BE49-F238E27FC236}">
                <a16:creationId xmlns:a16="http://schemas.microsoft.com/office/drawing/2014/main" id="{62C4A9AD-D79B-4134-AC2A-F094DEE3C1C3}"/>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954196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 Bumper &amp; Content (2)">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596146C8-C553-B242-AAA4-FCA7B8D9C365}"/>
              </a:ext>
            </a:extLst>
          </p:cNvPr>
          <p:cNvSpPr>
            <a:spLocks noGrp="1"/>
          </p:cNvSpPr>
          <p:nvPr>
            <p:ph idx="11"/>
          </p:nvPr>
        </p:nvSpPr>
        <p:spPr>
          <a:xfrm>
            <a:off x="3940848" y="1454148"/>
            <a:ext cx="3851275" cy="4620975"/>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3" name="Content Placeholder 2">
            <a:extLst>
              <a:ext uri="{FF2B5EF4-FFF2-40B4-BE49-F238E27FC236}">
                <a16:creationId xmlns:a16="http://schemas.microsoft.com/office/drawing/2014/main" id="{8A41DCB4-0D79-AE49-83CE-1D93DD3E403E}"/>
              </a:ext>
            </a:extLst>
          </p:cNvPr>
          <p:cNvSpPr>
            <a:spLocks noGrp="1"/>
          </p:cNvSpPr>
          <p:nvPr>
            <p:ph idx="18"/>
          </p:nvPr>
        </p:nvSpPr>
        <p:spPr>
          <a:xfrm>
            <a:off x="8018070" y="1454148"/>
            <a:ext cx="3851275" cy="4620975"/>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5" name="Text Placeholder 32">
            <a:extLst>
              <a:ext uri="{FF2B5EF4-FFF2-40B4-BE49-F238E27FC236}">
                <a16:creationId xmlns:a16="http://schemas.microsoft.com/office/drawing/2014/main" id="{444397A0-DEE3-441C-8902-D004E77D6ADA}"/>
              </a:ext>
            </a:extLst>
          </p:cNvPr>
          <p:cNvSpPr>
            <a:spLocks noGrp="1"/>
          </p:cNvSpPr>
          <p:nvPr>
            <p:ph type="body" sz="quarter" idx="10" hasCustomPrompt="1"/>
          </p:nvPr>
        </p:nvSpPr>
        <p:spPr>
          <a:xfrm>
            <a:off x="0" y="9"/>
            <a:ext cx="3688207" cy="6857991"/>
          </a:xfrm>
          <a:prstGeom prst="rect">
            <a:avLst/>
          </a:prstGeom>
          <a:solidFill>
            <a:srgbClr val="F3F3F3">
              <a:alpha val="49804"/>
            </a:srgbClr>
          </a:solidFill>
        </p:spPr>
        <p:txBody>
          <a:bodyPr anchor="ctr"/>
          <a:lstStyle>
            <a:lvl1pPr marL="0" indent="0">
              <a:buFont typeface="Arial" panose="020B0604020202020204" pitchFamily="34" charset="0"/>
              <a:buNone/>
              <a:defRPr sz="1600" b="0" spc="0" baseline="0">
                <a:solidFill>
                  <a:schemeClr val="accent1"/>
                </a:solidFill>
              </a:defRPr>
            </a:lvl1pPr>
          </a:lstStyle>
          <a:p>
            <a:pPr lvl="0"/>
            <a:r>
              <a:rPr lang="en-US"/>
              <a:t> </a:t>
            </a:r>
          </a:p>
        </p:txBody>
      </p:sp>
      <p:sp>
        <p:nvSpPr>
          <p:cNvPr id="28" name="TextBox 3">
            <a:extLst>
              <a:ext uri="{FF2B5EF4-FFF2-40B4-BE49-F238E27FC236}">
                <a16:creationId xmlns:a16="http://schemas.microsoft.com/office/drawing/2014/main" id="{AB02084C-D1B6-4A9F-9AE0-5A736E6DB9BB}"/>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9" name="Title 1">
            <a:extLst>
              <a:ext uri="{FF2B5EF4-FFF2-40B4-BE49-F238E27FC236}">
                <a16:creationId xmlns:a16="http://schemas.microsoft.com/office/drawing/2014/main" id="{7487AAA2-61CC-4771-8812-FA0D6008343D}"/>
              </a:ext>
            </a:extLst>
          </p:cNvPr>
          <p:cNvSpPr>
            <a:spLocks noGrp="1"/>
          </p:cNvSpPr>
          <p:nvPr>
            <p:ph type="title" hasCustomPrompt="1"/>
          </p:nvPr>
        </p:nvSpPr>
        <p:spPr>
          <a:xfrm>
            <a:off x="125318" y="267018"/>
            <a:ext cx="3477103" cy="613713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br>
              <a:rPr lang="en-US"/>
            </a:br>
            <a:r>
              <a:rPr lang="en-US"/>
              <a:t/>
            </a:r>
            <a:br>
              <a:rPr lang="en-US"/>
            </a:br>
            <a:r>
              <a:rPr lang="en-US" sz="1600">
                <a:latin typeface="Arial Nova Light" panose="020B0304020202020204" pitchFamily="34" charset="0"/>
              </a:rPr>
              <a:t>Leave one row between title and body text</a:t>
            </a:r>
            <a:endParaRPr lang="en-US"/>
          </a:p>
        </p:txBody>
      </p:sp>
      <p:sp>
        <p:nvSpPr>
          <p:cNvPr id="10" name="TextBox 9">
            <a:extLst>
              <a:ext uri="{FF2B5EF4-FFF2-40B4-BE49-F238E27FC236}">
                <a16:creationId xmlns:a16="http://schemas.microsoft.com/office/drawing/2014/main" id="{D7F38455-D549-44F8-9335-1E9460306AB3}"/>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82F5298D-2C9C-6744-9153-0333931B99B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5" name="Text Box 14">
            <a:extLst>
              <a:ext uri="{FF2B5EF4-FFF2-40B4-BE49-F238E27FC236}">
                <a16:creationId xmlns:a16="http://schemas.microsoft.com/office/drawing/2014/main" id="{EF6EA4EB-6195-466E-B072-6C67445B2747}"/>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8485293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4D590-4AF3-41CB-97C5-160E37E2B75D}"/>
              </a:ext>
            </a:extLst>
          </p:cNvPr>
          <p:cNvSpPr>
            <a:spLocks noGrp="1"/>
          </p:cNvSpPr>
          <p:nvPr>
            <p:ph type="title"/>
          </p:nvPr>
        </p:nvSpPr>
        <p:spPr>
          <a:xfrm>
            <a:off x="831850" y="1709738"/>
            <a:ext cx="10515600" cy="2852737"/>
          </a:xfrm>
        </p:spPr>
        <p:txBody>
          <a:bodyPr anchor="b"/>
          <a:lstStyle>
            <a:lvl1pPr>
              <a:defRPr sz="6000"/>
            </a:lvl1p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E398C490-4EE6-42D8-BBFB-A0AD7EF690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a:t>Click to edit Master text styles</a:t>
            </a:r>
          </a:p>
        </p:txBody>
      </p:sp>
      <p:sp>
        <p:nvSpPr>
          <p:cNvPr id="4" name="Date Placeholder 3">
            <a:extLst>
              <a:ext uri="{FF2B5EF4-FFF2-40B4-BE49-F238E27FC236}">
                <a16:creationId xmlns:a16="http://schemas.microsoft.com/office/drawing/2014/main" id="{A8D76C25-D57A-4BB9-A335-2C03B5162B6A}"/>
              </a:ext>
            </a:extLst>
          </p:cNvPr>
          <p:cNvSpPr>
            <a:spLocks noGrp="1"/>
          </p:cNvSpPr>
          <p:nvPr>
            <p:ph type="dt" sz="half" idx="10"/>
          </p:nvPr>
        </p:nvSpPr>
        <p:spPr/>
        <p:txBody>
          <a:bodyPr/>
          <a:lstStyle/>
          <a:p>
            <a:fld id="{752959B0-7B04-44EF-BC76-BB1434632F60}" type="datetimeFigureOut">
              <a:rPr lang="zh-CN" altLang="en-US" smtClean="0"/>
              <a:t>2023/2/3</a:t>
            </a:fld>
            <a:endParaRPr lang="zh-CN" altLang="en-US"/>
          </a:p>
        </p:txBody>
      </p:sp>
      <p:sp>
        <p:nvSpPr>
          <p:cNvPr id="5" name="Footer Placeholder 4">
            <a:extLst>
              <a:ext uri="{FF2B5EF4-FFF2-40B4-BE49-F238E27FC236}">
                <a16:creationId xmlns:a16="http://schemas.microsoft.com/office/drawing/2014/main" id="{F48C1F5F-C707-4554-AB7A-6ACC12CFC50C}"/>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9A99A49C-3AE8-494D-94E3-E7FC00858B93}"/>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16040172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Editable World Map">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9" name="Title 1">
            <a:extLst>
              <a:ext uri="{FF2B5EF4-FFF2-40B4-BE49-F238E27FC236}">
                <a16:creationId xmlns:a16="http://schemas.microsoft.com/office/drawing/2014/main" id="{DCD1B45F-BDEE-4492-890A-F31C90242335}"/>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F91FEDAB-02BF-4C54-97BF-ADA9F4552921}"/>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6D5CCEE0-95C2-0449-8388-BFB2D48352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Freeform 179">
            <a:extLst>
              <a:ext uri="{FF2B5EF4-FFF2-40B4-BE49-F238E27FC236}">
                <a16:creationId xmlns:a16="http://schemas.microsoft.com/office/drawing/2014/main" id="{BA675363-8D99-4A5E-84A6-E383CA3E26FE}"/>
              </a:ext>
            </a:extLst>
          </p:cNvPr>
          <p:cNvSpPr>
            <a:spLocks/>
          </p:cNvSpPr>
          <p:nvPr userDrawn="1"/>
        </p:nvSpPr>
        <p:spPr bwMode="auto">
          <a:xfrm>
            <a:off x="2212185" y="6580391"/>
            <a:ext cx="10580" cy="6351"/>
          </a:xfrm>
          <a:custGeom>
            <a:avLst/>
            <a:gdLst>
              <a:gd name="T0" fmla="*/ 2147483647 w 8"/>
              <a:gd name="T1" fmla="*/ 2147483647 h 6"/>
              <a:gd name="T2" fmla="*/ 1952875039 w 8"/>
              <a:gd name="T3" fmla="*/ 2147483647 h 6"/>
              <a:gd name="T4" fmla="*/ 0 w 8"/>
              <a:gd name="T5" fmla="*/ 0 h 6"/>
              <a:gd name="T6" fmla="*/ 2147483647 w 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6">
                <a:moveTo>
                  <a:pt x="8" y="2"/>
                </a:moveTo>
                <a:lnTo>
                  <a:pt x="2" y="6"/>
                </a:lnTo>
                <a:lnTo>
                  <a:pt x="0" y="0"/>
                </a:lnTo>
                <a:lnTo>
                  <a:pt x="8" y="2"/>
                </a:lnTo>
                <a:close/>
              </a:path>
            </a:pathLst>
          </a:custGeom>
          <a:solidFill>
            <a:srgbClr val="FFFFFF">
              <a:lumMod val="85000"/>
            </a:srgbClr>
          </a:solidFill>
          <a:ln w="6350" cmpd="sng">
            <a:solidFill>
              <a:srgbClr val="FFFFFF"/>
            </a:solidFill>
            <a:prstDash val="solid"/>
            <a:round/>
            <a:headEnd/>
            <a:tailEnd/>
          </a:ln>
          <a:effectLst/>
        </p:spPr>
        <p:txBody>
          <a:bodyPr lIns="121899" tIns="60949" rIns="121899" bIns="60949"/>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sz="1800" b="1" i="1" u="none" strike="noStrike" kern="0" cap="none" spc="0" normalizeH="0" baseline="0" noProof="0">
              <a:ln>
                <a:noFill/>
              </a:ln>
              <a:solidFill>
                <a:schemeClr val="accent1"/>
              </a:solidFill>
              <a:effectLst/>
              <a:uLnTx/>
              <a:uFillTx/>
              <a:latin typeface="+mj-lt"/>
              <a:ea typeface="MS PGothic" pitchFamily="34" charset="-128"/>
            </a:endParaRPr>
          </a:p>
        </p:txBody>
      </p:sp>
      <p:sp>
        <p:nvSpPr>
          <p:cNvPr id="12" name="Rectangle 398">
            <a:extLst>
              <a:ext uri="{FF2B5EF4-FFF2-40B4-BE49-F238E27FC236}">
                <a16:creationId xmlns:a16="http://schemas.microsoft.com/office/drawing/2014/main" id="{328973B5-3325-425B-B3EF-AF97D8E59191}"/>
              </a:ext>
            </a:extLst>
          </p:cNvPr>
          <p:cNvSpPr>
            <a:spLocks noChangeArrowheads="1"/>
          </p:cNvSpPr>
          <p:nvPr userDrawn="1"/>
        </p:nvSpPr>
        <p:spPr bwMode="auto">
          <a:xfrm>
            <a:off x="1696999" y="6515304"/>
            <a:ext cx="186218" cy="136525"/>
          </a:xfrm>
          <a:prstGeom prst="rect">
            <a:avLst/>
          </a:prstGeom>
          <a:solidFill>
            <a:srgbClr val="00095B"/>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3" name="Text Box 399">
            <a:extLst>
              <a:ext uri="{FF2B5EF4-FFF2-40B4-BE49-F238E27FC236}">
                <a16:creationId xmlns:a16="http://schemas.microsoft.com/office/drawing/2014/main" id="{E8B463D6-9C6A-41C0-B51E-8840F1112DAE}"/>
              </a:ext>
            </a:extLst>
          </p:cNvPr>
          <p:cNvSpPr txBox="1">
            <a:spLocks noChangeArrowheads="1"/>
          </p:cNvSpPr>
          <p:nvPr userDrawn="1"/>
        </p:nvSpPr>
        <p:spPr bwMode="auto">
          <a:xfrm>
            <a:off x="1963045" y="6420049"/>
            <a:ext cx="182880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North America</a:t>
            </a:r>
          </a:p>
        </p:txBody>
      </p:sp>
      <p:sp>
        <p:nvSpPr>
          <p:cNvPr id="14" name="Text Box 399">
            <a:extLst>
              <a:ext uri="{FF2B5EF4-FFF2-40B4-BE49-F238E27FC236}">
                <a16:creationId xmlns:a16="http://schemas.microsoft.com/office/drawing/2014/main" id="{E98FDAE3-7A65-404E-8EF2-DB9C5B7E00D6}"/>
              </a:ext>
            </a:extLst>
          </p:cNvPr>
          <p:cNvSpPr txBox="1">
            <a:spLocks noChangeArrowheads="1"/>
          </p:cNvSpPr>
          <p:nvPr userDrawn="1"/>
        </p:nvSpPr>
        <p:spPr bwMode="auto">
          <a:xfrm>
            <a:off x="5967993" y="6420049"/>
            <a:ext cx="756759"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Europe</a:t>
            </a:r>
          </a:p>
        </p:txBody>
      </p:sp>
      <p:sp>
        <p:nvSpPr>
          <p:cNvPr id="15" name="Rectangle 398">
            <a:extLst>
              <a:ext uri="{FF2B5EF4-FFF2-40B4-BE49-F238E27FC236}">
                <a16:creationId xmlns:a16="http://schemas.microsoft.com/office/drawing/2014/main" id="{1BBC6B89-7B78-4DF8-BBDC-407A817973F1}"/>
              </a:ext>
            </a:extLst>
          </p:cNvPr>
          <p:cNvSpPr>
            <a:spLocks noChangeArrowheads="1"/>
          </p:cNvSpPr>
          <p:nvPr userDrawn="1"/>
        </p:nvSpPr>
        <p:spPr bwMode="auto">
          <a:xfrm>
            <a:off x="5694326" y="6515304"/>
            <a:ext cx="186218" cy="136525"/>
          </a:xfrm>
          <a:prstGeom prst="rect">
            <a:avLst/>
          </a:prstGeom>
          <a:solidFill>
            <a:srgbClr val="8BBDFF"/>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6" name="Rectangle 398">
            <a:extLst>
              <a:ext uri="{FF2B5EF4-FFF2-40B4-BE49-F238E27FC236}">
                <a16:creationId xmlns:a16="http://schemas.microsoft.com/office/drawing/2014/main" id="{F3B0623A-79A6-45CC-9EBA-393F26221457}"/>
              </a:ext>
            </a:extLst>
          </p:cNvPr>
          <p:cNvSpPr>
            <a:spLocks noChangeArrowheads="1"/>
          </p:cNvSpPr>
          <p:nvPr userDrawn="1"/>
        </p:nvSpPr>
        <p:spPr bwMode="auto">
          <a:xfrm>
            <a:off x="8231252" y="6515304"/>
            <a:ext cx="186218" cy="136525"/>
          </a:xfrm>
          <a:prstGeom prst="rect">
            <a:avLst/>
          </a:prstGeom>
          <a:solidFill>
            <a:srgbClr val="B9BCBD"/>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7" name="Text Box 399">
            <a:extLst>
              <a:ext uri="{FF2B5EF4-FFF2-40B4-BE49-F238E27FC236}">
                <a16:creationId xmlns:a16="http://schemas.microsoft.com/office/drawing/2014/main" id="{0EDEAC12-E1EE-4D35-A386-AD323D9738A8}"/>
              </a:ext>
            </a:extLst>
          </p:cNvPr>
          <p:cNvSpPr txBox="1">
            <a:spLocks noChangeArrowheads="1"/>
          </p:cNvSpPr>
          <p:nvPr userDrawn="1"/>
        </p:nvSpPr>
        <p:spPr bwMode="auto">
          <a:xfrm>
            <a:off x="8504390" y="6420049"/>
            <a:ext cx="257273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International Markets</a:t>
            </a:r>
            <a:r>
              <a:rPr lang="en-US" altLang="en-US" sz="1400" b="0" spc="0" baseline="0">
                <a:solidFill>
                  <a:schemeClr val="accent1"/>
                </a:solidFill>
                <a:latin typeface="Arial Nova Light" panose="020B0304020202020204" pitchFamily="34" charset="0"/>
                <a:ea typeface="ＭＳ Ｐゴシック" pitchFamily="34" charset="-128"/>
              </a:rPr>
              <a:t> Group</a:t>
            </a:r>
            <a:endParaRPr lang="en-US" altLang="en-US" sz="1400" b="0" spc="0">
              <a:solidFill>
                <a:schemeClr val="accent1"/>
              </a:solidFill>
              <a:latin typeface="Arial Nova Light" panose="020B0304020202020204" pitchFamily="34" charset="0"/>
              <a:ea typeface="ＭＳ Ｐゴシック" pitchFamily="34" charset="-128"/>
            </a:endParaRPr>
          </a:p>
        </p:txBody>
      </p:sp>
      <p:sp>
        <p:nvSpPr>
          <p:cNvPr id="18" name="Text Box 399">
            <a:extLst>
              <a:ext uri="{FF2B5EF4-FFF2-40B4-BE49-F238E27FC236}">
                <a16:creationId xmlns:a16="http://schemas.microsoft.com/office/drawing/2014/main" id="{7F820B3B-9E3E-4C28-85E2-8A5F8D22F7C7}"/>
              </a:ext>
            </a:extLst>
          </p:cNvPr>
          <p:cNvSpPr txBox="1">
            <a:spLocks noChangeArrowheads="1"/>
          </p:cNvSpPr>
          <p:nvPr userDrawn="1"/>
        </p:nvSpPr>
        <p:spPr bwMode="auto">
          <a:xfrm>
            <a:off x="7279513" y="6420049"/>
            <a:ext cx="933457"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China</a:t>
            </a:r>
          </a:p>
        </p:txBody>
      </p:sp>
      <p:sp>
        <p:nvSpPr>
          <p:cNvPr id="19" name="Rectangle 398">
            <a:extLst>
              <a:ext uri="{FF2B5EF4-FFF2-40B4-BE49-F238E27FC236}">
                <a16:creationId xmlns:a16="http://schemas.microsoft.com/office/drawing/2014/main" id="{CB572701-1DC0-4B0C-ADCB-AC84414DF077}"/>
              </a:ext>
            </a:extLst>
          </p:cNvPr>
          <p:cNvSpPr>
            <a:spLocks noChangeArrowheads="1"/>
          </p:cNvSpPr>
          <p:nvPr userDrawn="1"/>
        </p:nvSpPr>
        <p:spPr bwMode="auto">
          <a:xfrm>
            <a:off x="7011389" y="6515304"/>
            <a:ext cx="181065" cy="136525"/>
          </a:xfrm>
          <a:prstGeom prst="rect">
            <a:avLst/>
          </a:prstGeom>
          <a:solidFill>
            <a:srgbClr val="008200"/>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0" name="Rectangle 398">
            <a:extLst>
              <a:ext uri="{FF2B5EF4-FFF2-40B4-BE49-F238E27FC236}">
                <a16:creationId xmlns:a16="http://schemas.microsoft.com/office/drawing/2014/main" id="{F62772E3-88B0-4C52-AA61-572650FDD16B}"/>
              </a:ext>
            </a:extLst>
          </p:cNvPr>
          <p:cNvSpPr>
            <a:spLocks noChangeArrowheads="1"/>
          </p:cNvSpPr>
          <p:nvPr userDrawn="1"/>
        </p:nvSpPr>
        <p:spPr bwMode="auto">
          <a:xfrm>
            <a:off x="3680922" y="6515304"/>
            <a:ext cx="186218" cy="136525"/>
          </a:xfrm>
          <a:prstGeom prst="rect">
            <a:avLst/>
          </a:prstGeom>
          <a:solidFill>
            <a:srgbClr val="1700F4"/>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1" name="Text Box 399">
            <a:extLst>
              <a:ext uri="{FF2B5EF4-FFF2-40B4-BE49-F238E27FC236}">
                <a16:creationId xmlns:a16="http://schemas.microsoft.com/office/drawing/2014/main" id="{5BF9C99E-14F0-4A8D-BD7E-BDA59D95E2F4}"/>
              </a:ext>
            </a:extLst>
          </p:cNvPr>
          <p:cNvSpPr txBox="1">
            <a:spLocks noChangeArrowheads="1"/>
          </p:cNvSpPr>
          <p:nvPr userDrawn="1"/>
        </p:nvSpPr>
        <p:spPr bwMode="auto">
          <a:xfrm>
            <a:off x="3958399" y="6420049"/>
            <a:ext cx="1369778"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South America</a:t>
            </a:r>
          </a:p>
        </p:txBody>
      </p:sp>
      <p:sp>
        <p:nvSpPr>
          <p:cNvPr id="22" name="Freeform 288">
            <a:extLst>
              <a:ext uri="{FF2B5EF4-FFF2-40B4-BE49-F238E27FC236}">
                <a16:creationId xmlns:a16="http://schemas.microsoft.com/office/drawing/2014/main" id="{92114B8F-FC22-4A46-A421-8B1BC79A6921}"/>
              </a:ext>
            </a:extLst>
          </p:cNvPr>
          <p:cNvSpPr>
            <a:spLocks/>
          </p:cNvSpPr>
          <p:nvPr userDrawn="1"/>
        </p:nvSpPr>
        <p:spPr bwMode="auto">
          <a:xfrm>
            <a:off x="6417623" y="4126805"/>
            <a:ext cx="174412" cy="205918"/>
          </a:xfrm>
          <a:custGeom>
            <a:avLst/>
            <a:gdLst>
              <a:gd name="T0" fmla="*/ 70 w 104"/>
              <a:gd name="T1" fmla="*/ 10 h 120"/>
              <a:gd name="T2" fmla="*/ 84 w 104"/>
              <a:gd name="T3" fmla="*/ 14 h 120"/>
              <a:gd name="T4" fmla="*/ 92 w 104"/>
              <a:gd name="T5" fmla="*/ 18 h 120"/>
              <a:gd name="T6" fmla="*/ 100 w 104"/>
              <a:gd name="T7" fmla="*/ 24 h 120"/>
              <a:gd name="T8" fmla="*/ 102 w 104"/>
              <a:gd name="T9" fmla="*/ 30 h 120"/>
              <a:gd name="T10" fmla="*/ 98 w 104"/>
              <a:gd name="T11" fmla="*/ 36 h 120"/>
              <a:gd name="T12" fmla="*/ 100 w 104"/>
              <a:gd name="T13" fmla="*/ 48 h 120"/>
              <a:gd name="T14" fmla="*/ 100 w 104"/>
              <a:gd name="T15" fmla="*/ 60 h 120"/>
              <a:gd name="T16" fmla="*/ 98 w 104"/>
              <a:gd name="T17" fmla="*/ 64 h 120"/>
              <a:gd name="T18" fmla="*/ 100 w 104"/>
              <a:gd name="T19" fmla="*/ 68 h 120"/>
              <a:gd name="T20" fmla="*/ 98 w 104"/>
              <a:gd name="T21" fmla="*/ 74 h 120"/>
              <a:gd name="T22" fmla="*/ 98 w 104"/>
              <a:gd name="T23" fmla="*/ 80 h 120"/>
              <a:gd name="T24" fmla="*/ 100 w 104"/>
              <a:gd name="T25" fmla="*/ 90 h 120"/>
              <a:gd name="T26" fmla="*/ 98 w 104"/>
              <a:gd name="T27" fmla="*/ 94 h 120"/>
              <a:gd name="T28" fmla="*/ 100 w 104"/>
              <a:gd name="T29" fmla="*/ 96 h 120"/>
              <a:gd name="T30" fmla="*/ 102 w 104"/>
              <a:gd name="T31" fmla="*/ 98 h 120"/>
              <a:gd name="T32" fmla="*/ 86 w 104"/>
              <a:gd name="T33" fmla="*/ 120 h 120"/>
              <a:gd name="T34" fmla="*/ 78 w 104"/>
              <a:gd name="T35" fmla="*/ 118 h 120"/>
              <a:gd name="T36" fmla="*/ 72 w 104"/>
              <a:gd name="T37" fmla="*/ 116 h 120"/>
              <a:gd name="T38" fmla="*/ 64 w 104"/>
              <a:gd name="T39" fmla="*/ 116 h 120"/>
              <a:gd name="T40" fmla="*/ 58 w 104"/>
              <a:gd name="T41" fmla="*/ 116 h 120"/>
              <a:gd name="T42" fmla="*/ 52 w 104"/>
              <a:gd name="T43" fmla="*/ 112 h 120"/>
              <a:gd name="T44" fmla="*/ 50 w 104"/>
              <a:gd name="T45" fmla="*/ 110 h 120"/>
              <a:gd name="T46" fmla="*/ 46 w 104"/>
              <a:gd name="T47" fmla="*/ 110 h 120"/>
              <a:gd name="T48" fmla="*/ 42 w 104"/>
              <a:gd name="T49" fmla="*/ 106 h 120"/>
              <a:gd name="T50" fmla="*/ 42 w 104"/>
              <a:gd name="T51" fmla="*/ 96 h 120"/>
              <a:gd name="T52" fmla="*/ 40 w 104"/>
              <a:gd name="T53" fmla="*/ 94 h 120"/>
              <a:gd name="T54" fmla="*/ 38 w 104"/>
              <a:gd name="T55" fmla="*/ 92 h 120"/>
              <a:gd name="T56" fmla="*/ 34 w 104"/>
              <a:gd name="T57" fmla="*/ 86 h 120"/>
              <a:gd name="T58" fmla="*/ 28 w 104"/>
              <a:gd name="T59" fmla="*/ 78 h 120"/>
              <a:gd name="T60" fmla="*/ 24 w 104"/>
              <a:gd name="T61" fmla="*/ 74 h 120"/>
              <a:gd name="T62" fmla="*/ 22 w 104"/>
              <a:gd name="T63" fmla="*/ 74 h 120"/>
              <a:gd name="T64" fmla="*/ 18 w 104"/>
              <a:gd name="T65" fmla="*/ 74 h 120"/>
              <a:gd name="T66" fmla="*/ 16 w 104"/>
              <a:gd name="T67" fmla="*/ 70 h 120"/>
              <a:gd name="T68" fmla="*/ 8 w 104"/>
              <a:gd name="T69" fmla="*/ 60 h 120"/>
              <a:gd name="T70" fmla="*/ 6 w 104"/>
              <a:gd name="T71" fmla="*/ 54 h 120"/>
              <a:gd name="T72" fmla="*/ 2 w 104"/>
              <a:gd name="T73" fmla="*/ 50 h 120"/>
              <a:gd name="T74" fmla="*/ 0 w 104"/>
              <a:gd name="T75" fmla="*/ 44 h 120"/>
              <a:gd name="T76" fmla="*/ 8 w 104"/>
              <a:gd name="T77" fmla="*/ 44 h 120"/>
              <a:gd name="T78" fmla="*/ 14 w 104"/>
              <a:gd name="T79" fmla="*/ 44 h 120"/>
              <a:gd name="T80" fmla="*/ 18 w 104"/>
              <a:gd name="T81" fmla="*/ 42 h 120"/>
              <a:gd name="T82" fmla="*/ 32 w 104"/>
              <a:gd name="T83" fmla="*/ 40 h 120"/>
              <a:gd name="T84" fmla="*/ 40 w 104"/>
              <a:gd name="T85" fmla="*/ 38 h 120"/>
              <a:gd name="T86" fmla="*/ 42 w 104"/>
              <a:gd name="T87" fmla="*/ 26 h 120"/>
              <a:gd name="T88" fmla="*/ 44 w 104"/>
              <a:gd name="T89" fmla="*/ 22 h 120"/>
              <a:gd name="T90" fmla="*/ 50 w 104"/>
              <a:gd name="T91" fmla="*/ 18 h 120"/>
              <a:gd name="T92" fmla="*/ 52 w 104"/>
              <a:gd name="T93" fmla="*/ 12 h 120"/>
              <a:gd name="T94" fmla="*/ 58 w 104"/>
              <a:gd name="T95"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20">
                <a:moveTo>
                  <a:pt x="72" y="0"/>
                </a:moveTo>
                <a:lnTo>
                  <a:pt x="70" y="10"/>
                </a:lnTo>
                <a:lnTo>
                  <a:pt x="70" y="10"/>
                </a:lnTo>
                <a:lnTo>
                  <a:pt x="76" y="10"/>
                </a:lnTo>
                <a:lnTo>
                  <a:pt x="76" y="10"/>
                </a:lnTo>
                <a:lnTo>
                  <a:pt x="84" y="14"/>
                </a:lnTo>
                <a:lnTo>
                  <a:pt x="84" y="14"/>
                </a:lnTo>
                <a:lnTo>
                  <a:pt x="92" y="18"/>
                </a:lnTo>
                <a:lnTo>
                  <a:pt x="92" y="18"/>
                </a:lnTo>
                <a:lnTo>
                  <a:pt x="96" y="20"/>
                </a:lnTo>
                <a:lnTo>
                  <a:pt x="100" y="24"/>
                </a:lnTo>
                <a:lnTo>
                  <a:pt x="100" y="24"/>
                </a:lnTo>
                <a:lnTo>
                  <a:pt x="102" y="28"/>
                </a:lnTo>
                <a:lnTo>
                  <a:pt x="102" y="30"/>
                </a:lnTo>
                <a:lnTo>
                  <a:pt x="102" y="30"/>
                </a:lnTo>
                <a:lnTo>
                  <a:pt x="100" y="32"/>
                </a:lnTo>
                <a:lnTo>
                  <a:pt x="98" y="36"/>
                </a:lnTo>
                <a:lnTo>
                  <a:pt x="98" y="36"/>
                </a:lnTo>
                <a:lnTo>
                  <a:pt x="98" y="42"/>
                </a:lnTo>
                <a:lnTo>
                  <a:pt x="100" y="48"/>
                </a:lnTo>
                <a:lnTo>
                  <a:pt x="100" y="48"/>
                </a:lnTo>
                <a:lnTo>
                  <a:pt x="104" y="54"/>
                </a:lnTo>
                <a:lnTo>
                  <a:pt x="104" y="54"/>
                </a:lnTo>
                <a:lnTo>
                  <a:pt x="100" y="60"/>
                </a:lnTo>
                <a:lnTo>
                  <a:pt x="100" y="60"/>
                </a:lnTo>
                <a:lnTo>
                  <a:pt x="98" y="62"/>
                </a:lnTo>
                <a:lnTo>
                  <a:pt x="98" y="64"/>
                </a:lnTo>
                <a:lnTo>
                  <a:pt x="98" y="66"/>
                </a:lnTo>
                <a:lnTo>
                  <a:pt x="98" y="66"/>
                </a:lnTo>
                <a:lnTo>
                  <a:pt x="100" y="68"/>
                </a:lnTo>
                <a:lnTo>
                  <a:pt x="100" y="70"/>
                </a:lnTo>
                <a:lnTo>
                  <a:pt x="100" y="70"/>
                </a:lnTo>
                <a:lnTo>
                  <a:pt x="98" y="74"/>
                </a:lnTo>
                <a:lnTo>
                  <a:pt x="98" y="74"/>
                </a:lnTo>
                <a:lnTo>
                  <a:pt x="98" y="80"/>
                </a:lnTo>
                <a:lnTo>
                  <a:pt x="98" y="80"/>
                </a:lnTo>
                <a:lnTo>
                  <a:pt x="98" y="82"/>
                </a:lnTo>
                <a:lnTo>
                  <a:pt x="98" y="86"/>
                </a:lnTo>
                <a:lnTo>
                  <a:pt x="100" y="90"/>
                </a:lnTo>
                <a:lnTo>
                  <a:pt x="100" y="90"/>
                </a:lnTo>
                <a:lnTo>
                  <a:pt x="98" y="94"/>
                </a:lnTo>
                <a:lnTo>
                  <a:pt x="98" y="94"/>
                </a:lnTo>
                <a:lnTo>
                  <a:pt x="98" y="94"/>
                </a:lnTo>
                <a:lnTo>
                  <a:pt x="100" y="96"/>
                </a:lnTo>
                <a:lnTo>
                  <a:pt x="100" y="96"/>
                </a:lnTo>
                <a:lnTo>
                  <a:pt x="102" y="96"/>
                </a:lnTo>
                <a:lnTo>
                  <a:pt x="102" y="98"/>
                </a:lnTo>
                <a:lnTo>
                  <a:pt x="102" y="98"/>
                </a:lnTo>
                <a:lnTo>
                  <a:pt x="96" y="108"/>
                </a:lnTo>
                <a:lnTo>
                  <a:pt x="86" y="120"/>
                </a:lnTo>
                <a:lnTo>
                  <a:pt x="86" y="120"/>
                </a:lnTo>
                <a:lnTo>
                  <a:pt x="84" y="118"/>
                </a:lnTo>
                <a:lnTo>
                  <a:pt x="78" y="118"/>
                </a:lnTo>
                <a:lnTo>
                  <a:pt x="78" y="118"/>
                </a:lnTo>
                <a:lnTo>
                  <a:pt x="74" y="116"/>
                </a:lnTo>
                <a:lnTo>
                  <a:pt x="72" y="116"/>
                </a:lnTo>
                <a:lnTo>
                  <a:pt x="72" y="116"/>
                </a:lnTo>
                <a:lnTo>
                  <a:pt x="70" y="116"/>
                </a:lnTo>
                <a:lnTo>
                  <a:pt x="64" y="116"/>
                </a:lnTo>
                <a:lnTo>
                  <a:pt x="64" y="116"/>
                </a:lnTo>
                <a:lnTo>
                  <a:pt x="62" y="118"/>
                </a:lnTo>
                <a:lnTo>
                  <a:pt x="60" y="116"/>
                </a:lnTo>
                <a:lnTo>
                  <a:pt x="58" y="116"/>
                </a:lnTo>
                <a:lnTo>
                  <a:pt x="58" y="116"/>
                </a:lnTo>
                <a:lnTo>
                  <a:pt x="56" y="114"/>
                </a:lnTo>
                <a:lnTo>
                  <a:pt x="52" y="112"/>
                </a:lnTo>
                <a:lnTo>
                  <a:pt x="52" y="112"/>
                </a:lnTo>
                <a:lnTo>
                  <a:pt x="50" y="110"/>
                </a:lnTo>
                <a:lnTo>
                  <a:pt x="50" y="110"/>
                </a:lnTo>
                <a:lnTo>
                  <a:pt x="48" y="110"/>
                </a:lnTo>
                <a:lnTo>
                  <a:pt x="46" y="110"/>
                </a:lnTo>
                <a:lnTo>
                  <a:pt x="46" y="110"/>
                </a:lnTo>
                <a:lnTo>
                  <a:pt x="42" y="108"/>
                </a:lnTo>
                <a:lnTo>
                  <a:pt x="42" y="108"/>
                </a:lnTo>
                <a:lnTo>
                  <a:pt x="42" y="106"/>
                </a:lnTo>
                <a:lnTo>
                  <a:pt x="42" y="106"/>
                </a:lnTo>
                <a:lnTo>
                  <a:pt x="40" y="100"/>
                </a:lnTo>
                <a:lnTo>
                  <a:pt x="42" y="96"/>
                </a:lnTo>
                <a:lnTo>
                  <a:pt x="42" y="96"/>
                </a:lnTo>
                <a:lnTo>
                  <a:pt x="42" y="94"/>
                </a:lnTo>
                <a:lnTo>
                  <a:pt x="40" y="94"/>
                </a:lnTo>
                <a:lnTo>
                  <a:pt x="38" y="92"/>
                </a:lnTo>
                <a:lnTo>
                  <a:pt x="38" y="92"/>
                </a:lnTo>
                <a:lnTo>
                  <a:pt x="38" y="92"/>
                </a:lnTo>
                <a:lnTo>
                  <a:pt x="36" y="88"/>
                </a:lnTo>
                <a:lnTo>
                  <a:pt x="34" y="86"/>
                </a:lnTo>
                <a:lnTo>
                  <a:pt x="34" y="86"/>
                </a:lnTo>
                <a:lnTo>
                  <a:pt x="32" y="80"/>
                </a:lnTo>
                <a:lnTo>
                  <a:pt x="32" y="80"/>
                </a:lnTo>
                <a:lnTo>
                  <a:pt x="28" y="78"/>
                </a:lnTo>
                <a:lnTo>
                  <a:pt x="26" y="76"/>
                </a:lnTo>
                <a:lnTo>
                  <a:pt x="24" y="74"/>
                </a:lnTo>
                <a:lnTo>
                  <a:pt x="24" y="74"/>
                </a:lnTo>
                <a:lnTo>
                  <a:pt x="24" y="72"/>
                </a:lnTo>
                <a:lnTo>
                  <a:pt x="24" y="74"/>
                </a:lnTo>
                <a:lnTo>
                  <a:pt x="22" y="74"/>
                </a:lnTo>
                <a:lnTo>
                  <a:pt x="20" y="74"/>
                </a:lnTo>
                <a:lnTo>
                  <a:pt x="20" y="74"/>
                </a:lnTo>
                <a:lnTo>
                  <a:pt x="18" y="74"/>
                </a:lnTo>
                <a:lnTo>
                  <a:pt x="18" y="72"/>
                </a:lnTo>
                <a:lnTo>
                  <a:pt x="16" y="70"/>
                </a:lnTo>
                <a:lnTo>
                  <a:pt x="16" y="70"/>
                </a:lnTo>
                <a:lnTo>
                  <a:pt x="16" y="70"/>
                </a:lnTo>
                <a:lnTo>
                  <a:pt x="10" y="64"/>
                </a:lnTo>
                <a:lnTo>
                  <a:pt x="8" y="60"/>
                </a:lnTo>
                <a:lnTo>
                  <a:pt x="8" y="60"/>
                </a:lnTo>
                <a:lnTo>
                  <a:pt x="8" y="56"/>
                </a:lnTo>
                <a:lnTo>
                  <a:pt x="6" y="54"/>
                </a:lnTo>
                <a:lnTo>
                  <a:pt x="4" y="52"/>
                </a:lnTo>
                <a:lnTo>
                  <a:pt x="4" y="52"/>
                </a:lnTo>
                <a:lnTo>
                  <a:pt x="2" y="50"/>
                </a:lnTo>
                <a:lnTo>
                  <a:pt x="2" y="48"/>
                </a:lnTo>
                <a:lnTo>
                  <a:pt x="0" y="44"/>
                </a:lnTo>
                <a:lnTo>
                  <a:pt x="0" y="44"/>
                </a:lnTo>
                <a:lnTo>
                  <a:pt x="2" y="44"/>
                </a:lnTo>
                <a:lnTo>
                  <a:pt x="8" y="44"/>
                </a:lnTo>
                <a:lnTo>
                  <a:pt x="8" y="44"/>
                </a:lnTo>
                <a:lnTo>
                  <a:pt x="10" y="44"/>
                </a:lnTo>
                <a:lnTo>
                  <a:pt x="12" y="44"/>
                </a:lnTo>
                <a:lnTo>
                  <a:pt x="14" y="44"/>
                </a:lnTo>
                <a:lnTo>
                  <a:pt x="14" y="44"/>
                </a:lnTo>
                <a:lnTo>
                  <a:pt x="16" y="42"/>
                </a:lnTo>
                <a:lnTo>
                  <a:pt x="18" y="42"/>
                </a:lnTo>
                <a:lnTo>
                  <a:pt x="22" y="44"/>
                </a:lnTo>
                <a:lnTo>
                  <a:pt x="22" y="44"/>
                </a:lnTo>
                <a:lnTo>
                  <a:pt x="32" y="40"/>
                </a:lnTo>
                <a:lnTo>
                  <a:pt x="32" y="40"/>
                </a:lnTo>
                <a:lnTo>
                  <a:pt x="36" y="38"/>
                </a:lnTo>
                <a:lnTo>
                  <a:pt x="40" y="38"/>
                </a:lnTo>
                <a:lnTo>
                  <a:pt x="40" y="38"/>
                </a:lnTo>
                <a:lnTo>
                  <a:pt x="42" y="30"/>
                </a:lnTo>
                <a:lnTo>
                  <a:pt x="42" y="26"/>
                </a:lnTo>
                <a:lnTo>
                  <a:pt x="44" y="24"/>
                </a:lnTo>
                <a:lnTo>
                  <a:pt x="44" y="24"/>
                </a:lnTo>
                <a:lnTo>
                  <a:pt x="44" y="22"/>
                </a:lnTo>
                <a:lnTo>
                  <a:pt x="46" y="20"/>
                </a:lnTo>
                <a:lnTo>
                  <a:pt x="46" y="20"/>
                </a:lnTo>
                <a:lnTo>
                  <a:pt x="50" y="18"/>
                </a:lnTo>
                <a:lnTo>
                  <a:pt x="50" y="16"/>
                </a:lnTo>
                <a:lnTo>
                  <a:pt x="50" y="16"/>
                </a:lnTo>
                <a:lnTo>
                  <a:pt x="52" y="12"/>
                </a:lnTo>
                <a:lnTo>
                  <a:pt x="54" y="10"/>
                </a:lnTo>
                <a:lnTo>
                  <a:pt x="54" y="10"/>
                </a:lnTo>
                <a:lnTo>
                  <a:pt x="58" y="8"/>
                </a:lnTo>
                <a:lnTo>
                  <a:pt x="60" y="6"/>
                </a:lnTo>
                <a:lnTo>
                  <a:pt x="7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 name="Freeform 289">
            <a:extLst>
              <a:ext uri="{FF2B5EF4-FFF2-40B4-BE49-F238E27FC236}">
                <a16:creationId xmlns:a16="http://schemas.microsoft.com/office/drawing/2014/main" id="{376BDBB6-97BE-43F7-9D94-2C812EE9212E}"/>
              </a:ext>
            </a:extLst>
          </p:cNvPr>
          <p:cNvSpPr>
            <a:spLocks/>
          </p:cNvSpPr>
          <p:nvPr userDrawn="1"/>
        </p:nvSpPr>
        <p:spPr bwMode="auto">
          <a:xfrm>
            <a:off x="6347187" y="3924318"/>
            <a:ext cx="258263" cy="277989"/>
          </a:xfrm>
          <a:custGeom>
            <a:avLst/>
            <a:gdLst>
              <a:gd name="T0" fmla="*/ 36 w 154"/>
              <a:gd name="T1" fmla="*/ 156 h 162"/>
              <a:gd name="T2" fmla="*/ 42 w 154"/>
              <a:gd name="T3" fmla="*/ 162 h 162"/>
              <a:gd name="T4" fmla="*/ 50 w 154"/>
              <a:gd name="T5" fmla="*/ 162 h 162"/>
              <a:gd name="T6" fmla="*/ 56 w 154"/>
              <a:gd name="T7" fmla="*/ 162 h 162"/>
              <a:gd name="T8" fmla="*/ 64 w 154"/>
              <a:gd name="T9" fmla="*/ 162 h 162"/>
              <a:gd name="T10" fmla="*/ 82 w 154"/>
              <a:gd name="T11" fmla="*/ 156 h 162"/>
              <a:gd name="T12" fmla="*/ 86 w 154"/>
              <a:gd name="T13" fmla="*/ 142 h 162"/>
              <a:gd name="T14" fmla="*/ 88 w 154"/>
              <a:gd name="T15" fmla="*/ 138 h 162"/>
              <a:gd name="T16" fmla="*/ 94 w 154"/>
              <a:gd name="T17" fmla="*/ 130 h 162"/>
              <a:gd name="T18" fmla="*/ 102 w 154"/>
              <a:gd name="T19" fmla="*/ 124 h 162"/>
              <a:gd name="T20" fmla="*/ 114 w 154"/>
              <a:gd name="T21" fmla="*/ 116 h 162"/>
              <a:gd name="T22" fmla="*/ 140 w 154"/>
              <a:gd name="T23" fmla="*/ 100 h 162"/>
              <a:gd name="T24" fmla="*/ 140 w 154"/>
              <a:gd name="T25" fmla="*/ 86 h 162"/>
              <a:gd name="T26" fmla="*/ 140 w 154"/>
              <a:gd name="T27" fmla="*/ 74 h 162"/>
              <a:gd name="T28" fmla="*/ 150 w 154"/>
              <a:gd name="T29" fmla="*/ 66 h 162"/>
              <a:gd name="T30" fmla="*/ 148 w 154"/>
              <a:gd name="T31" fmla="*/ 62 h 162"/>
              <a:gd name="T32" fmla="*/ 146 w 154"/>
              <a:gd name="T33" fmla="*/ 54 h 162"/>
              <a:gd name="T34" fmla="*/ 146 w 154"/>
              <a:gd name="T35" fmla="*/ 46 h 162"/>
              <a:gd name="T36" fmla="*/ 154 w 154"/>
              <a:gd name="T37" fmla="*/ 38 h 162"/>
              <a:gd name="T38" fmla="*/ 152 w 154"/>
              <a:gd name="T39" fmla="*/ 32 h 162"/>
              <a:gd name="T40" fmla="*/ 148 w 154"/>
              <a:gd name="T41" fmla="*/ 22 h 162"/>
              <a:gd name="T42" fmla="*/ 140 w 154"/>
              <a:gd name="T43" fmla="*/ 18 h 162"/>
              <a:gd name="T44" fmla="*/ 134 w 154"/>
              <a:gd name="T45" fmla="*/ 14 h 162"/>
              <a:gd name="T46" fmla="*/ 132 w 154"/>
              <a:gd name="T47" fmla="*/ 6 h 162"/>
              <a:gd name="T48" fmla="*/ 126 w 154"/>
              <a:gd name="T49" fmla="*/ 8 h 162"/>
              <a:gd name="T50" fmla="*/ 118 w 154"/>
              <a:gd name="T51" fmla="*/ 8 h 162"/>
              <a:gd name="T52" fmla="*/ 120 w 154"/>
              <a:gd name="T53" fmla="*/ 4 h 162"/>
              <a:gd name="T54" fmla="*/ 92 w 154"/>
              <a:gd name="T55" fmla="*/ 8 h 162"/>
              <a:gd name="T56" fmla="*/ 92 w 154"/>
              <a:gd name="T57" fmla="*/ 10 h 162"/>
              <a:gd name="T58" fmla="*/ 84 w 154"/>
              <a:gd name="T59" fmla="*/ 18 h 162"/>
              <a:gd name="T60" fmla="*/ 80 w 154"/>
              <a:gd name="T61" fmla="*/ 22 h 162"/>
              <a:gd name="T62" fmla="*/ 82 w 154"/>
              <a:gd name="T63" fmla="*/ 30 h 162"/>
              <a:gd name="T64" fmla="*/ 86 w 154"/>
              <a:gd name="T65" fmla="*/ 40 h 162"/>
              <a:gd name="T66" fmla="*/ 86 w 154"/>
              <a:gd name="T67" fmla="*/ 50 h 162"/>
              <a:gd name="T68" fmla="*/ 96 w 154"/>
              <a:gd name="T69" fmla="*/ 56 h 162"/>
              <a:gd name="T70" fmla="*/ 102 w 154"/>
              <a:gd name="T71" fmla="*/ 62 h 162"/>
              <a:gd name="T72" fmla="*/ 104 w 154"/>
              <a:gd name="T73" fmla="*/ 74 h 162"/>
              <a:gd name="T74" fmla="*/ 96 w 154"/>
              <a:gd name="T75" fmla="*/ 78 h 162"/>
              <a:gd name="T76" fmla="*/ 94 w 154"/>
              <a:gd name="T77" fmla="*/ 72 h 162"/>
              <a:gd name="T78" fmla="*/ 86 w 154"/>
              <a:gd name="T79" fmla="*/ 64 h 162"/>
              <a:gd name="T80" fmla="*/ 80 w 154"/>
              <a:gd name="T81" fmla="*/ 58 h 162"/>
              <a:gd name="T82" fmla="*/ 74 w 154"/>
              <a:gd name="T83" fmla="*/ 52 h 162"/>
              <a:gd name="T84" fmla="*/ 70 w 154"/>
              <a:gd name="T85" fmla="*/ 52 h 162"/>
              <a:gd name="T86" fmla="*/ 52 w 154"/>
              <a:gd name="T87" fmla="*/ 56 h 162"/>
              <a:gd name="T88" fmla="*/ 48 w 154"/>
              <a:gd name="T89" fmla="*/ 54 h 162"/>
              <a:gd name="T90" fmla="*/ 46 w 154"/>
              <a:gd name="T91" fmla="*/ 46 h 162"/>
              <a:gd name="T92" fmla="*/ 40 w 154"/>
              <a:gd name="T93" fmla="*/ 48 h 162"/>
              <a:gd name="T94" fmla="*/ 30 w 154"/>
              <a:gd name="T95" fmla="*/ 40 h 162"/>
              <a:gd name="T96" fmla="*/ 32 w 154"/>
              <a:gd name="T97" fmla="*/ 50 h 162"/>
              <a:gd name="T98" fmla="*/ 30 w 154"/>
              <a:gd name="T99" fmla="*/ 66 h 162"/>
              <a:gd name="T100" fmla="*/ 0 w 154"/>
              <a:gd name="T101" fmla="*/ 130 h 162"/>
              <a:gd name="T102" fmla="*/ 4 w 154"/>
              <a:gd name="T103" fmla="*/ 138 h 162"/>
              <a:gd name="T104" fmla="*/ 14 w 154"/>
              <a:gd name="T105" fmla="*/ 152 h 162"/>
              <a:gd name="T106" fmla="*/ 18 w 154"/>
              <a:gd name="T107" fmla="*/ 15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4" h="162">
                <a:moveTo>
                  <a:pt x="18" y="158"/>
                </a:moveTo>
                <a:lnTo>
                  <a:pt x="32" y="156"/>
                </a:lnTo>
                <a:lnTo>
                  <a:pt x="32" y="156"/>
                </a:lnTo>
                <a:lnTo>
                  <a:pt x="36" y="156"/>
                </a:lnTo>
                <a:lnTo>
                  <a:pt x="38" y="158"/>
                </a:lnTo>
                <a:lnTo>
                  <a:pt x="38" y="158"/>
                </a:lnTo>
                <a:lnTo>
                  <a:pt x="40" y="160"/>
                </a:lnTo>
                <a:lnTo>
                  <a:pt x="42" y="162"/>
                </a:lnTo>
                <a:lnTo>
                  <a:pt x="42" y="162"/>
                </a:lnTo>
                <a:lnTo>
                  <a:pt x="44" y="162"/>
                </a:lnTo>
                <a:lnTo>
                  <a:pt x="50" y="162"/>
                </a:lnTo>
                <a:lnTo>
                  <a:pt x="50" y="162"/>
                </a:lnTo>
                <a:lnTo>
                  <a:pt x="52" y="162"/>
                </a:lnTo>
                <a:lnTo>
                  <a:pt x="54" y="162"/>
                </a:lnTo>
                <a:lnTo>
                  <a:pt x="56" y="162"/>
                </a:lnTo>
                <a:lnTo>
                  <a:pt x="56" y="162"/>
                </a:lnTo>
                <a:lnTo>
                  <a:pt x="58" y="160"/>
                </a:lnTo>
                <a:lnTo>
                  <a:pt x="60" y="160"/>
                </a:lnTo>
                <a:lnTo>
                  <a:pt x="64" y="162"/>
                </a:lnTo>
                <a:lnTo>
                  <a:pt x="64" y="162"/>
                </a:lnTo>
                <a:lnTo>
                  <a:pt x="74" y="158"/>
                </a:lnTo>
                <a:lnTo>
                  <a:pt x="74" y="158"/>
                </a:lnTo>
                <a:lnTo>
                  <a:pt x="78" y="156"/>
                </a:lnTo>
                <a:lnTo>
                  <a:pt x="82" y="156"/>
                </a:lnTo>
                <a:lnTo>
                  <a:pt x="82" y="156"/>
                </a:lnTo>
                <a:lnTo>
                  <a:pt x="84" y="148"/>
                </a:lnTo>
                <a:lnTo>
                  <a:pt x="84" y="144"/>
                </a:lnTo>
                <a:lnTo>
                  <a:pt x="86" y="142"/>
                </a:lnTo>
                <a:lnTo>
                  <a:pt x="86" y="142"/>
                </a:lnTo>
                <a:lnTo>
                  <a:pt x="86" y="140"/>
                </a:lnTo>
                <a:lnTo>
                  <a:pt x="88" y="138"/>
                </a:lnTo>
                <a:lnTo>
                  <a:pt x="88" y="138"/>
                </a:lnTo>
                <a:lnTo>
                  <a:pt x="92" y="136"/>
                </a:lnTo>
                <a:lnTo>
                  <a:pt x="92" y="134"/>
                </a:lnTo>
                <a:lnTo>
                  <a:pt x="92" y="134"/>
                </a:lnTo>
                <a:lnTo>
                  <a:pt x="94" y="130"/>
                </a:lnTo>
                <a:lnTo>
                  <a:pt x="96" y="128"/>
                </a:lnTo>
                <a:lnTo>
                  <a:pt x="96" y="128"/>
                </a:lnTo>
                <a:lnTo>
                  <a:pt x="100" y="126"/>
                </a:lnTo>
                <a:lnTo>
                  <a:pt x="102" y="124"/>
                </a:lnTo>
                <a:lnTo>
                  <a:pt x="112" y="120"/>
                </a:lnTo>
                <a:lnTo>
                  <a:pt x="114" y="118"/>
                </a:lnTo>
                <a:lnTo>
                  <a:pt x="114" y="118"/>
                </a:lnTo>
                <a:lnTo>
                  <a:pt x="114" y="116"/>
                </a:lnTo>
                <a:lnTo>
                  <a:pt x="112" y="114"/>
                </a:lnTo>
                <a:lnTo>
                  <a:pt x="110" y="110"/>
                </a:lnTo>
                <a:lnTo>
                  <a:pt x="140" y="100"/>
                </a:lnTo>
                <a:lnTo>
                  <a:pt x="140" y="100"/>
                </a:lnTo>
                <a:lnTo>
                  <a:pt x="138" y="92"/>
                </a:lnTo>
                <a:lnTo>
                  <a:pt x="138" y="92"/>
                </a:lnTo>
                <a:lnTo>
                  <a:pt x="140" y="88"/>
                </a:lnTo>
                <a:lnTo>
                  <a:pt x="140" y="86"/>
                </a:lnTo>
                <a:lnTo>
                  <a:pt x="140" y="84"/>
                </a:lnTo>
                <a:lnTo>
                  <a:pt x="140" y="84"/>
                </a:lnTo>
                <a:lnTo>
                  <a:pt x="140" y="78"/>
                </a:lnTo>
                <a:lnTo>
                  <a:pt x="140" y="74"/>
                </a:lnTo>
                <a:lnTo>
                  <a:pt x="142" y="72"/>
                </a:lnTo>
                <a:lnTo>
                  <a:pt x="142" y="72"/>
                </a:lnTo>
                <a:lnTo>
                  <a:pt x="148" y="68"/>
                </a:lnTo>
                <a:lnTo>
                  <a:pt x="150" y="66"/>
                </a:lnTo>
                <a:lnTo>
                  <a:pt x="150" y="64"/>
                </a:lnTo>
                <a:lnTo>
                  <a:pt x="150" y="64"/>
                </a:lnTo>
                <a:lnTo>
                  <a:pt x="148" y="62"/>
                </a:lnTo>
                <a:lnTo>
                  <a:pt x="148" y="62"/>
                </a:lnTo>
                <a:lnTo>
                  <a:pt x="146" y="62"/>
                </a:lnTo>
                <a:lnTo>
                  <a:pt x="146" y="60"/>
                </a:lnTo>
                <a:lnTo>
                  <a:pt x="146" y="60"/>
                </a:lnTo>
                <a:lnTo>
                  <a:pt x="146" y="54"/>
                </a:lnTo>
                <a:lnTo>
                  <a:pt x="146" y="50"/>
                </a:lnTo>
                <a:lnTo>
                  <a:pt x="146" y="50"/>
                </a:lnTo>
                <a:lnTo>
                  <a:pt x="146" y="48"/>
                </a:lnTo>
                <a:lnTo>
                  <a:pt x="146" y="46"/>
                </a:lnTo>
                <a:lnTo>
                  <a:pt x="150" y="44"/>
                </a:lnTo>
                <a:lnTo>
                  <a:pt x="150" y="44"/>
                </a:lnTo>
                <a:lnTo>
                  <a:pt x="152" y="40"/>
                </a:lnTo>
                <a:lnTo>
                  <a:pt x="154" y="38"/>
                </a:lnTo>
                <a:lnTo>
                  <a:pt x="152" y="36"/>
                </a:lnTo>
                <a:lnTo>
                  <a:pt x="152" y="36"/>
                </a:lnTo>
                <a:lnTo>
                  <a:pt x="152" y="34"/>
                </a:lnTo>
                <a:lnTo>
                  <a:pt x="152" y="32"/>
                </a:lnTo>
                <a:lnTo>
                  <a:pt x="152" y="28"/>
                </a:lnTo>
                <a:lnTo>
                  <a:pt x="150" y="26"/>
                </a:lnTo>
                <a:lnTo>
                  <a:pt x="150" y="26"/>
                </a:lnTo>
                <a:lnTo>
                  <a:pt x="148" y="22"/>
                </a:lnTo>
                <a:lnTo>
                  <a:pt x="148" y="20"/>
                </a:lnTo>
                <a:lnTo>
                  <a:pt x="148" y="20"/>
                </a:lnTo>
                <a:lnTo>
                  <a:pt x="144" y="20"/>
                </a:lnTo>
                <a:lnTo>
                  <a:pt x="140" y="18"/>
                </a:lnTo>
                <a:lnTo>
                  <a:pt x="140" y="18"/>
                </a:lnTo>
                <a:lnTo>
                  <a:pt x="136" y="14"/>
                </a:lnTo>
                <a:lnTo>
                  <a:pt x="134" y="14"/>
                </a:lnTo>
                <a:lnTo>
                  <a:pt x="134" y="14"/>
                </a:lnTo>
                <a:lnTo>
                  <a:pt x="132" y="12"/>
                </a:lnTo>
                <a:lnTo>
                  <a:pt x="132" y="10"/>
                </a:lnTo>
                <a:lnTo>
                  <a:pt x="132" y="6"/>
                </a:lnTo>
                <a:lnTo>
                  <a:pt x="132" y="6"/>
                </a:lnTo>
                <a:lnTo>
                  <a:pt x="132" y="6"/>
                </a:lnTo>
                <a:lnTo>
                  <a:pt x="134" y="8"/>
                </a:lnTo>
                <a:lnTo>
                  <a:pt x="134" y="8"/>
                </a:lnTo>
                <a:lnTo>
                  <a:pt x="126" y="8"/>
                </a:lnTo>
                <a:lnTo>
                  <a:pt x="126" y="8"/>
                </a:lnTo>
                <a:lnTo>
                  <a:pt x="122" y="8"/>
                </a:lnTo>
                <a:lnTo>
                  <a:pt x="122" y="8"/>
                </a:lnTo>
                <a:lnTo>
                  <a:pt x="118" y="8"/>
                </a:lnTo>
                <a:lnTo>
                  <a:pt x="118" y="8"/>
                </a:lnTo>
                <a:lnTo>
                  <a:pt x="118" y="8"/>
                </a:lnTo>
                <a:lnTo>
                  <a:pt x="118" y="8"/>
                </a:lnTo>
                <a:lnTo>
                  <a:pt x="120" y="4"/>
                </a:lnTo>
                <a:lnTo>
                  <a:pt x="120" y="2"/>
                </a:lnTo>
                <a:lnTo>
                  <a:pt x="118" y="2"/>
                </a:lnTo>
                <a:lnTo>
                  <a:pt x="118" y="0"/>
                </a:lnTo>
                <a:lnTo>
                  <a:pt x="92" y="8"/>
                </a:lnTo>
                <a:lnTo>
                  <a:pt x="92" y="8"/>
                </a:lnTo>
                <a:lnTo>
                  <a:pt x="92" y="8"/>
                </a:lnTo>
                <a:lnTo>
                  <a:pt x="92" y="8"/>
                </a:lnTo>
                <a:lnTo>
                  <a:pt x="92" y="10"/>
                </a:lnTo>
                <a:lnTo>
                  <a:pt x="88" y="14"/>
                </a:lnTo>
                <a:lnTo>
                  <a:pt x="84" y="16"/>
                </a:lnTo>
                <a:lnTo>
                  <a:pt x="84" y="18"/>
                </a:lnTo>
                <a:lnTo>
                  <a:pt x="84" y="18"/>
                </a:lnTo>
                <a:lnTo>
                  <a:pt x="82" y="18"/>
                </a:lnTo>
                <a:lnTo>
                  <a:pt x="82" y="18"/>
                </a:lnTo>
                <a:lnTo>
                  <a:pt x="82" y="18"/>
                </a:lnTo>
                <a:lnTo>
                  <a:pt x="80" y="22"/>
                </a:lnTo>
                <a:lnTo>
                  <a:pt x="80" y="26"/>
                </a:lnTo>
                <a:lnTo>
                  <a:pt x="80" y="26"/>
                </a:lnTo>
                <a:lnTo>
                  <a:pt x="82" y="28"/>
                </a:lnTo>
                <a:lnTo>
                  <a:pt x="82" y="30"/>
                </a:lnTo>
                <a:lnTo>
                  <a:pt x="82" y="30"/>
                </a:lnTo>
                <a:lnTo>
                  <a:pt x="84" y="36"/>
                </a:lnTo>
                <a:lnTo>
                  <a:pt x="86" y="38"/>
                </a:lnTo>
                <a:lnTo>
                  <a:pt x="86" y="40"/>
                </a:lnTo>
                <a:lnTo>
                  <a:pt x="86" y="40"/>
                </a:lnTo>
                <a:lnTo>
                  <a:pt x="84" y="46"/>
                </a:lnTo>
                <a:lnTo>
                  <a:pt x="84" y="46"/>
                </a:lnTo>
                <a:lnTo>
                  <a:pt x="86" y="50"/>
                </a:lnTo>
                <a:lnTo>
                  <a:pt x="90" y="54"/>
                </a:lnTo>
                <a:lnTo>
                  <a:pt x="90" y="54"/>
                </a:lnTo>
                <a:lnTo>
                  <a:pt x="94" y="56"/>
                </a:lnTo>
                <a:lnTo>
                  <a:pt x="96" y="56"/>
                </a:lnTo>
                <a:lnTo>
                  <a:pt x="98" y="60"/>
                </a:lnTo>
                <a:lnTo>
                  <a:pt x="98" y="60"/>
                </a:lnTo>
                <a:lnTo>
                  <a:pt x="100" y="62"/>
                </a:lnTo>
                <a:lnTo>
                  <a:pt x="102" y="62"/>
                </a:lnTo>
                <a:lnTo>
                  <a:pt x="102" y="62"/>
                </a:lnTo>
                <a:lnTo>
                  <a:pt x="110" y="60"/>
                </a:lnTo>
                <a:lnTo>
                  <a:pt x="110" y="76"/>
                </a:lnTo>
                <a:lnTo>
                  <a:pt x="104" y="74"/>
                </a:lnTo>
                <a:lnTo>
                  <a:pt x="104" y="74"/>
                </a:lnTo>
                <a:lnTo>
                  <a:pt x="100" y="76"/>
                </a:lnTo>
                <a:lnTo>
                  <a:pt x="100" y="76"/>
                </a:lnTo>
                <a:lnTo>
                  <a:pt x="96" y="78"/>
                </a:lnTo>
                <a:lnTo>
                  <a:pt x="94" y="78"/>
                </a:lnTo>
                <a:lnTo>
                  <a:pt x="92" y="76"/>
                </a:lnTo>
                <a:lnTo>
                  <a:pt x="92" y="76"/>
                </a:lnTo>
                <a:lnTo>
                  <a:pt x="94" y="72"/>
                </a:lnTo>
                <a:lnTo>
                  <a:pt x="92" y="68"/>
                </a:lnTo>
                <a:lnTo>
                  <a:pt x="92" y="68"/>
                </a:lnTo>
                <a:lnTo>
                  <a:pt x="90" y="66"/>
                </a:lnTo>
                <a:lnTo>
                  <a:pt x="86" y="64"/>
                </a:lnTo>
                <a:lnTo>
                  <a:pt x="84" y="64"/>
                </a:lnTo>
                <a:lnTo>
                  <a:pt x="82" y="62"/>
                </a:lnTo>
                <a:lnTo>
                  <a:pt x="82" y="62"/>
                </a:lnTo>
                <a:lnTo>
                  <a:pt x="80" y="58"/>
                </a:lnTo>
                <a:lnTo>
                  <a:pt x="76" y="56"/>
                </a:lnTo>
                <a:lnTo>
                  <a:pt x="76" y="56"/>
                </a:lnTo>
                <a:lnTo>
                  <a:pt x="76" y="52"/>
                </a:lnTo>
                <a:lnTo>
                  <a:pt x="74" y="52"/>
                </a:lnTo>
                <a:lnTo>
                  <a:pt x="74" y="52"/>
                </a:lnTo>
                <a:lnTo>
                  <a:pt x="72" y="50"/>
                </a:lnTo>
                <a:lnTo>
                  <a:pt x="70" y="52"/>
                </a:lnTo>
                <a:lnTo>
                  <a:pt x="70" y="52"/>
                </a:lnTo>
                <a:lnTo>
                  <a:pt x="68" y="56"/>
                </a:lnTo>
                <a:lnTo>
                  <a:pt x="62" y="56"/>
                </a:lnTo>
                <a:lnTo>
                  <a:pt x="62" y="56"/>
                </a:lnTo>
                <a:lnTo>
                  <a:pt x="52" y="56"/>
                </a:lnTo>
                <a:lnTo>
                  <a:pt x="52" y="56"/>
                </a:lnTo>
                <a:lnTo>
                  <a:pt x="50" y="54"/>
                </a:lnTo>
                <a:lnTo>
                  <a:pt x="48" y="54"/>
                </a:lnTo>
                <a:lnTo>
                  <a:pt x="48" y="54"/>
                </a:lnTo>
                <a:lnTo>
                  <a:pt x="50" y="48"/>
                </a:lnTo>
                <a:lnTo>
                  <a:pt x="50" y="48"/>
                </a:lnTo>
                <a:lnTo>
                  <a:pt x="48" y="46"/>
                </a:lnTo>
                <a:lnTo>
                  <a:pt x="46" y="46"/>
                </a:lnTo>
                <a:lnTo>
                  <a:pt x="44" y="46"/>
                </a:lnTo>
                <a:lnTo>
                  <a:pt x="44" y="46"/>
                </a:lnTo>
                <a:lnTo>
                  <a:pt x="42" y="48"/>
                </a:lnTo>
                <a:lnTo>
                  <a:pt x="40" y="48"/>
                </a:lnTo>
                <a:lnTo>
                  <a:pt x="38" y="46"/>
                </a:lnTo>
                <a:lnTo>
                  <a:pt x="38" y="46"/>
                </a:lnTo>
                <a:lnTo>
                  <a:pt x="38" y="38"/>
                </a:lnTo>
                <a:lnTo>
                  <a:pt x="30" y="40"/>
                </a:lnTo>
                <a:lnTo>
                  <a:pt x="30" y="40"/>
                </a:lnTo>
                <a:lnTo>
                  <a:pt x="32" y="44"/>
                </a:lnTo>
                <a:lnTo>
                  <a:pt x="32" y="50"/>
                </a:lnTo>
                <a:lnTo>
                  <a:pt x="32" y="50"/>
                </a:lnTo>
                <a:lnTo>
                  <a:pt x="30" y="54"/>
                </a:lnTo>
                <a:lnTo>
                  <a:pt x="30" y="58"/>
                </a:lnTo>
                <a:lnTo>
                  <a:pt x="30" y="58"/>
                </a:lnTo>
                <a:lnTo>
                  <a:pt x="30" y="66"/>
                </a:lnTo>
                <a:lnTo>
                  <a:pt x="30" y="66"/>
                </a:lnTo>
                <a:lnTo>
                  <a:pt x="30" y="70"/>
                </a:lnTo>
                <a:lnTo>
                  <a:pt x="0" y="70"/>
                </a:lnTo>
                <a:lnTo>
                  <a:pt x="0" y="130"/>
                </a:lnTo>
                <a:lnTo>
                  <a:pt x="0" y="130"/>
                </a:lnTo>
                <a:lnTo>
                  <a:pt x="2" y="132"/>
                </a:lnTo>
                <a:lnTo>
                  <a:pt x="4" y="138"/>
                </a:lnTo>
                <a:lnTo>
                  <a:pt x="4" y="138"/>
                </a:lnTo>
                <a:lnTo>
                  <a:pt x="6" y="142"/>
                </a:lnTo>
                <a:lnTo>
                  <a:pt x="10" y="148"/>
                </a:lnTo>
                <a:lnTo>
                  <a:pt x="10" y="148"/>
                </a:lnTo>
                <a:lnTo>
                  <a:pt x="14" y="152"/>
                </a:lnTo>
                <a:lnTo>
                  <a:pt x="14" y="154"/>
                </a:lnTo>
                <a:lnTo>
                  <a:pt x="16" y="158"/>
                </a:lnTo>
                <a:lnTo>
                  <a:pt x="18" y="158"/>
                </a:lnTo>
                <a:lnTo>
                  <a:pt x="18" y="1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 name="Freeform 290">
            <a:extLst>
              <a:ext uri="{FF2B5EF4-FFF2-40B4-BE49-F238E27FC236}">
                <a16:creationId xmlns:a16="http://schemas.microsoft.com/office/drawing/2014/main" id="{4C8851BF-8204-40DB-B623-3498B0AA42EC}"/>
              </a:ext>
            </a:extLst>
          </p:cNvPr>
          <p:cNvSpPr>
            <a:spLocks/>
          </p:cNvSpPr>
          <p:nvPr userDrawn="1"/>
        </p:nvSpPr>
        <p:spPr bwMode="auto">
          <a:xfrm>
            <a:off x="6125818" y="3522777"/>
            <a:ext cx="439384" cy="535388"/>
          </a:xfrm>
          <a:custGeom>
            <a:avLst/>
            <a:gdLst>
              <a:gd name="T0" fmla="*/ 0 w 262"/>
              <a:gd name="T1" fmla="*/ 184 h 312"/>
              <a:gd name="T2" fmla="*/ 14 w 262"/>
              <a:gd name="T3" fmla="*/ 190 h 312"/>
              <a:gd name="T4" fmla="*/ 72 w 262"/>
              <a:gd name="T5" fmla="*/ 186 h 312"/>
              <a:gd name="T6" fmla="*/ 76 w 262"/>
              <a:gd name="T7" fmla="*/ 208 h 312"/>
              <a:gd name="T8" fmla="*/ 90 w 262"/>
              <a:gd name="T9" fmla="*/ 224 h 312"/>
              <a:gd name="T10" fmla="*/ 98 w 262"/>
              <a:gd name="T11" fmla="*/ 222 h 312"/>
              <a:gd name="T12" fmla="*/ 102 w 262"/>
              <a:gd name="T13" fmla="*/ 208 h 312"/>
              <a:gd name="T14" fmla="*/ 118 w 262"/>
              <a:gd name="T15" fmla="*/ 208 h 312"/>
              <a:gd name="T16" fmla="*/ 130 w 262"/>
              <a:gd name="T17" fmla="*/ 216 h 312"/>
              <a:gd name="T18" fmla="*/ 132 w 262"/>
              <a:gd name="T19" fmla="*/ 234 h 312"/>
              <a:gd name="T20" fmla="*/ 138 w 262"/>
              <a:gd name="T21" fmla="*/ 250 h 312"/>
              <a:gd name="T22" fmla="*/ 138 w 262"/>
              <a:gd name="T23" fmla="*/ 266 h 312"/>
              <a:gd name="T24" fmla="*/ 150 w 262"/>
              <a:gd name="T25" fmla="*/ 274 h 312"/>
              <a:gd name="T26" fmla="*/ 170 w 262"/>
              <a:gd name="T27" fmla="*/ 280 h 312"/>
              <a:gd name="T28" fmla="*/ 182 w 262"/>
              <a:gd name="T29" fmla="*/ 282 h 312"/>
              <a:gd name="T30" fmla="*/ 194 w 262"/>
              <a:gd name="T31" fmla="*/ 290 h 312"/>
              <a:gd name="T32" fmla="*/ 206 w 262"/>
              <a:gd name="T33" fmla="*/ 286 h 312"/>
              <a:gd name="T34" fmla="*/ 216 w 262"/>
              <a:gd name="T35" fmla="*/ 298 h 312"/>
              <a:gd name="T36" fmla="*/ 224 w 262"/>
              <a:gd name="T37" fmla="*/ 310 h 312"/>
              <a:gd name="T38" fmla="*/ 242 w 262"/>
              <a:gd name="T39" fmla="*/ 294 h 312"/>
              <a:gd name="T40" fmla="*/ 228 w 262"/>
              <a:gd name="T41" fmla="*/ 290 h 312"/>
              <a:gd name="T42" fmla="*/ 218 w 262"/>
              <a:gd name="T43" fmla="*/ 274 h 312"/>
              <a:gd name="T44" fmla="*/ 212 w 262"/>
              <a:gd name="T45" fmla="*/ 260 h 312"/>
              <a:gd name="T46" fmla="*/ 220 w 262"/>
              <a:gd name="T47" fmla="*/ 242 h 312"/>
              <a:gd name="T48" fmla="*/ 250 w 262"/>
              <a:gd name="T49" fmla="*/ 228 h 312"/>
              <a:gd name="T50" fmla="*/ 240 w 262"/>
              <a:gd name="T51" fmla="*/ 214 h 312"/>
              <a:gd name="T52" fmla="*/ 230 w 262"/>
              <a:gd name="T53" fmla="*/ 188 h 312"/>
              <a:gd name="T54" fmla="*/ 228 w 262"/>
              <a:gd name="T55" fmla="*/ 170 h 312"/>
              <a:gd name="T56" fmla="*/ 228 w 262"/>
              <a:gd name="T57" fmla="*/ 146 h 312"/>
              <a:gd name="T58" fmla="*/ 224 w 262"/>
              <a:gd name="T59" fmla="*/ 138 h 312"/>
              <a:gd name="T60" fmla="*/ 224 w 262"/>
              <a:gd name="T61" fmla="*/ 124 h 312"/>
              <a:gd name="T62" fmla="*/ 226 w 262"/>
              <a:gd name="T63" fmla="*/ 120 h 312"/>
              <a:gd name="T64" fmla="*/ 226 w 262"/>
              <a:gd name="T65" fmla="*/ 110 h 312"/>
              <a:gd name="T66" fmla="*/ 236 w 262"/>
              <a:gd name="T67" fmla="*/ 92 h 312"/>
              <a:gd name="T68" fmla="*/ 248 w 262"/>
              <a:gd name="T69" fmla="*/ 78 h 312"/>
              <a:gd name="T70" fmla="*/ 258 w 262"/>
              <a:gd name="T71" fmla="*/ 66 h 312"/>
              <a:gd name="T72" fmla="*/ 256 w 262"/>
              <a:gd name="T73" fmla="*/ 54 h 312"/>
              <a:gd name="T74" fmla="*/ 258 w 262"/>
              <a:gd name="T75" fmla="*/ 44 h 312"/>
              <a:gd name="T76" fmla="*/ 252 w 262"/>
              <a:gd name="T77" fmla="*/ 30 h 312"/>
              <a:gd name="T78" fmla="*/ 236 w 262"/>
              <a:gd name="T79" fmla="*/ 16 h 312"/>
              <a:gd name="T80" fmla="*/ 224 w 262"/>
              <a:gd name="T81" fmla="*/ 16 h 312"/>
              <a:gd name="T82" fmla="*/ 210 w 262"/>
              <a:gd name="T83" fmla="*/ 16 h 312"/>
              <a:gd name="T84" fmla="*/ 194 w 262"/>
              <a:gd name="T85" fmla="*/ 2 h 312"/>
              <a:gd name="T86" fmla="*/ 174 w 262"/>
              <a:gd name="T87" fmla="*/ 6 h 312"/>
              <a:gd name="T88" fmla="*/ 166 w 262"/>
              <a:gd name="T89" fmla="*/ 8 h 312"/>
              <a:gd name="T90" fmla="*/ 152 w 262"/>
              <a:gd name="T91" fmla="*/ 8 h 312"/>
              <a:gd name="T92" fmla="*/ 138 w 262"/>
              <a:gd name="T93" fmla="*/ 14 h 312"/>
              <a:gd name="T94" fmla="*/ 114 w 262"/>
              <a:gd name="T95" fmla="*/ 8 h 312"/>
              <a:gd name="T96" fmla="*/ 94 w 262"/>
              <a:gd name="T97" fmla="*/ 10 h 312"/>
              <a:gd name="T98" fmla="*/ 84 w 262"/>
              <a:gd name="T99" fmla="*/ 46 h 312"/>
              <a:gd name="T100" fmla="*/ 78 w 262"/>
              <a:gd name="T101" fmla="*/ 86 h 312"/>
              <a:gd name="T102" fmla="*/ 66 w 262"/>
              <a:gd name="T103" fmla="*/ 120 h 312"/>
              <a:gd name="T104" fmla="*/ 56 w 262"/>
              <a:gd name="T105" fmla="*/ 156 h 312"/>
              <a:gd name="T106" fmla="*/ 36 w 262"/>
              <a:gd name="T107" fmla="*/ 156 h 312"/>
              <a:gd name="T108" fmla="*/ 26 w 262"/>
              <a:gd name="T109" fmla="*/ 162 h 312"/>
              <a:gd name="T110" fmla="*/ 14 w 262"/>
              <a:gd name="T111" fmla="*/ 164 h 312"/>
              <a:gd name="T112" fmla="*/ 8 w 262"/>
              <a:gd name="T113" fmla="*/ 17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12">
                <a:moveTo>
                  <a:pt x="2" y="178"/>
                </a:moveTo>
                <a:lnTo>
                  <a:pt x="2" y="178"/>
                </a:lnTo>
                <a:lnTo>
                  <a:pt x="2" y="180"/>
                </a:lnTo>
                <a:lnTo>
                  <a:pt x="2" y="180"/>
                </a:lnTo>
                <a:lnTo>
                  <a:pt x="0" y="182"/>
                </a:lnTo>
                <a:lnTo>
                  <a:pt x="0" y="184"/>
                </a:lnTo>
                <a:lnTo>
                  <a:pt x="0" y="184"/>
                </a:lnTo>
                <a:lnTo>
                  <a:pt x="2" y="188"/>
                </a:lnTo>
                <a:lnTo>
                  <a:pt x="6" y="190"/>
                </a:lnTo>
                <a:lnTo>
                  <a:pt x="6" y="190"/>
                </a:lnTo>
                <a:lnTo>
                  <a:pt x="6" y="194"/>
                </a:lnTo>
                <a:lnTo>
                  <a:pt x="6" y="194"/>
                </a:lnTo>
                <a:lnTo>
                  <a:pt x="8" y="194"/>
                </a:lnTo>
                <a:lnTo>
                  <a:pt x="14" y="190"/>
                </a:lnTo>
                <a:lnTo>
                  <a:pt x="14" y="190"/>
                </a:lnTo>
                <a:lnTo>
                  <a:pt x="18" y="188"/>
                </a:lnTo>
                <a:lnTo>
                  <a:pt x="22" y="186"/>
                </a:lnTo>
                <a:lnTo>
                  <a:pt x="28" y="186"/>
                </a:lnTo>
                <a:lnTo>
                  <a:pt x="28" y="186"/>
                </a:lnTo>
                <a:lnTo>
                  <a:pt x="44" y="188"/>
                </a:lnTo>
                <a:lnTo>
                  <a:pt x="72" y="186"/>
                </a:lnTo>
                <a:lnTo>
                  <a:pt x="72" y="186"/>
                </a:lnTo>
                <a:lnTo>
                  <a:pt x="74" y="196"/>
                </a:lnTo>
                <a:lnTo>
                  <a:pt x="74" y="196"/>
                </a:lnTo>
                <a:lnTo>
                  <a:pt x="74" y="200"/>
                </a:lnTo>
                <a:lnTo>
                  <a:pt x="74" y="204"/>
                </a:lnTo>
                <a:lnTo>
                  <a:pt x="74" y="204"/>
                </a:lnTo>
                <a:lnTo>
                  <a:pt x="76" y="208"/>
                </a:lnTo>
                <a:lnTo>
                  <a:pt x="76" y="214"/>
                </a:lnTo>
                <a:lnTo>
                  <a:pt x="76" y="214"/>
                </a:lnTo>
                <a:lnTo>
                  <a:pt x="78" y="220"/>
                </a:lnTo>
                <a:lnTo>
                  <a:pt x="80" y="222"/>
                </a:lnTo>
                <a:lnTo>
                  <a:pt x="80" y="222"/>
                </a:lnTo>
                <a:lnTo>
                  <a:pt x="84" y="224"/>
                </a:lnTo>
                <a:lnTo>
                  <a:pt x="90" y="224"/>
                </a:lnTo>
                <a:lnTo>
                  <a:pt x="90" y="224"/>
                </a:lnTo>
                <a:lnTo>
                  <a:pt x="92" y="224"/>
                </a:lnTo>
                <a:lnTo>
                  <a:pt x="94" y="222"/>
                </a:lnTo>
                <a:lnTo>
                  <a:pt x="96" y="220"/>
                </a:lnTo>
                <a:lnTo>
                  <a:pt x="96" y="220"/>
                </a:lnTo>
                <a:lnTo>
                  <a:pt x="96" y="220"/>
                </a:lnTo>
                <a:lnTo>
                  <a:pt x="98" y="222"/>
                </a:lnTo>
                <a:lnTo>
                  <a:pt x="100" y="222"/>
                </a:lnTo>
                <a:lnTo>
                  <a:pt x="102" y="220"/>
                </a:lnTo>
                <a:lnTo>
                  <a:pt x="102" y="218"/>
                </a:lnTo>
                <a:lnTo>
                  <a:pt x="102" y="218"/>
                </a:lnTo>
                <a:lnTo>
                  <a:pt x="100" y="214"/>
                </a:lnTo>
                <a:lnTo>
                  <a:pt x="100" y="210"/>
                </a:lnTo>
                <a:lnTo>
                  <a:pt x="102" y="208"/>
                </a:lnTo>
                <a:lnTo>
                  <a:pt x="102" y="208"/>
                </a:lnTo>
                <a:lnTo>
                  <a:pt x="104" y="206"/>
                </a:lnTo>
                <a:lnTo>
                  <a:pt x="110" y="208"/>
                </a:lnTo>
                <a:lnTo>
                  <a:pt x="110" y="208"/>
                </a:lnTo>
                <a:lnTo>
                  <a:pt x="116" y="208"/>
                </a:lnTo>
                <a:lnTo>
                  <a:pt x="118" y="208"/>
                </a:lnTo>
                <a:lnTo>
                  <a:pt x="118" y="208"/>
                </a:lnTo>
                <a:lnTo>
                  <a:pt x="118" y="208"/>
                </a:lnTo>
                <a:lnTo>
                  <a:pt x="118" y="212"/>
                </a:lnTo>
                <a:lnTo>
                  <a:pt x="118" y="212"/>
                </a:lnTo>
                <a:lnTo>
                  <a:pt x="124" y="212"/>
                </a:lnTo>
                <a:lnTo>
                  <a:pt x="128" y="212"/>
                </a:lnTo>
                <a:lnTo>
                  <a:pt x="130" y="216"/>
                </a:lnTo>
                <a:lnTo>
                  <a:pt x="130" y="216"/>
                </a:lnTo>
                <a:lnTo>
                  <a:pt x="130" y="222"/>
                </a:lnTo>
                <a:lnTo>
                  <a:pt x="130" y="224"/>
                </a:lnTo>
                <a:lnTo>
                  <a:pt x="132" y="226"/>
                </a:lnTo>
                <a:lnTo>
                  <a:pt x="132" y="226"/>
                </a:lnTo>
                <a:lnTo>
                  <a:pt x="132" y="226"/>
                </a:lnTo>
                <a:lnTo>
                  <a:pt x="132" y="228"/>
                </a:lnTo>
                <a:lnTo>
                  <a:pt x="132" y="234"/>
                </a:lnTo>
                <a:lnTo>
                  <a:pt x="132" y="234"/>
                </a:lnTo>
                <a:lnTo>
                  <a:pt x="132" y="238"/>
                </a:lnTo>
                <a:lnTo>
                  <a:pt x="134" y="242"/>
                </a:lnTo>
                <a:lnTo>
                  <a:pt x="134" y="242"/>
                </a:lnTo>
                <a:lnTo>
                  <a:pt x="136" y="246"/>
                </a:lnTo>
                <a:lnTo>
                  <a:pt x="136" y="248"/>
                </a:lnTo>
                <a:lnTo>
                  <a:pt x="138" y="250"/>
                </a:lnTo>
                <a:lnTo>
                  <a:pt x="138" y="250"/>
                </a:lnTo>
                <a:lnTo>
                  <a:pt x="140" y="254"/>
                </a:lnTo>
                <a:lnTo>
                  <a:pt x="138" y="258"/>
                </a:lnTo>
                <a:lnTo>
                  <a:pt x="138" y="258"/>
                </a:lnTo>
                <a:lnTo>
                  <a:pt x="138" y="262"/>
                </a:lnTo>
                <a:lnTo>
                  <a:pt x="138" y="266"/>
                </a:lnTo>
                <a:lnTo>
                  <a:pt x="138" y="266"/>
                </a:lnTo>
                <a:lnTo>
                  <a:pt x="138" y="270"/>
                </a:lnTo>
                <a:lnTo>
                  <a:pt x="140" y="274"/>
                </a:lnTo>
                <a:lnTo>
                  <a:pt x="140" y="274"/>
                </a:lnTo>
                <a:lnTo>
                  <a:pt x="144" y="278"/>
                </a:lnTo>
                <a:lnTo>
                  <a:pt x="146" y="276"/>
                </a:lnTo>
                <a:lnTo>
                  <a:pt x="146" y="276"/>
                </a:lnTo>
                <a:lnTo>
                  <a:pt x="150" y="274"/>
                </a:lnTo>
                <a:lnTo>
                  <a:pt x="152" y="274"/>
                </a:lnTo>
                <a:lnTo>
                  <a:pt x="152" y="274"/>
                </a:lnTo>
                <a:lnTo>
                  <a:pt x="162" y="274"/>
                </a:lnTo>
                <a:lnTo>
                  <a:pt x="170" y="272"/>
                </a:lnTo>
                <a:lnTo>
                  <a:pt x="170" y="272"/>
                </a:lnTo>
                <a:lnTo>
                  <a:pt x="170" y="280"/>
                </a:lnTo>
                <a:lnTo>
                  <a:pt x="170" y="280"/>
                </a:lnTo>
                <a:lnTo>
                  <a:pt x="172" y="282"/>
                </a:lnTo>
                <a:lnTo>
                  <a:pt x="174" y="282"/>
                </a:lnTo>
                <a:lnTo>
                  <a:pt x="176" y="280"/>
                </a:lnTo>
                <a:lnTo>
                  <a:pt x="176" y="280"/>
                </a:lnTo>
                <a:lnTo>
                  <a:pt x="178" y="280"/>
                </a:lnTo>
                <a:lnTo>
                  <a:pt x="180" y="280"/>
                </a:lnTo>
                <a:lnTo>
                  <a:pt x="182" y="282"/>
                </a:lnTo>
                <a:lnTo>
                  <a:pt x="182" y="282"/>
                </a:lnTo>
                <a:lnTo>
                  <a:pt x="180" y="288"/>
                </a:lnTo>
                <a:lnTo>
                  <a:pt x="180" y="288"/>
                </a:lnTo>
                <a:lnTo>
                  <a:pt x="182" y="288"/>
                </a:lnTo>
                <a:lnTo>
                  <a:pt x="184" y="290"/>
                </a:lnTo>
                <a:lnTo>
                  <a:pt x="184" y="290"/>
                </a:lnTo>
                <a:lnTo>
                  <a:pt x="194" y="290"/>
                </a:lnTo>
                <a:lnTo>
                  <a:pt x="194" y="290"/>
                </a:lnTo>
                <a:lnTo>
                  <a:pt x="200" y="290"/>
                </a:lnTo>
                <a:lnTo>
                  <a:pt x="202" y="286"/>
                </a:lnTo>
                <a:lnTo>
                  <a:pt x="202" y="286"/>
                </a:lnTo>
                <a:lnTo>
                  <a:pt x="204" y="284"/>
                </a:lnTo>
                <a:lnTo>
                  <a:pt x="206" y="286"/>
                </a:lnTo>
                <a:lnTo>
                  <a:pt x="206" y="286"/>
                </a:lnTo>
                <a:lnTo>
                  <a:pt x="208" y="286"/>
                </a:lnTo>
                <a:lnTo>
                  <a:pt x="208" y="290"/>
                </a:lnTo>
                <a:lnTo>
                  <a:pt x="208" y="290"/>
                </a:lnTo>
                <a:lnTo>
                  <a:pt x="212" y="292"/>
                </a:lnTo>
                <a:lnTo>
                  <a:pt x="214" y="296"/>
                </a:lnTo>
                <a:lnTo>
                  <a:pt x="214" y="296"/>
                </a:lnTo>
                <a:lnTo>
                  <a:pt x="216" y="298"/>
                </a:lnTo>
                <a:lnTo>
                  <a:pt x="218" y="298"/>
                </a:lnTo>
                <a:lnTo>
                  <a:pt x="222" y="300"/>
                </a:lnTo>
                <a:lnTo>
                  <a:pt x="224" y="302"/>
                </a:lnTo>
                <a:lnTo>
                  <a:pt x="224" y="302"/>
                </a:lnTo>
                <a:lnTo>
                  <a:pt x="226" y="306"/>
                </a:lnTo>
                <a:lnTo>
                  <a:pt x="224" y="310"/>
                </a:lnTo>
                <a:lnTo>
                  <a:pt x="224" y="310"/>
                </a:lnTo>
                <a:lnTo>
                  <a:pt x="226" y="312"/>
                </a:lnTo>
                <a:lnTo>
                  <a:pt x="228" y="312"/>
                </a:lnTo>
                <a:lnTo>
                  <a:pt x="232" y="310"/>
                </a:lnTo>
                <a:lnTo>
                  <a:pt x="232" y="310"/>
                </a:lnTo>
                <a:lnTo>
                  <a:pt x="236" y="308"/>
                </a:lnTo>
                <a:lnTo>
                  <a:pt x="242" y="310"/>
                </a:lnTo>
                <a:lnTo>
                  <a:pt x="242" y="294"/>
                </a:lnTo>
                <a:lnTo>
                  <a:pt x="242" y="294"/>
                </a:lnTo>
                <a:lnTo>
                  <a:pt x="234" y="296"/>
                </a:lnTo>
                <a:lnTo>
                  <a:pt x="234" y="296"/>
                </a:lnTo>
                <a:lnTo>
                  <a:pt x="232" y="296"/>
                </a:lnTo>
                <a:lnTo>
                  <a:pt x="230" y="294"/>
                </a:lnTo>
                <a:lnTo>
                  <a:pt x="230" y="294"/>
                </a:lnTo>
                <a:lnTo>
                  <a:pt x="228" y="290"/>
                </a:lnTo>
                <a:lnTo>
                  <a:pt x="226" y="290"/>
                </a:lnTo>
                <a:lnTo>
                  <a:pt x="222" y="288"/>
                </a:lnTo>
                <a:lnTo>
                  <a:pt x="222" y="288"/>
                </a:lnTo>
                <a:lnTo>
                  <a:pt x="218" y="284"/>
                </a:lnTo>
                <a:lnTo>
                  <a:pt x="216" y="280"/>
                </a:lnTo>
                <a:lnTo>
                  <a:pt x="216" y="280"/>
                </a:lnTo>
                <a:lnTo>
                  <a:pt x="218" y="274"/>
                </a:lnTo>
                <a:lnTo>
                  <a:pt x="218" y="274"/>
                </a:lnTo>
                <a:lnTo>
                  <a:pt x="218" y="272"/>
                </a:lnTo>
                <a:lnTo>
                  <a:pt x="216" y="270"/>
                </a:lnTo>
                <a:lnTo>
                  <a:pt x="214" y="264"/>
                </a:lnTo>
                <a:lnTo>
                  <a:pt x="214" y="264"/>
                </a:lnTo>
                <a:lnTo>
                  <a:pt x="214" y="262"/>
                </a:lnTo>
                <a:lnTo>
                  <a:pt x="212" y="260"/>
                </a:lnTo>
                <a:lnTo>
                  <a:pt x="212" y="260"/>
                </a:lnTo>
                <a:lnTo>
                  <a:pt x="212" y="256"/>
                </a:lnTo>
                <a:lnTo>
                  <a:pt x="214" y="252"/>
                </a:lnTo>
                <a:lnTo>
                  <a:pt x="214" y="252"/>
                </a:lnTo>
                <a:lnTo>
                  <a:pt x="212" y="246"/>
                </a:lnTo>
                <a:lnTo>
                  <a:pt x="212" y="246"/>
                </a:lnTo>
                <a:lnTo>
                  <a:pt x="220" y="242"/>
                </a:lnTo>
                <a:lnTo>
                  <a:pt x="220" y="242"/>
                </a:lnTo>
                <a:lnTo>
                  <a:pt x="224" y="242"/>
                </a:lnTo>
                <a:lnTo>
                  <a:pt x="224" y="242"/>
                </a:lnTo>
                <a:lnTo>
                  <a:pt x="224" y="242"/>
                </a:lnTo>
                <a:lnTo>
                  <a:pt x="250" y="234"/>
                </a:lnTo>
                <a:lnTo>
                  <a:pt x="250" y="234"/>
                </a:lnTo>
                <a:lnTo>
                  <a:pt x="250" y="228"/>
                </a:lnTo>
                <a:lnTo>
                  <a:pt x="250" y="228"/>
                </a:lnTo>
                <a:lnTo>
                  <a:pt x="246" y="224"/>
                </a:lnTo>
                <a:lnTo>
                  <a:pt x="246" y="224"/>
                </a:lnTo>
                <a:lnTo>
                  <a:pt x="246" y="220"/>
                </a:lnTo>
                <a:lnTo>
                  <a:pt x="246" y="220"/>
                </a:lnTo>
                <a:lnTo>
                  <a:pt x="242" y="216"/>
                </a:lnTo>
                <a:lnTo>
                  <a:pt x="240" y="214"/>
                </a:lnTo>
                <a:lnTo>
                  <a:pt x="240" y="214"/>
                </a:lnTo>
                <a:lnTo>
                  <a:pt x="236" y="212"/>
                </a:lnTo>
                <a:lnTo>
                  <a:pt x="236" y="212"/>
                </a:lnTo>
                <a:lnTo>
                  <a:pt x="232" y="202"/>
                </a:lnTo>
                <a:lnTo>
                  <a:pt x="228" y="190"/>
                </a:lnTo>
                <a:lnTo>
                  <a:pt x="228" y="190"/>
                </a:lnTo>
                <a:lnTo>
                  <a:pt x="230" y="188"/>
                </a:lnTo>
                <a:lnTo>
                  <a:pt x="232" y="182"/>
                </a:lnTo>
                <a:lnTo>
                  <a:pt x="232" y="182"/>
                </a:lnTo>
                <a:lnTo>
                  <a:pt x="228" y="178"/>
                </a:lnTo>
                <a:lnTo>
                  <a:pt x="228" y="178"/>
                </a:lnTo>
                <a:lnTo>
                  <a:pt x="228" y="174"/>
                </a:lnTo>
                <a:lnTo>
                  <a:pt x="228" y="170"/>
                </a:lnTo>
                <a:lnTo>
                  <a:pt x="228" y="170"/>
                </a:lnTo>
                <a:lnTo>
                  <a:pt x="226" y="168"/>
                </a:lnTo>
                <a:lnTo>
                  <a:pt x="226" y="166"/>
                </a:lnTo>
                <a:lnTo>
                  <a:pt x="226" y="166"/>
                </a:lnTo>
                <a:lnTo>
                  <a:pt x="228" y="154"/>
                </a:lnTo>
                <a:lnTo>
                  <a:pt x="228" y="154"/>
                </a:lnTo>
                <a:lnTo>
                  <a:pt x="230" y="152"/>
                </a:lnTo>
                <a:lnTo>
                  <a:pt x="228" y="146"/>
                </a:lnTo>
                <a:lnTo>
                  <a:pt x="228" y="146"/>
                </a:lnTo>
                <a:lnTo>
                  <a:pt x="224" y="146"/>
                </a:lnTo>
                <a:lnTo>
                  <a:pt x="222" y="144"/>
                </a:lnTo>
                <a:lnTo>
                  <a:pt x="222" y="142"/>
                </a:lnTo>
                <a:lnTo>
                  <a:pt x="222" y="142"/>
                </a:lnTo>
                <a:lnTo>
                  <a:pt x="222" y="140"/>
                </a:lnTo>
                <a:lnTo>
                  <a:pt x="224" y="138"/>
                </a:lnTo>
                <a:lnTo>
                  <a:pt x="224" y="138"/>
                </a:lnTo>
                <a:lnTo>
                  <a:pt x="224" y="138"/>
                </a:lnTo>
                <a:lnTo>
                  <a:pt x="222" y="138"/>
                </a:lnTo>
                <a:lnTo>
                  <a:pt x="222" y="138"/>
                </a:lnTo>
                <a:lnTo>
                  <a:pt x="222" y="126"/>
                </a:lnTo>
                <a:lnTo>
                  <a:pt x="222" y="126"/>
                </a:lnTo>
                <a:lnTo>
                  <a:pt x="224" y="124"/>
                </a:lnTo>
                <a:lnTo>
                  <a:pt x="224" y="124"/>
                </a:lnTo>
                <a:lnTo>
                  <a:pt x="228" y="128"/>
                </a:lnTo>
                <a:lnTo>
                  <a:pt x="228" y="128"/>
                </a:lnTo>
                <a:lnTo>
                  <a:pt x="230" y="124"/>
                </a:lnTo>
                <a:lnTo>
                  <a:pt x="230" y="124"/>
                </a:lnTo>
                <a:lnTo>
                  <a:pt x="226" y="122"/>
                </a:lnTo>
                <a:lnTo>
                  <a:pt x="226" y="120"/>
                </a:lnTo>
                <a:lnTo>
                  <a:pt x="228" y="116"/>
                </a:lnTo>
                <a:lnTo>
                  <a:pt x="228" y="116"/>
                </a:lnTo>
                <a:lnTo>
                  <a:pt x="230" y="114"/>
                </a:lnTo>
                <a:lnTo>
                  <a:pt x="228" y="114"/>
                </a:lnTo>
                <a:lnTo>
                  <a:pt x="228" y="114"/>
                </a:lnTo>
                <a:lnTo>
                  <a:pt x="226" y="110"/>
                </a:lnTo>
                <a:lnTo>
                  <a:pt x="226" y="110"/>
                </a:lnTo>
                <a:lnTo>
                  <a:pt x="228" y="110"/>
                </a:lnTo>
                <a:lnTo>
                  <a:pt x="228" y="110"/>
                </a:lnTo>
                <a:lnTo>
                  <a:pt x="230" y="104"/>
                </a:lnTo>
                <a:lnTo>
                  <a:pt x="232" y="104"/>
                </a:lnTo>
                <a:lnTo>
                  <a:pt x="232" y="104"/>
                </a:lnTo>
                <a:lnTo>
                  <a:pt x="232" y="104"/>
                </a:lnTo>
                <a:lnTo>
                  <a:pt x="236" y="92"/>
                </a:lnTo>
                <a:lnTo>
                  <a:pt x="236" y="92"/>
                </a:lnTo>
                <a:lnTo>
                  <a:pt x="238" y="88"/>
                </a:lnTo>
                <a:lnTo>
                  <a:pt x="240" y="84"/>
                </a:lnTo>
                <a:lnTo>
                  <a:pt x="244" y="82"/>
                </a:lnTo>
                <a:lnTo>
                  <a:pt x="244" y="82"/>
                </a:lnTo>
                <a:lnTo>
                  <a:pt x="248" y="78"/>
                </a:lnTo>
                <a:lnTo>
                  <a:pt x="248" y="78"/>
                </a:lnTo>
                <a:lnTo>
                  <a:pt x="248" y="76"/>
                </a:lnTo>
                <a:lnTo>
                  <a:pt x="252" y="74"/>
                </a:lnTo>
                <a:lnTo>
                  <a:pt x="252" y="74"/>
                </a:lnTo>
                <a:lnTo>
                  <a:pt x="254" y="70"/>
                </a:lnTo>
                <a:lnTo>
                  <a:pt x="254" y="70"/>
                </a:lnTo>
                <a:lnTo>
                  <a:pt x="256" y="68"/>
                </a:lnTo>
                <a:lnTo>
                  <a:pt x="258" y="66"/>
                </a:lnTo>
                <a:lnTo>
                  <a:pt x="258" y="66"/>
                </a:lnTo>
                <a:lnTo>
                  <a:pt x="258" y="64"/>
                </a:lnTo>
                <a:lnTo>
                  <a:pt x="256" y="62"/>
                </a:lnTo>
                <a:lnTo>
                  <a:pt x="256" y="62"/>
                </a:lnTo>
                <a:lnTo>
                  <a:pt x="254" y="62"/>
                </a:lnTo>
                <a:lnTo>
                  <a:pt x="254" y="58"/>
                </a:lnTo>
                <a:lnTo>
                  <a:pt x="256" y="54"/>
                </a:lnTo>
                <a:lnTo>
                  <a:pt x="256" y="54"/>
                </a:lnTo>
                <a:lnTo>
                  <a:pt x="258" y="50"/>
                </a:lnTo>
                <a:lnTo>
                  <a:pt x="258" y="48"/>
                </a:lnTo>
                <a:lnTo>
                  <a:pt x="258" y="48"/>
                </a:lnTo>
                <a:lnTo>
                  <a:pt x="258" y="48"/>
                </a:lnTo>
                <a:lnTo>
                  <a:pt x="256" y="46"/>
                </a:lnTo>
                <a:lnTo>
                  <a:pt x="258" y="44"/>
                </a:lnTo>
                <a:lnTo>
                  <a:pt x="262" y="40"/>
                </a:lnTo>
                <a:lnTo>
                  <a:pt x="262" y="40"/>
                </a:lnTo>
                <a:lnTo>
                  <a:pt x="262" y="34"/>
                </a:lnTo>
                <a:lnTo>
                  <a:pt x="262" y="34"/>
                </a:lnTo>
                <a:lnTo>
                  <a:pt x="254" y="28"/>
                </a:lnTo>
                <a:lnTo>
                  <a:pt x="254" y="28"/>
                </a:lnTo>
                <a:lnTo>
                  <a:pt x="252" y="30"/>
                </a:lnTo>
                <a:lnTo>
                  <a:pt x="250" y="28"/>
                </a:lnTo>
                <a:lnTo>
                  <a:pt x="250" y="28"/>
                </a:lnTo>
                <a:lnTo>
                  <a:pt x="246" y="26"/>
                </a:lnTo>
                <a:lnTo>
                  <a:pt x="242" y="24"/>
                </a:lnTo>
                <a:lnTo>
                  <a:pt x="242" y="24"/>
                </a:lnTo>
                <a:lnTo>
                  <a:pt x="236" y="16"/>
                </a:lnTo>
                <a:lnTo>
                  <a:pt x="236" y="16"/>
                </a:lnTo>
                <a:lnTo>
                  <a:pt x="232" y="12"/>
                </a:lnTo>
                <a:lnTo>
                  <a:pt x="230" y="12"/>
                </a:lnTo>
                <a:lnTo>
                  <a:pt x="228" y="14"/>
                </a:lnTo>
                <a:lnTo>
                  <a:pt x="228" y="14"/>
                </a:lnTo>
                <a:lnTo>
                  <a:pt x="226" y="16"/>
                </a:lnTo>
                <a:lnTo>
                  <a:pt x="224" y="16"/>
                </a:lnTo>
                <a:lnTo>
                  <a:pt x="224" y="16"/>
                </a:lnTo>
                <a:lnTo>
                  <a:pt x="218" y="12"/>
                </a:lnTo>
                <a:lnTo>
                  <a:pt x="216" y="10"/>
                </a:lnTo>
                <a:lnTo>
                  <a:pt x="216" y="12"/>
                </a:lnTo>
                <a:lnTo>
                  <a:pt x="216" y="12"/>
                </a:lnTo>
                <a:lnTo>
                  <a:pt x="214" y="16"/>
                </a:lnTo>
                <a:lnTo>
                  <a:pt x="210" y="16"/>
                </a:lnTo>
                <a:lnTo>
                  <a:pt x="210" y="16"/>
                </a:lnTo>
                <a:lnTo>
                  <a:pt x="208" y="12"/>
                </a:lnTo>
                <a:lnTo>
                  <a:pt x="206" y="8"/>
                </a:lnTo>
                <a:lnTo>
                  <a:pt x="202" y="2"/>
                </a:lnTo>
                <a:lnTo>
                  <a:pt x="202" y="2"/>
                </a:lnTo>
                <a:lnTo>
                  <a:pt x="194" y="2"/>
                </a:lnTo>
                <a:lnTo>
                  <a:pt x="194" y="2"/>
                </a:lnTo>
                <a:lnTo>
                  <a:pt x="194" y="2"/>
                </a:lnTo>
                <a:lnTo>
                  <a:pt x="190" y="0"/>
                </a:lnTo>
                <a:lnTo>
                  <a:pt x="190" y="0"/>
                </a:lnTo>
                <a:lnTo>
                  <a:pt x="180" y="0"/>
                </a:lnTo>
                <a:lnTo>
                  <a:pt x="180" y="0"/>
                </a:lnTo>
                <a:lnTo>
                  <a:pt x="176" y="2"/>
                </a:lnTo>
                <a:lnTo>
                  <a:pt x="174" y="6"/>
                </a:lnTo>
                <a:lnTo>
                  <a:pt x="174" y="6"/>
                </a:lnTo>
                <a:lnTo>
                  <a:pt x="172" y="8"/>
                </a:lnTo>
                <a:lnTo>
                  <a:pt x="170" y="6"/>
                </a:lnTo>
                <a:lnTo>
                  <a:pt x="170" y="6"/>
                </a:lnTo>
                <a:lnTo>
                  <a:pt x="168" y="4"/>
                </a:lnTo>
                <a:lnTo>
                  <a:pt x="168" y="4"/>
                </a:lnTo>
                <a:lnTo>
                  <a:pt x="166" y="6"/>
                </a:lnTo>
                <a:lnTo>
                  <a:pt x="166" y="8"/>
                </a:lnTo>
                <a:lnTo>
                  <a:pt x="166" y="10"/>
                </a:lnTo>
                <a:lnTo>
                  <a:pt x="166" y="10"/>
                </a:lnTo>
                <a:lnTo>
                  <a:pt x="158" y="10"/>
                </a:lnTo>
                <a:lnTo>
                  <a:pt x="158" y="10"/>
                </a:lnTo>
                <a:lnTo>
                  <a:pt x="156" y="12"/>
                </a:lnTo>
                <a:lnTo>
                  <a:pt x="154" y="10"/>
                </a:lnTo>
                <a:lnTo>
                  <a:pt x="152" y="8"/>
                </a:lnTo>
                <a:lnTo>
                  <a:pt x="150" y="8"/>
                </a:lnTo>
                <a:lnTo>
                  <a:pt x="150" y="8"/>
                </a:lnTo>
                <a:lnTo>
                  <a:pt x="148" y="8"/>
                </a:lnTo>
                <a:lnTo>
                  <a:pt x="146" y="12"/>
                </a:lnTo>
                <a:lnTo>
                  <a:pt x="146" y="16"/>
                </a:lnTo>
                <a:lnTo>
                  <a:pt x="146" y="16"/>
                </a:lnTo>
                <a:lnTo>
                  <a:pt x="138" y="14"/>
                </a:lnTo>
                <a:lnTo>
                  <a:pt x="138" y="14"/>
                </a:lnTo>
                <a:lnTo>
                  <a:pt x="130" y="12"/>
                </a:lnTo>
                <a:lnTo>
                  <a:pt x="130" y="12"/>
                </a:lnTo>
                <a:lnTo>
                  <a:pt x="124" y="12"/>
                </a:lnTo>
                <a:lnTo>
                  <a:pt x="118" y="10"/>
                </a:lnTo>
                <a:lnTo>
                  <a:pt x="118" y="10"/>
                </a:lnTo>
                <a:lnTo>
                  <a:pt x="114" y="8"/>
                </a:lnTo>
                <a:lnTo>
                  <a:pt x="110" y="4"/>
                </a:lnTo>
                <a:lnTo>
                  <a:pt x="110" y="4"/>
                </a:lnTo>
                <a:lnTo>
                  <a:pt x="104" y="2"/>
                </a:lnTo>
                <a:lnTo>
                  <a:pt x="100" y="2"/>
                </a:lnTo>
                <a:lnTo>
                  <a:pt x="100" y="2"/>
                </a:lnTo>
                <a:lnTo>
                  <a:pt x="96" y="6"/>
                </a:lnTo>
                <a:lnTo>
                  <a:pt x="94" y="10"/>
                </a:lnTo>
                <a:lnTo>
                  <a:pt x="94" y="10"/>
                </a:lnTo>
                <a:lnTo>
                  <a:pt x="94" y="14"/>
                </a:lnTo>
                <a:lnTo>
                  <a:pt x="90" y="16"/>
                </a:lnTo>
                <a:lnTo>
                  <a:pt x="88" y="18"/>
                </a:lnTo>
                <a:lnTo>
                  <a:pt x="86" y="30"/>
                </a:lnTo>
                <a:lnTo>
                  <a:pt x="86" y="40"/>
                </a:lnTo>
                <a:lnTo>
                  <a:pt x="84" y="46"/>
                </a:lnTo>
                <a:lnTo>
                  <a:pt x="80" y="50"/>
                </a:lnTo>
                <a:lnTo>
                  <a:pt x="80" y="54"/>
                </a:lnTo>
                <a:lnTo>
                  <a:pt x="78" y="60"/>
                </a:lnTo>
                <a:lnTo>
                  <a:pt x="78" y="66"/>
                </a:lnTo>
                <a:lnTo>
                  <a:pt x="78" y="72"/>
                </a:lnTo>
                <a:lnTo>
                  <a:pt x="78" y="78"/>
                </a:lnTo>
                <a:lnTo>
                  <a:pt x="78" y="86"/>
                </a:lnTo>
                <a:lnTo>
                  <a:pt x="76" y="92"/>
                </a:lnTo>
                <a:lnTo>
                  <a:pt x="72" y="98"/>
                </a:lnTo>
                <a:lnTo>
                  <a:pt x="72" y="104"/>
                </a:lnTo>
                <a:lnTo>
                  <a:pt x="70" y="112"/>
                </a:lnTo>
                <a:lnTo>
                  <a:pt x="70" y="110"/>
                </a:lnTo>
                <a:lnTo>
                  <a:pt x="66" y="114"/>
                </a:lnTo>
                <a:lnTo>
                  <a:pt x="66" y="120"/>
                </a:lnTo>
                <a:lnTo>
                  <a:pt x="64" y="126"/>
                </a:lnTo>
                <a:lnTo>
                  <a:pt x="62" y="130"/>
                </a:lnTo>
                <a:lnTo>
                  <a:pt x="62" y="136"/>
                </a:lnTo>
                <a:lnTo>
                  <a:pt x="62" y="140"/>
                </a:lnTo>
                <a:lnTo>
                  <a:pt x="60" y="144"/>
                </a:lnTo>
                <a:lnTo>
                  <a:pt x="60" y="150"/>
                </a:lnTo>
                <a:lnTo>
                  <a:pt x="56" y="156"/>
                </a:lnTo>
                <a:lnTo>
                  <a:pt x="56" y="160"/>
                </a:lnTo>
                <a:lnTo>
                  <a:pt x="50" y="166"/>
                </a:lnTo>
                <a:lnTo>
                  <a:pt x="42" y="168"/>
                </a:lnTo>
                <a:lnTo>
                  <a:pt x="38" y="170"/>
                </a:lnTo>
                <a:lnTo>
                  <a:pt x="36" y="166"/>
                </a:lnTo>
                <a:lnTo>
                  <a:pt x="36" y="156"/>
                </a:lnTo>
                <a:lnTo>
                  <a:pt x="36" y="156"/>
                </a:lnTo>
                <a:lnTo>
                  <a:pt x="34" y="158"/>
                </a:lnTo>
                <a:lnTo>
                  <a:pt x="30" y="158"/>
                </a:lnTo>
                <a:lnTo>
                  <a:pt x="30" y="158"/>
                </a:lnTo>
                <a:lnTo>
                  <a:pt x="26" y="156"/>
                </a:lnTo>
                <a:lnTo>
                  <a:pt x="26" y="156"/>
                </a:lnTo>
                <a:lnTo>
                  <a:pt x="26" y="160"/>
                </a:lnTo>
                <a:lnTo>
                  <a:pt x="26" y="162"/>
                </a:lnTo>
                <a:lnTo>
                  <a:pt x="24" y="164"/>
                </a:lnTo>
                <a:lnTo>
                  <a:pt x="24" y="164"/>
                </a:lnTo>
                <a:lnTo>
                  <a:pt x="20" y="162"/>
                </a:lnTo>
                <a:lnTo>
                  <a:pt x="18" y="162"/>
                </a:lnTo>
                <a:lnTo>
                  <a:pt x="16" y="164"/>
                </a:lnTo>
                <a:lnTo>
                  <a:pt x="16" y="164"/>
                </a:lnTo>
                <a:lnTo>
                  <a:pt x="14" y="164"/>
                </a:lnTo>
                <a:lnTo>
                  <a:pt x="12" y="164"/>
                </a:lnTo>
                <a:lnTo>
                  <a:pt x="12" y="164"/>
                </a:lnTo>
                <a:lnTo>
                  <a:pt x="10" y="166"/>
                </a:lnTo>
                <a:lnTo>
                  <a:pt x="8" y="168"/>
                </a:lnTo>
                <a:lnTo>
                  <a:pt x="8" y="170"/>
                </a:lnTo>
                <a:lnTo>
                  <a:pt x="8" y="170"/>
                </a:lnTo>
                <a:lnTo>
                  <a:pt x="8" y="174"/>
                </a:lnTo>
                <a:lnTo>
                  <a:pt x="8" y="174"/>
                </a:lnTo>
                <a:lnTo>
                  <a:pt x="2"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 name="Freeform 291">
            <a:extLst>
              <a:ext uri="{FF2B5EF4-FFF2-40B4-BE49-F238E27FC236}">
                <a16:creationId xmlns:a16="http://schemas.microsoft.com/office/drawing/2014/main" id="{9CD7D6B8-CFF1-4EFA-82D6-A3B0CBEBC16E}"/>
              </a:ext>
            </a:extLst>
          </p:cNvPr>
          <p:cNvSpPr>
            <a:spLocks/>
          </p:cNvSpPr>
          <p:nvPr userDrawn="1"/>
        </p:nvSpPr>
        <p:spPr bwMode="auto">
          <a:xfrm>
            <a:off x="6270044" y="2318154"/>
            <a:ext cx="114039" cy="133847"/>
          </a:xfrm>
          <a:custGeom>
            <a:avLst/>
            <a:gdLst>
              <a:gd name="T0" fmla="*/ 68 w 68"/>
              <a:gd name="T1" fmla="*/ 28 h 78"/>
              <a:gd name="T2" fmla="*/ 62 w 68"/>
              <a:gd name="T3" fmla="*/ 26 h 78"/>
              <a:gd name="T4" fmla="*/ 60 w 68"/>
              <a:gd name="T5" fmla="*/ 22 h 78"/>
              <a:gd name="T6" fmla="*/ 64 w 68"/>
              <a:gd name="T7" fmla="*/ 20 h 78"/>
              <a:gd name="T8" fmla="*/ 66 w 68"/>
              <a:gd name="T9" fmla="*/ 20 h 78"/>
              <a:gd name="T10" fmla="*/ 64 w 68"/>
              <a:gd name="T11" fmla="*/ 18 h 78"/>
              <a:gd name="T12" fmla="*/ 56 w 68"/>
              <a:gd name="T13" fmla="*/ 14 h 78"/>
              <a:gd name="T14" fmla="*/ 56 w 68"/>
              <a:gd name="T15" fmla="*/ 16 h 78"/>
              <a:gd name="T16" fmla="*/ 52 w 68"/>
              <a:gd name="T17" fmla="*/ 20 h 78"/>
              <a:gd name="T18" fmla="*/ 50 w 68"/>
              <a:gd name="T19" fmla="*/ 18 h 78"/>
              <a:gd name="T20" fmla="*/ 46 w 68"/>
              <a:gd name="T21" fmla="*/ 14 h 78"/>
              <a:gd name="T22" fmla="*/ 42 w 68"/>
              <a:gd name="T23" fmla="*/ 14 h 78"/>
              <a:gd name="T24" fmla="*/ 44 w 68"/>
              <a:gd name="T25" fmla="*/ 10 h 78"/>
              <a:gd name="T26" fmla="*/ 40 w 68"/>
              <a:gd name="T27" fmla="*/ 4 h 78"/>
              <a:gd name="T28" fmla="*/ 36 w 68"/>
              <a:gd name="T29" fmla="*/ 0 h 78"/>
              <a:gd name="T30" fmla="*/ 30 w 68"/>
              <a:gd name="T31" fmla="*/ 0 h 78"/>
              <a:gd name="T32" fmla="*/ 20 w 68"/>
              <a:gd name="T33" fmla="*/ 4 h 78"/>
              <a:gd name="T34" fmla="*/ 18 w 68"/>
              <a:gd name="T35" fmla="*/ 6 h 78"/>
              <a:gd name="T36" fmla="*/ 14 w 68"/>
              <a:gd name="T37" fmla="*/ 8 h 78"/>
              <a:gd name="T38" fmla="*/ 12 w 68"/>
              <a:gd name="T39" fmla="*/ 12 h 78"/>
              <a:gd name="T40" fmla="*/ 12 w 68"/>
              <a:gd name="T41" fmla="*/ 14 h 78"/>
              <a:gd name="T42" fmla="*/ 14 w 68"/>
              <a:gd name="T43" fmla="*/ 18 h 78"/>
              <a:gd name="T44" fmla="*/ 12 w 68"/>
              <a:gd name="T45" fmla="*/ 22 h 78"/>
              <a:gd name="T46" fmla="*/ 12 w 68"/>
              <a:gd name="T47" fmla="*/ 26 h 78"/>
              <a:gd name="T48" fmla="*/ 16 w 68"/>
              <a:gd name="T49" fmla="*/ 30 h 78"/>
              <a:gd name="T50" fmla="*/ 16 w 68"/>
              <a:gd name="T51" fmla="*/ 32 h 78"/>
              <a:gd name="T52" fmla="*/ 10 w 68"/>
              <a:gd name="T53" fmla="*/ 34 h 78"/>
              <a:gd name="T54" fmla="*/ 12 w 68"/>
              <a:gd name="T55" fmla="*/ 36 h 78"/>
              <a:gd name="T56" fmla="*/ 16 w 68"/>
              <a:gd name="T57" fmla="*/ 38 h 78"/>
              <a:gd name="T58" fmla="*/ 16 w 68"/>
              <a:gd name="T59" fmla="*/ 40 h 78"/>
              <a:gd name="T60" fmla="*/ 10 w 68"/>
              <a:gd name="T61" fmla="*/ 44 h 78"/>
              <a:gd name="T62" fmla="*/ 8 w 68"/>
              <a:gd name="T63" fmla="*/ 48 h 78"/>
              <a:gd name="T64" fmla="*/ 2 w 68"/>
              <a:gd name="T65" fmla="*/ 50 h 78"/>
              <a:gd name="T66" fmla="*/ 0 w 68"/>
              <a:gd name="T67" fmla="*/ 54 h 78"/>
              <a:gd name="T68" fmla="*/ 0 w 68"/>
              <a:gd name="T69" fmla="*/ 58 h 78"/>
              <a:gd name="T70" fmla="*/ 2 w 68"/>
              <a:gd name="T71" fmla="*/ 66 h 78"/>
              <a:gd name="T72" fmla="*/ 4 w 68"/>
              <a:gd name="T73" fmla="*/ 66 h 78"/>
              <a:gd name="T74" fmla="*/ 10 w 68"/>
              <a:gd name="T75" fmla="*/ 72 h 78"/>
              <a:gd name="T76" fmla="*/ 12 w 68"/>
              <a:gd name="T77" fmla="*/ 66 h 78"/>
              <a:gd name="T78" fmla="*/ 22 w 68"/>
              <a:gd name="T79" fmla="*/ 68 h 78"/>
              <a:gd name="T80" fmla="*/ 30 w 68"/>
              <a:gd name="T81" fmla="*/ 70 h 78"/>
              <a:gd name="T82" fmla="*/ 32 w 68"/>
              <a:gd name="T83" fmla="*/ 78 h 78"/>
              <a:gd name="T84" fmla="*/ 42 w 68"/>
              <a:gd name="T85" fmla="*/ 70 h 78"/>
              <a:gd name="T86" fmla="*/ 46 w 68"/>
              <a:gd name="T87" fmla="*/ 68 h 78"/>
              <a:gd name="T88" fmla="*/ 54 w 68"/>
              <a:gd name="T89" fmla="*/ 68 h 78"/>
              <a:gd name="T90" fmla="*/ 62 w 68"/>
              <a:gd name="T91" fmla="*/ 64 h 78"/>
              <a:gd name="T92" fmla="*/ 62 w 68"/>
              <a:gd name="T93" fmla="*/ 64 h 78"/>
              <a:gd name="T94" fmla="*/ 64 w 68"/>
              <a:gd name="T95" fmla="*/ 60 h 78"/>
              <a:gd name="T96" fmla="*/ 68 w 68"/>
              <a:gd name="T97" fmla="*/ 52 h 78"/>
              <a:gd name="T98" fmla="*/ 68 w 68"/>
              <a:gd name="T99" fmla="*/ 52 h 78"/>
              <a:gd name="T100" fmla="*/ 60 w 68"/>
              <a:gd name="T101" fmla="*/ 48 h 78"/>
              <a:gd name="T102" fmla="*/ 58 w 68"/>
              <a:gd name="T103" fmla="*/ 44 h 78"/>
              <a:gd name="T104" fmla="*/ 60 w 68"/>
              <a:gd name="T105" fmla="*/ 40 h 78"/>
              <a:gd name="T106" fmla="*/ 64 w 68"/>
              <a:gd name="T107" fmla="*/ 36 h 78"/>
              <a:gd name="T108" fmla="*/ 68 w 68"/>
              <a:gd name="T109" fmla="*/ 32 h 78"/>
              <a:gd name="T110" fmla="*/ 68 w 68"/>
              <a:gd name="T111" fmla="*/ 2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78">
                <a:moveTo>
                  <a:pt x="68" y="28"/>
                </a:moveTo>
                <a:lnTo>
                  <a:pt x="68" y="28"/>
                </a:lnTo>
                <a:lnTo>
                  <a:pt x="66" y="28"/>
                </a:lnTo>
                <a:lnTo>
                  <a:pt x="62" y="26"/>
                </a:lnTo>
                <a:lnTo>
                  <a:pt x="62" y="26"/>
                </a:lnTo>
                <a:lnTo>
                  <a:pt x="60" y="22"/>
                </a:lnTo>
                <a:lnTo>
                  <a:pt x="60" y="20"/>
                </a:lnTo>
                <a:lnTo>
                  <a:pt x="64" y="20"/>
                </a:lnTo>
                <a:lnTo>
                  <a:pt x="64" y="20"/>
                </a:lnTo>
                <a:lnTo>
                  <a:pt x="66" y="20"/>
                </a:lnTo>
                <a:lnTo>
                  <a:pt x="64" y="18"/>
                </a:lnTo>
                <a:lnTo>
                  <a:pt x="64" y="18"/>
                </a:lnTo>
                <a:lnTo>
                  <a:pt x="60" y="14"/>
                </a:lnTo>
                <a:lnTo>
                  <a:pt x="56" y="14"/>
                </a:lnTo>
                <a:lnTo>
                  <a:pt x="56" y="16"/>
                </a:lnTo>
                <a:lnTo>
                  <a:pt x="56" y="16"/>
                </a:lnTo>
                <a:lnTo>
                  <a:pt x="54" y="18"/>
                </a:lnTo>
                <a:lnTo>
                  <a:pt x="52" y="20"/>
                </a:lnTo>
                <a:lnTo>
                  <a:pt x="50" y="18"/>
                </a:lnTo>
                <a:lnTo>
                  <a:pt x="50" y="18"/>
                </a:lnTo>
                <a:lnTo>
                  <a:pt x="48" y="14"/>
                </a:lnTo>
                <a:lnTo>
                  <a:pt x="46" y="14"/>
                </a:lnTo>
                <a:lnTo>
                  <a:pt x="46" y="14"/>
                </a:lnTo>
                <a:lnTo>
                  <a:pt x="42" y="14"/>
                </a:lnTo>
                <a:lnTo>
                  <a:pt x="44" y="10"/>
                </a:lnTo>
                <a:lnTo>
                  <a:pt x="44" y="10"/>
                </a:lnTo>
                <a:lnTo>
                  <a:pt x="42" y="6"/>
                </a:lnTo>
                <a:lnTo>
                  <a:pt x="40" y="4"/>
                </a:lnTo>
                <a:lnTo>
                  <a:pt x="36" y="0"/>
                </a:lnTo>
                <a:lnTo>
                  <a:pt x="36" y="0"/>
                </a:lnTo>
                <a:lnTo>
                  <a:pt x="30" y="0"/>
                </a:lnTo>
                <a:lnTo>
                  <a:pt x="30" y="0"/>
                </a:lnTo>
                <a:lnTo>
                  <a:pt x="24" y="0"/>
                </a:lnTo>
                <a:lnTo>
                  <a:pt x="20" y="4"/>
                </a:lnTo>
                <a:lnTo>
                  <a:pt x="20" y="4"/>
                </a:lnTo>
                <a:lnTo>
                  <a:pt x="18" y="6"/>
                </a:lnTo>
                <a:lnTo>
                  <a:pt x="14" y="8"/>
                </a:lnTo>
                <a:lnTo>
                  <a:pt x="14" y="8"/>
                </a:lnTo>
                <a:lnTo>
                  <a:pt x="12" y="10"/>
                </a:lnTo>
                <a:lnTo>
                  <a:pt x="12" y="12"/>
                </a:lnTo>
                <a:lnTo>
                  <a:pt x="12" y="14"/>
                </a:lnTo>
                <a:lnTo>
                  <a:pt x="12" y="14"/>
                </a:lnTo>
                <a:lnTo>
                  <a:pt x="14" y="16"/>
                </a:lnTo>
                <a:lnTo>
                  <a:pt x="14" y="18"/>
                </a:lnTo>
                <a:lnTo>
                  <a:pt x="12" y="22"/>
                </a:lnTo>
                <a:lnTo>
                  <a:pt x="12" y="22"/>
                </a:lnTo>
                <a:lnTo>
                  <a:pt x="12" y="26"/>
                </a:lnTo>
                <a:lnTo>
                  <a:pt x="12" y="26"/>
                </a:lnTo>
                <a:lnTo>
                  <a:pt x="14" y="30"/>
                </a:lnTo>
                <a:lnTo>
                  <a:pt x="16" y="30"/>
                </a:lnTo>
                <a:lnTo>
                  <a:pt x="16" y="32"/>
                </a:lnTo>
                <a:lnTo>
                  <a:pt x="16" y="32"/>
                </a:lnTo>
                <a:lnTo>
                  <a:pt x="14" y="34"/>
                </a:lnTo>
                <a:lnTo>
                  <a:pt x="10" y="34"/>
                </a:lnTo>
                <a:lnTo>
                  <a:pt x="10" y="34"/>
                </a:lnTo>
                <a:lnTo>
                  <a:pt x="12" y="36"/>
                </a:lnTo>
                <a:lnTo>
                  <a:pt x="14" y="38"/>
                </a:lnTo>
                <a:lnTo>
                  <a:pt x="16" y="38"/>
                </a:lnTo>
                <a:lnTo>
                  <a:pt x="16" y="40"/>
                </a:lnTo>
                <a:lnTo>
                  <a:pt x="16" y="40"/>
                </a:lnTo>
                <a:lnTo>
                  <a:pt x="14" y="42"/>
                </a:lnTo>
                <a:lnTo>
                  <a:pt x="10" y="44"/>
                </a:lnTo>
                <a:lnTo>
                  <a:pt x="10" y="44"/>
                </a:lnTo>
                <a:lnTo>
                  <a:pt x="8" y="48"/>
                </a:lnTo>
                <a:lnTo>
                  <a:pt x="8" y="48"/>
                </a:lnTo>
                <a:lnTo>
                  <a:pt x="2" y="50"/>
                </a:lnTo>
                <a:lnTo>
                  <a:pt x="2" y="50"/>
                </a:lnTo>
                <a:lnTo>
                  <a:pt x="0" y="54"/>
                </a:lnTo>
                <a:lnTo>
                  <a:pt x="0" y="58"/>
                </a:lnTo>
                <a:lnTo>
                  <a:pt x="0" y="58"/>
                </a:lnTo>
                <a:lnTo>
                  <a:pt x="0" y="62"/>
                </a:lnTo>
                <a:lnTo>
                  <a:pt x="2" y="66"/>
                </a:lnTo>
                <a:lnTo>
                  <a:pt x="2" y="66"/>
                </a:lnTo>
                <a:lnTo>
                  <a:pt x="4" y="66"/>
                </a:lnTo>
                <a:lnTo>
                  <a:pt x="4" y="66"/>
                </a:lnTo>
                <a:lnTo>
                  <a:pt x="10" y="72"/>
                </a:lnTo>
                <a:lnTo>
                  <a:pt x="10" y="72"/>
                </a:lnTo>
                <a:lnTo>
                  <a:pt x="12" y="66"/>
                </a:lnTo>
                <a:lnTo>
                  <a:pt x="20" y="62"/>
                </a:lnTo>
                <a:lnTo>
                  <a:pt x="22" y="68"/>
                </a:lnTo>
                <a:lnTo>
                  <a:pt x="24" y="64"/>
                </a:lnTo>
                <a:lnTo>
                  <a:pt x="30" y="70"/>
                </a:lnTo>
                <a:lnTo>
                  <a:pt x="32" y="78"/>
                </a:lnTo>
                <a:lnTo>
                  <a:pt x="32" y="78"/>
                </a:lnTo>
                <a:lnTo>
                  <a:pt x="38" y="72"/>
                </a:lnTo>
                <a:lnTo>
                  <a:pt x="42" y="70"/>
                </a:lnTo>
                <a:lnTo>
                  <a:pt x="44" y="74"/>
                </a:lnTo>
                <a:lnTo>
                  <a:pt x="46" y="68"/>
                </a:lnTo>
                <a:lnTo>
                  <a:pt x="50" y="68"/>
                </a:lnTo>
                <a:lnTo>
                  <a:pt x="54" y="68"/>
                </a:lnTo>
                <a:lnTo>
                  <a:pt x="60" y="66"/>
                </a:lnTo>
                <a:lnTo>
                  <a:pt x="62" y="64"/>
                </a:lnTo>
                <a:lnTo>
                  <a:pt x="62" y="64"/>
                </a:lnTo>
                <a:lnTo>
                  <a:pt x="62" y="64"/>
                </a:lnTo>
                <a:lnTo>
                  <a:pt x="64" y="60"/>
                </a:lnTo>
                <a:lnTo>
                  <a:pt x="64" y="60"/>
                </a:lnTo>
                <a:lnTo>
                  <a:pt x="68" y="54"/>
                </a:lnTo>
                <a:lnTo>
                  <a:pt x="68" y="52"/>
                </a:lnTo>
                <a:lnTo>
                  <a:pt x="68" y="52"/>
                </a:lnTo>
                <a:lnTo>
                  <a:pt x="68" y="52"/>
                </a:lnTo>
                <a:lnTo>
                  <a:pt x="62" y="50"/>
                </a:lnTo>
                <a:lnTo>
                  <a:pt x="60" y="48"/>
                </a:lnTo>
                <a:lnTo>
                  <a:pt x="60" y="48"/>
                </a:lnTo>
                <a:lnTo>
                  <a:pt x="58" y="44"/>
                </a:lnTo>
                <a:lnTo>
                  <a:pt x="60" y="40"/>
                </a:lnTo>
                <a:lnTo>
                  <a:pt x="60" y="40"/>
                </a:lnTo>
                <a:lnTo>
                  <a:pt x="60" y="38"/>
                </a:lnTo>
                <a:lnTo>
                  <a:pt x="64" y="36"/>
                </a:lnTo>
                <a:lnTo>
                  <a:pt x="64" y="36"/>
                </a:lnTo>
                <a:lnTo>
                  <a:pt x="68" y="32"/>
                </a:lnTo>
                <a:lnTo>
                  <a:pt x="68" y="28"/>
                </a:lnTo>
                <a:lnTo>
                  <a:pt x="68" y="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 name="Freeform 292">
            <a:extLst>
              <a:ext uri="{FF2B5EF4-FFF2-40B4-BE49-F238E27FC236}">
                <a16:creationId xmlns:a16="http://schemas.microsoft.com/office/drawing/2014/main" id="{C4D50D7A-DB41-41A0-84AB-DB8D9876182B}"/>
              </a:ext>
            </a:extLst>
          </p:cNvPr>
          <p:cNvSpPr>
            <a:spLocks/>
          </p:cNvSpPr>
          <p:nvPr userDrawn="1"/>
        </p:nvSpPr>
        <p:spPr bwMode="auto">
          <a:xfrm>
            <a:off x="6813403" y="3145260"/>
            <a:ext cx="244848" cy="181894"/>
          </a:xfrm>
          <a:custGeom>
            <a:avLst/>
            <a:gdLst>
              <a:gd name="T0" fmla="*/ 0 w 146"/>
              <a:gd name="T1" fmla="*/ 34 h 106"/>
              <a:gd name="T2" fmla="*/ 4 w 146"/>
              <a:gd name="T3" fmla="*/ 30 h 106"/>
              <a:gd name="T4" fmla="*/ 4 w 146"/>
              <a:gd name="T5" fmla="*/ 30 h 106"/>
              <a:gd name="T6" fmla="*/ 6 w 146"/>
              <a:gd name="T7" fmla="*/ 28 h 106"/>
              <a:gd name="T8" fmla="*/ 6 w 146"/>
              <a:gd name="T9" fmla="*/ 26 h 106"/>
              <a:gd name="T10" fmla="*/ 8 w 146"/>
              <a:gd name="T11" fmla="*/ 22 h 106"/>
              <a:gd name="T12" fmla="*/ 10 w 146"/>
              <a:gd name="T13" fmla="*/ 20 h 106"/>
              <a:gd name="T14" fmla="*/ 12 w 146"/>
              <a:gd name="T15" fmla="*/ 20 h 106"/>
              <a:gd name="T16" fmla="*/ 16 w 146"/>
              <a:gd name="T17" fmla="*/ 20 h 106"/>
              <a:gd name="T18" fmla="*/ 16 w 146"/>
              <a:gd name="T19" fmla="*/ 24 h 106"/>
              <a:gd name="T20" fmla="*/ 20 w 146"/>
              <a:gd name="T21" fmla="*/ 24 h 106"/>
              <a:gd name="T22" fmla="*/ 24 w 146"/>
              <a:gd name="T23" fmla="*/ 24 h 106"/>
              <a:gd name="T24" fmla="*/ 48 w 146"/>
              <a:gd name="T25" fmla="*/ 30 h 106"/>
              <a:gd name="T26" fmla="*/ 50 w 146"/>
              <a:gd name="T27" fmla="*/ 48 h 106"/>
              <a:gd name="T28" fmla="*/ 76 w 146"/>
              <a:gd name="T29" fmla="*/ 16 h 106"/>
              <a:gd name="T30" fmla="*/ 122 w 146"/>
              <a:gd name="T31" fmla="*/ 4 h 106"/>
              <a:gd name="T32" fmla="*/ 146 w 146"/>
              <a:gd name="T33" fmla="*/ 36 h 106"/>
              <a:gd name="T34" fmla="*/ 142 w 146"/>
              <a:gd name="T35" fmla="*/ 36 h 106"/>
              <a:gd name="T36" fmla="*/ 140 w 146"/>
              <a:gd name="T37" fmla="*/ 40 h 106"/>
              <a:gd name="T38" fmla="*/ 136 w 146"/>
              <a:gd name="T39" fmla="*/ 40 h 106"/>
              <a:gd name="T40" fmla="*/ 134 w 146"/>
              <a:gd name="T41" fmla="*/ 40 h 106"/>
              <a:gd name="T42" fmla="*/ 128 w 146"/>
              <a:gd name="T43" fmla="*/ 46 h 106"/>
              <a:gd name="T44" fmla="*/ 130 w 146"/>
              <a:gd name="T45" fmla="*/ 52 h 106"/>
              <a:gd name="T46" fmla="*/ 126 w 146"/>
              <a:gd name="T47" fmla="*/ 54 h 106"/>
              <a:gd name="T48" fmla="*/ 120 w 146"/>
              <a:gd name="T49" fmla="*/ 62 h 106"/>
              <a:gd name="T50" fmla="*/ 102 w 146"/>
              <a:gd name="T51" fmla="*/ 70 h 106"/>
              <a:gd name="T52" fmla="*/ 96 w 146"/>
              <a:gd name="T53" fmla="*/ 74 h 106"/>
              <a:gd name="T54" fmla="*/ 90 w 146"/>
              <a:gd name="T55" fmla="*/ 74 h 106"/>
              <a:gd name="T56" fmla="*/ 80 w 146"/>
              <a:gd name="T57" fmla="*/ 82 h 106"/>
              <a:gd name="T58" fmla="*/ 80 w 146"/>
              <a:gd name="T59" fmla="*/ 84 h 106"/>
              <a:gd name="T60" fmla="*/ 74 w 146"/>
              <a:gd name="T61" fmla="*/ 84 h 106"/>
              <a:gd name="T62" fmla="*/ 70 w 146"/>
              <a:gd name="T63" fmla="*/ 84 h 106"/>
              <a:gd name="T64" fmla="*/ 68 w 146"/>
              <a:gd name="T65" fmla="*/ 88 h 106"/>
              <a:gd name="T66" fmla="*/ 62 w 146"/>
              <a:gd name="T67" fmla="*/ 92 h 106"/>
              <a:gd name="T68" fmla="*/ 56 w 146"/>
              <a:gd name="T69" fmla="*/ 94 h 106"/>
              <a:gd name="T70" fmla="*/ 42 w 146"/>
              <a:gd name="T71" fmla="*/ 94 h 106"/>
              <a:gd name="T72" fmla="*/ 38 w 146"/>
              <a:gd name="T73" fmla="*/ 96 h 106"/>
              <a:gd name="T74" fmla="*/ 34 w 146"/>
              <a:gd name="T75" fmla="*/ 102 h 106"/>
              <a:gd name="T76" fmla="*/ 30 w 146"/>
              <a:gd name="T77" fmla="*/ 104 h 106"/>
              <a:gd name="T78" fmla="*/ 26 w 146"/>
              <a:gd name="T79" fmla="*/ 104 h 106"/>
              <a:gd name="T80" fmla="*/ 24 w 146"/>
              <a:gd name="T81" fmla="*/ 106 h 106"/>
              <a:gd name="T82" fmla="*/ 10 w 146"/>
              <a:gd name="T83" fmla="*/ 102 h 106"/>
              <a:gd name="T84" fmla="*/ 8 w 146"/>
              <a:gd name="T85" fmla="*/ 98 h 106"/>
              <a:gd name="T86" fmla="*/ 8 w 146"/>
              <a:gd name="T87" fmla="*/ 92 h 106"/>
              <a:gd name="T88" fmla="*/ 8 w 146"/>
              <a:gd name="T89" fmla="*/ 86 h 106"/>
              <a:gd name="T90" fmla="*/ 4 w 146"/>
              <a:gd name="T91" fmla="*/ 82 h 106"/>
              <a:gd name="T92" fmla="*/ 4 w 146"/>
              <a:gd name="T93" fmla="*/ 78 h 106"/>
              <a:gd name="T94" fmla="*/ 0 w 146"/>
              <a:gd name="T95" fmla="*/ 66 h 106"/>
              <a:gd name="T96" fmla="*/ 0 w 146"/>
              <a:gd name="T97" fmla="*/ 64 h 106"/>
              <a:gd name="T98" fmla="*/ 2 w 146"/>
              <a:gd name="T99" fmla="*/ 64 h 106"/>
              <a:gd name="T100" fmla="*/ 2 w 146"/>
              <a:gd name="T101" fmla="*/ 54 h 106"/>
              <a:gd name="T102" fmla="*/ 0 w 146"/>
              <a:gd name="T103" fmla="*/ 54 h 106"/>
              <a:gd name="T104" fmla="*/ 2 w 146"/>
              <a:gd name="T105" fmla="*/ 40 h 106"/>
              <a:gd name="T106" fmla="*/ 0 w 146"/>
              <a:gd name="T107" fmla="*/ 3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6" h="106">
                <a:moveTo>
                  <a:pt x="0" y="34"/>
                </a:moveTo>
                <a:lnTo>
                  <a:pt x="0" y="34"/>
                </a:lnTo>
                <a:lnTo>
                  <a:pt x="2" y="34"/>
                </a:lnTo>
                <a:lnTo>
                  <a:pt x="4" y="30"/>
                </a:lnTo>
                <a:lnTo>
                  <a:pt x="4" y="30"/>
                </a:lnTo>
                <a:lnTo>
                  <a:pt x="4" y="30"/>
                </a:lnTo>
                <a:lnTo>
                  <a:pt x="6" y="28"/>
                </a:lnTo>
                <a:lnTo>
                  <a:pt x="6" y="28"/>
                </a:lnTo>
                <a:lnTo>
                  <a:pt x="6" y="26"/>
                </a:lnTo>
                <a:lnTo>
                  <a:pt x="6" y="26"/>
                </a:lnTo>
                <a:lnTo>
                  <a:pt x="8" y="24"/>
                </a:lnTo>
                <a:lnTo>
                  <a:pt x="8" y="22"/>
                </a:lnTo>
                <a:lnTo>
                  <a:pt x="8" y="22"/>
                </a:lnTo>
                <a:lnTo>
                  <a:pt x="10" y="20"/>
                </a:lnTo>
                <a:lnTo>
                  <a:pt x="12" y="20"/>
                </a:lnTo>
                <a:lnTo>
                  <a:pt x="12" y="20"/>
                </a:lnTo>
                <a:lnTo>
                  <a:pt x="14" y="20"/>
                </a:lnTo>
                <a:lnTo>
                  <a:pt x="16" y="20"/>
                </a:lnTo>
                <a:lnTo>
                  <a:pt x="16" y="22"/>
                </a:lnTo>
                <a:lnTo>
                  <a:pt x="16" y="24"/>
                </a:lnTo>
                <a:lnTo>
                  <a:pt x="16" y="24"/>
                </a:lnTo>
                <a:lnTo>
                  <a:pt x="20" y="24"/>
                </a:lnTo>
                <a:lnTo>
                  <a:pt x="24" y="24"/>
                </a:lnTo>
                <a:lnTo>
                  <a:pt x="24" y="24"/>
                </a:lnTo>
                <a:lnTo>
                  <a:pt x="38" y="26"/>
                </a:lnTo>
                <a:lnTo>
                  <a:pt x="48" y="30"/>
                </a:lnTo>
                <a:lnTo>
                  <a:pt x="50" y="48"/>
                </a:lnTo>
                <a:lnTo>
                  <a:pt x="50" y="48"/>
                </a:lnTo>
                <a:lnTo>
                  <a:pt x="58" y="38"/>
                </a:lnTo>
                <a:lnTo>
                  <a:pt x="76" y="16"/>
                </a:lnTo>
                <a:lnTo>
                  <a:pt x="122" y="0"/>
                </a:lnTo>
                <a:lnTo>
                  <a:pt x="122" y="4"/>
                </a:lnTo>
                <a:lnTo>
                  <a:pt x="138" y="32"/>
                </a:lnTo>
                <a:lnTo>
                  <a:pt x="146" y="36"/>
                </a:lnTo>
                <a:lnTo>
                  <a:pt x="146" y="36"/>
                </a:lnTo>
                <a:lnTo>
                  <a:pt x="142" y="36"/>
                </a:lnTo>
                <a:lnTo>
                  <a:pt x="142" y="36"/>
                </a:lnTo>
                <a:lnTo>
                  <a:pt x="140" y="40"/>
                </a:lnTo>
                <a:lnTo>
                  <a:pt x="140" y="40"/>
                </a:lnTo>
                <a:lnTo>
                  <a:pt x="136" y="40"/>
                </a:lnTo>
                <a:lnTo>
                  <a:pt x="134" y="40"/>
                </a:lnTo>
                <a:lnTo>
                  <a:pt x="134" y="40"/>
                </a:lnTo>
                <a:lnTo>
                  <a:pt x="130" y="44"/>
                </a:lnTo>
                <a:lnTo>
                  <a:pt x="128" y="46"/>
                </a:lnTo>
                <a:lnTo>
                  <a:pt x="130" y="52"/>
                </a:lnTo>
                <a:lnTo>
                  <a:pt x="130" y="52"/>
                </a:lnTo>
                <a:lnTo>
                  <a:pt x="126" y="54"/>
                </a:lnTo>
                <a:lnTo>
                  <a:pt x="126" y="54"/>
                </a:lnTo>
                <a:lnTo>
                  <a:pt x="120" y="62"/>
                </a:lnTo>
                <a:lnTo>
                  <a:pt x="120" y="62"/>
                </a:lnTo>
                <a:lnTo>
                  <a:pt x="110" y="66"/>
                </a:lnTo>
                <a:lnTo>
                  <a:pt x="102" y="70"/>
                </a:lnTo>
                <a:lnTo>
                  <a:pt x="102" y="70"/>
                </a:lnTo>
                <a:lnTo>
                  <a:pt x="96" y="74"/>
                </a:lnTo>
                <a:lnTo>
                  <a:pt x="96" y="74"/>
                </a:lnTo>
                <a:lnTo>
                  <a:pt x="90" y="74"/>
                </a:lnTo>
                <a:lnTo>
                  <a:pt x="90" y="74"/>
                </a:lnTo>
                <a:lnTo>
                  <a:pt x="80" y="82"/>
                </a:lnTo>
                <a:lnTo>
                  <a:pt x="80" y="84"/>
                </a:lnTo>
                <a:lnTo>
                  <a:pt x="80" y="84"/>
                </a:lnTo>
                <a:lnTo>
                  <a:pt x="78" y="84"/>
                </a:lnTo>
                <a:lnTo>
                  <a:pt x="74" y="84"/>
                </a:lnTo>
                <a:lnTo>
                  <a:pt x="72" y="84"/>
                </a:lnTo>
                <a:lnTo>
                  <a:pt x="70" y="84"/>
                </a:lnTo>
                <a:lnTo>
                  <a:pt x="70" y="84"/>
                </a:lnTo>
                <a:lnTo>
                  <a:pt x="68" y="88"/>
                </a:lnTo>
                <a:lnTo>
                  <a:pt x="68" y="88"/>
                </a:lnTo>
                <a:lnTo>
                  <a:pt x="62" y="92"/>
                </a:lnTo>
                <a:lnTo>
                  <a:pt x="56" y="94"/>
                </a:lnTo>
                <a:lnTo>
                  <a:pt x="56" y="94"/>
                </a:lnTo>
                <a:lnTo>
                  <a:pt x="48" y="94"/>
                </a:lnTo>
                <a:lnTo>
                  <a:pt x="42" y="94"/>
                </a:lnTo>
                <a:lnTo>
                  <a:pt x="38" y="96"/>
                </a:lnTo>
                <a:lnTo>
                  <a:pt x="38" y="96"/>
                </a:lnTo>
                <a:lnTo>
                  <a:pt x="36" y="100"/>
                </a:lnTo>
                <a:lnTo>
                  <a:pt x="34" y="102"/>
                </a:lnTo>
                <a:lnTo>
                  <a:pt x="34" y="102"/>
                </a:lnTo>
                <a:lnTo>
                  <a:pt x="30" y="104"/>
                </a:lnTo>
                <a:lnTo>
                  <a:pt x="26" y="104"/>
                </a:lnTo>
                <a:lnTo>
                  <a:pt x="26" y="104"/>
                </a:lnTo>
                <a:lnTo>
                  <a:pt x="24" y="106"/>
                </a:lnTo>
                <a:lnTo>
                  <a:pt x="24" y="106"/>
                </a:lnTo>
                <a:lnTo>
                  <a:pt x="18" y="104"/>
                </a:lnTo>
                <a:lnTo>
                  <a:pt x="10" y="102"/>
                </a:lnTo>
                <a:lnTo>
                  <a:pt x="10" y="102"/>
                </a:lnTo>
                <a:lnTo>
                  <a:pt x="8" y="98"/>
                </a:lnTo>
                <a:lnTo>
                  <a:pt x="8" y="92"/>
                </a:lnTo>
                <a:lnTo>
                  <a:pt x="8" y="92"/>
                </a:lnTo>
                <a:lnTo>
                  <a:pt x="8" y="90"/>
                </a:lnTo>
                <a:lnTo>
                  <a:pt x="8" y="86"/>
                </a:lnTo>
                <a:lnTo>
                  <a:pt x="8" y="86"/>
                </a:lnTo>
                <a:lnTo>
                  <a:pt x="4" y="82"/>
                </a:lnTo>
                <a:lnTo>
                  <a:pt x="4" y="82"/>
                </a:lnTo>
                <a:lnTo>
                  <a:pt x="4" y="78"/>
                </a:lnTo>
                <a:lnTo>
                  <a:pt x="4" y="74"/>
                </a:lnTo>
                <a:lnTo>
                  <a:pt x="0" y="66"/>
                </a:lnTo>
                <a:lnTo>
                  <a:pt x="0" y="66"/>
                </a:lnTo>
                <a:lnTo>
                  <a:pt x="0" y="64"/>
                </a:lnTo>
                <a:lnTo>
                  <a:pt x="2" y="64"/>
                </a:lnTo>
                <a:lnTo>
                  <a:pt x="2" y="64"/>
                </a:lnTo>
                <a:lnTo>
                  <a:pt x="2" y="60"/>
                </a:lnTo>
                <a:lnTo>
                  <a:pt x="2" y="54"/>
                </a:lnTo>
                <a:lnTo>
                  <a:pt x="0" y="54"/>
                </a:lnTo>
                <a:lnTo>
                  <a:pt x="0" y="54"/>
                </a:lnTo>
                <a:lnTo>
                  <a:pt x="2" y="46"/>
                </a:lnTo>
                <a:lnTo>
                  <a:pt x="2" y="40"/>
                </a:lnTo>
                <a:lnTo>
                  <a:pt x="2" y="36"/>
                </a:lnTo>
                <a:lnTo>
                  <a:pt x="0"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 name="Freeform 293">
            <a:extLst>
              <a:ext uri="{FF2B5EF4-FFF2-40B4-BE49-F238E27FC236}">
                <a16:creationId xmlns:a16="http://schemas.microsoft.com/office/drawing/2014/main" id="{9A5967FC-EC94-4042-B198-CAB27DF2C94C}"/>
              </a:ext>
            </a:extLst>
          </p:cNvPr>
          <p:cNvSpPr>
            <a:spLocks/>
          </p:cNvSpPr>
          <p:nvPr userDrawn="1"/>
        </p:nvSpPr>
        <p:spPr bwMode="auto">
          <a:xfrm>
            <a:off x="5470097" y="2884430"/>
            <a:ext cx="201244" cy="195623"/>
          </a:xfrm>
          <a:custGeom>
            <a:avLst/>
            <a:gdLst>
              <a:gd name="T0" fmla="*/ 0 w 120"/>
              <a:gd name="T1" fmla="*/ 114 h 114"/>
              <a:gd name="T2" fmla="*/ 4 w 120"/>
              <a:gd name="T3" fmla="*/ 110 h 114"/>
              <a:gd name="T4" fmla="*/ 54 w 120"/>
              <a:gd name="T5" fmla="*/ 108 h 114"/>
              <a:gd name="T6" fmla="*/ 54 w 120"/>
              <a:gd name="T7" fmla="*/ 82 h 114"/>
              <a:gd name="T8" fmla="*/ 56 w 120"/>
              <a:gd name="T9" fmla="*/ 76 h 114"/>
              <a:gd name="T10" fmla="*/ 70 w 120"/>
              <a:gd name="T11" fmla="*/ 72 h 114"/>
              <a:gd name="T12" fmla="*/ 120 w 120"/>
              <a:gd name="T13" fmla="*/ 36 h 114"/>
              <a:gd name="T14" fmla="*/ 120 w 120"/>
              <a:gd name="T15" fmla="*/ 0 h 114"/>
              <a:gd name="T16" fmla="*/ 62 w 120"/>
              <a:gd name="T17" fmla="*/ 2 h 114"/>
              <a:gd name="T18" fmla="*/ 60 w 120"/>
              <a:gd name="T19" fmla="*/ 6 h 114"/>
              <a:gd name="T20" fmla="*/ 52 w 120"/>
              <a:gd name="T21" fmla="*/ 6 h 114"/>
              <a:gd name="T22" fmla="*/ 52 w 120"/>
              <a:gd name="T23" fmla="*/ 8 h 114"/>
              <a:gd name="T24" fmla="*/ 50 w 120"/>
              <a:gd name="T25" fmla="*/ 10 h 114"/>
              <a:gd name="T26" fmla="*/ 48 w 120"/>
              <a:gd name="T27" fmla="*/ 16 h 114"/>
              <a:gd name="T28" fmla="*/ 46 w 120"/>
              <a:gd name="T29" fmla="*/ 18 h 114"/>
              <a:gd name="T30" fmla="*/ 46 w 120"/>
              <a:gd name="T31" fmla="*/ 20 h 114"/>
              <a:gd name="T32" fmla="*/ 44 w 120"/>
              <a:gd name="T33" fmla="*/ 22 h 114"/>
              <a:gd name="T34" fmla="*/ 44 w 120"/>
              <a:gd name="T35" fmla="*/ 22 h 114"/>
              <a:gd name="T36" fmla="*/ 34 w 120"/>
              <a:gd name="T37" fmla="*/ 34 h 114"/>
              <a:gd name="T38" fmla="*/ 32 w 120"/>
              <a:gd name="T39" fmla="*/ 44 h 114"/>
              <a:gd name="T40" fmla="*/ 28 w 120"/>
              <a:gd name="T41" fmla="*/ 48 h 114"/>
              <a:gd name="T42" fmla="*/ 26 w 120"/>
              <a:gd name="T43" fmla="*/ 56 h 114"/>
              <a:gd name="T44" fmla="*/ 22 w 120"/>
              <a:gd name="T45" fmla="*/ 64 h 114"/>
              <a:gd name="T46" fmla="*/ 18 w 120"/>
              <a:gd name="T47" fmla="*/ 68 h 114"/>
              <a:gd name="T48" fmla="*/ 18 w 120"/>
              <a:gd name="T49" fmla="*/ 70 h 114"/>
              <a:gd name="T50" fmla="*/ 18 w 120"/>
              <a:gd name="T51" fmla="*/ 72 h 114"/>
              <a:gd name="T52" fmla="*/ 14 w 120"/>
              <a:gd name="T53" fmla="*/ 76 h 114"/>
              <a:gd name="T54" fmla="*/ 14 w 120"/>
              <a:gd name="T55" fmla="*/ 80 h 114"/>
              <a:gd name="T56" fmla="*/ 12 w 120"/>
              <a:gd name="T57" fmla="*/ 82 h 114"/>
              <a:gd name="T58" fmla="*/ 12 w 120"/>
              <a:gd name="T59" fmla="*/ 86 h 114"/>
              <a:gd name="T60" fmla="*/ 10 w 120"/>
              <a:gd name="T61" fmla="*/ 88 h 114"/>
              <a:gd name="T62" fmla="*/ 8 w 120"/>
              <a:gd name="T63" fmla="*/ 92 h 114"/>
              <a:gd name="T64" fmla="*/ 6 w 120"/>
              <a:gd name="T65" fmla="*/ 96 h 114"/>
              <a:gd name="T66" fmla="*/ 0 w 120"/>
              <a:gd name="T67" fmla="*/ 100 h 114"/>
              <a:gd name="T68" fmla="*/ 0 w 120"/>
              <a:gd name="T69" fmla="*/ 102 h 114"/>
              <a:gd name="T70" fmla="*/ 0 w 120"/>
              <a:gd name="T71" fmla="*/ 108 h 114"/>
              <a:gd name="T72" fmla="*/ 0 w 120"/>
              <a:gd name="T7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14">
                <a:moveTo>
                  <a:pt x="0" y="114"/>
                </a:moveTo>
                <a:lnTo>
                  <a:pt x="0" y="114"/>
                </a:lnTo>
                <a:lnTo>
                  <a:pt x="4" y="110"/>
                </a:lnTo>
                <a:lnTo>
                  <a:pt x="4" y="110"/>
                </a:lnTo>
                <a:lnTo>
                  <a:pt x="54" y="108"/>
                </a:lnTo>
                <a:lnTo>
                  <a:pt x="54" y="108"/>
                </a:lnTo>
                <a:lnTo>
                  <a:pt x="54" y="82"/>
                </a:lnTo>
                <a:lnTo>
                  <a:pt x="54" y="82"/>
                </a:lnTo>
                <a:lnTo>
                  <a:pt x="54" y="78"/>
                </a:lnTo>
                <a:lnTo>
                  <a:pt x="56" y="76"/>
                </a:lnTo>
                <a:lnTo>
                  <a:pt x="62" y="74"/>
                </a:lnTo>
                <a:lnTo>
                  <a:pt x="70" y="72"/>
                </a:lnTo>
                <a:lnTo>
                  <a:pt x="70" y="36"/>
                </a:lnTo>
                <a:lnTo>
                  <a:pt x="120" y="36"/>
                </a:lnTo>
                <a:lnTo>
                  <a:pt x="120" y="12"/>
                </a:lnTo>
                <a:lnTo>
                  <a:pt x="120" y="0"/>
                </a:lnTo>
                <a:lnTo>
                  <a:pt x="62" y="2"/>
                </a:lnTo>
                <a:lnTo>
                  <a:pt x="62" y="2"/>
                </a:lnTo>
                <a:lnTo>
                  <a:pt x="60" y="6"/>
                </a:lnTo>
                <a:lnTo>
                  <a:pt x="60" y="6"/>
                </a:lnTo>
                <a:lnTo>
                  <a:pt x="52" y="6"/>
                </a:lnTo>
                <a:lnTo>
                  <a:pt x="52" y="6"/>
                </a:lnTo>
                <a:lnTo>
                  <a:pt x="52" y="8"/>
                </a:lnTo>
                <a:lnTo>
                  <a:pt x="52" y="8"/>
                </a:lnTo>
                <a:lnTo>
                  <a:pt x="50" y="10"/>
                </a:lnTo>
                <a:lnTo>
                  <a:pt x="50" y="10"/>
                </a:lnTo>
                <a:lnTo>
                  <a:pt x="48" y="14"/>
                </a:lnTo>
                <a:lnTo>
                  <a:pt x="48" y="16"/>
                </a:lnTo>
                <a:lnTo>
                  <a:pt x="48" y="16"/>
                </a:lnTo>
                <a:lnTo>
                  <a:pt x="46" y="18"/>
                </a:lnTo>
                <a:lnTo>
                  <a:pt x="46" y="18"/>
                </a:lnTo>
                <a:lnTo>
                  <a:pt x="46" y="20"/>
                </a:lnTo>
                <a:lnTo>
                  <a:pt x="46" y="20"/>
                </a:lnTo>
                <a:lnTo>
                  <a:pt x="44" y="22"/>
                </a:lnTo>
                <a:lnTo>
                  <a:pt x="44" y="22"/>
                </a:lnTo>
                <a:lnTo>
                  <a:pt x="44" y="22"/>
                </a:lnTo>
                <a:lnTo>
                  <a:pt x="34" y="34"/>
                </a:lnTo>
                <a:lnTo>
                  <a:pt x="34" y="34"/>
                </a:lnTo>
                <a:lnTo>
                  <a:pt x="34" y="40"/>
                </a:lnTo>
                <a:lnTo>
                  <a:pt x="32" y="44"/>
                </a:lnTo>
                <a:lnTo>
                  <a:pt x="32" y="44"/>
                </a:lnTo>
                <a:lnTo>
                  <a:pt x="28" y="48"/>
                </a:lnTo>
                <a:lnTo>
                  <a:pt x="28" y="48"/>
                </a:lnTo>
                <a:lnTo>
                  <a:pt x="26" y="56"/>
                </a:lnTo>
                <a:lnTo>
                  <a:pt x="22" y="64"/>
                </a:lnTo>
                <a:lnTo>
                  <a:pt x="22" y="64"/>
                </a:lnTo>
                <a:lnTo>
                  <a:pt x="20" y="66"/>
                </a:lnTo>
                <a:lnTo>
                  <a:pt x="18" y="68"/>
                </a:lnTo>
                <a:lnTo>
                  <a:pt x="18" y="68"/>
                </a:lnTo>
                <a:lnTo>
                  <a:pt x="18" y="70"/>
                </a:lnTo>
                <a:lnTo>
                  <a:pt x="18" y="72"/>
                </a:lnTo>
                <a:lnTo>
                  <a:pt x="18" y="72"/>
                </a:lnTo>
                <a:lnTo>
                  <a:pt x="14" y="76"/>
                </a:lnTo>
                <a:lnTo>
                  <a:pt x="14" y="76"/>
                </a:lnTo>
                <a:lnTo>
                  <a:pt x="14" y="80"/>
                </a:lnTo>
                <a:lnTo>
                  <a:pt x="14" y="80"/>
                </a:lnTo>
                <a:lnTo>
                  <a:pt x="12" y="82"/>
                </a:lnTo>
                <a:lnTo>
                  <a:pt x="12" y="82"/>
                </a:lnTo>
                <a:lnTo>
                  <a:pt x="12" y="86"/>
                </a:lnTo>
                <a:lnTo>
                  <a:pt x="12" y="86"/>
                </a:lnTo>
                <a:lnTo>
                  <a:pt x="10" y="88"/>
                </a:lnTo>
                <a:lnTo>
                  <a:pt x="10" y="88"/>
                </a:lnTo>
                <a:lnTo>
                  <a:pt x="8" y="90"/>
                </a:lnTo>
                <a:lnTo>
                  <a:pt x="8" y="92"/>
                </a:lnTo>
                <a:lnTo>
                  <a:pt x="8" y="92"/>
                </a:lnTo>
                <a:lnTo>
                  <a:pt x="6" y="96"/>
                </a:lnTo>
                <a:lnTo>
                  <a:pt x="0" y="100"/>
                </a:lnTo>
                <a:lnTo>
                  <a:pt x="0" y="100"/>
                </a:lnTo>
                <a:lnTo>
                  <a:pt x="0" y="102"/>
                </a:lnTo>
                <a:lnTo>
                  <a:pt x="0" y="102"/>
                </a:lnTo>
                <a:lnTo>
                  <a:pt x="2" y="106"/>
                </a:lnTo>
                <a:lnTo>
                  <a:pt x="0" y="108"/>
                </a:lnTo>
                <a:lnTo>
                  <a:pt x="0" y="108"/>
                </a:lnTo>
                <a:lnTo>
                  <a:pt x="0" y="114"/>
                </a:lnTo>
                <a:lnTo>
                  <a:pt x="0" y="1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 name="Freeform 294">
            <a:extLst>
              <a:ext uri="{FF2B5EF4-FFF2-40B4-BE49-F238E27FC236}">
                <a16:creationId xmlns:a16="http://schemas.microsoft.com/office/drawing/2014/main" id="{10B74BB7-17DE-48FD-B701-D7492B21A46F}"/>
              </a:ext>
            </a:extLst>
          </p:cNvPr>
          <p:cNvSpPr>
            <a:spLocks/>
          </p:cNvSpPr>
          <p:nvPr userDrawn="1"/>
        </p:nvSpPr>
        <p:spPr bwMode="auto">
          <a:xfrm>
            <a:off x="8151678" y="3028573"/>
            <a:ext cx="160996" cy="422133"/>
          </a:xfrm>
          <a:custGeom>
            <a:avLst/>
            <a:gdLst>
              <a:gd name="T0" fmla="*/ 66 w 96"/>
              <a:gd name="T1" fmla="*/ 26 h 246"/>
              <a:gd name="T2" fmla="*/ 52 w 96"/>
              <a:gd name="T3" fmla="*/ 14 h 246"/>
              <a:gd name="T4" fmla="*/ 44 w 96"/>
              <a:gd name="T5" fmla="*/ 2 h 246"/>
              <a:gd name="T6" fmla="*/ 22 w 96"/>
              <a:gd name="T7" fmla="*/ 6 h 246"/>
              <a:gd name="T8" fmla="*/ 0 w 96"/>
              <a:gd name="T9" fmla="*/ 10 h 246"/>
              <a:gd name="T10" fmla="*/ 8 w 96"/>
              <a:gd name="T11" fmla="*/ 30 h 246"/>
              <a:gd name="T12" fmla="*/ 20 w 96"/>
              <a:gd name="T13" fmla="*/ 38 h 246"/>
              <a:gd name="T14" fmla="*/ 36 w 96"/>
              <a:gd name="T15" fmla="*/ 40 h 246"/>
              <a:gd name="T16" fmla="*/ 26 w 96"/>
              <a:gd name="T17" fmla="*/ 54 h 246"/>
              <a:gd name="T18" fmla="*/ 30 w 96"/>
              <a:gd name="T19" fmla="*/ 68 h 246"/>
              <a:gd name="T20" fmla="*/ 42 w 96"/>
              <a:gd name="T21" fmla="*/ 90 h 246"/>
              <a:gd name="T22" fmla="*/ 54 w 96"/>
              <a:gd name="T23" fmla="*/ 104 h 246"/>
              <a:gd name="T24" fmla="*/ 64 w 96"/>
              <a:gd name="T25" fmla="*/ 120 h 246"/>
              <a:gd name="T26" fmla="*/ 66 w 96"/>
              <a:gd name="T27" fmla="*/ 140 h 246"/>
              <a:gd name="T28" fmla="*/ 70 w 96"/>
              <a:gd name="T29" fmla="*/ 162 h 246"/>
              <a:gd name="T30" fmla="*/ 68 w 96"/>
              <a:gd name="T31" fmla="*/ 184 h 246"/>
              <a:gd name="T32" fmla="*/ 56 w 96"/>
              <a:gd name="T33" fmla="*/ 196 h 246"/>
              <a:gd name="T34" fmla="*/ 46 w 96"/>
              <a:gd name="T35" fmla="*/ 202 h 246"/>
              <a:gd name="T36" fmla="*/ 32 w 96"/>
              <a:gd name="T37" fmla="*/ 208 h 246"/>
              <a:gd name="T38" fmla="*/ 28 w 96"/>
              <a:gd name="T39" fmla="*/ 218 h 246"/>
              <a:gd name="T40" fmla="*/ 30 w 96"/>
              <a:gd name="T41" fmla="*/ 236 h 246"/>
              <a:gd name="T42" fmla="*/ 34 w 96"/>
              <a:gd name="T43" fmla="*/ 242 h 246"/>
              <a:gd name="T44" fmla="*/ 32 w 96"/>
              <a:gd name="T45" fmla="*/ 246 h 246"/>
              <a:gd name="T46" fmla="*/ 36 w 96"/>
              <a:gd name="T47" fmla="*/ 246 h 246"/>
              <a:gd name="T48" fmla="*/ 40 w 96"/>
              <a:gd name="T49" fmla="*/ 238 h 246"/>
              <a:gd name="T50" fmla="*/ 44 w 96"/>
              <a:gd name="T51" fmla="*/ 228 h 246"/>
              <a:gd name="T52" fmla="*/ 42 w 96"/>
              <a:gd name="T53" fmla="*/ 222 h 246"/>
              <a:gd name="T54" fmla="*/ 48 w 96"/>
              <a:gd name="T55" fmla="*/ 230 h 246"/>
              <a:gd name="T56" fmla="*/ 52 w 96"/>
              <a:gd name="T57" fmla="*/ 228 h 246"/>
              <a:gd name="T58" fmla="*/ 54 w 96"/>
              <a:gd name="T59" fmla="*/ 226 h 246"/>
              <a:gd name="T60" fmla="*/ 46 w 96"/>
              <a:gd name="T61" fmla="*/ 220 h 246"/>
              <a:gd name="T62" fmla="*/ 42 w 96"/>
              <a:gd name="T63" fmla="*/ 216 h 246"/>
              <a:gd name="T64" fmla="*/ 58 w 96"/>
              <a:gd name="T65" fmla="*/ 218 h 246"/>
              <a:gd name="T66" fmla="*/ 62 w 96"/>
              <a:gd name="T67" fmla="*/ 218 h 246"/>
              <a:gd name="T68" fmla="*/ 62 w 96"/>
              <a:gd name="T69" fmla="*/ 216 h 246"/>
              <a:gd name="T70" fmla="*/ 66 w 96"/>
              <a:gd name="T71" fmla="*/ 218 h 246"/>
              <a:gd name="T72" fmla="*/ 72 w 96"/>
              <a:gd name="T73" fmla="*/ 210 h 246"/>
              <a:gd name="T74" fmla="*/ 76 w 96"/>
              <a:gd name="T75" fmla="*/ 210 h 246"/>
              <a:gd name="T76" fmla="*/ 90 w 96"/>
              <a:gd name="T77" fmla="*/ 194 h 246"/>
              <a:gd name="T78" fmla="*/ 94 w 96"/>
              <a:gd name="T79" fmla="*/ 192 h 246"/>
              <a:gd name="T80" fmla="*/ 92 w 96"/>
              <a:gd name="T81" fmla="*/ 182 h 246"/>
              <a:gd name="T82" fmla="*/ 96 w 96"/>
              <a:gd name="T83" fmla="*/ 178 h 246"/>
              <a:gd name="T84" fmla="*/ 94 w 96"/>
              <a:gd name="T85" fmla="*/ 172 h 246"/>
              <a:gd name="T86" fmla="*/ 90 w 96"/>
              <a:gd name="T87" fmla="*/ 164 h 246"/>
              <a:gd name="T88" fmla="*/ 88 w 96"/>
              <a:gd name="T89" fmla="*/ 152 h 246"/>
              <a:gd name="T90" fmla="*/ 88 w 96"/>
              <a:gd name="T91" fmla="*/ 146 h 246"/>
              <a:gd name="T92" fmla="*/ 86 w 96"/>
              <a:gd name="T93" fmla="*/ 140 h 246"/>
              <a:gd name="T94" fmla="*/ 76 w 96"/>
              <a:gd name="T95" fmla="*/ 128 h 246"/>
              <a:gd name="T96" fmla="*/ 76 w 96"/>
              <a:gd name="T97" fmla="*/ 120 h 246"/>
              <a:gd name="T98" fmla="*/ 68 w 96"/>
              <a:gd name="T99" fmla="*/ 116 h 246"/>
              <a:gd name="T100" fmla="*/ 64 w 96"/>
              <a:gd name="T101" fmla="*/ 104 h 246"/>
              <a:gd name="T102" fmla="*/ 54 w 96"/>
              <a:gd name="T103" fmla="*/ 98 h 246"/>
              <a:gd name="T104" fmla="*/ 50 w 96"/>
              <a:gd name="T105" fmla="*/ 90 h 246"/>
              <a:gd name="T106" fmla="*/ 40 w 96"/>
              <a:gd name="T107" fmla="*/ 76 h 246"/>
              <a:gd name="T108" fmla="*/ 42 w 96"/>
              <a:gd name="T109" fmla="*/ 68 h 246"/>
              <a:gd name="T110" fmla="*/ 42 w 96"/>
              <a:gd name="T111" fmla="*/ 58 h 246"/>
              <a:gd name="T112" fmla="*/ 60 w 96"/>
              <a:gd name="T113" fmla="*/ 42 h 246"/>
              <a:gd name="T114" fmla="*/ 60 w 96"/>
              <a:gd name="T115" fmla="*/ 38 h 246"/>
              <a:gd name="T116" fmla="*/ 66 w 96"/>
              <a:gd name="T117" fmla="*/ 36 h 246"/>
              <a:gd name="T118" fmla="*/ 76 w 96"/>
              <a:gd name="T119" fmla="*/ 30 h 246"/>
              <a:gd name="T120" fmla="*/ 76 w 96"/>
              <a:gd name="T121" fmla="*/ 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246">
                <a:moveTo>
                  <a:pt x="76" y="28"/>
                </a:moveTo>
                <a:lnTo>
                  <a:pt x="70" y="26"/>
                </a:lnTo>
                <a:lnTo>
                  <a:pt x="66" y="26"/>
                </a:lnTo>
                <a:lnTo>
                  <a:pt x="60" y="24"/>
                </a:lnTo>
                <a:lnTo>
                  <a:pt x="56" y="20"/>
                </a:lnTo>
                <a:lnTo>
                  <a:pt x="52" y="14"/>
                </a:lnTo>
                <a:lnTo>
                  <a:pt x="54" y="6"/>
                </a:lnTo>
                <a:lnTo>
                  <a:pt x="48" y="4"/>
                </a:lnTo>
                <a:lnTo>
                  <a:pt x="44" y="2"/>
                </a:lnTo>
                <a:lnTo>
                  <a:pt x="38" y="0"/>
                </a:lnTo>
                <a:lnTo>
                  <a:pt x="32" y="6"/>
                </a:lnTo>
                <a:lnTo>
                  <a:pt x="22" y="6"/>
                </a:lnTo>
                <a:lnTo>
                  <a:pt x="14" y="8"/>
                </a:lnTo>
                <a:lnTo>
                  <a:pt x="6" y="6"/>
                </a:lnTo>
                <a:lnTo>
                  <a:pt x="0" y="10"/>
                </a:lnTo>
                <a:lnTo>
                  <a:pt x="4" y="20"/>
                </a:lnTo>
                <a:lnTo>
                  <a:pt x="4" y="24"/>
                </a:lnTo>
                <a:lnTo>
                  <a:pt x="8" y="30"/>
                </a:lnTo>
                <a:lnTo>
                  <a:pt x="14" y="32"/>
                </a:lnTo>
                <a:lnTo>
                  <a:pt x="14" y="36"/>
                </a:lnTo>
                <a:lnTo>
                  <a:pt x="20" y="38"/>
                </a:lnTo>
                <a:lnTo>
                  <a:pt x="24" y="34"/>
                </a:lnTo>
                <a:lnTo>
                  <a:pt x="30" y="36"/>
                </a:lnTo>
                <a:lnTo>
                  <a:pt x="36" y="40"/>
                </a:lnTo>
                <a:lnTo>
                  <a:pt x="36" y="48"/>
                </a:lnTo>
                <a:lnTo>
                  <a:pt x="32" y="50"/>
                </a:lnTo>
                <a:lnTo>
                  <a:pt x="26" y="54"/>
                </a:lnTo>
                <a:lnTo>
                  <a:pt x="22" y="56"/>
                </a:lnTo>
                <a:lnTo>
                  <a:pt x="22" y="64"/>
                </a:lnTo>
                <a:lnTo>
                  <a:pt x="30" y="68"/>
                </a:lnTo>
                <a:lnTo>
                  <a:pt x="32" y="78"/>
                </a:lnTo>
                <a:lnTo>
                  <a:pt x="38" y="86"/>
                </a:lnTo>
                <a:lnTo>
                  <a:pt x="42" y="90"/>
                </a:lnTo>
                <a:lnTo>
                  <a:pt x="44" y="96"/>
                </a:lnTo>
                <a:lnTo>
                  <a:pt x="48" y="100"/>
                </a:lnTo>
                <a:lnTo>
                  <a:pt x="54" y="104"/>
                </a:lnTo>
                <a:lnTo>
                  <a:pt x="56" y="110"/>
                </a:lnTo>
                <a:lnTo>
                  <a:pt x="60" y="118"/>
                </a:lnTo>
                <a:lnTo>
                  <a:pt x="64" y="120"/>
                </a:lnTo>
                <a:lnTo>
                  <a:pt x="66" y="126"/>
                </a:lnTo>
                <a:lnTo>
                  <a:pt x="66" y="136"/>
                </a:lnTo>
                <a:lnTo>
                  <a:pt x="66" y="140"/>
                </a:lnTo>
                <a:lnTo>
                  <a:pt x="66" y="148"/>
                </a:lnTo>
                <a:lnTo>
                  <a:pt x="68" y="154"/>
                </a:lnTo>
                <a:lnTo>
                  <a:pt x="70" y="162"/>
                </a:lnTo>
                <a:lnTo>
                  <a:pt x="70" y="170"/>
                </a:lnTo>
                <a:lnTo>
                  <a:pt x="68" y="176"/>
                </a:lnTo>
                <a:lnTo>
                  <a:pt x="68" y="184"/>
                </a:lnTo>
                <a:lnTo>
                  <a:pt x="66" y="190"/>
                </a:lnTo>
                <a:lnTo>
                  <a:pt x="62" y="194"/>
                </a:lnTo>
                <a:lnTo>
                  <a:pt x="56" y="196"/>
                </a:lnTo>
                <a:lnTo>
                  <a:pt x="54" y="198"/>
                </a:lnTo>
                <a:lnTo>
                  <a:pt x="52" y="204"/>
                </a:lnTo>
                <a:lnTo>
                  <a:pt x="46" y="202"/>
                </a:lnTo>
                <a:lnTo>
                  <a:pt x="38" y="202"/>
                </a:lnTo>
                <a:lnTo>
                  <a:pt x="36" y="206"/>
                </a:lnTo>
                <a:lnTo>
                  <a:pt x="32" y="208"/>
                </a:lnTo>
                <a:lnTo>
                  <a:pt x="26" y="216"/>
                </a:lnTo>
                <a:lnTo>
                  <a:pt x="26" y="216"/>
                </a:lnTo>
                <a:lnTo>
                  <a:pt x="28" y="218"/>
                </a:lnTo>
                <a:lnTo>
                  <a:pt x="30" y="222"/>
                </a:lnTo>
                <a:lnTo>
                  <a:pt x="30" y="222"/>
                </a:lnTo>
                <a:lnTo>
                  <a:pt x="30" y="236"/>
                </a:lnTo>
                <a:lnTo>
                  <a:pt x="30" y="236"/>
                </a:lnTo>
                <a:lnTo>
                  <a:pt x="30" y="240"/>
                </a:lnTo>
                <a:lnTo>
                  <a:pt x="34" y="242"/>
                </a:lnTo>
                <a:lnTo>
                  <a:pt x="34" y="242"/>
                </a:lnTo>
                <a:lnTo>
                  <a:pt x="32" y="246"/>
                </a:lnTo>
                <a:lnTo>
                  <a:pt x="32" y="246"/>
                </a:lnTo>
                <a:lnTo>
                  <a:pt x="34" y="246"/>
                </a:lnTo>
                <a:lnTo>
                  <a:pt x="34" y="246"/>
                </a:lnTo>
                <a:lnTo>
                  <a:pt x="36" y="246"/>
                </a:lnTo>
                <a:lnTo>
                  <a:pt x="38" y="242"/>
                </a:lnTo>
                <a:lnTo>
                  <a:pt x="40" y="238"/>
                </a:lnTo>
                <a:lnTo>
                  <a:pt x="40" y="238"/>
                </a:lnTo>
                <a:lnTo>
                  <a:pt x="46" y="238"/>
                </a:lnTo>
                <a:lnTo>
                  <a:pt x="46" y="238"/>
                </a:lnTo>
                <a:lnTo>
                  <a:pt x="44" y="228"/>
                </a:lnTo>
                <a:lnTo>
                  <a:pt x="44" y="228"/>
                </a:lnTo>
                <a:lnTo>
                  <a:pt x="42" y="224"/>
                </a:lnTo>
                <a:lnTo>
                  <a:pt x="42" y="222"/>
                </a:lnTo>
                <a:lnTo>
                  <a:pt x="42" y="222"/>
                </a:lnTo>
                <a:lnTo>
                  <a:pt x="42" y="222"/>
                </a:lnTo>
                <a:lnTo>
                  <a:pt x="48" y="230"/>
                </a:lnTo>
                <a:lnTo>
                  <a:pt x="48" y="230"/>
                </a:lnTo>
                <a:lnTo>
                  <a:pt x="52" y="230"/>
                </a:lnTo>
                <a:lnTo>
                  <a:pt x="52" y="228"/>
                </a:lnTo>
                <a:lnTo>
                  <a:pt x="54" y="228"/>
                </a:lnTo>
                <a:lnTo>
                  <a:pt x="54" y="226"/>
                </a:lnTo>
                <a:lnTo>
                  <a:pt x="54" y="226"/>
                </a:lnTo>
                <a:lnTo>
                  <a:pt x="50" y="224"/>
                </a:lnTo>
                <a:lnTo>
                  <a:pt x="46" y="222"/>
                </a:lnTo>
                <a:lnTo>
                  <a:pt x="46" y="220"/>
                </a:lnTo>
                <a:lnTo>
                  <a:pt x="46" y="220"/>
                </a:lnTo>
                <a:lnTo>
                  <a:pt x="42" y="216"/>
                </a:lnTo>
                <a:lnTo>
                  <a:pt x="42" y="216"/>
                </a:lnTo>
                <a:lnTo>
                  <a:pt x="50" y="218"/>
                </a:lnTo>
                <a:lnTo>
                  <a:pt x="58" y="220"/>
                </a:lnTo>
                <a:lnTo>
                  <a:pt x="58" y="218"/>
                </a:lnTo>
                <a:lnTo>
                  <a:pt x="58" y="218"/>
                </a:lnTo>
                <a:lnTo>
                  <a:pt x="60" y="218"/>
                </a:lnTo>
                <a:lnTo>
                  <a:pt x="62" y="218"/>
                </a:lnTo>
                <a:lnTo>
                  <a:pt x="62" y="218"/>
                </a:lnTo>
                <a:lnTo>
                  <a:pt x="62" y="216"/>
                </a:lnTo>
                <a:lnTo>
                  <a:pt x="62" y="216"/>
                </a:lnTo>
                <a:lnTo>
                  <a:pt x="62" y="216"/>
                </a:lnTo>
                <a:lnTo>
                  <a:pt x="64" y="216"/>
                </a:lnTo>
                <a:lnTo>
                  <a:pt x="66" y="218"/>
                </a:lnTo>
                <a:lnTo>
                  <a:pt x="66" y="218"/>
                </a:lnTo>
                <a:lnTo>
                  <a:pt x="70" y="214"/>
                </a:lnTo>
                <a:lnTo>
                  <a:pt x="72" y="210"/>
                </a:lnTo>
                <a:lnTo>
                  <a:pt x="72" y="210"/>
                </a:lnTo>
                <a:lnTo>
                  <a:pt x="76" y="210"/>
                </a:lnTo>
                <a:lnTo>
                  <a:pt x="76" y="210"/>
                </a:lnTo>
                <a:lnTo>
                  <a:pt x="90" y="198"/>
                </a:lnTo>
                <a:lnTo>
                  <a:pt x="90" y="198"/>
                </a:lnTo>
                <a:lnTo>
                  <a:pt x="90" y="194"/>
                </a:lnTo>
                <a:lnTo>
                  <a:pt x="90" y="194"/>
                </a:lnTo>
                <a:lnTo>
                  <a:pt x="94" y="192"/>
                </a:lnTo>
                <a:lnTo>
                  <a:pt x="94" y="192"/>
                </a:lnTo>
                <a:lnTo>
                  <a:pt x="94" y="188"/>
                </a:lnTo>
                <a:lnTo>
                  <a:pt x="92" y="186"/>
                </a:lnTo>
                <a:lnTo>
                  <a:pt x="92" y="182"/>
                </a:lnTo>
                <a:lnTo>
                  <a:pt x="92" y="180"/>
                </a:lnTo>
                <a:lnTo>
                  <a:pt x="92" y="180"/>
                </a:lnTo>
                <a:lnTo>
                  <a:pt x="96" y="178"/>
                </a:lnTo>
                <a:lnTo>
                  <a:pt x="96" y="178"/>
                </a:lnTo>
                <a:lnTo>
                  <a:pt x="96" y="174"/>
                </a:lnTo>
                <a:lnTo>
                  <a:pt x="94" y="172"/>
                </a:lnTo>
                <a:lnTo>
                  <a:pt x="94" y="172"/>
                </a:lnTo>
                <a:lnTo>
                  <a:pt x="90" y="164"/>
                </a:lnTo>
                <a:lnTo>
                  <a:pt x="90" y="164"/>
                </a:lnTo>
                <a:lnTo>
                  <a:pt x="90" y="154"/>
                </a:lnTo>
                <a:lnTo>
                  <a:pt x="90" y="154"/>
                </a:lnTo>
                <a:lnTo>
                  <a:pt x="88" y="152"/>
                </a:lnTo>
                <a:lnTo>
                  <a:pt x="88" y="152"/>
                </a:lnTo>
                <a:lnTo>
                  <a:pt x="88" y="146"/>
                </a:lnTo>
                <a:lnTo>
                  <a:pt x="88" y="146"/>
                </a:lnTo>
                <a:lnTo>
                  <a:pt x="84" y="144"/>
                </a:lnTo>
                <a:lnTo>
                  <a:pt x="84" y="144"/>
                </a:lnTo>
                <a:lnTo>
                  <a:pt x="86" y="140"/>
                </a:lnTo>
                <a:lnTo>
                  <a:pt x="84" y="136"/>
                </a:lnTo>
                <a:lnTo>
                  <a:pt x="84" y="136"/>
                </a:lnTo>
                <a:lnTo>
                  <a:pt x="76" y="128"/>
                </a:lnTo>
                <a:lnTo>
                  <a:pt x="76" y="128"/>
                </a:lnTo>
                <a:lnTo>
                  <a:pt x="76" y="124"/>
                </a:lnTo>
                <a:lnTo>
                  <a:pt x="76" y="120"/>
                </a:lnTo>
                <a:lnTo>
                  <a:pt x="76" y="120"/>
                </a:lnTo>
                <a:lnTo>
                  <a:pt x="68" y="116"/>
                </a:lnTo>
                <a:lnTo>
                  <a:pt x="68" y="116"/>
                </a:lnTo>
                <a:lnTo>
                  <a:pt x="64" y="106"/>
                </a:lnTo>
                <a:lnTo>
                  <a:pt x="64" y="106"/>
                </a:lnTo>
                <a:lnTo>
                  <a:pt x="64" y="104"/>
                </a:lnTo>
                <a:lnTo>
                  <a:pt x="64" y="104"/>
                </a:lnTo>
                <a:lnTo>
                  <a:pt x="56" y="100"/>
                </a:lnTo>
                <a:lnTo>
                  <a:pt x="54" y="98"/>
                </a:lnTo>
                <a:lnTo>
                  <a:pt x="50" y="94"/>
                </a:lnTo>
                <a:lnTo>
                  <a:pt x="50" y="94"/>
                </a:lnTo>
                <a:lnTo>
                  <a:pt x="50" y="90"/>
                </a:lnTo>
                <a:lnTo>
                  <a:pt x="50" y="90"/>
                </a:lnTo>
                <a:lnTo>
                  <a:pt x="44" y="82"/>
                </a:lnTo>
                <a:lnTo>
                  <a:pt x="40" y="76"/>
                </a:lnTo>
                <a:lnTo>
                  <a:pt x="40" y="70"/>
                </a:lnTo>
                <a:lnTo>
                  <a:pt x="42" y="68"/>
                </a:lnTo>
                <a:lnTo>
                  <a:pt x="42" y="68"/>
                </a:lnTo>
                <a:lnTo>
                  <a:pt x="42" y="62"/>
                </a:lnTo>
                <a:lnTo>
                  <a:pt x="42" y="58"/>
                </a:lnTo>
                <a:lnTo>
                  <a:pt x="42" y="58"/>
                </a:lnTo>
                <a:lnTo>
                  <a:pt x="46" y="56"/>
                </a:lnTo>
                <a:lnTo>
                  <a:pt x="50" y="54"/>
                </a:lnTo>
                <a:lnTo>
                  <a:pt x="60" y="42"/>
                </a:lnTo>
                <a:lnTo>
                  <a:pt x="60" y="42"/>
                </a:lnTo>
                <a:lnTo>
                  <a:pt x="60" y="38"/>
                </a:lnTo>
                <a:lnTo>
                  <a:pt x="60" y="38"/>
                </a:lnTo>
                <a:lnTo>
                  <a:pt x="62" y="38"/>
                </a:lnTo>
                <a:lnTo>
                  <a:pt x="66" y="36"/>
                </a:lnTo>
                <a:lnTo>
                  <a:pt x="66" y="36"/>
                </a:lnTo>
                <a:lnTo>
                  <a:pt x="70" y="32"/>
                </a:lnTo>
                <a:lnTo>
                  <a:pt x="70" y="32"/>
                </a:lnTo>
                <a:lnTo>
                  <a:pt x="76" y="30"/>
                </a:lnTo>
                <a:lnTo>
                  <a:pt x="76" y="30"/>
                </a:lnTo>
                <a:lnTo>
                  <a:pt x="76" y="28"/>
                </a:lnTo>
                <a:lnTo>
                  <a:pt x="76"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9" name="Freeform 295">
            <a:extLst>
              <a:ext uri="{FF2B5EF4-FFF2-40B4-BE49-F238E27FC236}">
                <a16:creationId xmlns:a16="http://schemas.microsoft.com/office/drawing/2014/main" id="{5A06678A-5343-465C-BDF1-E129D3D980FD}"/>
              </a:ext>
            </a:extLst>
          </p:cNvPr>
          <p:cNvSpPr>
            <a:spLocks/>
          </p:cNvSpPr>
          <p:nvPr userDrawn="1"/>
        </p:nvSpPr>
        <p:spPr bwMode="auto">
          <a:xfrm>
            <a:off x="4198904" y="3344314"/>
            <a:ext cx="305220" cy="332902"/>
          </a:xfrm>
          <a:custGeom>
            <a:avLst/>
            <a:gdLst>
              <a:gd name="T0" fmla="*/ 8 w 182"/>
              <a:gd name="T1" fmla="*/ 30 h 194"/>
              <a:gd name="T2" fmla="*/ 2 w 182"/>
              <a:gd name="T3" fmla="*/ 40 h 194"/>
              <a:gd name="T4" fmla="*/ 0 w 182"/>
              <a:gd name="T5" fmla="*/ 56 h 194"/>
              <a:gd name="T6" fmla="*/ 14 w 182"/>
              <a:gd name="T7" fmla="*/ 68 h 194"/>
              <a:gd name="T8" fmla="*/ 12 w 182"/>
              <a:gd name="T9" fmla="*/ 76 h 194"/>
              <a:gd name="T10" fmla="*/ 28 w 182"/>
              <a:gd name="T11" fmla="*/ 92 h 194"/>
              <a:gd name="T12" fmla="*/ 44 w 182"/>
              <a:gd name="T13" fmla="*/ 92 h 194"/>
              <a:gd name="T14" fmla="*/ 64 w 182"/>
              <a:gd name="T15" fmla="*/ 104 h 194"/>
              <a:gd name="T16" fmla="*/ 70 w 182"/>
              <a:gd name="T17" fmla="*/ 116 h 194"/>
              <a:gd name="T18" fmla="*/ 72 w 182"/>
              <a:gd name="T19" fmla="*/ 128 h 194"/>
              <a:gd name="T20" fmla="*/ 84 w 182"/>
              <a:gd name="T21" fmla="*/ 140 h 194"/>
              <a:gd name="T22" fmla="*/ 94 w 182"/>
              <a:gd name="T23" fmla="*/ 158 h 194"/>
              <a:gd name="T24" fmla="*/ 88 w 182"/>
              <a:gd name="T25" fmla="*/ 172 h 194"/>
              <a:gd name="T26" fmla="*/ 92 w 182"/>
              <a:gd name="T27" fmla="*/ 176 h 194"/>
              <a:gd name="T28" fmla="*/ 102 w 182"/>
              <a:gd name="T29" fmla="*/ 194 h 194"/>
              <a:gd name="T30" fmla="*/ 114 w 182"/>
              <a:gd name="T31" fmla="*/ 186 h 194"/>
              <a:gd name="T32" fmla="*/ 124 w 182"/>
              <a:gd name="T33" fmla="*/ 180 h 194"/>
              <a:gd name="T34" fmla="*/ 132 w 182"/>
              <a:gd name="T35" fmla="*/ 172 h 194"/>
              <a:gd name="T36" fmla="*/ 136 w 182"/>
              <a:gd name="T37" fmla="*/ 166 h 194"/>
              <a:gd name="T38" fmla="*/ 122 w 182"/>
              <a:gd name="T39" fmla="*/ 166 h 194"/>
              <a:gd name="T40" fmla="*/ 118 w 182"/>
              <a:gd name="T41" fmla="*/ 156 h 194"/>
              <a:gd name="T42" fmla="*/ 114 w 182"/>
              <a:gd name="T43" fmla="*/ 138 h 194"/>
              <a:gd name="T44" fmla="*/ 114 w 182"/>
              <a:gd name="T45" fmla="*/ 134 h 194"/>
              <a:gd name="T46" fmla="*/ 128 w 182"/>
              <a:gd name="T47" fmla="*/ 136 h 194"/>
              <a:gd name="T48" fmla="*/ 140 w 182"/>
              <a:gd name="T49" fmla="*/ 140 h 194"/>
              <a:gd name="T50" fmla="*/ 142 w 182"/>
              <a:gd name="T51" fmla="*/ 134 h 194"/>
              <a:gd name="T52" fmla="*/ 154 w 182"/>
              <a:gd name="T53" fmla="*/ 136 h 194"/>
              <a:gd name="T54" fmla="*/ 160 w 182"/>
              <a:gd name="T55" fmla="*/ 128 h 194"/>
              <a:gd name="T56" fmla="*/ 170 w 182"/>
              <a:gd name="T57" fmla="*/ 120 h 194"/>
              <a:gd name="T58" fmla="*/ 164 w 182"/>
              <a:gd name="T59" fmla="*/ 92 h 194"/>
              <a:gd name="T60" fmla="*/ 174 w 182"/>
              <a:gd name="T61" fmla="*/ 88 h 194"/>
              <a:gd name="T62" fmla="*/ 172 w 182"/>
              <a:gd name="T63" fmla="*/ 82 h 194"/>
              <a:gd name="T64" fmla="*/ 166 w 182"/>
              <a:gd name="T65" fmla="*/ 72 h 194"/>
              <a:gd name="T66" fmla="*/ 178 w 182"/>
              <a:gd name="T67" fmla="*/ 66 h 194"/>
              <a:gd name="T68" fmla="*/ 182 w 182"/>
              <a:gd name="T69" fmla="*/ 56 h 194"/>
              <a:gd name="T70" fmla="*/ 172 w 182"/>
              <a:gd name="T71" fmla="*/ 56 h 194"/>
              <a:gd name="T72" fmla="*/ 150 w 182"/>
              <a:gd name="T73" fmla="*/ 60 h 194"/>
              <a:gd name="T74" fmla="*/ 168 w 182"/>
              <a:gd name="T75" fmla="*/ 52 h 194"/>
              <a:gd name="T76" fmla="*/ 170 w 182"/>
              <a:gd name="T77" fmla="*/ 40 h 194"/>
              <a:gd name="T78" fmla="*/ 164 w 182"/>
              <a:gd name="T79" fmla="*/ 40 h 194"/>
              <a:gd name="T80" fmla="*/ 156 w 182"/>
              <a:gd name="T81" fmla="*/ 34 h 194"/>
              <a:gd name="T82" fmla="*/ 148 w 182"/>
              <a:gd name="T83" fmla="*/ 32 h 194"/>
              <a:gd name="T84" fmla="*/ 154 w 182"/>
              <a:gd name="T85" fmla="*/ 26 h 194"/>
              <a:gd name="T86" fmla="*/ 134 w 182"/>
              <a:gd name="T87" fmla="*/ 22 h 194"/>
              <a:gd name="T88" fmla="*/ 130 w 182"/>
              <a:gd name="T89" fmla="*/ 26 h 194"/>
              <a:gd name="T90" fmla="*/ 116 w 182"/>
              <a:gd name="T91" fmla="*/ 32 h 194"/>
              <a:gd name="T92" fmla="*/ 102 w 182"/>
              <a:gd name="T93" fmla="*/ 26 h 194"/>
              <a:gd name="T94" fmla="*/ 80 w 182"/>
              <a:gd name="T95" fmla="*/ 24 h 194"/>
              <a:gd name="T96" fmla="*/ 72 w 182"/>
              <a:gd name="T97" fmla="*/ 24 h 194"/>
              <a:gd name="T98" fmla="*/ 70 w 182"/>
              <a:gd name="T99" fmla="*/ 12 h 194"/>
              <a:gd name="T100" fmla="*/ 60 w 182"/>
              <a:gd name="T101" fmla="*/ 10 h 194"/>
              <a:gd name="T102" fmla="*/ 50 w 182"/>
              <a:gd name="T103" fmla="*/ 0 h 194"/>
              <a:gd name="T104" fmla="*/ 46 w 182"/>
              <a:gd name="T105" fmla="*/ 6 h 194"/>
              <a:gd name="T106" fmla="*/ 42 w 182"/>
              <a:gd name="T107" fmla="*/ 14 h 194"/>
              <a:gd name="T108" fmla="*/ 34 w 182"/>
              <a:gd name="T109" fmla="*/ 30 h 194"/>
              <a:gd name="T110" fmla="*/ 36 w 182"/>
              <a:gd name="T111" fmla="*/ 36 h 194"/>
              <a:gd name="T112" fmla="*/ 28 w 182"/>
              <a:gd name="T113" fmla="*/ 50 h 194"/>
              <a:gd name="T114" fmla="*/ 24 w 182"/>
              <a:gd name="T115" fmla="*/ 40 h 194"/>
              <a:gd name="T116" fmla="*/ 30 w 182"/>
              <a:gd name="T117" fmla="*/ 26 h 194"/>
              <a:gd name="T118" fmla="*/ 26 w 182"/>
              <a:gd name="T119" fmla="*/ 20 h 194"/>
              <a:gd name="T120" fmla="*/ 26 w 182"/>
              <a:gd name="T121" fmla="*/ 14 h 194"/>
              <a:gd name="T122" fmla="*/ 22 w 182"/>
              <a:gd name="T123" fmla="*/ 12 h 194"/>
              <a:gd name="T124" fmla="*/ 28 w 182"/>
              <a:gd name="T125" fmla="*/ 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194">
                <a:moveTo>
                  <a:pt x="28" y="4"/>
                </a:moveTo>
                <a:lnTo>
                  <a:pt x="28" y="4"/>
                </a:lnTo>
                <a:lnTo>
                  <a:pt x="20" y="6"/>
                </a:lnTo>
                <a:lnTo>
                  <a:pt x="14" y="16"/>
                </a:lnTo>
                <a:lnTo>
                  <a:pt x="8" y="30"/>
                </a:lnTo>
                <a:lnTo>
                  <a:pt x="2" y="32"/>
                </a:lnTo>
                <a:lnTo>
                  <a:pt x="2" y="32"/>
                </a:lnTo>
                <a:lnTo>
                  <a:pt x="4" y="34"/>
                </a:lnTo>
                <a:lnTo>
                  <a:pt x="2" y="40"/>
                </a:lnTo>
                <a:lnTo>
                  <a:pt x="2" y="40"/>
                </a:lnTo>
                <a:lnTo>
                  <a:pt x="2" y="46"/>
                </a:lnTo>
                <a:lnTo>
                  <a:pt x="2" y="48"/>
                </a:lnTo>
                <a:lnTo>
                  <a:pt x="0" y="52"/>
                </a:lnTo>
                <a:lnTo>
                  <a:pt x="0" y="52"/>
                </a:lnTo>
                <a:lnTo>
                  <a:pt x="0" y="56"/>
                </a:lnTo>
                <a:lnTo>
                  <a:pt x="0" y="58"/>
                </a:lnTo>
                <a:lnTo>
                  <a:pt x="2" y="58"/>
                </a:lnTo>
                <a:lnTo>
                  <a:pt x="8" y="56"/>
                </a:lnTo>
                <a:lnTo>
                  <a:pt x="14" y="68"/>
                </a:lnTo>
                <a:lnTo>
                  <a:pt x="14" y="68"/>
                </a:lnTo>
                <a:lnTo>
                  <a:pt x="12" y="70"/>
                </a:lnTo>
                <a:lnTo>
                  <a:pt x="10" y="70"/>
                </a:lnTo>
                <a:lnTo>
                  <a:pt x="10" y="72"/>
                </a:lnTo>
                <a:lnTo>
                  <a:pt x="10" y="72"/>
                </a:lnTo>
                <a:lnTo>
                  <a:pt x="12" y="76"/>
                </a:lnTo>
                <a:lnTo>
                  <a:pt x="16" y="82"/>
                </a:lnTo>
                <a:lnTo>
                  <a:pt x="16" y="82"/>
                </a:lnTo>
                <a:lnTo>
                  <a:pt x="18" y="88"/>
                </a:lnTo>
                <a:lnTo>
                  <a:pt x="18" y="90"/>
                </a:lnTo>
                <a:lnTo>
                  <a:pt x="28" y="92"/>
                </a:lnTo>
                <a:lnTo>
                  <a:pt x="28" y="92"/>
                </a:lnTo>
                <a:lnTo>
                  <a:pt x="32" y="92"/>
                </a:lnTo>
                <a:lnTo>
                  <a:pt x="38" y="92"/>
                </a:lnTo>
                <a:lnTo>
                  <a:pt x="38" y="92"/>
                </a:lnTo>
                <a:lnTo>
                  <a:pt x="44" y="92"/>
                </a:lnTo>
                <a:lnTo>
                  <a:pt x="48" y="94"/>
                </a:lnTo>
                <a:lnTo>
                  <a:pt x="48" y="94"/>
                </a:lnTo>
                <a:lnTo>
                  <a:pt x="54" y="106"/>
                </a:lnTo>
                <a:lnTo>
                  <a:pt x="54" y="106"/>
                </a:lnTo>
                <a:lnTo>
                  <a:pt x="64" y="104"/>
                </a:lnTo>
                <a:lnTo>
                  <a:pt x="64" y="104"/>
                </a:lnTo>
                <a:lnTo>
                  <a:pt x="72" y="106"/>
                </a:lnTo>
                <a:lnTo>
                  <a:pt x="72" y="114"/>
                </a:lnTo>
                <a:lnTo>
                  <a:pt x="72" y="114"/>
                </a:lnTo>
                <a:lnTo>
                  <a:pt x="70" y="116"/>
                </a:lnTo>
                <a:lnTo>
                  <a:pt x="68" y="118"/>
                </a:lnTo>
                <a:lnTo>
                  <a:pt x="70" y="122"/>
                </a:lnTo>
                <a:lnTo>
                  <a:pt x="70" y="122"/>
                </a:lnTo>
                <a:lnTo>
                  <a:pt x="70" y="126"/>
                </a:lnTo>
                <a:lnTo>
                  <a:pt x="72" y="128"/>
                </a:lnTo>
                <a:lnTo>
                  <a:pt x="76" y="132"/>
                </a:lnTo>
                <a:lnTo>
                  <a:pt x="76" y="132"/>
                </a:lnTo>
                <a:lnTo>
                  <a:pt x="80" y="136"/>
                </a:lnTo>
                <a:lnTo>
                  <a:pt x="84" y="140"/>
                </a:lnTo>
                <a:lnTo>
                  <a:pt x="84" y="140"/>
                </a:lnTo>
                <a:lnTo>
                  <a:pt x="90" y="146"/>
                </a:lnTo>
                <a:lnTo>
                  <a:pt x="96" y="148"/>
                </a:lnTo>
                <a:lnTo>
                  <a:pt x="96" y="148"/>
                </a:lnTo>
                <a:lnTo>
                  <a:pt x="94" y="158"/>
                </a:lnTo>
                <a:lnTo>
                  <a:pt x="94" y="158"/>
                </a:lnTo>
                <a:lnTo>
                  <a:pt x="90" y="164"/>
                </a:lnTo>
                <a:lnTo>
                  <a:pt x="88" y="166"/>
                </a:lnTo>
                <a:lnTo>
                  <a:pt x="88" y="166"/>
                </a:lnTo>
                <a:lnTo>
                  <a:pt x="86" y="170"/>
                </a:lnTo>
                <a:lnTo>
                  <a:pt x="88" y="172"/>
                </a:lnTo>
                <a:lnTo>
                  <a:pt x="90" y="172"/>
                </a:lnTo>
                <a:lnTo>
                  <a:pt x="90" y="172"/>
                </a:lnTo>
                <a:lnTo>
                  <a:pt x="92" y="170"/>
                </a:lnTo>
                <a:lnTo>
                  <a:pt x="92" y="170"/>
                </a:lnTo>
                <a:lnTo>
                  <a:pt x="92" y="176"/>
                </a:lnTo>
                <a:lnTo>
                  <a:pt x="92" y="176"/>
                </a:lnTo>
                <a:lnTo>
                  <a:pt x="96" y="180"/>
                </a:lnTo>
                <a:lnTo>
                  <a:pt x="94" y="188"/>
                </a:lnTo>
                <a:lnTo>
                  <a:pt x="102" y="194"/>
                </a:lnTo>
                <a:lnTo>
                  <a:pt x="102" y="194"/>
                </a:lnTo>
                <a:lnTo>
                  <a:pt x="104" y="192"/>
                </a:lnTo>
                <a:lnTo>
                  <a:pt x="110" y="190"/>
                </a:lnTo>
                <a:lnTo>
                  <a:pt x="110" y="190"/>
                </a:lnTo>
                <a:lnTo>
                  <a:pt x="112" y="188"/>
                </a:lnTo>
                <a:lnTo>
                  <a:pt x="114" y="186"/>
                </a:lnTo>
                <a:lnTo>
                  <a:pt x="116" y="184"/>
                </a:lnTo>
                <a:lnTo>
                  <a:pt x="118" y="184"/>
                </a:lnTo>
                <a:lnTo>
                  <a:pt x="118" y="184"/>
                </a:lnTo>
                <a:lnTo>
                  <a:pt x="122" y="182"/>
                </a:lnTo>
                <a:lnTo>
                  <a:pt x="124" y="180"/>
                </a:lnTo>
                <a:lnTo>
                  <a:pt x="124" y="180"/>
                </a:lnTo>
                <a:lnTo>
                  <a:pt x="126" y="178"/>
                </a:lnTo>
                <a:lnTo>
                  <a:pt x="128" y="176"/>
                </a:lnTo>
                <a:lnTo>
                  <a:pt x="130" y="172"/>
                </a:lnTo>
                <a:lnTo>
                  <a:pt x="132" y="172"/>
                </a:lnTo>
                <a:lnTo>
                  <a:pt x="132" y="172"/>
                </a:lnTo>
                <a:lnTo>
                  <a:pt x="136" y="170"/>
                </a:lnTo>
                <a:lnTo>
                  <a:pt x="138" y="170"/>
                </a:lnTo>
                <a:lnTo>
                  <a:pt x="138" y="170"/>
                </a:lnTo>
                <a:lnTo>
                  <a:pt x="136" y="166"/>
                </a:lnTo>
                <a:lnTo>
                  <a:pt x="134" y="166"/>
                </a:lnTo>
                <a:lnTo>
                  <a:pt x="132" y="164"/>
                </a:lnTo>
                <a:lnTo>
                  <a:pt x="132" y="164"/>
                </a:lnTo>
                <a:lnTo>
                  <a:pt x="126" y="166"/>
                </a:lnTo>
                <a:lnTo>
                  <a:pt x="122" y="166"/>
                </a:lnTo>
                <a:lnTo>
                  <a:pt x="122" y="166"/>
                </a:lnTo>
                <a:lnTo>
                  <a:pt x="120" y="164"/>
                </a:lnTo>
                <a:lnTo>
                  <a:pt x="118" y="162"/>
                </a:lnTo>
                <a:lnTo>
                  <a:pt x="118" y="162"/>
                </a:lnTo>
                <a:lnTo>
                  <a:pt x="118" y="156"/>
                </a:lnTo>
                <a:lnTo>
                  <a:pt x="118" y="150"/>
                </a:lnTo>
                <a:lnTo>
                  <a:pt x="118" y="150"/>
                </a:lnTo>
                <a:lnTo>
                  <a:pt x="116" y="142"/>
                </a:lnTo>
                <a:lnTo>
                  <a:pt x="116" y="142"/>
                </a:lnTo>
                <a:lnTo>
                  <a:pt x="114" y="138"/>
                </a:lnTo>
                <a:lnTo>
                  <a:pt x="114" y="136"/>
                </a:lnTo>
                <a:lnTo>
                  <a:pt x="112" y="136"/>
                </a:lnTo>
                <a:lnTo>
                  <a:pt x="112" y="136"/>
                </a:lnTo>
                <a:lnTo>
                  <a:pt x="110" y="134"/>
                </a:lnTo>
                <a:lnTo>
                  <a:pt x="114" y="134"/>
                </a:lnTo>
                <a:lnTo>
                  <a:pt x="114" y="134"/>
                </a:lnTo>
                <a:lnTo>
                  <a:pt x="120" y="136"/>
                </a:lnTo>
                <a:lnTo>
                  <a:pt x="124" y="136"/>
                </a:lnTo>
                <a:lnTo>
                  <a:pt x="124" y="136"/>
                </a:lnTo>
                <a:lnTo>
                  <a:pt x="128" y="136"/>
                </a:lnTo>
                <a:lnTo>
                  <a:pt x="132" y="138"/>
                </a:lnTo>
                <a:lnTo>
                  <a:pt x="132" y="138"/>
                </a:lnTo>
                <a:lnTo>
                  <a:pt x="138" y="140"/>
                </a:lnTo>
                <a:lnTo>
                  <a:pt x="140" y="140"/>
                </a:lnTo>
                <a:lnTo>
                  <a:pt x="140" y="140"/>
                </a:lnTo>
                <a:lnTo>
                  <a:pt x="140" y="140"/>
                </a:lnTo>
                <a:lnTo>
                  <a:pt x="138" y="138"/>
                </a:lnTo>
                <a:lnTo>
                  <a:pt x="140" y="136"/>
                </a:lnTo>
                <a:lnTo>
                  <a:pt x="140" y="136"/>
                </a:lnTo>
                <a:lnTo>
                  <a:pt x="142" y="134"/>
                </a:lnTo>
                <a:lnTo>
                  <a:pt x="144" y="134"/>
                </a:lnTo>
                <a:lnTo>
                  <a:pt x="144" y="134"/>
                </a:lnTo>
                <a:lnTo>
                  <a:pt x="152" y="136"/>
                </a:lnTo>
                <a:lnTo>
                  <a:pt x="152" y="136"/>
                </a:lnTo>
                <a:lnTo>
                  <a:pt x="154" y="136"/>
                </a:lnTo>
                <a:lnTo>
                  <a:pt x="154" y="134"/>
                </a:lnTo>
                <a:lnTo>
                  <a:pt x="158" y="132"/>
                </a:lnTo>
                <a:lnTo>
                  <a:pt x="158" y="132"/>
                </a:lnTo>
                <a:lnTo>
                  <a:pt x="158" y="130"/>
                </a:lnTo>
                <a:lnTo>
                  <a:pt x="160" y="128"/>
                </a:lnTo>
                <a:lnTo>
                  <a:pt x="162" y="128"/>
                </a:lnTo>
                <a:lnTo>
                  <a:pt x="162" y="126"/>
                </a:lnTo>
                <a:lnTo>
                  <a:pt x="162" y="126"/>
                </a:lnTo>
                <a:lnTo>
                  <a:pt x="170" y="126"/>
                </a:lnTo>
                <a:lnTo>
                  <a:pt x="170" y="120"/>
                </a:lnTo>
                <a:lnTo>
                  <a:pt x="170" y="116"/>
                </a:lnTo>
                <a:lnTo>
                  <a:pt x="158" y="98"/>
                </a:lnTo>
                <a:lnTo>
                  <a:pt x="164" y="96"/>
                </a:lnTo>
                <a:lnTo>
                  <a:pt x="164" y="96"/>
                </a:lnTo>
                <a:lnTo>
                  <a:pt x="164" y="92"/>
                </a:lnTo>
                <a:lnTo>
                  <a:pt x="164" y="90"/>
                </a:lnTo>
                <a:lnTo>
                  <a:pt x="164" y="90"/>
                </a:lnTo>
                <a:lnTo>
                  <a:pt x="164" y="90"/>
                </a:lnTo>
                <a:lnTo>
                  <a:pt x="172" y="88"/>
                </a:lnTo>
                <a:lnTo>
                  <a:pt x="174" y="88"/>
                </a:lnTo>
                <a:lnTo>
                  <a:pt x="176" y="86"/>
                </a:lnTo>
                <a:lnTo>
                  <a:pt x="176" y="86"/>
                </a:lnTo>
                <a:lnTo>
                  <a:pt x="176" y="84"/>
                </a:lnTo>
                <a:lnTo>
                  <a:pt x="174" y="82"/>
                </a:lnTo>
                <a:lnTo>
                  <a:pt x="172" y="82"/>
                </a:lnTo>
                <a:lnTo>
                  <a:pt x="172" y="82"/>
                </a:lnTo>
                <a:lnTo>
                  <a:pt x="170" y="78"/>
                </a:lnTo>
                <a:lnTo>
                  <a:pt x="168" y="76"/>
                </a:lnTo>
                <a:lnTo>
                  <a:pt x="168" y="76"/>
                </a:lnTo>
                <a:lnTo>
                  <a:pt x="166" y="72"/>
                </a:lnTo>
                <a:lnTo>
                  <a:pt x="166" y="70"/>
                </a:lnTo>
                <a:lnTo>
                  <a:pt x="168" y="70"/>
                </a:lnTo>
                <a:lnTo>
                  <a:pt x="168" y="70"/>
                </a:lnTo>
                <a:lnTo>
                  <a:pt x="172" y="70"/>
                </a:lnTo>
                <a:lnTo>
                  <a:pt x="178" y="66"/>
                </a:lnTo>
                <a:lnTo>
                  <a:pt x="178" y="66"/>
                </a:lnTo>
                <a:lnTo>
                  <a:pt x="180" y="64"/>
                </a:lnTo>
                <a:lnTo>
                  <a:pt x="180" y="64"/>
                </a:lnTo>
                <a:lnTo>
                  <a:pt x="182" y="56"/>
                </a:lnTo>
                <a:lnTo>
                  <a:pt x="182" y="56"/>
                </a:lnTo>
                <a:lnTo>
                  <a:pt x="180" y="54"/>
                </a:lnTo>
                <a:lnTo>
                  <a:pt x="180" y="54"/>
                </a:lnTo>
                <a:lnTo>
                  <a:pt x="174" y="56"/>
                </a:lnTo>
                <a:lnTo>
                  <a:pt x="172" y="56"/>
                </a:lnTo>
                <a:lnTo>
                  <a:pt x="172" y="56"/>
                </a:lnTo>
                <a:lnTo>
                  <a:pt x="170" y="56"/>
                </a:lnTo>
                <a:lnTo>
                  <a:pt x="166" y="56"/>
                </a:lnTo>
                <a:lnTo>
                  <a:pt x="164" y="58"/>
                </a:lnTo>
                <a:lnTo>
                  <a:pt x="164" y="58"/>
                </a:lnTo>
                <a:lnTo>
                  <a:pt x="150" y="60"/>
                </a:lnTo>
                <a:lnTo>
                  <a:pt x="150" y="60"/>
                </a:lnTo>
                <a:lnTo>
                  <a:pt x="152" y="56"/>
                </a:lnTo>
                <a:lnTo>
                  <a:pt x="152" y="56"/>
                </a:lnTo>
                <a:lnTo>
                  <a:pt x="168" y="52"/>
                </a:lnTo>
                <a:lnTo>
                  <a:pt x="168" y="52"/>
                </a:lnTo>
                <a:lnTo>
                  <a:pt x="168" y="46"/>
                </a:lnTo>
                <a:lnTo>
                  <a:pt x="168" y="46"/>
                </a:lnTo>
                <a:lnTo>
                  <a:pt x="170" y="42"/>
                </a:lnTo>
                <a:lnTo>
                  <a:pt x="170" y="42"/>
                </a:lnTo>
                <a:lnTo>
                  <a:pt x="170" y="40"/>
                </a:lnTo>
                <a:lnTo>
                  <a:pt x="170" y="38"/>
                </a:lnTo>
                <a:lnTo>
                  <a:pt x="170" y="38"/>
                </a:lnTo>
                <a:lnTo>
                  <a:pt x="162" y="38"/>
                </a:lnTo>
                <a:lnTo>
                  <a:pt x="162" y="38"/>
                </a:lnTo>
                <a:lnTo>
                  <a:pt x="164" y="40"/>
                </a:lnTo>
                <a:lnTo>
                  <a:pt x="164" y="40"/>
                </a:lnTo>
                <a:lnTo>
                  <a:pt x="162" y="38"/>
                </a:lnTo>
                <a:lnTo>
                  <a:pt x="160" y="38"/>
                </a:lnTo>
                <a:lnTo>
                  <a:pt x="160" y="38"/>
                </a:lnTo>
                <a:lnTo>
                  <a:pt x="156" y="34"/>
                </a:lnTo>
                <a:lnTo>
                  <a:pt x="156" y="34"/>
                </a:lnTo>
                <a:lnTo>
                  <a:pt x="154" y="38"/>
                </a:lnTo>
                <a:lnTo>
                  <a:pt x="152" y="38"/>
                </a:lnTo>
                <a:lnTo>
                  <a:pt x="152" y="38"/>
                </a:lnTo>
                <a:lnTo>
                  <a:pt x="148" y="32"/>
                </a:lnTo>
                <a:lnTo>
                  <a:pt x="146" y="26"/>
                </a:lnTo>
                <a:lnTo>
                  <a:pt x="146" y="26"/>
                </a:lnTo>
                <a:lnTo>
                  <a:pt x="150" y="26"/>
                </a:lnTo>
                <a:lnTo>
                  <a:pt x="154" y="26"/>
                </a:lnTo>
                <a:lnTo>
                  <a:pt x="154" y="26"/>
                </a:lnTo>
                <a:lnTo>
                  <a:pt x="154" y="24"/>
                </a:lnTo>
                <a:lnTo>
                  <a:pt x="154" y="22"/>
                </a:lnTo>
                <a:lnTo>
                  <a:pt x="154" y="22"/>
                </a:lnTo>
                <a:lnTo>
                  <a:pt x="134" y="22"/>
                </a:lnTo>
                <a:lnTo>
                  <a:pt x="134" y="22"/>
                </a:lnTo>
                <a:lnTo>
                  <a:pt x="136" y="26"/>
                </a:lnTo>
                <a:lnTo>
                  <a:pt x="136" y="26"/>
                </a:lnTo>
                <a:lnTo>
                  <a:pt x="130" y="24"/>
                </a:lnTo>
                <a:lnTo>
                  <a:pt x="130" y="26"/>
                </a:lnTo>
                <a:lnTo>
                  <a:pt x="130" y="26"/>
                </a:lnTo>
                <a:lnTo>
                  <a:pt x="124" y="28"/>
                </a:lnTo>
                <a:lnTo>
                  <a:pt x="124" y="30"/>
                </a:lnTo>
                <a:lnTo>
                  <a:pt x="124" y="30"/>
                </a:lnTo>
                <a:lnTo>
                  <a:pt x="116" y="32"/>
                </a:lnTo>
                <a:lnTo>
                  <a:pt x="116" y="32"/>
                </a:lnTo>
                <a:lnTo>
                  <a:pt x="108" y="30"/>
                </a:lnTo>
                <a:lnTo>
                  <a:pt x="102" y="28"/>
                </a:lnTo>
                <a:lnTo>
                  <a:pt x="102" y="28"/>
                </a:lnTo>
                <a:lnTo>
                  <a:pt x="102" y="28"/>
                </a:lnTo>
                <a:lnTo>
                  <a:pt x="102" y="26"/>
                </a:lnTo>
                <a:lnTo>
                  <a:pt x="100" y="24"/>
                </a:lnTo>
                <a:lnTo>
                  <a:pt x="96" y="22"/>
                </a:lnTo>
                <a:lnTo>
                  <a:pt x="96" y="22"/>
                </a:lnTo>
                <a:lnTo>
                  <a:pt x="88" y="22"/>
                </a:lnTo>
                <a:lnTo>
                  <a:pt x="80" y="24"/>
                </a:lnTo>
                <a:lnTo>
                  <a:pt x="80" y="24"/>
                </a:lnTo>
                <a:lnTo>
                  <a:pt x="78" y="26"/>
                </a:lnTo>
                <a:lnTo>
                  <a:pt x="76" y="26"/>
                </a:lnTo>
                <a:lnTo>
                  <a:pt x="76" y="26"/>
                </a:lnTo>
                <a:lnTo>
                  <a:pt x="72" y="24"/>
                </a:lnTo>
                <a:lnTo>
                  <a:pt x="72" y="24"/>
                </a:lnTo>
                <a:lnTo>
                  <a:pt x="76" y="20"/>
                </a:lnTo>
                <a:lnTo>
                  <a:pt x="76" y="20"/>
                </a:lnTo>
                <a:lnTo>
                  <a:pt x="70" y="12"/>
                </a:lnTo>
                <a:lnTo>
                  <a:pt x="70" y="12"/>
                </a:lnTo>
                <a:lnTo>
                  <a:pt x="68" y="12"/>
                </a:lnTo>
                <a:lnTo>
                  <a:pt x="68" y="12"/>
                </a:lnTo>
                <a:lnTo>
                  <a:pt x="66" y="10"/>
                </a:lnTo>
                <a:lnTo>
                  <a:pt x="66" y="10"/>
                </a:lnTo>
                <a:lnTo>
                  <a:pt x="60" y="10"/>
                </a:lnTo>
                <a:lnTo>
                  <a:pt x="54" y="8"/>
                </a:lnTo>
                <a:lnTo>
                  <a:pt x="54" y="8"/>
                </a:lnTo>
                <a:lnTo>
                  <a:pt x="52" y="4"/>
                </a:lnTo>
                <a:lnTo>
                  <a:pt x="50" y="0"/>
                </a:lnTo>
                <a:lnTo>
                  <a:pt x="50" y="0"/>
                </a:lnTo>
                <a:lnTo>
                  <a:pt x="48" y="0"/>
                </a:lnTo>
                <a:lnTo>
                  <a:pt x="46" y="0"/>
                </a:lnTo>
                <a:lnTo>
                  <a:pt x="46" y="0"/>
                </a:lnTo>
                <a:lnTo>
                  <a:pt x="46" y="6"/>
                </a:lnTo>
                <a:lnTo>
                  <a:pt x="46" y="6"/>
                </a:lnTo>
                <a:lnTo>
                  <a:pt x="52" y="8"/>
                </a:lnTo>
                <a:lnTo>
                  <a:pt x="52" y="8"/>
                </a:lnTo>
                <a:lnTo>
                  <a:pt x="54" y="12"/>
                </a:lnTo>
                <a:lnTo>
                  <a:pt x="54" y="12"/>
                </a:lnTo>
                <a:lnTo>
                  <a:pt x="42" y="14"/>
                </a:lnTo>
                <a:lnTo>
                  <a:pt x="32" y="16"/>
                </a:lnTo>
                <a:lnTo>
                  <a:pt x="32" y="16"/>
                </a:lnTo>
                <a:lnTo>
                  <a:pt x="32" y="28"/>
                </a:lnTo>
                <a:lnTo>
                  <a:pt x="32" y="28"/>
                </a:lnTo>
                <a:lnTo>
                  <a:pt x="34" y="30"/>
                </a:lnTo>
                <a:lnTo>
                  <a:pt x="34" y="30"/>
                </a:lnTo>
                <a:lnTo>
                  <a:pt x="38" y="34"/>
                </a:lnTo>
                <a:lnTo>
                  <a:pt x="38" y="34"/>
                </a:lnTo>
                <a:lnTo>
                  <a:pt x="36" y="36"/>
                </a:lnTo>
                <a:lnTo>
                  <a:pt x="36" y="36"/>
                </a:lnTo>
                <a:lnTo>
                  <a:pt x="38" y="40"/>
                </a:lnTo>
                <a:lnTo>
                  <a:pt x="40" y="46"/>
                </a:lnTo>
                <a:lnTo>
                  <a:pt x="40" y="46"/>
                </a:lnTo>
                <a:lnTo>
                  <a:pt x="34" y="48"/>
                </a:lnTo>
                <a:lnTo>
                  <a:pt x="28" y="50"/>
                </a:lnTo>
                <a:lnTo>
                  <a:pt x="28" y="50"/>
                </a:lnTo>
                <a:lnTo>
                  <a:pt x="28" y="46"/>
                </a:lnTo>
                <a:lnTo>
                  <a:pt x="26" y="46"/>
                </a:lnTo>
                <a:lnTo>
                  <a:pt x="26" y="46"/>
                </a:lnTo>
                <a:lnTo>
                  <a:pt x="24" y="40"/>
                </a:lnTo>
                <a:lnTo>
                  <a:pt x="22" y="36"/>
                </a:lnTo>
                <a:lnTo>
                  <a:pt x="22" y="32"/>
                </a:lnTo>
                <a:lnTo>
                  <a:pt x="22" y="32"/>
                </a:lnTo>
                <a:lnTo>
                  <a:pt x="26" y="28"/>
                </a:lnTo>
                <a:lnTo>
                  <a:pt x="30" y="26"/>
                </a:lnTo>
                <a:lnTo>
                  <a:pt x="30" y="26"/>
                </a:lnTo>
                <a:lnTo>
                  <a:pt x="30" y="22"/>
                </a:lnTo>
                <a:lnTo>
                  <a:pt x="30" y="22"/>
                </a:lnTo>
                <a:lnTo>
                  <a:pt x="28" y="20"/>
                </a:lnTo>
                <a:lnTo>
                  <a:pt x="26" y="20"/>
                </a:lnTo>
                <a:lnTo>
                  <a:pt x="26" y="20"/>
                </a:lnTo>
                <a:lnTo>
                  <a:pt x="26" y="18"/>
                </a:lnTo>
                <a:lnTo>
                  <a:pt x="28" y="16"/>
                </a:lnTo>
                <a:lnTo>
                  <a:pt x="28" y="16"/>
                </a:lnTo>
                <a:lnTo>
                  <a:pt x="26" y="14"/>
                </a:lnTo>
                <a:lnTo>
                  <a:pt x="26" y="14"/>
                </a:lnTo>
                <a:lnTo>
                  <a:pt x="22" y="14"/>
                </a:lnTo>
                <a:lnTo>
                  <a:pt x="22" y="14"/>
                </a:lnTo>
                <a:lnTo>
                  <a:pt x="22" y="12"/>
                </a:lnTo>
                <a:lnTo>
                  <a:pt x="22" y="12"/>
                </a:lnTo>
                <a:lnTo>
                  <a:pt x="24" y="8"/>
                </a:lnTo>
                <a:lnTo>
                  <a:pt x="28" y="8"/>
                </a:lnTo>
                <a:lnTo>
                  <a:pt x="28" y="8"/>
                </a:lnTo>
                <a:lnTo>
                  <a:pt x="28" y="8"/>
                </a:lnTo>
                <a:lnTo>
                  <a:pt x="28" y="4"/>
                </a:lnTo>
                <a:lnTo>
                  <a:pt x="28" y="4"/>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0" name="Freeform 296">
            <a:extLst>
              <a:ext uri="{FF2B5EF4-FFF2-40B4-BE49-F238E27FC236}">
                <a16:creationId xmlns:a16="http://schemas.microsoft.com/office/drawing/2014/main" id="{DCDA4CFB-BC97-4CA8-A93C-4F5204186248}"/>
              </a:ext>
            </a:extLst>
          </p:cNvPr>
          <p:cNvSpPr>
            <a:spLocks/>
          </p:cNvSpPr>
          <p:nvPr userDrawn="1"/>
        </p:nvSpPr>
        <p:spPr bwMode="auto">
          <a:xfrm>
            <a:off x="7111915" y="2325018"/>
            <a:ext cx="372302" cy="274558"/>
          </a:xfrm>
          <a:custGeom>
            <a:avLst/>
            <a:gdLst>
              <a:gd name="T0" fmla="*/ 194 w 222"/>
              <a:gd name="T1" fmla="*/ 60 h 160"/>
              <a:gd name="T2" fmla="*/ 178 w 222"/>
              <a:gd name="T3" fmla="*/ 64 h 160"/>
              <a:gd name="T4" fmla="*/ 170 w 222"/>
              <a:gd name="T5" fmla="*/ 70 h 160"/>
              <a:gd name="T6" fmla="*/ 166 w 222"/>
              <a:gd name="T7" fmla="*/ 78 h 160"/>
              <a:gd name="T8" fmla="*/ 152 w 222"/>
              <a:gd name="T9" fmla="*/ 86 h 160"/>
              <a:gd name="T10" fmla="*/ 146 w 222"/>
              <a:gd name="T11" fmla="*/ 76 h 160"/>
              <a:gd name="T12" fmla="*/ 130 w 222"/>
              <a:gd name="T13" fmla="*/ 74 h 160"/>
              <a:gd name="T14" fmla="*/ 128 w 222"/>
              <a:gd name="T15" fmla="*/ 68 h 160"/>
              <a:gd name="T16" fmla="*/ 126 w 222"/>
              <a:gd name="T17" fmla="*/ 62 h 160"/>
              <a:gd name="T18" fmla="*/ 114 w 222"/>
              <a:gd name="T19" fmla="*/ 60 h 160"/>
              <a:gd name="T20" fmla="*/ 92 w 222"/>
              <a:gd name="T21" fmla="*/ 52 h 160"/>
              <a:gd name="T22" fmla="*/ 76 w 222"/>
              <a:gd name="T23" fmla="*/ 36 h 160"/>
              <a:gd name="T24" fmla="*/ 66 w 222"/>
              <a:gd name="T25" fmla="*/ 34 h 160"/>
              <a:gd name="T26" fmla="*/ 50 w 222"/>
              <a:gd name="T27" fmla="*/ 42 h 160"/>
              <a:gd name="T28" fmla="*/ 48 w 222"/>
              <a:gd name="T29" fmla="*/ 36 h 160"/>
              <a:gd name="T30" fmla="*/ 40 w 222"/>
              <a:gd name="T31" fmla="*/ 44 h 160"/>
              <a:gd name="T32" fmla="*/ 44 w 222"/>
              <a:gd name="T33" fmla="*/ 34 h 160"/>
              <a:gd name="T34" fmla="*/ 30 w 222"/>
              <a:gd name="T35" fmla="*/ 30 h 160"/>
              <a:gd name="T36" fmla="*/ 30 w 222"/>
              <a:gd name="T37" fmla="*/ 26 h 160"/>
              <a:gd name="T38" fmla="*/ 30 w 222"/>
              <a:gd name="T39" fmla="*/ 16 h 160"/>
              <a:gd name="T40" fmla="*/ 34 w 222"/>
              <a:gd name="T41" fmla="*/ 2 h 160"/>
              <a:gd name="T42" fmla="*/ 16 w 222"/>
              <a:gd name="T43" fmla="*/ 2 h 160"/>
              <a:gd name="T44" fmla="*/ 14 w 222"/>
              <a:gd name="T45" fmla="*/ 74 h 160"/>
              <a:gd name="T46" fmla="*/ 22 w 222"/>
              <a:gd name="T47" fmla="*/ 60 h 160"/>
              <a:gd name="T48" fmla="*/ 38 w 222"/>
              <a:gd name="T49" fmla="*/ 62 h 160"/>
              <a:gd name="T50" fmla="*/ 48 w 222"/>
              <a:gd name="T51" fmla="*/ 86 h 160"/>
              <a:gd name="T52" fmla="*/ 78 w 222"/>
              <a:gd name="T53" fmla="*/ 82 h 160"/>
              <a:gd name="T54" fmla="*/ 92 w 222"/>
              <a:gd name="T55" fmla="*/ 112 h 160"/>
              <a:gd name="T56" fmla="*/ 120 w 222"/>
              <a:gd name="T57" fmla="*/ 128 h 160"/>
              <a:gd name="T58" fmla="*/ 142 w 222"/>
              <a:gd name="T59" fmla="*/ 138 h 160"/>
              <a:gd name="T60" fmla="*/ 144 w 222"/>
              <a:gd name="T61" fmla="*/ 160 h 160"/>
              <a:gd name="T62" fmla="*/ 158 w 222"/>
              <a:gd name="T63" fmla="*/ 150 h 160"/>
              <a:gd name="T64" fmla="*/ 162 w 222"/>
              <a:gd name="T65" fmla="*/ 140 h 160"/>
              <a:gd name="T66" fmla="*/ 164 w 222"/>
              <a:gd name="T67" fmla="*/ 130 h 160"/>
              <a:gd name="T68" fmla="*/ 154 w 222"/>
              <a:gd name="T69" fmla="*/ 128 h 160"/>
              <a:gd name="T70" fmla="*/ 152 w 222"/>
              <a:gd name="T71" fmla="*/ 116 h 160"/>
              <a:gd name="T72" fmla="*/ 158 w 222"/>
              <a:gd name="T73" fmla="*/ 118 h 160"/>
              <a:gd name="T74" fmla="*/ 168 w 222"/>
              <a:gd name="T75" fmla="*/ 112 h 160"/>
              <a:gd name="T76" fmla="*/ 168 w 222"/>
              <a:gd name="T77" fmla="*/ 110 h 160"/>
              <a:gd name="T78" fmla="*/ 174 w 222"/>
              <a:gd name="T79" fmla="*/ 100 h 160"/>
              <a:gd name="T80" fmla="*/ 170 w 222"/>
              <a:gd name="T81" fmla="*/ 90 h 160"/>
              <a:gd name="T82" fmla="*/ 176 w 222"/>
              <a:gd name="T83" fmla="*/ 88 h 160"/>
              <a:gd name="T84" fmla="*/ 186 w 222"/>
              <a:gd name="T85" fmla="*/ 92 h 160"/>
              <a:gd name="T86" fmla="*/ 196 w 222"/>
              <a:gd name="T87" fmla="*/ 94 h 160"/>
              <a:gd name="T88" fmla="*/ 194 w 222"/>
              <a:gd name="T89" fmla="*/ 104 h 160"/>
              <a:gd name="T90" fmla="*/ 202 w 222"/>
              <a:gd name="T91" fmla="*/ 100 h 160"/>
              <a:gd name="T92" fmla="*/ 214 w 222"/>
              <a:gd name="T93" fmla="*/ 96 h 160"/>
              <a:gd name="T94" fmla="*/ 218 w 222"/>
              <a:gd name="T95" fmla="*/ 86 h 160"/>
              <a:gd name="T96" fmla="*/ 206 w 222"/>
              <a:gd name="T97" fmla="*/ 82 h 160"/>
              <a:gd name="T98" fmla="*/ 202 w 222"/>
              <a:gd name="T99" fmla="*/ 76 h 160"/>
              <a:gd name="T100" fmla="*/ 192 w 222"/>
              <a:gd name="T101" fmla="*/ 74 h 160"/>
              <a:gd name="T102" fmla="*/ 194 w 222"/>
              <a:gd name="T103" fmla="*/ 70 h 160"/>
              <a:gd name="T104" fmla="*/ 200 w 222"/>
              <a:gd name="T105" fmla="*/ 60 h 160"/>
              <a:gd name="T106" fmla="*/ 200 w 222"/>
              <a:gd name="T107" fmla="*/ 5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2" h="160">
                <a:moveTo>
                  <a:pt x="200" y="58"/>
                </a:moveTo>
                <a:lnTo>
                  <a:pt x="200" y="58"/>
                </a:lnTo>
                <a:lnTo>
                  <a:pt x="198" y="58"/>
                </a:lnTo>
                <a:lnTo>
                  <a:pt x="194" y="60"/>
                </a:lnTo>
                <a:lnTo>
                  <a:pt x="194" y="60"/>
                </a:lnTo>
                <a:lnTo>
                  <a:pt x="190" y="62"/>
                </a:lnTo>
                <a:lnTo>
                  <a:pt x="186" y="62"/>
                </a:lnTo>
                <a:lnTo>
                  <a:pt x="186" y="62"/>
                </a:lnTo>
                <a:lnTo>
                  <a:pt x="180" y="64"/>
                </a:lnTo>
                <a:lnTo>
                  <a:pt x="178" y="64"/>
                </a:lnTo>
                <a:lnTo>
                  <a:pt x="178" y="66"/>
                </a:lnTo>
                <a:lnTo>
                  <a:pt x="178" y="66"/>
                </a:lnTo>
                <a:lnTo>
                  <a:pt x="176" y="68"/>
                </a:lnTo>
                <a:lnTo>
                  <a:pt x="174" y="68"/>
                </a:lnTo>
                <a:lnTo>
                  <a:pt x="170" y="70"/>
                </a:lnTo>
                <a:lnTo>
                  <a:pt x="170" y="70"/>
                </a:lnTo>
                <a:lnTo>
                  <a:pt x="168" y="72"/>
                </a:lnTo>
                <a:lnTo>
                  <a:pt x="166" y="74"/>
                </a:lnTo>
                <a:lnTo>
                  <a:pt x="166" y="78"/>
                </a:lnTo>
                <a:lnTo>
                  <a:pt x="166" y="78"/>
                </a:lnTo>
                <a:lnTo>
                  <a:pt x="158" y="80"/>
                </a:lnTo>
                <a:lnTo>
                  <a:pt x="158" y="84"/>
                </a:lnTo>
                <a:lnTo>
                  <a:pt x="158" y="84"/>
                </a:lnTo>
                <a:lnTo>
                  <a:pt x="152" y="86"/>
                </a:lnTo>
                <a:lnTo>
                  <a:pt x="152" y="86"/>
                </a:lnTo>
                <a:lnTo>
                  <a:pt x="152" y="86"/>
                </a:lnTo>
                <a:lnTo>
                  <a:pt x="152" y="84"/>
                </a:lnTo>
                <a:lnTo>
                  <a:pt x="152" y="80"/>
                </a:lnTo>
                <a:lnTo>
                  <a:pt x="152" y="80"/>
                </a:lnTo>
                <a:lnTo>
                  <a:pt x="146" y="76"/>
                </a:lnTo>
                <a:lnTo>
                  <a:pt x="142" y="76"/>
                </a:lnTo>
                <a:lnTo>
                  <a:pt x="142" y="76"/>
                </a:lnTo>
                <a:lnTo>
                  <a:pt x="136" y="76"/>
                </a:lnTo>
                <a:lnTo>
                  <a:pt x="130" y="74"/>
                </a:lnTo>
                <a:lnTo>
                  <a:pt x="130" y="74"/>
                </a:lnTo>
                <a:lnTo>
                  <a:pt x="128" y="74"/>
                </a:lnTo>
                <a:lnTo>
                  <a:pt x="128" y="72"/>
                </a:lnTo>
                <a:lnTo>
                  <a:pt x="130" y="68"/>
                </a:lnTo>
                <a:lnTo>
                  <a:pt x="130" y="68"/>
                </a:lnTo>
                <a:lnTo>
                  <a:pt x="128" y="68"/>
                </a:lnTo>
                <a:lnTo>
                  <a:pt x="128" y="66"/>
                </a:lnTo>
                <a:lnTo>
                  <a:pt x="126" y="66"/>
                </a:lnTo>
                <a:lnTo>
                  <a:pt x="126" y="66"/>
                </a:lnTo>
                <a:lnTo>
                  <a:pt x="126" y="66"/>
                </a:lnTo>
                <a:lnTo>
                  <a:pt x="126" y="62"/>
                </a:lnTo>
                <a:lnTo>
                  <a:pt x="122" y="62"/>
                </a:lnTo>
                <a:lnTo>
                  <a:pt x="122" y="62"/>
                </a:lnTo>
                <a:lnTo>
                  <a:pt x="118" y="62"/>
                </a:lnTo>
                <a:lnTo>
                  <a:pt x="114" y="60"/>
                </a:lnTo>
                <a:lnTo>
                  <a:pt x="114" y="60"/>
                </a:lnTo>
                <a:lnTo>
                  <a:pt x="110" y="52"/>
                </a:lnTo>
                <a:lnTo>
                  <a:pt x="108" y="56"/>
                </a:lnTo>
                <a:lnTo>
                  <a:pt x="108" y="56"/>
                </a:lnTo>
                <a:lnTo>
                  <a:pt x="92" y="52"/>
                </a:lnTo>
                <a:lnTo>
                  <a:pt x="92" y="52"/>
                </a:lnTo>
                <a:lnTo>
                  <a:pt x="82" y="52"/>
                </a:lnTo>
                <a:lnTo>
                  <a:pt x="78" y="52"/>
                </a:lnTo>
                <a:lnTo>
                  <a:pt x="78" y="52"/>
                </a:lnTo>
                <a:lnTo>
                  <a:pt x="76" y="36"/>
                </a:lnTo>
                <a:lnTo>
                  <a:pt x="76" y="36"/>
                </a:lnTo>
                <a:lnTo>
                  <a:pt x="74" y="32"/>
                </a:lnTo>
                <a:lnTo>
                  <a:pt x="74" y="28"/>
                </a:lnTo>
                <a:lnTo>
                  <a:pt x="70" y="28"/>
                </a:lnTo>
                <a:lnTo>
                  <a:pt x="70" y="28"/>
                </a:lnTo>
                <a:lnTo>
                  <a:pt x="66" y="34"/>
                </a:lnTo>
                <a:lnTo>
                  <a:pt x="62" y="40"/>
                </a:lnTo>
                <a:lnTo>
                  <a:pt x="62" y="40"/>
                </a:lnTo>
                <a:lnTo>
                  <a:pt x="56" y="42"/>
                </a:lnTo>
                <a:lnTo>
                  <a:pt x="50" y="42"/>
                </a:lnTo>
                <a:lnTo>
                  <a:pt x="50" y="42"/>
                </a:lnTo>
                <a:lnTo>
                  <a:pt x="52" y="38"/>
                </a:lnTo>
                <a:lnTo>
                  <a:pt x="52" y="36"/>
                </a:lnTo>
                <a:lnTo>
                  <a:pt x="50" y="34"/>
                </a:lnTo>
                <a:lnTo>
                  <a:pt x="50" y="34"/>
                </a:lnTo>
                <a:lnTo>
                  <a:pt x="48" y="36"/>
                </a:lnTo>
                <a:lnTo>
                  <a:pt x="46" y="40"/>
                </a:lnTo>
                <a:lnTo>
                  <a:pt x="44" y="48"/>
                </a:lnTo>
                <a:lnTo>
                  <a:pt x="44" y="48"/>
                </a:lnTo>
                <a:lnTo>
                  <a:pt x="40" y="44"/>
                </a:lnTo>
                <a:lnTo>
                  <a:pt x="40" y="44"/>
                </a:lnTo>
                <a:lnTo>
                  <a:pt x="44" y="42"/>
                </a:lnTo>
                <a:lnTo>
                  <a:pt x="44" y="40"/>
                </a:lnTo>
                <a:lnTo>
                  <a:pt x="44" y="40"/>
                </a:lnTo>
                <a:lnTo>
                  <a:pt x="44" y="34"/>
                </a:lnTo>
                <a:lnTo>
                  <a:pt x="44" y="34"/>
                </a:lnTo>
                <a:lnTo>
                  <a:pt x="40" y="32"/>
                </a:lnTo>
                <a:lnTo>
                  <a:pt x="40" y="32"/>
                </a:lnTo>
                <a:lnTo>
                  <a:pt x="30" y="36"/>
                </a:lnTo>
                <a:lnTo>
                  <a:pt x="30" y="36"/>
                </a:lnTo>
                <a:lnTo>
                  <a:pt x="30" y="30"/>
                </a:lnTo>
                <a:lnTo>
                  <a:pt x="30" y="30"/>
                </a:lnTo>
                <a:lnTo>
                  <a:pt x="28" y="28"/>
                </a:lnTo>
                <a:lnTo>
                  <a:pt x="28" y="28"/>
                </a:lnTo>
                <a:lnTo>
                  <a:pt x="30" y="26"/>
                </a:lnTo>
                <a:lnTo>
                  <a:pt x="30" y="26"/>
                </a:lnTo>
                <a:lnTo>
                  <a:pt x="30" y="26"/>
                </a:lnTo>
                <a:lnTo>
                  <a:pt x="28" y="24"/>
                </a:lnTo>
                <a:lnTo>
                  <a:pt x="28" y="20"/>
                </a:lnTo>
                <a:lnTo>
                  <a:pt x="28" y="20"/>
                </a:lnTo>
                <a:lnTo>
                  <a:pt x="30" y="16"/>
                </a:lnTo>
                <a:lnTo>
                  <a:pt x="30" y="16"/>
                </a:lnTo>
                <a:lnTo>
                  <a:pt x="30" y="12"/>
                </a:lnTo>
                <a:lnTo>
                  <a:pt x="30" y="6"/>
                </a:lnTo>
                <a:lnTo>
                  <a:pt x="30" y="6"/>
                </a:lnTo>
                <a:lnTo>
                  <a:pt x="34" y="2"/>
                </a:lnTo>
                <a:lnTo>
                  <a:pt x="34" y="2"/>
                </a:lnTo>
                <a:lnTo>
                  <a:pt x="28" y="0"/>
                </a:lnTo>
                <a:lnTo>
                  <a:pt x="28" y="0"/>
                </a:lnTo>
                <a:lnTo>
                  <a:pt x="22" y="2"/>
                </a:lnTo>
                <a:lnTo>
                  <a:pt x="16" y="2"/>
                </a:lnTo>
                <a:lnTo>
                  <a:pt x="16" y="2"/>
                </a:lnTo>
                <a:lnTo>
                  <a:pt x="8" y="6"/>
                </a:lnTo>
                <a:lnTo>
                  <a:pt x="2" y="8"/>
                </a:lnTo>
                <a:lnTo>
                  <a:pt x="0" y="72"/>
                </a:lnTo>
                <a:lnTo>
                  <a:pt x="14" y="74"/>
                </a:lnTo>
                <a:lnTo>
                  <a:pt x="14" y="72"/>
                </a:lnTo>
                <a:lnTo>
                  <a:pt x="12" y="68"/>
                </a:lnTo>
                <a:lnTo>
                  <a:pt x="12" y="62"/>
                </a:lnTo>
                <a:lnTo>
                  <a:pt x="14" y="60"/>
                </a:lnTo>
                <a:lnTo>
                  <a:pt x="22" y="60"/>
                </a:lnTo>
                <a:lnTo>
                  <a:pt x="24" y="56"/>
                </a:lnTo>
                <a:lnTo>
                  <a:pt x="28" y="52"/>
                </a:lnTo>
                <a:lnTo>
                  <a:pt x="32" y="52"/>
                </a:lnTo>
                <a:lnTo>
                  <a:pt x="36" y="54"/>
                </a:lnTo>
                <a:lnTo>
                  <a:pt x="38" y="62"/>
                </a:lnTo>
                <a:lnTo>
                  <a:pt x="40" y="72"/>
                </a:lnTo>
                <a:lnTo>
                  <a:pt x="48" y="74"/>
                </a:lnTo>
                <a:lnTo>
                  <a:pt x="48" y="80"/>
                </a:lnTo>
                <a:lnTo>
                  <a:pt x="46" y="84"/>
                </a:lnTo>
                <a:lnTo>
                  <a:pt x="48" y="86"/>
                </a:lnTo>
                <a:lnTo>
                  <a:pt x="54" y="88"/>
                </a:lnTo>
                <a:lnTo>
                  <a:pt x="60" y="84"/>
                </a:lnTo>
                <a:lnTo>
                  <a:pt x="64" y="82"/>
                </a:lnTo>
                <a:lnTo>
                  <a:pt x="72" y="82"/>
                </a:lnTo>
                <a:lnTo>
                  <a:pt x="78" y="82"/>
                </a:lnTo>
                <a:lnTo>
                  <a:pt x="82" y="90"/>
                </a:lnTo>
                <a:lnTo>
                  <a:pt x="82" y="96"/>
                </a:lnTo>
                <a:lnTo>
                  <a:pt x="86" y="100"/>
                </a:lnTo>
                <a:lnTo>
                  <a:pt x="90" y="104"/>
                </a:lnTo>
                <a:lnTo>
                  <a:pt x="92" y="112"/>
                </a:lnTo>
                <a:lnTo>
                  <a:pt x="96" y="116"/>
                </a:lnTo>
                <a:lnTo>
                  <a:pt x="102" y="118"/>
                </a:lnTo>
                <a:lnTo>
                  <a:pt x="108" y="124"/>
                </a:lnTo>
                <a:lnTo>
                  <a:pt x="112" y="130"/>
                </a:lnTo>
                <a:lnTo>
                  <a:pt x="120" y="128"/>
                </a:lnTo>
                <a:lnTo>
                  <a:pt x="124" y="132"/>
                </a:lnTo>
                <a:lnTo>
                  <a:pt x="130" y="132"/>
                </a:lnTo>
                <a:lnTo>
                  <a:pt x="134" y="136"/>
                </a:lnTo>
                <a:lnTo>
                  <a:pt x="140" y="136"/>
                </a:lnTo>
                <a:lnTo>
                  <a:pt x="142" y="138"/>
                </a:lnTo>
                <a:lnTo>
                  <a:pt x="134" y="142"/>
                </a:lnTo>
                <a:lnTo>
                  <a:pt x="134" y="146"/>
                </a:lnTo>
                <a:lnTo>
                  <a:pt x="134" y="154"/>
                </a:lnTo>
                <a:lnTo>
                  <a:pt x="140" y="154"/>
                </a:lnTo>
                <a:lnTo>
                  <a:pt x="144" y="160"/>
                </a:lnTo>
                <a:lnTo>
                  <a:pt x="150" y="158"/>
                </a:lnTo>
                <a:lnTo>
                  <a:pt x="156" y="158"/>
                </a:lnTo>
                <a:lnTo>
                  <a:pt x="156" y="158"/>
                </a:lnTo>
                <a:lnTo>
                  <a:pt x="158" y="150"/>
                </a:lnTo>
                <a:lnTo>
                  <a:pt x="158" y="150"/>
                </a:lnTo>
                <a:lnTo>
                  <a:pt x="160" y="148"/>
                </a:lnTo>
                <a:lnTo>
                  <a:pt x="162" y="146"/>
                </a:lnTo>
                <a:lnTo>
                  <a:pt x="162" y="146"/>
                </a:lnTo>
                <a:lnTo>
                  <a:pt x="164" y="142"/>
                </a:lnTo>
                <a:lnTo>
                  <a:pt x="162" y="140"/>
                </a:lnTo>
                <a:lnTo>
                  <a:pt x="162" y="140"/>
                </a:lnTo>
                <a:lnTo>
                  <a:pt x="160" y="138"/>
                </a:lnTo>
                <a:lnTo>
                  <a:pt x="160" y="136"/>
                </a:lnTo>
                <a:lnTo>
                  <a:pt x="164" y="130"/>
                </a:lnTo>
                <a:lnTo>
                  <a:pt x="164" y="130"/>
                </a:lnTo>
                <a:lnTo>
                  <a:pt x="164" y="128"/>
                </a:lnTo>
                <a:lnTo>
                  <a:pt x="162" y="128"/>
                </a:lnTo>
                <a:lnTo>
                  <a:pt x="156" y="128"/>
                </a:lnTo>
                <a:lnTo>
                  <a:pt x="156" y="128"/>
                </a:lnTo>
                <a:lnTo>
                  <a:pt x="154" y="128"/>
                </a:lnTo>
                <a:lnTo>
                  <a:pt x="150" y="124"/>
                </a:lnTo>
                <a:lnTo>
                  <a:pt x="150" y="124"/>
                </a:lnTo>
                <a:lnTo>
                  <a:pt x="148" y="122"/>
                </a:lnTo>
                <a:lnTo>
                  <a:pt x="148" y="120"/>
                </a:lnTo>
                <a:lnTo>
                  <a:pt x="152" y="116"/>
                </a:lnTo>
                <a:lnTo>
                  <a:pt x="152" y="116"/>
                </a:lnTo>
                <a:lnTo>
                  <a:pt x="156" y="116"/>
                </a:lnTo>
                <a:lnTo>
                  <a:pt x="158" y="116"/>
                </a:lnTo>
                <a:lnTo>
                  <a:pt x="158" y="118"/>
                </a:lnTo>
                <a:lnTo>
                  <a:pt x="158" y="118"/>
                </a:lnTo>
                <a:lnTo>
                  <a:pt x="160" y="118"/>
                </a:lnTo>
                <a:lnTo>
                  <a:pt x="162" y="116"/>
                </a:lnTo>
                <a:lnTo>
                  <a:pt x="168" y="112"/>
                </a:lnTo>
                <a:lnTo>
                  <a:pt x="168" y="112"/>
                </a:lnTo>
                <a:lnTo>
                  <a:pt x="168" y="112"/>
                </a:lnTo>
                <a:lnTo>
                  <a:pt x="170" y="110"/>
                </a:lnTo>
                <a:lnTo>
                  <a:pt x="170" y="108"/>
                </a:lnTo>
                <a:lnTo>
                  <a:pt x="168" y="110"/>
                </a:lnTo>
                <a:lnTo>
                  <a:pt x="168" y="110"/>
                </a:lnTo>
                <a:lnTo>
                  <a:pt x="168" y="110"/>
                </a:lnTo>
                <a:lnTo>
                  <a:pt x="168" y="106"/>
                </a:lnTo>
                <a:lnTo>
                  <a:pt x="170" y="104"/>
                </a:lnTo>
                <a:lnTo>
                  <a:pt x="172" y="102"/>
                </a:lnTo>
                <a:lnTo>
                  <a:pt x="172" y="102"/>
                </a:lnTo>
                <a:lnTo>
                  <a:pt x="174" y="100"/>
                </a:lnTo>
                <a:lnTo>
                  <a:pt x="174" y="100"/>
                </a:lnTo>
                <a:lnTo>
                  <a:pt x="174" y="98"/>
                </a:lnTo>
                <a:lnTo>
                  <a:pt x="174" y="98"/>
                </a:lnTo>
                <a:lnTo>
                  <a:pt x="172" y="96"/>
                </a:lnTo>
                <a:lnTo>
                  <a:pt x="170" y="90"/>
                </a:lnTo>
                <a:lnTo>
                  <a:pt x="170" y="90"/>
                </a:lnTo>
                <a:lnTo>
                  <a:pt x="172" y="90"/>
                </a:lnTo>
                <a:lnTo>
                  <a:pt x="174" y="88"/>
                </a:lnTo>
                <a:lnTo>
                  <a:pt x="176" y="88"/>
                </a:lnTo>
                <a:lnTo>
                  <a:pt x="176" y="88"/>
                </a:lnTo>
                <a:lnTo>
                  <a:pt x="178" y="90"/>
                </a:lnTo>
                <a:lnTo>
                  <a:pt x="182" y="94"/>
                </a:lnTo>
                <a:lnTo>
                  <a:pt x="182" y="94"/>
                </a:lnTo>
                <a:lnTo>
                  <a:pt x="184" y="94"/>
                </a:lnTo>
                <a:lnTo>
                  <a:pt x="186" y="92"/>
                </a:lnTo>
                <a:lnTo>
                  <a:pt x="186" y="90"/>
                </a:lnTo>
                <a:lnTo>
                  <a:pt x="186" y="90"/>
                </a:lnTo>
                <a:lnTo>
                  <a:pt x="190" y="88"/>
                </a:lnTo>
                <a:lnTo>
                  <a:pt x="194" y="88"/>
                </a:lnTo>
                <a:lnTo>
                  <a:pt x="196" y="94"/>
                </a:lnTo>
                <a:lnTo>
                  <a:pt x="190" y="96"/>
                </a:lnTo>
                <a:lnTo>
                  <a:pt x="190" y="104"/>
                </a:lnTo>
                <a:lnTo>
                  <a:pt x="190" y="104"/>
                </a:lnTo>
                <a:lnTo>
                  <a:pt x="192" y="102"/>
                </a:lnTo>
                <a:lnTo>
                  <a:pt x="194" y="104"/>
                </a:lnTo>
                <a:lnTo>
                  <a:pt x="194" y="104"/>
                </a:lnTo>
                <a:lnTo>
                  <a:pt x="194" y="104"/>
                </a:lnTo>
                <a:lnTo>
                  <a:pt x="196" y="104"/>
                </a:lnTo>
                <a:lnTo>
                  <a:pt x="198" y="104"/>
                </a:lnTo>
                <a:lnTo>
                  <a:pt x="202" y="100"/>
                </a:lnTo>
                <a:lnTo>
                  <a:pt x="202" y="100"/>
                </a:lnTo>
                <a:lnTo>
                  <a:pt x="208" y="100"/>
                </a:lnTo>
                <a:lnTo>
                  <a:pt x="208" y="100"/>
                </a:lnTo>
                <a:lnTo>
                  <a:pt x="212" y="98"/>
                </a:lnTo>
                <a:lnTo>
                  <a:pt x="214" y="96"/>
                </a:lnTo>
                <a:lnTo>
                  <a:pt x="220" y="88"/>
                </a:lnTo>
                <a:lnTo>
                  <a:pt x="220" y="88"/>
                </a:lnTo>
                <a:lnTo>
                  <a:pt x="222" y="86"/>
                </a:lnTo>
                <a:lnTo>
                  <a:pt x="220" y="86"/>
                </a:lnTo>
                <a:lnTo>
                  <a:pt x="218" y="86"/>
                </a:lnTo>
                <a:lnTo>
                  <a:pt x="216" y="84"/>
                </a:lnTo>
                <a:lnTo>
                  <a:pt x="216" y="84"/>
                </a:lnTo>
                <a:lnTo>
                  <a:pt x="210" y="82"/>
                </a:lnTo>
                <a:lnTo>
                  <a:pt x="206" y="82"/>
                </a:lnTo>
                <a:lnTo>
                  <a:pt x="206" y="82"/>
                </a:lnTo>
                <a:lnTo>
                  <a:pt x="202" y="80"/>
                </a:lnTo>
                <a:lnTo>
                  <a:pt x="204" y="78"/>
                </a:lnTo>
                <a:lnTo>
                  <a:pt x="204" y="78"/>
                </a:lnTo>
                <a:lnTo>
                  <a:pt x="204" y="76"/>
                </a:lnTo>
                <a:lnTo>
                  <a:pt x="202" y="76"/>
                </a:lnTo>
                <a:lnTo>
                  <a:pt x="198" y="76"/>
                </a:lnTo>
                <a:lnTo>
                  <a:pt x="198" y="76"/>
                </a:lnTo>
                <a:lnTo>
                  <a:pt x="196" y="78"/>
                </a:lnTo>
                <a:lnTo>
                  <a:pt x="194" y="76"/>
                </a:lnTo>
                <a:lnTo>
                  <a:pt x="192" y="74"/>
                </a:lnTo>
                <a:lnTo>
                  <a:pt x="190" y="72"/>
                </a:lnTo>
                <a:lnTo>
                  <a:pt x="190" y="72"/>
                </a:lnTo>
                <a:lnTo>
                  <a:pt x="188" y="72"/>
                </a:lnTo>
                <a:lnTo>
                  <a:pt x="190" y="72"/>
                </a:lnTo>
                <a:lnTo>
                  <a:pt x="194" y="70"/>
                </a:lnTo>
                <a:lnTo>
                  <a:pt x="194" y="70"/>
                </a:lnTo>
                <a:lnTo>
                  <a:pt x="200" y="64"/>
                </a:lnTo>
                <a:lnTo>
                  <a:pt x="200" y="64"/>
                </a:lnTo>
                <a:lnTo>
                  <a:pt x="202" y="62"/>
                </a:lnTo>
                <a:lnTo>
                  <a:pt x="200" y="60"/>
                </a:lnTo>
                <a:lnTo>
                  <a:pt x="198" y="58"/>
                </a:lnTo>
                <a:lnTo>
                  <a:pt x="198" y="58"/>
                </a:lnTo>
                <a:lnTo>
                  <a:pt x="198" y="58"/>
                </a:lnTo>
                <a:lnTo>
                  <a:pt x="194" y="60"/>
                </a:lnTo>
                <a:lnTo>
                  <a:pt x="200" y="5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1" name="Freeform 297">
            <a:extLst>
              <a:ext uri="{FF2B5EF4-FFF2-40B4-BE49-F238E27FC236}">
                <a16:creationId xmlns:a16="http://schemas.microsoft.com/office/drawing/2014/main" id="{7F8802F0-121F-4F58-8176-FCE7D215A5C1}"/>
              </a:ext>
            </a:extLst>
          </p:cNvPr>
          <p:cNvSpPr>
            <a:spLocks/>
          </p:cNvSpPr>
          <p:nvPr userDrawn="1"/>
        </p:nvSpPr>
        <p:spPr bwMode="auto">
          <a:xfrm>
            <a:off x="3994305" y="2407385"/>
            <a:ext cx="6708" cy="13728"/>
          </a:xfrm>
          <a:custGeom>
            <a:avLst/>
            <a:gdLst>
              <a:gd name="T0" fmla="*/ 2 w 4"/>
              <a:gd name="T1" fmla="*/ 0 h 8"/>
              <a:gd name="T2" fmla="*/ 2 w 4"/>
              <a:gd name="T3" fmla="*/ 0 h 8"/>
              <a:gd name="T4" fmla="*/ 4 w 4"/>
              <a:gd name="T5" fmla="*/ 0 h 8"/>
              <a:gd name="T6" fmla="*/ 4 w 4"/>
              <a:gd name="T7" fmla="*/ 2 h 8"/>
              <a:gd name="T8" fmla="*/ 0 w 4"/>
              <a:gd name="T9" fmla="*/ 8 h 8"/>
              <a:gd name="T10" fmla="*/ 0 w 4"/>
              <a:gd name="T11" fmla="*/ 8 h 8"/>
              <a:gd name="T12" fmla="*/ 0 w 4"/>
              <a:gd name="T13" fmla="*/ 6 h 8"/>
              <a:gd name="T14" fmla="*/ 0 w 4"/>
              <a:gd name="T15" fmla="*/ 4 h 8"/>
              <a:gd name="T16" fmla="*/ 2 w 4"/>
              <a:gd name="T17" fmla="*/ 0 h 8"/>
              <a:gd name="T18" fmla="*/ 2 w 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2" y="0"/>
                </a:moveTo>
                <a:lnTo>
                  <a:pt x="2" y="0"/>
                </a:lnTo>
                <a:lnTo>
                  <a:pt x="4" y="0"/>
                </a:lnTo>
                <a:lnTo>
                  <a:pt x="4" y="2"/>
                </a:lnTo>
                <a:lnTo>
                  <a:pt x="0" y="8"/>
                </a:lnTo>
                <a:lnTo>
                  <a:pt x="0" y="8"/>
                </a:lnTo>
                <a:lnTo>
                  <a:pt x="0" y="6"/>
                </a:lnTo>
                <a:lnTo>
                  <a:pt x="0" y="4"/>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2" name="Freeform 298">
            <a:extLst>
              <a:ext uri="{FF2B5EF4-FFF2-40B4-BE49-F238E27FC236}">
                <a16:creationId xmlns:a16="http://schemas.microsoft.com/office/drawing/2014/main" id="{81B9EF72-8885-49DB-A880-C3C4B7DD2D9F}"/>
              </a:ext>
            </a:extLst>
          </p:cNvPr>
          <p:cNvSpPr>
            <a:spLocks/>
          </p:cNvSpPr>
          <p:nvPr userDrawn="1"/>
        </p:nvSpPr>
        <p:spPr bwMode="auto">
          <a:xfrm>
            <a:off x="3102122" y="2211762"/>
            <a:ext cx="13417" cy="27456"/>
          </a:xfrm>
          <a:custGeom>
            <a:avLst/>
            <a:gdLst>
              <a:gd name="T0" fmla="*/ 6 w 8"/>
              <a:gd name="T1" fmla="*/ 0 h 16"/>
              <a:gd name="T2" fmla="*/ 6 w 8"/>
              <a:gd name="T3" fmla="*/ 0 h 16"/>
              <a:gd name="T4" fmla="*/ 6 w 8"/>
              <a:gd name="T5" fmla="*/ 2 h 16"/>
              <a:gd name="T6" fmla="*/ 8 w 8"/>
              <a:gd name="T7" fmla="*/ 4 h 16"/>
              <a:gd name="T8" fmla="*/ 8 w 8"/>
              <a:gd name="T9" fmla="*/ 4 h 16"/>
              <a:gd name="T10" fmla="*/ 4 w 8"/>
              <a:gd name="T11" fmla="*/ 8 h 16"/>
              <a:gd name="T12" fmla="*/ 4 w 8"/>
              <a:gd name="T13" fmla="*/ 8 h 16"/>
              <a:gd name="T14" fmla="*/ 4 w 8"/>
              <a:gd name="T15" fmla="*/ 16 h 16"/>
              <a:gd name="T16" fmla="*/ 4 w 8"/>
              <a:gd name="T17" fmla="*/ 16 h 16"/>
              <a:gd name="T18" fmla="*/ 2 w 8"/>
              <a:gd name="T19" fmla="*/ 14 h 16"/>
              <a:gd name="T20" fmla="*/ 2 w 8"/>
              <a:gd name="T21" fmla="*/ 14 h 16"/>
              <a:gd name="T22" fmla="*/ 2 w 8"/>
              <a:gd name="T23" fmla="*/ 12 h 16"/>
              <a:gd name="T24" fmla="*/ 2 w 8"/>
              <a:gd name="T25" fmla="*/ 12 h 16"/>
              <a:gd name="T26" fmla="*/ 0 w 8"/>
              <a:gd name="T27" fmla="*/ 8 h 16"/>
              <a:gd name="T28" fmla="*/ 0 w 8"/>
              <a:gd name="T29" fmla="*/ 6 h 16"/>
              <a:gd name="T30" fmla="*/ 2 w 8"/>
              <a:gd name="T31" fmla="*/ 4 h 16"/>
              <a:gd name="T32" fmla="*/ 2 w 8"/>
              <a:gd name="T33" fmla="*/ 4 h 16"/>
              <a:gd name="T34" fmla="*/ 2 w 8"/>
              <a:gd name="T35" fmla="*/ 6 h 16"/>
              <a:gd name="T36" fmla="*/ 2 w 8"/>
              <a:gd name="T37" fmla="*/ 6 h 16"/>
              <a:gd name="T38" fmla="*/ 2 w 8"/>
              <a:gd name="T39" fmla="*/ 6 h 16"/>
              <a:gd name="T40" fmla="*/ 4 w 8"/>
              <a:gd name="T41" fmla="*/ 4 h 16"/>
              <a:gd name="T42" fmla="*/ 2 w 8"/>
              <a:gd name="T43" fmla="*/ 2 h 16"/>
              <a:gd name="T44" fmla="*/ 2 w 8"/>
              <a:gd name="T45" fmla="*/ 2 h 16"/>
              <a:gd name="T46" fmla="*/ 4 w 8"/>
              <a:gd name="T47" fmla="*/ 2 h 16"/>
              <a:gd name="T48" fmla="*/ 6 w 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6">
                <a:moveTo>
                  <a:pt x="6" y="0"/>
                </a:moveTo>
                <a:lnTo>
                  <a:pt x="6" y="0"/>
                </a:lnTo>
                <a:lnTo>
                  <a:pt x="6" y="2"/>
                </a:lnTo>
                <a:lnTo>
                  <a:pt x="8" y="4"/>
                </a:lnTo>
                <a:lnTo>
                  <a:pt x="8" y="4"/>
                </a:lnTo>
                <a:lnTo>
                  <a:pt x="4" y="8"/>
                </a:lnTo>
                <a:lnTo>
                  <a:pt x="4" y="8"/>
                </a:lnTo>
                <a:lnTo>
                  <a:pt x="4" y="16"/>
                </a:lnTo>
                <a:lnTo>
                  <a:pt x="4" y="16"/>
                </a:lnTo>
                <a:lnTo>
                  <a:pt x="2" y="14"/>
                </a:lnTo>
                <a:lnTo>
                  <a:pt x="2" y="14"/>
                </a:lnTo>
                <a:lnTo>
                  <a:pt x="2" y="12"/>
                </a:lnTo>
                <a:lnTo>
                  <a:pt x="2" y="12"/>
                </a:lnTo>
                <a:lnTo>
                  <a:pt x="0" y="8"/>
                </a:lnTo>
                <a:lnTo>
                  <a:pt x="0" y="6"/>
                </a:lnTo>
                <a:lnTo>
                  <a:pt x="2" y="4"/>
                </a:lnTo>
                <a:lnTo>
                  <a:pt x="2" y="4"/>
                </a:lnTo>
                <a:lnTo>
                  <a:pt x="2" y="6"/>
                </a:lnTo>
                <a:lnTo>
                  <a:pt x="2" y="6"/>
                </a:lnTo>
                <a:lnTo>
                  <a:pt x="2" y="6"/>
                </a:lnTo>
                <a:lnTo>
                  <a:pt x="4" y="4"/>
                </a:lnTo>
                <a:lnTo>
                  <a:pt x="2" y="2"/>
                </a:lnTo>
                <a:lnTo>
                  <a:pt x="2" y="2"/>
                </a:lnTo>
                <a:lnTo>
                  <a:pt x="4" y="2"/>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3" name="Freeform 299">
            <a:extLst>
              <a:ext uri="{FF2B5EF4-FFF2-40B4-BE49-F238E27FC236}">
                <a16:creationId xmlns:a16="http://schemas.microsoft.com/office/drawing/2014/main" id="{140B04DF-6AE8-4CD3-A362-61096CB219AD}"/>
              </a:ext>
            </a:extLst>
          </p:cNvPr>
          <p:cNvSpPr>
            <a:spLocks/>
          </p:cNvSpPr>
          <p:nvPr userDrawn="1"/>
        </p:nvSpPr>
        <p:spPr bwMode="auto">
          <a:xfrm>
            <a:off x="3095414" y="2246082"/>
            <a:ext cx="10062" cy="13728"/>
          </a:xfrm>
          <a:custGeom>
            <a:avLst/>
            <a:gdLst>
              <a:gd name="T0" fmla="*/ 6 w 6"/>
              <a:gd name="T1" fmla="*/ 0 h 8"/>
              <a:gd name="T2" fmla="*/ 6 w 6"/>
              <a:gd name="T3" fmla="*/ 0 h 8"/>
              <a:gd name="T4" fmla="*/ 6 w 6"/>
              <a:gd name="T5" fmla="*/ 2 h 8"/>
              <a:gd name="T6" fmla="*/ 6 w 6"/>
              <a:gd name="T7" fmla="*/ 2 h 8"/>
              <a:gd name="T8" fmla="*/ 2 w 6"/>
              <a:gd name="T9" fmla="*/ 4 h 8"/>
              <a:gd name="T10" fmla="*/ 2 w 6"/>
              <a:gd name="T11" fmla="*/ 4 h 8"/>
              <a:gd name="T12" fmla="*/ 2 w 6"/>
              <a:gd name="T13" fmla="*/ 8 h 8"/>
              <a:gd name="T14" fmla="*/ 2 w 6"/>
              <a:gd name="T15" fmla="*/ 8 h 8"/>
              <a:gd name="T16" fmla="*/ 0 w 6"/>
              <a:gd name="T17" fmla="*/ 6 h 8"/>
              <a:gd name="T18" fmla="*/ 0 w 6"/>
              <a:gd name="T19" fmla="*/ 4 h 8"/>
              <a:gd name="T20" fmla="*/ 0 w 6"/>
              <a:gd name="T21" fmla="*/ 4 h 8"/>
              <a:gd name="T22" fmla="*/ 6 w 6"/>
              <a:gd name="T23" fmla="*/ 0 h 8"/>
              <a:gd name="T24" fmla="*/ 6 w 6"/>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8">
                <a:moveTo>
                  <a:pt x="6" y="0"/>
                </a:moveTo>
                <a:lnTo>
                  <a:pt x="6" y="0"/>
                </a:lnTo>
                <a:lnTo>
                  <a:pt x="6" y="2"/>
                </a:lnTo>
                <a:lnTo>
                  <a:pt x="6" y="2"/>
                </a:lnTo>
                <a:lnTo>
                  <a:pt x="2" y="4"/>
                </a:lnTo>
                <a:lnTo>
                  <a:pt x="2" y="4"/>
                </a:lnTo>
                <a:lnTo>
                  <a:pt x="2" y="8"/>
                </a:lnTo>
                <a:lnTo>
                  <a:pt x="2" y="8"/>
                </a:lnTo>
                <a:lnTo>
                  <a:pt x="0" y="6"/>
                </a:lnTo>
                <a:lnTo>
                  <a:pt x="0" y="4"/>
                </a:lnTo>
                <a:lnTo>
                  <a:pt x="0" y="4"/>
                </a:lnTo>
                <a:lnTo>
                  <a:pt x="6" y="0"/>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4" name="Freeform 300">
            <a:extLst>
              <a:ext uri="{FF2B5EF4-FFF2-40B4-BE49-F238E27FC236}">
                <a16:creationId xmlns:a16="http://schemas.microsoft.com/office/drawing/2014/main" id="{F9967DB2-B4E0-4042-A916-CD920B7412DD}"/>
              </a:ext>
            </a:extLst>
          </p:cNvPr>
          <p:cNvSpPr>
            <a:spLocks/>
          </p:cNvSpPr>
          <p:nvPr userDrawn="1"/>
        </p:nvSpPr>
        <p:spPr bwMode="auto">
          <a:xfrm>
            <a:off x="4212320" y="2338746"/>
            <a:ext cx="3354" cy="17160"/>
          </a:xfrm>
          <a:custGeom>
            <a:avLst/>
            <a:gdLst>
              <a:gd name="T0" fmla="*/ 2 w 2"/>
              <a:gd name="T1" fmla="*/ 0 h 10"/>
              <a:gd name="T2" fmla="*/ 2 w 2"/>
              <a:gd name="T3" fmla="*/ 0 h 10"/>
              <a:gd name="T4" fmla="*/ 2 w 2"/>
              <a:gd name="T5" fmla="*/ 10 h 10"/>
              <a:gd name="T6" fmla="*/ 0 w 2"/>
              <a:gd name="T7" fmla="*/ 10 h 10"/>
              <a:gd name="T8" fmla="*/ 0 w 2"/>
              <a:gd name="T9" fmla="*/ 10 h 10"/>
              <a:gd name="T10" fmla="*/ 0 w 2"/>
              <a:gd name="T11" fmla="*/ 4 h 10"/>
              <a:gd name="T12" fmla="*/ 2 w 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0"/>
                </a:moveTo>
                <a:lnTo>
                  <a:pt x="2" y="0"/>
                </a:lnTo>
                <a:lnTo>
                  <a:pt x="2" y="10"/>
                </a:lnTo>
                <a:lnTo>
                  <a:pt x="0" y="10"/>
                </a:lnTo>
                <a:lnTo>
                  <a:pt x="0" y="10"/>
                </a:lnTo>
                <a:lnTo>
                  <a:pt x="0" y="4"/>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5" name="Freeform 19">
            <a:extLst>
              <a:ext uri="{FF2B5EF4-FFF2-40B4-BE49-F238E27FC236}">
                <a16:creationId xmlns:a16="http://schemas.microsoft.com/office/drawing/2014/main" id="{B6817EE6-EB65-4C64-B13D-C0BD182FCB3E}"/>
              </a:ext>
            </a:extLst>
          </p:cNvPr>
          <p:cNvSpPr>
            <a:spLocks/>
          </p:cNvSpPr>
          <p:nvPr userDrawn="1"/>
        </p:nvSpPr>
        <p:spPr bwMode="auto">
          <a:xfrm>
            <a:off x="3799769" y="2805495"/>
            <a:ext cx="3354" cy="10296"/>
          </a:xfrm>
          <a:custGeom>
            <a:avLst/>
            <a:gdLst>
              <a:gd name="T0" fmla="*/ 0 w 2"/>
              <a:gd name="T1" fmla="*/ 0 h 6"/>
              <a:gd name="T2" fmla="*/ 0 w 2"/>
              <a:gd name="T3" fmla="*/ 0 h 6"/>
              <a:gd name="T4" fmla="*/ 2 w 2"/>
              <a:gd name="T5" fmla="*/ 4 h 6"/>
              <a:gd name="T6" fmla="*/ 0 w 2"/>
              <a:gd name="T7" fmla="*/ 4 h 6"/>
              <a:gd name="T8" fmla="*/ 0 w 2"/>
              <a:gd name="T9" fmla="*/ 6 h 6"/>
              <a:gd name="T10" fmla="*/ 0 w 2"/>
              <a:gd name="T11" fmla="*/ 6 h 6"/>
              <a:gd name="T12" fmla="*/ 0 w 2"/>
              <a:gd name="T13" fmla="*/ 2 h 6"/>
              <a:gd name="T14" fmla="*/ 0 w 2"/>
              <a:gd name="T15" fmla="*/ 2 h 6"/>
              <a:gd name="T16" fmla="*/ 0 w 2"/>
              <a:gd name="T17" fmla="*/ 0 h 6"/>
              <a:gd name="T18" fmla="*/ 0 w 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0"/>
                </a:moveTo>
                <a:lnTo>
                  <a:pt x="0" y="0"/>
                </a:lnTo>
                <a:lnTo>
                  <a:pt x="2" y="4"/>
                </a:lnTo>
                <a:lnTo>
                  <a:pt x="0" y="4"/>
                </a:lnTo>
                <a:lnTo>
                  <a:pt x="0" y="6"/>
                </a:lnTo>
                <a:lnTo>
                  <a:pt x="0" y="6"/>
                </a:lnTo>
                <a:lnTo>
                  <a:pt x="0" y="2"/>
                </a:lnTo>
                <a:lnTo>
                  <a:pt x="0" y="2"/>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6" name="Freeform 20">
            <a:extLst>
              <a:ext uri="{FF2B5EF4-FFF2-40B4-BE49-F238E27FC236}">
                <a16:creationId xmlns:a16="http://schemas.microsoft.com/office/drawing/2014/main" id="{DA94B4AA-4FB9-45F1-BC84-1D4AD94C903D}"/>
              </a:ext>
            </a:extLst>
          </p:cNvPr>
          <p:cNvSpPr>
            <a:spLocks/>
          </p:cNvSpPr>
          <p:nvPr userDrawn="1"/>
        </p:nvSpPr>
        <p:spPr bwMode="auto">
          <a:xfrm>
            <a:off x="3803123" y="2819222"/>
            <a:ext cx="3354" cy="3432"/>
          </a:xfrm>
          <a:custGeom>
            <a:avLst/>
            <a:gdLst>
              <a:gd name="T0" fmla="*/ 2 w 2"/>
              <a:gd name="T1" fmla="*/ 0 h 2"/>
              <a:gd name="T2" fmla="*/ 2 w 2"/>
              <a:gd name="T3" fmla="*/ 2 h 2"/>
              <a:gd name="T4" fmla="*/ 2 w 2"/>
              <a:gd name="T5" fmla="*/ 2 h 2"/>
              <a:gd name="T6" fmla="*/ 0 w 2"/>
              <a:gd name="T7" fmla="*/ 2 h 2"/>
              <a:gd name="T8" fmla="*/ 0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7" name="Freeform 21">
            <a:extLst>
              <a:ext uri="{FF2B5EF4-FFF2-40B4-BE49-F238E27FC236}">
                <a16:creationId xmlns:a16="http://schemas.microsoft.com/office/drawing/2014/main" id="{8A603176-35D0-47F5-B1CA-54B1187C1BDC}"/>
              </a:ext>
            </a:extLst>
          </p:cNvPr>
          <p:cNvSpPr>
            <a:spLocks/>
          </p:cNvSpPr>
          <p:nvPr userDrawn="1"/>
        </p:nvSpPr>
        <p:spPr bwMode="auto">
          <a:xfrm>
            <a:off x="4541020" y="4566097"/>
            <a:ext cx="120747" cy="144143"/>
          </a:xfrm>
          <a:custGeom>
            <a:avLst/>
            <a:gdLst>
              <a:gd name="T0" fmla="*/ 66 w 72"/>
              <a:gd name="T1" fmla="*/ 56 h 84"/>
              <a:gd name="T2" fmla="*/ 72 w 72"/>
              <a:gd name="T3" fmla="*/ 46 h 84"/>
              <a:gd name="T4" fmla="*/ 66 w 72"/>
              <a:gd name="T5" fmla="*/ 42 h 84"/>
              <a:gd name="T6" fmla="*/ 62 w 72"/>
              <a:gd name="T7" fmla="*/ 38 h 84"/>
              <a:gd name="T8" fmla="*/ 60 w 72"/>
              <a:gd name="T9" fmla="*/ 34 h 84"/>
              <a:gd name="T10" fmla="*/ 56 w 72"/>
              <a:gd name="T11" fmla="*/ 30 h 84"/>
              <a:gd name="T12" fmla="*/ 50 w 72"/>
              <a:gd name="T13" fmla="*/ 28 h 84"/>
              <a:gd name="T14" fmla="*/ 42 w 72"/>
              <a:gd name="T15" fmla="*/ 20 h 84"/>
              <a:gd name="T16" fmla="*/ 40 w 72"/>
              <a:gd name="T17" fmla="*/ 18 h 84"/>
              <a:gd name="T18" fmla="*/ 36 w 72"/>
              <a:gd name="T19" fmla="*/ 18 h 84"/>
              <a:gd name="T20" fmla="*/ 34 w 72"/>
              <a:gd name="T21" fmla="*/ 16 h 84"/>
              <a:gd name="T22" fmla="*/ 20 w 72"/>
              <a:gd name="T23" fmla="*/ 0 h 84"/>
              <a:gd name="T24" fmla="*/ 10 w 72"/>
              <a:gd name="T25" fmla="*/ 4 h 84"/>
              <a:gd name="T26" fmla="*/ 6 w 72"/>
              <a:gd name="T27" fmla="*/ 10 h 84"/>
              <a:gd name="T28" fmla="*/ 6 w 72"/>
              <a:gd name="T29" fmla="*/ 14 h 84"/>
              <a:gd name="T30" fmla="*/ 4 w 72"/>
              <a:gd name="T31" fmla="*/ 20 h 84"/>
              <a:gd name="T32" fmla="*/ 2 w 72"/>
              <a:gd name="T33" fmla="*/ 24 h 84"/>
              <a:gd name="T34" fmla="*/ 2 w 72"/>
              <a:gd name="T35" fmla="*/ 28 h 84"/>
              <a:gd name="T36" fmla="*/ 0 w 72"/>
              <a:gd name="T37" fmla="*/ 34 h 84"/>
              <a:gd name="T38" fmla="*/ 0 w 72"/>
              <a:gd name="T39" fmla="*/ 36 h 84"/>
              <a:gd name="T40" fmla="*/ 0 w 72"/>
              <a:gd name="T41" fmla="*/ 48 h 84"/>
              <a:gd name="T42" fmla="*/ 0 w 72"/>
              <a:gd name="T43" fmla="*/ 48 h 84"/>
              <a:gd name="T44" fmla="*/ 0 w 72"/>
              <a:gd name="T45" fmla="*/ 66 h 84"/>
              <a:gd name="T46" fmla="*/ 2 w 72"/>
              <a:gd name="T47" fmla="*/ 72 h 84"/>
              <a:gd name="T48" fmla="*/ 4 w 72"/>
              <a:gd name="T49" fmla="*/ 72 h 84"/>
              <a:gd name="T50" fmla="*/ 8 w 72"/>
              <a:gd name="T51" fmla="*/ 74 h 84"/>
              <a:gd name="T52" fmla="*/ 12 w 72"/>
              <a:gd name="T53" fmla="*/ 74 h 84"/>
              <a:gd name="T54" fmla="*/ 16 w 72"/>
              <a:gd name="T55" fmla="*/ 80 h 84"/>
              <a:gd name="T56" fmla="*/ 18 w 72"/>
              <a:gd name="T57" fmla="*/ 80 h 84"/>
              <a:gd name="T58" fmla="*/ 24 w 72"/>
              <a:gd name="T59" fmla="*/ 84 h 84"/>
              <a:gd name="T60" fmla="*/ 30 w 72"/>
              <a:gd name="T61" fmla="*/ 82 h 84"/>
              <a:gd name="T62" fmla="*/ 32 w 72"/>
              <a:gd name="T63" fmla="*/ 82 h 84"/>
              <a:gd name="T64" fmla="*/ 40 w 72"/>
              <a:gd name="T65" fmla="*/ 84 h 84"/>
              <a:gd name="T66" fmla="*/ 50 w 72"/>
              <a:gd name="T67" fmla="*/ 82 h 84"/>
              <a:gd name="T68" fmla="*/ 58 w 72"/>
              <a:gd name="T69" fmla="*/ 76 h 84"/>
              <a:gd name="T70" fmla="*/ 62 w 72"/>
              <a:gd name="T71" fmla="*/ 70 h 84"/>
              <a:gd name="T72" fmla="*/ 64 w 72"/>
              <a:gd name="T73" fmla="*/ 64 h 84"/>
              <a:gd name="T74" fmla="*/ 68 w 72"/>
              <a:gd name="T75" fmla="*/ 6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84">
                <a:moveTo>
                  <a:pt x="66" y="58"/>
                </a:moveTo>
                <a:lnTo>
                  <a:pt x="66" y="56"/>
                </a:lnTo>
                <a:lnTo>
                  <a:pt x="72" y="46"/>
                </a:lnTo>
                <a:lnTo>
                  <a:pt x="72" y="46"/>
                </a:lnTo>
                <a:lnTo>
                  <a:pt x="70" y="46"/>
                </a:lnTo>
                <a:lnTo>
                  <a:pt x="66" y="42"/>
                </a:lnTo>
                <a:lnTo>
                  <a:pt x="66" y="42"/>
                </a:lnTo>
                <a:lnTo>
                  <a:pt x="62" y="38"/>
                </a:lnTo>
                <a:lnTo>
                  <a:pt x="60" y="34"/>
                </a:lnTo>
                <a:lnTo>
                  <a:pt x="60" y="34"/>
                </a:lnTo>
                <a:lnTo>
                  <a:pt x="58" y="32"/>
                </a:lnTo>
                <a:lnTo>
                  <a:pt x="56" y="30"/>
                </a:lnTo>
                <a:lnTo>
                  <a:pt x="50" y="28"/>
                </a:lnTo>
                <a:lnTo>
                  <a:pt x="50" y="28"/>
                </a:lnTo>
                <a:lnTo>
                  <a:pt x="46" y="24"/>
                </a:lnTo>
                <a:lnTo>
                  <a:pt x="42" y="20"/>
                </a:lnTo>
                <a:lnTo>
                  <a:pt x="42" y="20"/>
                </a:lnTo>
                <a:lnTo>
                  <a:pt x="40" y="18"/>
                </a:lnTo>
                <a:lnTo>
                  <a:pt x="38" y="18"/>
                </a:lnTo>
                <a:lnTo>
                  <a:pt x="36" y="18"/>
                </a:lnTo>
                <a:lnTo>
                  <a:pt x="34" y="16"/>
                </a:lnTo>
                <a:lnTo>
                  <a:pt x="34" y="16"/>
                </a:lnTo>
                <a:lnTo>
                  <a:pt x="30" y="8"/>
                </a:lnTo>
                <a:lnTo>
                  <a:pt x="20" y="0"/>
                </a:lnTo>
                <a:lnTo>
                  <a:pt x="10" y="4"/>
                </a:lnTo>
                <a:lnTo>
                  <a:pt x="10" y="4"/>
                </a:lnTo>
                <a:lnTo>
                  <a:pt x="8" y="6"/>
                </a:lnTo>
                <a:lnTo>
                  <a:pt x="6" y="10"/>
                </a:lnTo>
                <a:lnTo>
                  <a:pt x="6" y="14"/>
                </a:lnTo>
                <a:lnTo>
                  <a:pt x="6" y="14"/>
                </a:lnTo>
                <a:lnTo>
                  <a:pt x="6" y="18"/>
                </a:lnTo>
                <a:lnTo>
                  <a:pt x="4" y="20"/>
                </a:lnTo>
                <a:lnTo>
                  <a:pt x="4" y="22"/>
                </a:lnTo>
                <a:lnTo>
                  <a:pt x="2" y="24"/>
                </a:lnTo>
                <a:lnTo>
                  <a:pt x="2" y="24"/>
                </a:lnTo>
                <a:lnTo>
                  <a:pt x="2" y="28"/>
                </a:lnTo>
                <a:lnTo>
                  <a:pt x="2" y="32"/>
                </a:lnTo>
                <a:lnTo>
                  <a:pt x="0" y="34"/>
                </a:lnTo>
                <a:lnTo>
                  <a:pt x="0" y="36"/>
                </a:lnTo>
                <a:lnTo>
                  <a:pt x="0" y="36"/>
                </a:lnTo>
                <a:lnTo>
                  <a:pt x="0" y="44"/>
                </a:lnTo>
                <a:lnTo>
                  <a:pt x="0" y="48"/>
                </a:lnTo>
                <a:lnTo>
                  <a:pt x="0" y="48"/>
                </a:lnTo>
                <a:lnTo>
                  <a:pt x="0" y="48"/>
                </a:lnTo>
                <a:lnTo>
                  <a:pt x="0" y="60"/>
                </a:lnTo>
                <a:lnTo>
                  <a:pt x="0" y="66"/>
                </a:lnTo>
                <a:lnTo>
                  <a:pt x="2" y="72"/>
                </a:lnTo>
                <a:lnTo>
                  <a:pt x="2" y="72"/>
                </a:lnTo>
                <a:lnTo>
                  <a:pt x="4" y="72"/>
                </a:lnTo>
                <a:lnTo>
                  <a:pt x="4" y="72"/>
                </a:lnTo>
                <a:lnTo>
                  <a:pt x="8" y="74"/>
                </a:lnTo>
                <a:lnTo>
                  <a:pt x="8" y="74"/>
                </a:lnTo>
                <a:lnTo>
                  <a:pt x="12" y="74"/>
                </a:lnTo>
                <a:lnTo>
                  <a:pt x="12" y="74"/>
                </a:lnTo>
                <a:lnTo>
                  <a:pt x="16" y="80"/>
                </a:lnTo>
                <a:lnTo>
                  <a:pt x="16" y="80"/>
                </a:lnTo>
                <a:lnTo>
                  <a:pt x="18" y="80"/>
                </a:lnTo>
                <a:lnTo>
                  <a:pt x="18" y="80"/>
                </a:lnTo>
                <a:lnTo>
                  <a:pt x="24" y="82"/>
                </a:lnTo>
                <a:lnTo>
                  <a:pt x="24" y="84"/>
                </a:lnTo>
                <a:lnTo>
                  <a:pt x="24" y="84"/>
                </a:lnTo>
                <a:lnTo>
                  <a:pt x="30" y="82"/>
                </a:lnTo>
                <a:lnTo>
                  <a:pt x="32" y="82"/>
                </a:lnTo>
                <a:lnTo>
                  <a:pt x="32" y="82"/>
                </a:lnTo>
                <a:lnTo>
                  <a:pt x="38" y="82"/>
                </a:lnTo>
                <a:lnTo>
                  <a:pt x="40" y="84"/>
                </a:lnTo>
                <a:lnTo>
                  <a:pt x="40" y="84"/>
                </a:lnTo>
                <a:lnTo>
                  <a:pt x="50" y="82"/>
                </a:lnTo>
                <a:lnTo>
                  <a:pt x="58" y="78"/>
                </a:lnTo>
                <a:lnTo>
                  <a:pt x="58" y="76"/>
                </a:lnTo>
                <a:lnTo>
                  <a:pt x="58" y="76"/>
                </a:lnTo>
                <a:lnTo>
                  <a:pt x="62" y="70"/>
                </a:lnTo>
                <a:lnTo>
                  <a:pt x="62" y="70"/>
                </a:lnTo>
                <a:lnTo>
                  <a:pt x="64" y="64"/>
                </a:lnTo>
                <a:lnTo>
                  <a:pt x="64" y="64"/>
                </a:lnTo>
                <a:lnTo>
                  <a:pt x="68" y="60"/>
                </a:lnTo>
                <a:lnTo>
                  <a:pt x="66" y="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8" name="Freeform 22">
            <a:extLst>
              <a:ext uri="{FF2B5EF4-FFF2-40B4-BE49-F238E27FC236}">
                <a16:creationId xmlns:a16="http://schemas.microsoft.com/office/drawing/2014/main" id="{EA93FEA6-AE20-49FD-AB18-0C13A01AD86F}"/>
              </a:ext>
            </a:extLst>
          </p:cNvPr>
          <p:cNvSpPr>
            <a:spLocks noEditPoints="1"/>
          </p:cNvSpPr>
          <p:nvPr userDrawn="1"/>
        </p:nvSpPr>
        <p:spPr bwMode="auto">
          <a:xfrm>
            <a:off x="5681404" y="1847974"/>
            <a:ext cx="214661" cy="322606"/>
          </a:xfrm>
          <a:custGeom>
            <a:avLst/>
            <a:gdLst>
              <a:gd name="T0" fmla="*/ 26 w 128"/>
              <a:gd name="T1" fmla="*/ 84 h 188"/>
              <a:gd name="T2" fmla="*/ 30 w 128"/>
              <a:gd name="T3" fmla="*/ 100 h 188"/>
              <a:gd name="T4" fmla="*/ 10 w 128"/>
              <a:gd name="T5" fmla="*/ 102 h 188"/>
              <a:gd name="T6" fmla="*/ 0 w 128"/>
              <a:gd name="T7" fmla="*/ 98 h 188"/>
              <a:gd name="T8" fmla="*/ 6 w 128"/>
              <a:gd name="T9" fmla="*/ 86 h 188"/>
              <a:gd name="T10" fmla="*/ 52 w 128"/>
              <a:gd name="T11" fmla="*/ 26 h 188"/>
              <a:gd name="T12" fmla="*/ 74 w 128"/>
              <a:gd name="T13" fmla="*/ 24 h 188"/>
              <a:gd name="T14" fmla="*/ 72 w 128"/>
              <a:gd name="T15" fmla="*/ 44 h 188"/>
              <a:gd name="T16" fmla="*/ 66 w 128"/>
              <a:gd name="T17" fmla="*/ 60 h 188"/>
              <a:gd name="T18" fmla="*/ 76 w 128"/>
              <a:gd name="T19" fmla="*/ 70 h 188"/>
              <a:gd name="T20" fmla="*/ 84 w 128"/>
              <a:gd name="T21" fmla="*/ 86 h 188"/>
              <a:gd name="T22" fmla="*/ 98 w 128"/>
              <a:gd name="T23" fmla="*/ 102 h 188"/>
              <a:gd name="T24" fmla="*/ 108 w 128"/>
              <a:gd name="T25" fmla="*/ 112 h 188"/>
              <a:gd name="T26" fmla="*/ 110 w 128"/>
              <a:gd name="T27" fmla="*/ 126 h 188"/>
              <a:gd name="T28" fmla="*/ 114 w 128"/>
              <a:gd name="T29" fmla="*/ 130 h 188"/>
              <a:gd name="T30" fmla="*/ 128 w 128"/>
              <a:gd name="T31" fmla="*/ 132 h 188"/>
              <a:gd name="T32" fmla="*/ 114 w 128"/>
              <a:gd name="T33" fmla="*/ 152 h 188"/>
              <a:gd name="T34" fmla="*/ 110 w 128"/>
              <a:gd name="T35" fmla="*/ 160 h 188"/>
              <a:gd name="T36" fmla="*/ 116 w 128"/>
              <a:gd name="T37" fmla="*/ 166 h 188"/>
              <a:gd name="T38" fmla="*/ 102 w 128"/>
              <a:gd name="T39" fmla="*/ 168 h 188"/>
              <a:gd name="T40" fmla="*/ 80 w 128"/>
              <a:gd name="T41" fmla="*/ 168 h 188"/>
              <a:gd name="T42" fmla="*/ 70 w 128"/>
              <a:gd name="T43" fmla="*/ 174 h 188"/>
              <a:gd name="T44" fmla="*/ 52 w 128"/>
              <a:gd name="T45" fmla="*/ 178 h 188"/>
              <a:gd name="T46" fmla="*/ 36 w 128"/>
              <a:gd name="T47" fmla="*/ 180 h 188"/>
              <a:gd name="T48" fmla="*/ 24 w 128"/>
              <a:gd name="T49" fmla="*/ 182 h 188"/>
              <a:gd name="T50" fmla="*/ 40 w 128"/>
              <a:gd name="T51" fmla="*/ 164 h 188"/>
              <a:gd name="T52" fmla="*/ 68 w 128"/>
              <a:gd name="T53" fmla="*/ 152 h 188"/>
              <a:gd name="T54" fmla="*/ 56 w 128"/>
              <a:gd name="T55" fmla="*/ 154 h 188"/>
              <a:gd name="T56" fmla="*/ 46 w 128"/>
              <a:gd name="T57" fmla="*/ 156 h 188"/>
              <a:gd name="T58" fmla="*/ 40 w 128"/>
              <a:gd name="T59" fmla="*/ 152 h 188"/>
              <a:gd name="T60" fmla="*/ 36 w 128"/>
              <a:gd name="T61" fmla="*/ 154 h 188"/>
              <a:gd name="T62" fmla="*/ 32 w 128"/>
              <a:gd name="T63" fmla="*/ 146 h 188"/>
              <a:gd name="T64" fmla="*/ 46 w 128"/>
              <a:gd name="T65" fmla="*/ 128 h 188"/>
              <a:gd name="T66" fmla="*/ 42 w 128"/>
              <a:gd name="T67" fmla="*/ 114 h 188"/>
              <a:gd name="T68" fmla="*/ 50 w 128"/>
              <a:gd name="T69" fmla="*/ 116 h 188"/>
              <a:gd name="T70" fmla="*/ 64 w 128"/>
              <a:gd name="T71" fmla="*/ 116 h 188"/>
              <a:gd name="T72" fmla="*/ 60 w 128"/>
              <a:gd name="T73" fmla="*/ 98 h 188"/>
              <a:gd name="T74" fmla="*/ 42 w 128"/>
              <a:gd name="T75" fmla="*/ 86 h 188"/>
              <a:gd name="T76" fmla="*/ 38 w 128"/>
              <a:gd name="T77" fmla="*/ 88 h 188"/>
              <a:gd name="T78" fmla="*/ 38 w 128"/>
              <a:gd name="T79" fmla="*/ 66 h 188"/>
              <a:gd name="T80" fmla="*/ 34 w 128"/>
              <a:gd name="T81" fmla="*/ 62 h 188"/>
              <a:gd name="T82" fmla="*/ 28 w 128"/>
              <a:gd name="T83" fmla="*/ 62 h 188"/>
              <a:gd name="T84" fmla="*/ 30 w 128"/>
              <a:gd name="T85" fmla="*/ 56 h 188"/>
              <a:gd name="T86" fmla="*/ 26 w 128"/>
              <a:gd name="T87" fmla="*/ 52 h 188"/>
              <a:gd name="T88" fmla="*/ 26 w 128"/>
              <a:gd name="T89" fmla="*/ 38 h 188"/>
              <a:gd name="T90" fmla="*/ 28 w 128"/>
              <a:gd name="T91" fmla="*/ 24 h 188"/>
              <a:gd name="T92" fmla="*/ 36 w 128"/>
              <a:gd name="T93" fmla="*/ 20 h 188"/>
              <a:gd name="T94" fmla="*/ 36 w 128"/>
              <a:gd name="T95" fmla="*/ 12 h 188"/>
              <a:gd name="T96" fmla="*/ 44 w 128"/>
              <a:gd name="T97" fmla="*/ 4 h 188"/>
              <a:gd name="T98" fmla="*/ 52 w 128"/>
              <a:gd name="T99" fmla="*/ 0 h 188"/>
              <a:gd name="T100" fmla="*/ 54 w 128"/>
              <a:gd name="T101" fmla="*/ 18 h 188"/>
              <a:gd name="T102" fmla="*/ 48 w 128"/>
              <a:gd name="T103" fmla="*/ 28 h 188"/>
              <a:gd name="T104" fmla="*/ 24 w 128"/>
              <a:gd name="T105" fmla="*/ 56 h 188"/>
              <a:gd name="T106" fmla="*/ 20 w 128"/>
              <a:gd name="T107" fmla="*/ 54 h 188"/>
              <a:gd name="T108" fmla="*/ 20 w 128"/>
              <a:gd name="T109" fmla="*/ 28 h 188"/>
              <a:gd name="T110" fmla="*/ 24 w 128"/>
              <a:gd name="T111" fmla="*/ 42 h 188"/>
              <a:gd name="T112" fmla="*/ 16 w 128"/>
              <a:gd name="T113" fmla="*/ 36 h 188"/>
              <a:gd name="T114" fmla="*/ 20 w 128"/>
              <a:gd name="T115" fmla="*/ 28 h 188"/>
              <a:gd name="T116" fmla="*/ 14 w 128"/>
              <a:gd name="T117" fmla="*/ 22 h 188"/>
              <a:gd name="T118" fmla="*/ 10 w 128"/>
              <a:gd name="T119" fmla="*/ 10 h 188"/>
              <a:gd name="T120" fmla="*/ 22 w 128"/>
              <a:gd name="T121"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88">
                <a:moveTo>
                  <a:pt x="12" y="84"/>
                </a:moveTo>
                <a:lnTo>
                  <a:pt x="12" y="84"/>
                </a:lnTo>
                <a:lnTo>
                  <a:pt x="10" y="86"/>
                </a:lnTo>
                <a:lnTo>
                  <a:pt x="10" y="86"/>
                </a:lnTo>
                <a:lnTo>
                  <a:pt x="10" y="86"/>
                </a:lnTo>
                <a:lnTo>
                  <a:pt x="18" y="82"/>
                </a:lnTo>
                <a:lnTo>
                  <a:pt x="20" y="82"/>
                </a:lnTo>
                <a:lnTo>
                  <a:pt x="26" y="84"/>
                </a:lnTo>
                <a:lnTo>
                  <a:pt x="26" y="84"/>
                </a:lnTo>
                <a:lnTo>
                  <a:pt x="22" y="90"/>
                </a:lnTo>
                <a:lnTo>
                  <a:pt x="22" y="90"/>
                </a:lnTo>
                <a:lnTo>
                  <a:pt x="26" y="90"/>
                </a:lnTo>
                <a:lnTo>
                  <a:pt x="26" y="90"/>
                </a:lnTo>
                <a:lnTo>
                  <a:pt x="28" y="96"/>
                </a:lnTo>
                <a:lnTo>
                  <a:pt x="30" y="100"/>
                </a:lnTo>
                <a:lnTo>
                  <a:pt x="30" y="100"/>
                </a:lnTo>
                <a:lnTo>
                  <a:pt x="24" y="102"/>
                </a:lnTo>
                <a:lnTo>
                  <a:pt x="18" y="102"/>
                </a:lnTo>
                <a:lnTo>
                  <a:pt x="18" y="102"/>
                </a:lnTo>
                <a:lnTo>
                  <a:pt x="18" y="104"/>
                </a:lnTo>
                <a:lnTo>
                  <a:pt x="14" y="104"/>
                </a:lnTo>
                <a:lnTo>
                  <a:pt x="10" y="102"/>
                </a:lnTo>
                <a:lnTo>
                  <a:pt x="10" y="102"/>
                </a:lnTo>
                <a:lnTo>
                  <a:pt x="10" y="102"/>
                </a:lnTo>
                <a:lnTo>
                  <a:pt x="6" y="104"/>
                </a:lnTo>
                <a:lnTo>
                  <a:pt x="6" y="104"/>
                </a:lnTo>
                <a:lnTo>
                  <a:pt x="4" y="104"/>
                </a:lnTo>
                <a:lnTo>
                  <a:pt x="4" y="102"/>
                </a:lnTo>
                <a:lnTo>
                  <a:pt x="4" y="100"/>
                </a:lnTo>
                <a:lnTo>
                  <a:pt x="2" y="98"/>
                </a:lnTo>
                <a:lnTo>
                  <a:pt x="2" y="98"/>
                </a:lnTo>
                <a:lnTo>
                  <a:pt x="0" y="98"/>
                </a:lnTo>
                <a:lnTo>
                  <a:pt x="0" y="96"/>
                </a:lnTo>
                <a:lnTo>
                  <a:pt x="0" y="96"/>
                </a:lnTo>
                <a:lnTo>
                  <a:pt x="0" y="94"/>
                </a:lnTo>
                <a:lnTo>
                  <a:pt x="2" y="94"/>
                </a:lnTo>
                <a:lnTo>
                  <a:pt x="4" y="92"/>
                </a:lnTo>
                <a:lnTo>
                  <a:pt x="4" y="90"/>
                </a:lnTo>
                <a:lnTo>
                  <a:pt x="4" y="90"/>
                </a:lnTo>
                <a:lnTo>
                  <a:pt x="6" y="86"/>
                </a:lnTo>
                <a:lnTo>
                  <a:pt x="8" y="84"/>
                </a:lnTo>
                <a:lnTo>
                  <a:pt x="12" y="82"/>
                </a:lnTo>
                <a:lnTo>
                  <a:pt x="12" y="84"/>
                </a:lnTo>
                <a:close/>
                <a:moveTo>
                  <a:pt x="50" y="28"/>
                </a:moveTo>
                <a:lnTo>
                  <a:pt x="50" y="28"/>
                </a:lnTo>
                <a:lnTo>
                  <a:pt x="52" y="26"/>
                </a:lnTo>
                <a:lnTo>
                  <a:pt x="52" y="26"/>
                </a:lnTo>
                <a:lnTo>
                  <a:pt x="52" y="26"/>
                </a:lnTo>
                <a:lnTo>
                  <a:pt x="60" y="26"/>
                </a:lnTo>
                <a:lnTo>
                  <a:pt x="60" y="26"/>
                </a:lnTo>
                <a:lnTo>
                  <a:pt x="60" y="24"/>
                </a:lnTo>
                <a:lnTo>
                  <a:pt x="60" y="24"/>
                </a:lnTo>
                <a:lnTo>
                  <a:pt x="66" y="26"/>
                </a:lnTo>
                <a:lnTo>
                  <a:pt x="66" y="26"/>
                </a:lnTo>
                <a:lnTo>
                  <a:pt x="70" y="24"/>
                </a:lnTo>
                <a:lnTo>
                  <a:pt x="74" y="24"/>
                </a:lnTo>
                <a:lnTo>
                  <a:pt x="74" y="24"/>
                </a:lnTo>
                <a:lnTo>
                  <a:pt x="78" y="26"/>
                </a:lnTo>
                <a:lnTo>
                  <a:pt x="78" y="26"/>
                </a:lnTo>
                <a:lnTo>
                  <a:pt x="74" y="34"/>
                </a:lnTo>
                <a:lnTo>
                  <a:pt x="74" y="34"/>
                </a:lnTo>
                <a:lnTo>
                  <a:pt x="74" y="40"/>
                </a:lnTo>
                <a:lnTo>
                  <a:pt x="74" y="40"/>
                </a:lnTo>
                <a:lnTo>
                  <a:pt x="72" y="44"/>
                </a:lnTo>
                <a:lnTo>
                  <a:pt x="68" y="46"/>
                </a:lnTo>
                <a:lnTo>
                  <a:pt x="68" y="46"/>
                </a:lnTo>
                <a:lnTo>
                  <a:pt x="68" y="50"/>
                </a:lnTo>
                <a:lnTo>
                  <a:pt x="66" y="50"/>
                </a:lnTo>
                <a:lnTo>
                  <a:pt x="66" y="50"/>
                </a:lnTo>
                <a:lnTo>
                  <a:pt x="70" y="60"/>
                </a:lnTo>
                <a:lnTo>
                  <a:pt x="70" y="60"/>
                </a:lnTo>
                <a:lnTo>
                  <a:pt x="66" y="60"/>
                </a:lnTo>
                <a:lnTo>
                  <a:pt x="66" y="60"/>
                </a:lnTo>
                <a:lnTo>
                  <a:pt x="64" y="64"/>
                </a:lnTo>
                <a:lnTo>
                  <a:pt x="64" y="64"/>
                </a:lnTo>
                <a:lnTo>
                  <a:pt x="72" y="64"/>
                </a:lnTo>
                <a:lnTo>
                  <a:pt x="72" y="64"/>
                </a:lnTo>
                <a:lnTo>
                  <a:pt x="72" y="68"/>
                </a:lnTo>
                <a:lnTo>
                  <a:pt x="72" y="68"/>
                </a:lnTo>
                <a:lnTo>
                  <a:pt x="76" y="70"/>
                </a:lnTo>
                <a:lnTo>
                  <a:pt x="80" y="74"/>
                </a:lnTo>
                <a:lnTo>
                  <a:pt x="80" y="74"/>
                </a:lnTo>
                <a:lnTo>
                  <a:pt x="80" y="76"/>
                </a:lnTo>
                <a:lnTo>
                  <a:pt x="80" y="76"/>
                </a:lnTo>
                <a:lnTo>
                  <a:pt x="84" y="78"/>
                </a:lnTo>
                <a:lnTo>
                  <a:pt x="84" y="78"/>
                </a:lnTo>
                <a:lnTo>
                  <a:pt x="84" y="82"/>
                </a:lnTo>
                <a:lnTo>
                  <a:pt x="84" y="86"/>
                </a:lnTo>
                <a:lnTo>
                  <a:pt x="84" y="86"/>
                </a:lnTo>
                <a:lnTo>
                  <a:pt x="90" y="92"/>
                </a:lnTo>
                <a:lnTo>
                  <a:pt x="90" y="92"/>
                </a:lnTo>
                <a:lnTo>
                  <a:pt x="92" y="92"/>
                </a:lnTo>
                <a:lnTo>
                  <a:pt x="92" y="92"/>
                </a:lnTo>
                <a:lnTo>
                  <a:pt x="94" y="96"/>
                </a:lnTo>
                <a:lnTo>
                  <a:pt x="98" y="102"/>
                </a:lnTo>
                <a:lnTo>
                  <a:pt x="98" y="102"/>
                </a:lnTo>
                <a:lnTo>
                  <a:pt x="100" y="102"/>
                </a:lnTo>
                <a:lnTo>
                  <a:pt x="102" y="102"/>
                </a:lnTo>
                <a:lnTo>
                  <a:pt x="102" y="102"/>
                </a:lnTo>
                <a:lnTo>
                  <a:pt x="106" y="106"/>
                </a:lnTo>
                <a:lnTo>
                  <a:pt x="108" y="110"/>
                </a:lnTo>
                <a:lnTo>
                  <a:pt x="108" y="110"/>
                </a:lnTo>
                <a:lnTo>
                  <a:pt x="108" y="110"/>
                </a:lnTo>
                <a:lnTo>
                  <a:pt x="108" y="112"/>
                </a:lnTo>
                <a:lnTo>
                  <a:pt x="108" y="112"/>
                </a:lnTo>
                <a:lnTo>
                  <a:pt x="106" y="112"/>
                </a:lnTo>
                <a:lnTo>
                  <a:pt x="100" y="108"/>
                </a:lnTo>
                <a:lnTo>
                  <a:pt x="100" y="108"/>
                </a:lnTo>
                <a:lnTo>
                  <a:pt x="104" y="114"/>
                </a:lnTo>
                <a:lnTo>
                  <a:pt x="108" y="120"/>
                </a:lnTo>
                <a:lnTo>
                  <a:pt x="108" y="120"/>
                </a:lnTo>
                <a:lnTo>
                  <a:pt x="110" y="126"/>
                </a:lnTo>
                <a:lnTo>
                  <a:pt x="110" y="126"/>
                </a:lnTo>
                <a:lnTo>
                  <a:pt x="108" y="126"/>
                </a:lnTo>
                <a:lnTo>
                  <a:pt x="108" y="128"/>
                </a:lnTo>
                <a:lnTo>
                  <a:pt x="108" y="128"/>
                </a:lnTo>
                <a:lnTo>
                  <a:pt x="110" y="132"/>
                </a:lnTo>
                <a:lnTo>
                  <a:pt x="110" y="132"/>
                </a:lnTo>
                <a:lnTo>
                  <a:pt x="112" y="130"/>
                </a:lnTo>
                <a:lnTo>
                  <a:pt x="114" y="130"/>
                </a:lnTo>
                <a:lnTo>
                  <a:pt x="112" y="130"/>
                </a:lnTo>
                <a:lnTo>
                  <a:pt x="112" y="130"/>
                </a:lnTo>
                <a:lnTo>
                  <a:pt x="114" y="126"/>
                </a:lnTo>
                <a:lnTo>
                  <a:pt x="114" y="126"/>
                </a:lnTo>
                <a:lnTo>
                  <a:pt x="120" y="128"/>
                </a:lnTo>
                <a:lnTo>
                  <a:pt x="126" y="128"/>
                </a:lnTo>
                <a:lnTo>
                  <a:pt x="126" y="128"/>
                </a:lnTo>
                <a:lnTo>
                  <a:pt x="128" y="132"/>
                </a:lnTo>
                <a:lnTo>
                  <a:pt x="128" y="138"/>
                </a:lnTo>
                <a:lnTo>
                  <a:pt x="126" y="144"/>
                </a:lnTo>
                <a:lnTo>
                  <a:pt x="124" y="148"/>
                </a:lnTo>
                <a:lnTo>
                  <a:pt x="122" y="148"/>
                </a:lnTo>
                <a:lnTo>
                  <a:pt x="122" y="148"/>
                </a:lnTo>
                <a:lnTo>
                  <a:pt x="122" y="152"/>
                </a:lnTo>
                <a:lnTo>
                  <a:pt x="122" y="152"/>
                </a:lnTo>
                <a:lnTo>
                  <a:pt x="114" y="152"/>
                </a:lnTo>
                <a:lnTo>
                  <a:pt x="114" y="154"/>
                </a:lnTo>
                <a:lnTo>
                  <a:pt x="114" y="154"/>
                </a:lnTo>
                <a:lnTo>
                  <a:pt x="110" y="154"/>
                </a:lnTo>
                <a:lnTo>
                  <a:pt x="110" y="154"/>
                </a:lnTo>
                <a:lnTo>
                  <a:pt x="112" y="158"/>
                </a:lnTo>
                <a:lnTo>
                  <a:pt x="112" y="158"/>
                </a:lnTo>
                <a:lnTo>
                  <a:pt x="110" y="158"/>
                </a:lnTo>
                <a:lnTo>
                  <a:pt x="110" y="160"/>
                </a:lnTo>
                <a:lnTo>
                  <a:pt x="110" y="160"/>
                </a:lnTo>
                <a:lnTo>
                  <a:pt x="118" y="160"/>
                </a:lnTo>
                <a:lnTo>
                  <a:pt x="122" y="160"/>
                </a:lnTo>
                <a:lnTo>
                  <a:pt x="120" y="162"/>
                </a:lnTo>
                <a:lnTo>
                  <a:pt x="120" y="162"/>
                </a:lnTo>
                <a:lnTo>
                  <a:pt x="120" y="164"/>
                </a:lnTo>
                <a:lnTo>
                  <a:pt x="120" y="164"/>
                </a:lnTo>
                <a:lnTo>
                  <a:pt x="116" y="166"/>
                </a:lnTo>
                <a:lnTo>
                  <a:pt x="116" y="166"/>
                </a:lnTo>
                <a:lnTo>
                  <a:pt x="114" y="168"/>
                </a:lnTo>
                <a:lnTo>
                  <a:pt x="114" y="168"/>
                </a:lnTo>
                <a:lnTo>
                  <a:pt x="110" y="168"/>
                </a:lnTo>
                <a:lnTo>
                  <a:pt x="108" y="172"/>
                </a:lnTo>
                <a:lnTo>
                  <a:pt x="108" y="172"/>
                </a:lnTo>
                <a:lnTo>
                  <a:pt x="106" y="170"/>
                </a:lnTo>
                <a:lnTo>
                  <a:pt x="102" y="168"/>
                </a:lnTo>
                <a:lnTo>
                  <a:pt x="102" y="168"/>
                </a:lnTo>
                <a:lnTo>
                  <a:pt x="98" y="168"/>
                </a:lnTo>
                <a:lnTo>
                  <a:pt x="96" y="168"/>
                </a:lnTo>
                <a:lnTo>
                  <a:pt x="90" y="170"/>
                </a:lnTo>
                <a:lnTo>
                  <a:pt x="90" y="170"/>
                </a:lnTo>
                <a:lnTo>
                  <a:pt x="86" y="170"/>
                </a:lnTo>
                <a:lnTo>
                  <a:pt x="84" y="168"/>
                </a:lnTo>
                <a:lnTo>
                  <a:pt x="80" y="168"/>
                </a:lnTo>
                <a:lnTo>
                  <a:pt x="80" y="170"/>
                </a:lnTo>
                <a:lnTo>
                  <a:pt x="80" y="170"/>
                </a:lnTo>
                <a:lnTo>
                  <a:pt x="76" y="172"/>
                </a:lnTo>
                <a:lnTo>
                  <a:pt x="76" y="172"/>
                </a:lnTo>
                <a:lnTo>
                  <a:pt x="76" y="174"/>
                </a:lnTo>
                <a:lnTo>
                  <a:pt x="76" y="174"/>
                </a:lnTo>
                <a:lnTo>
                  <a:pt x="72" y="174"/>
                </a:lnTo>
                <a:lnTo>
                  <a:pt x="70" y="174"/>
                </a:lnTo>
                <a:lnTo>
                  <a:pt x="66" y="172"/>
                </a:lnTo>
                <a:lnTo>
                  <a:pt x="64" y="172"/>
                </a:lnTo>
                <a:lnTo>
                  <a:pt x="64" y="172"/>
                </a:lnTo>
                <a:lnTo>
                  <a:pt x="60" y="172"/>
                </a:lnTo>
                <a:lnTo>
                  <a:pt x="58" y="176"/>
                </a:lnTo>
                <a:lnTo>
                  <a:pt x="54" y="180"/>
                </a:lnTo>
                <a:lnTo>
                  <a:pt x="54" y="180"/>
                </a:lnTo>
                <a:lnTo>
                  <a:pt x="52" y="178"/>
                </a:lnTo>
                <a:lnTo>
                  <a:pt x="52" y="176"/>
                </a:lnTo>
                <a:lnTo>
                  <a:pt x="52" y="176"/>
                </a:lnTo>
                <a:lnTo>
                  <a:pt x="40" y="178"/>
                </a:lnTo>
                <a:lnTo>
                  <a:pt x="40" y="178"/>
                </a:lnTo>
                <a:lnTo>
                  <a:pt x="40" y="180"/>
                </a:lnTo>
                <a:lnTo>
                  <a:pt x="38" y="180"/>
                </a:lnTo>
                <a:lnTo>
                  <a:pt x="38" y="180"/>
                </a:lnTo>
                <a:lnTo>
                  <a:pt x="36" y="180"/>
                </a:lnTo>
                <a:lnTo>
                  <a:pt x="36" y="180"/>
                </a:lnTo>
                <a:lnTo>
                  <a:pt x="32" y="188"/>
                </a:lnTo>
                <a:lnTo>
                  <a:pt x="32" y="188"/>
                </a:lnTo>
                <a:lnTo>
                  <a:pt x="28" y="186"/>
                </a:lnTo>
                <a:lnTo>
                  <a:pt x="24" y="184"/>
                </a:lnTo>
                <a:lnTo>
                  <a:pt x="24" y="184"/>
                </a:lnTo>
                <a:lnTo>
                  <a:pt x="24" y="182"/>
                </a:lnTo>
                <a:lnTo>
                  <a:pt x="24" y="182"/>
                </a:lnTo>
                <a:lnTo>
                  <a:pt x="30" y="180"/>
                </a:lnTo>
                <a:lnTo>
                  <a:pt x="30" y="180"/>
                </a:lnTo>
                <a:lnTo>
                  <a:pt x="32" y="178"/>
                </a:lnTo>
                <a:lnTo>
                  <a:pt x="32" y="174"/>
                </a:lnTo>
                <a:lnTo>
                  <a:pt x="32" y="174"/>
                </a:lnTo>
                <a:lnTo>
                  <a:pt x="38" y="170"/>
                </a:lnTo>
                <a:lnTo>
                  <a:pt x="38" y="170"/>
                </a:lnTo>
                <a:lnTo>
                  <a:pt x="40" y="164"/>
                </a:lnTo>
                <a:lnTo>
                  <a:pt x="42" y="162"/>
                </a:lnTo>
                <a:lnTo>
                  <a:pt x="44" y="160"/>
                </a:lnTo>
                <a:lnTo>
                  <a:pt x="44" y="160"/>
                </a:lnTo>
                <a:lnTo>
                  <a:pt x="44" y="160"/>
                </a:lnTo>
                <a:lnTo>
                  <a:pt x="54" y="160"/>
                </a:lnTo>
                <a:lnTo>
                  <a:pt x="66" y="160"/>
                </a:lnTo>
                <a:lnTo>
                  <a:pt x="66" y="160"/>
                </a:lnTo>
                <a:lnTo>
                  <a:pt x="68" y="152"/>
                </a:lnTo>
                <a:lnTo>
                  <a:pt x="68" y="150"/>
                </a:lnTo>
                <a:lnTo>
                  <a:pt x="62" y="152"/>
                </a:lnTo>
                <a:lnTo>
                  <a:pt x="62" y="152"/>
                </a:lnTo>
                <a:lnTo>
                  <a:pt x="62" y="154"/>
                </a:lnTo>
                <a:lnTo>
                  <a:pt x="60" y="156"/>
                </a:lnTo>
                <a:lnTo>
                  <a:pt x="60" y="156"/>
                </a:lnTo>
                <a:lnTo>
                  <a:pt x="56" y="154"/>
                </a:lnTo>
                <a:lnTo>
                  <a:pt x="56" y="154"/>
                </a:lnTo>
                <a:lnTo>
                  <a:pt x="56" y="152"/>
                </a:lnTo>
                <a:lnTo>
                  <a:pt x="54" y="152"/>
                </a:lnTo>
                <a:lnTo>
                  <a:pt x="54" y="152"/>
                </a:lnTo>
                <a:lnTo>
                  <a:pt x="54" y="152"/>
                </a:lnTo>
                <a:lnTo>
                  <a:pt x="54" y="152"/>
                </a:lnTo>
                <a:lnTo>
                  <a:pt x="50" y="156"/>
                </a:lnTo>
                <a:lnTo>
                  <a:pt x="50" y="156"/>
                </a:lnTo>
                <a:lnTo>
                  <a:pt x="46" y="156"/>
                </a:lnTo>
                <a:lnTo>
                  <a:pt x="44" y="156"/>
                </a:lnTo>
                <a:lnTo>
                  <a:pt x="44" y="154"/>
                </a:lnTo>
                <a:lnTo>
                  <a:pt x="44" y="154"/>
                </a:lnTo>
                <a:lnTo>
                  <a:pt x="44" y="154"/>
                </a:lnTo>
                <a:lnTo>
                  <a:pt x="44" y="152"/>
                </a:lnTo>
                <a:lnTo>
                  <a:pt x="44" y="152"/>
                </a:lnTo>
                <a:lnTo>
                  <a:pt x="40" y="152"/>
                </a:lnTo>
                <a:lnTo>
                  <a:pt x="40" y="152"/>
                </a:lnTo>
                <a:lnTo>
                  <a:pt x="40" y="152"/>
                </a:lnTo>
                <a:lnTo>
                  <a:pt x="40" y="154"/>
                </a:lnTo>
                <a:lnTo>
                  <a:pt x="40" y="154"/>
                </a:lnTo>
                <a:lnTo>
                  <a:pt x="40" y="154"/>
                </a:lnTo>
                <a:lnTo>
                  <a:pt x="38" y="156"/>
                </a:lnTo>
                <a:lnTo>
                  <a:pt x="38" y="156"/>
                </a:lnTo>
                <a:lnTo>
                  <a:pt x="36" y="156"/>
                </a:lnTo>
                <a:lnTo>
                  <a:pt x="36" y="154"/>
                </a:lnTo>
                <a:lnTo>
                  <a:pt x="36" y="152"/>
                </a:lnTo>
                <a:lnTo>
                  <a:pt x="36" y="152"/>
                </a:lnTo>
                <a:lnTo>
                  <a:pt x="32" y="152"/>
                </a:lnTo>
                <a:lnTo>
                  <a:pt x="32" y="152"/>
                </a:lnTo>
                <a:lnTo>
                  <a:pt x="32" y="150"/>
                </a:lnTo>
                <a:lnTo>
                  <a:pt x="34" y="150"/>
                </a:lnTo>
                <a:lnTo>
                  <a:pt x="34" y="150"/>
                </a:lnTo>
                <a:lnTo>
                  <a:pt x="32" y="146"/>
                </a:lnTo>
                <a:lnTo>
                  <a:pt x="32" y="146"/>
                </a:lnTo>
                <a:lnTo>
                  <a:pt x="40" y="142"/>
                </a:lnTo>
                <a:lnTo>
                  <a:pt x="40" y="142"/>
                </a:lnTo>
                <a:lnTo>
                  <a:pt x="42" y="140"/>
                </a:lnTo>
                <a:lnTo>
                  <a:pt x="42" y="140"/>
                </a:lnTo>
                <a:lnTo>
                  <a:pt x="46" y="136"/>
                </a:lnTo>
                <a:lnTo>
                  <a:pt x="46" y="128"/>
                </a:lnTo>
                <a:lnTo>
                  <a:pt x="46" y="128"/>
                </a:lnTo>
                <a:lnTo>
                  <a:pt x="38" y="130"/>
                </a:lnTo>
                <a:lnTo>
                  <a:pt x="38" y="130"/>
                </a:lnTo>
                <a:lnTo>
                  <a:pt x="44" y="124"/>
                </a:lnTo>
                <a:lnTo>
                  <a:pt x="48" y="120"/>
                </a:lnTo>
                <a:lnTo>
                  <a:pt x="48" y="120"/>
                </a:lnTo>
                <a:lnTo>
                  <a:pt x="44" y="120"/>
                </a:lnTo>
                <a:lnTo>
                  <a:pt x="44" y="120"/>
                </a:lnTo>
                <a:lnTo>
                  <a:pt x="42" y="114"/>
                </a:lnTo>
                <a:lnTo>
                  <a:pt x="42" y="114"/>
                </a:lnTo>
                <a:lnTo>
                  <a:pt x="44" y="114"/>
                </a:lnTo>
                <a:lnTo>
                  <a:pt x="44" y="112"/>
                </a:lnTo>
                <a:lnTo>
                  <a:pt x="44" y="112"/>
                </a:lnTo>
                <a:lnTo>
                  <a:pt x="46" y="112"/>
                </a:lnTo>
                <a:lnTo>
                  <a:pt x="50" y="112"/>
                </a:lnTo>
                <a:lnTo>
                  <a:pt x="50" y="112"/>
                </a:lnTo>
                <a:lnTo>
                  <a:pt x="50" y="116"/>
                </a:lnTo>
                <a:lnTo>
                  <a:pt x="50" y="116"/>
                </a:lnTo>
                <a:lnTo>
                  <a:pt x="50" y="116"/>
                </a:lnTo>
                <a:lnTo>
                  <a:pt x="52" y="118"/>
                </a:lnTo>
                <a:lnTo>
                  <a:pt x="62" y="118"/>
                </a:lnTo>
                <a:lnTo>
                  <a:pt x="62" y="116"/>
                </a:lnTo>
                <a:lnTo>
                  <a:pt x="62" y="116"/>
                </a:lnTo>
                <a:lnTo>
                  <a:pt x="64" y="116"/>
                </a:lnTo>
                <a:lnTo>
                  <a:pt x="64" y="116"/>
                </a:lnTo>
                <a:lnTo>
                  <a:pt x="64" y="114"/>
                </a:lnTo>
                <a:lnTo>
                  <a:pt x="64" y="110"/>
                </a:lnTo>
                <a:lnTo>
                  <a:pt x="64" y="110"/>
                </a:lnTo>
                <a:lnTo>
                  <a:pt x="66" y="106"/>
                </a:lnTo>
                <a:lnTo>
                  <a:pt x="66" y="106"/>
                </a:lnTo>
                <a:lnTo>
                  <a:pt x="66" y="98"/>
                </a:lnTo>
                <a:lnTo>
                  <a:pt x="66" y="98"/>
                </a:lnTo>
                <a:lnTo>
                  <a:pt x="60" y="98"/>
                </a:lnTo>
                <a:lnTo>
                  <a:pt x="56" y="96"/>
                </a:lnTo>
                <a:lnTo>
                  <a:pt x="56" y="92"/>
                </a:lnTo>
                <a:lnTo>
                  <a:pt x="62" y="88"/>
                </a:lnTo>
                <a:lnTo>
                  <a:pt x="62" y="88"/>
                </a:lnTo>
                <a:lnTo>
                  <a:pt x="58" y="86"/>
                </a:lnTo>
                <a:lnTo>
                  <a:pt x="54" y="88"/>
                </a:lnTo>
                <a:lnTo>
                  <a:pt x="48" y="88"/>
                </a:lnTo>
                <a:lnTo>
                  <a:pt x="42" y="86"/>
                </a:lnTo>
                <a:lnTo>
                  <a:pt x="42" y="86"/>
                </a:lnTo>
                <a:lnTo>
                  <a:pt x="42" y="90"/>
                </a:lnTo>
                <a:lnTo>
                  <a:pt x="42" y="92"/>
                </a:lnTo>
                <a:lnTo>
                  <a:pt x="42" y="92"/>
                </a:lnTo>
                <a:lnTo>
                  <a:pt x="40" y="90"/>
                </a:lnTo>
                <a:lnTo>
                  <a:pt x="40" y="90"/>
                </a:lnTo>
                <a:lnTo>
                  <a:pt x="38" y="88"/>
                </a:lnTo>
                <a:lnTo>
                  <a:pt x="38" y="88"/>
                </a:lnTo>
                <a:lnTo>
                  <a:pt x="36" y="88"/>
                </a:lnTo>
                <a:lnTo>
                  <a:pt x="34" y="88"/>
                </a:lnTo>
                <a:lnTo>
                  <a:pt x="34" y="88"/>
                </a:lnTo>
                <a:lnTo>
                  <a:pt x="38" y="76"/>
                </a:lnTo>
                <a:lnTo>
                  <a:pt x="38" y="72"/>
                </a:lnTo>
                <a:lnTo>
                  <a:pt x="36" y="66"/>
                </a:lnTo>
                <a:lnTo>
                  <a:pt x="36" y="66"/>
                </a:lnTo>
                <a:lnTo>
                  <a:pt x="38" y="66"/>
                </a:lnTo>
                <a:lnTo>
                  <a:pt x="38" y="64"/>
                </a:lnTo>
                <a:lnTo>
                  <a:pt x="38" y="62"/>
                </a:lnTo>
                <a:lnTo>
                  <a:pt x="38" y="62"/>
                </a:lnTo>
                <a:lnTo>
                  <a:pt x="36" y="62"/>
                </a:lnTo>
                <a:lnTo>
                  <a:pt x="36" y="64"/>
                </a:lnTo>
                <a:lnTo>
                  <a:pt x="36" y="64"/>
                </a:lnTo>
                <a:lnTo>
                  <a:pt x="34" y="64"/>
                </a:lnTo>
                <a:lnTo>
                  <a:pt x="34" y="62"/>
                </a:lnTo>
                <a:lnTo>
                  <a:pt x="34" y="62"/>
                </a:lnTo>
                <a:lnTo>
                  <a:pt x="34" y="62"/>
                </a:lnTo>
                <a:lnTo>
                  <a:pt x="30" y="64"/>
                </a:lnTo>
                <a:lnTo>
                  <a:pt x="30" y="64"/>
                </a:lnTo>
                <a:lnTo>
                  <a:pt x="28" y="68"/>
                </a:lnTo>
                <a:lnTo>
                  <a:pt x="28" y="68"/>
                </a:lnTo>
                <a:lnTo>
                  <a:pt x="28" y="64"/>
                </a:lnTo>
                <a:lnTo>
                  <a:pt x="28" y="62"/>
                </a:lnTo>
                <a:lnTo>
                  <a:pt x="30" y="62"/>
                </a:lnTo>
                <a:lnTo>
                  <a:pt x="30" y="62"/>
                </a:lnTo>
                <a:lnTo>
                  <a:pt x="30" y="58"/>
                </a:lnTo>
                <a:lnTo>
                  <a:pt x="30" y="58"/>
                </a:lnTo>
                <a:lnTo>
                  <a:pt x="28" y="58"/>
                </a:lnTo>
                <a:lnTo>
                  <a:pt x="30" y="58"/>
                </a:lnTo>
                <a:lnTo>
                  <a:pt x="30" y="56"/>
                </a:lnTo>
                <a:lnTo>
                  <a:pt x="30" y="56"/>
                </a:lnTo>
                <a:lnTo>
                  <a:pt x="34" y="56"/>
                </a:lnTo>
                <a:lnTo>
                  <a:pt x="34" y="56"/>
                </a:lnTo>
                <a:lnTo>
                  <a:pt x="34" y="52"/>
                </a:lnTo>
                <a:lnTo>
                  <a:pt x="34" y="52"/>
                </a:lnTo>
                <a:lnTo>
                  <a:pt x="34" y="52"/>
                </a:lnTo>
                <a:lnTo>
                  <a:pt x="34" y="52"/>
                </a:lnTo>
                <a:lnTo>
                  <a:pt x="26" y="54"/>
                </a:lnTo>
                <a:lnTo>
                  <a:pt x="26" y="52"/>
                </a:lnTo>
                <a:lnTo>
                  <a:pt x="26" y="52"/>
                </a:lnTo>
                <a:lnTo>
                  <a:pt x="28" y="46"/>
                </a:lnTo>
                <a:lnTo>
                  <a:pt x="28" y="44"/>
                </a:lnTo>
                <a:lnTo>
                  <a:pt x="30" y="42"/>
                </a:lnTo>
                <a:lnTo>
                  <a:pt x="30" y="42"/>
                </a:lnTo>
                <a:lnTo>
                  <a:pt x="28" y="40"/>
                </a:lnTo>
                <a:lnTo>
                  <a:pt x="26" y="38"/>
                </a:lnTo>
                <a:lnTo>
                  <a:pt x="26" y="38"/>
                </a:lnTo>
                <a:lnTo>
                  <a:pt x="28" y="36"/>
                </a:lnTo>
                <a:lnTo>
                  <a:pt x="28" y="34"/>
                </a:lnTo>
                <a:lnTo>
                  <a:pt x="26" y="28"/>
                </a:lnTo>
                <a:lnTo>
                  <a:pt x="26" y="28"/>
                </a:lnTo>
                <a:lnTo>
                  <a:pt x="30" y="28"/>
                </a:lnTo>
                <a:lnTo>
                  <a:pt x="30" y="28"/>
                </a:lnTo>
                <a:lnTo>
                  <a:pt x="28" y="26"/>
                </a:lnTo>
                <a:lnTo>
                  <a:pt x="28" y="24"/>
                </a:lnTo>
                <a:lnTo>
                  <a:pt x="28" y="24"/>
                </a:lnTo>
                <a:lnTo>
                  <a:pt x="28" y="24"/>
                </a:lnTo>
                <a:lnTo>
                  <a:pt x="28" y="24"/>
                </a:lnTo>
                <a:lnTo>
                  <a:pt x="28" y="22"/>
                </a:lnTo>
                <a:lnTo>
                  <a:pt x="28" y="22"/>
                </a:lnTo>
                <a:lnTo>
                  <a:pt x="34" y="22"/>
                </a:lnTo>
                <a:lnTo>
                  <a:pt x="34" y="22"/>
                </a:lnTo>
                <a:lnTo>
                  <a:pt x="36" y="20"/>
                </a:lnTo>
                <a:lnTo>
                  <a:pt x="36" y="20"/>
                </a:lnTo>
                <a:lnTo>
                  <a:pt x="34" y="20"/>
                </a:lnTo>
                <a:lnTo>
                  <a:pt x="34" y="18"/>
                </a:lnTo>
                <a:lnTo>
                  <a:pt x="34" y="18"/>
                </a:lnTo>
                <a:lnTo>
                  <a:pt x="34" y="18"/>
                </a:lnTo>
                <a:lnTo>
                  <a:pt x="34" y="16"/>
                </a:lnTo>
                <a:lnTo>
                  <a:pt x="34" y="16"/>
                </a:lnTo>
                <a:lnTo>
                  <a:pt x="36" y="12"/>
                </a:lnTo>
                <a:lnTo>
                  <a:pt x="38" y="8"/>
                </a:lnTo>
                <a:lnTo>
                  <a:pt x="38" y="8"/>
                </a:lnTo>
                <a:lnTo>
                  <a:pt x="38" y="2"/>
                </a:lnTo>
                <a:lnTo>
                  <a:pt x="38" y="2"/>
                </a:lnTo>
                <a:lnTo>
                  <a:pt x="42" y="2"/>
                </a:lnTo>
                <a:lnTo>
                  <a:pt x="42" y="2"/>
                </a:lnTo>
                <a:lnTo>
                  <a:pt x="44" y="2"/>
                </a:lnTo>
                <a:lnTo>
                  <a:pt x="44" y="4"/>
                </a:lnTo>
                <a:lnTo>
                  <a:pt x="42" y="6"/>
                </a:lnTo>
                <a:lnTo>
                  <a:pt x="44" y="6"/>
                </a:lnTo>
                <a:lnTo>
                  <a:pt x="44" y="6"/>
                </a:lnTo>
                <a:lnTo>
                  <a:pt x="44" y="2"/>
                </a:lnTo>
                <a:lnTo>
                  <a:pt x="46" y="2"/>
                </a:lnTo>
                <a:lnTo>
                  <a:pt x="46" y="4"/>
                </a:lnTo>
                <a:lnTo>
                  <a:pt x="52" y="0"/>
                </a:lnTo>
                <a:lnTo>
                  <a:pt x="52" y="0"/>
                </a:lnTo>
                <a:lnTo>
                  <a:pt x="56" y="0"/>
                </a:lnTo>
                <a:lnTo>
                  <a:pt x="60" y="2"/>
                </a:lnTo>
                <a:lnTo>
                  <a:pt x="62" y="4"/>
                </a:lnTo>
                <a:lnTo>
                  <a:pt x="60" y="10"/>
                </a:lnTo>
                <a:lnTo>
                  <a:pt x="60" y="10"/>
                </a:lnTo>
                <a:lnTo>
                  <a:pt x="56" y="12"/>
                </a:lnTo>
                <a:lnTo>
                  <a:pt x="56" y="12"/>
                </a:lnTo>
                <a:lnTo>
                  <a:pt x="54" y="18"/>
                </a:lnTo>
                <a:lnTo>
                  <a:pt x="52" y="18"/>
                </a:lnTo>
                <a:lnTo>
                  <a:pt x="52" y="18"/>
                </a:lnTo>
                <a:lnTo>
                  <a:pt x="48" y="20"/>
                </a:lnTo>
                <a:lnTo>
                  <a:pt x="48" y="20"/>
                </a:lnTo>
                <a:lnTo>
                  <a:pt x="48" y="22"/>
                </a:lnTo>
                <a:lnTo>
                  <a:pt x="48" y="26"/>
                </a:lnTo>
                <a:lnTo>
                  <a:pt x="48" y="28"/>
                </a:lnTo>
                <a:lnTo>
                  <a:pt x="48" y="28"/>
                </a:lnTo>
                <a:lnTo>
                  <a:pt x="50" y="28"/>
                </a:lnTo>
                <a:lnTo>
                  <a:pt x="50" y="28"/>
                </a:lnTo>
                <a:lnTo>
                  <a:pt x="50" y="28"/>
                </a:lnTo>
                <a:close/>
                <a:moveTo>
                  <a:pt x="22" y="50"/>
                </a:moveTo>
                <a:lnTo>
                  <a:pt x="22" y="50"/>
                </a:lnTo>
                <a:lnTo>
                  <a:pt x="24" y="54"/>
                </a:lnTo>
                <a:lnTo>
                  <a:pt x="24" y="54"/>
                </a:lnTo>
                <a:lnTo>
                  <a:pt x="24" y="56"/>
                </a:lnTo>
                <a:lnTo>
                  <a:pt x="22" y="58"/>
                </a:lnTo>
                <a:lnTo>
                  <a:pt x="22" y="58"/>
                </a:lnTo>
                <a:lnTo>
                  <a:pt x="22" y="58"/>
                </a:lnTo>
                <a:lnTo>
                  <a:pt x="18" y="56"/>
                </a:lnTo>
                <a:lnTo>
                  <a:pt x="18" y="56"/>
                </a:lnTo>
                <a:lnTo>
                  <a:pt x="20" y="56"/>
                </a:lnTo>
                <a:lnTo>
                  <a:pt x="20" y="56"/>
                </a:lnTo>
                <a:lnTo>
                  <a:pt x="20" y="54"/>
                </a:lnTo>
                <a:lnTo>
                  <a:pt x="18" y="52"/>
                </a:lnTo>
                <a:lnTo>
                  <a:pt x="18" y="52"/>
                </a:lnTo>
                <a:lnTo>
                  <a:pt x="18" y="50"/>
                </a:lnTo>
                <a:lnTo>
                  <a:pt x="18" y="50"/>
                </a:lnTo>
                <a:lnTo>
                  <a:pt x="22" y="50"/>
                </a:lnTo>
                <a:lnTo>
                  <a:pt x="22" y="50"/>
                </a:lnTo>
                <a:close/>
                <a:moveTo>
                  <a:pt x="20" y="28"/>
                </a:moveTo>
                <a:lnTo>
                  <a:pt x="20" y="28"/>
                </a:lnTo>
                <a:lnTo>
                  <a:pt x="20" y="32"/>
                </a:lnTo>
                <a:lnTo>
                  <a:pt x="20" y="38"/>
                </a:lnTo>
                <a:lnTo>
                  <a:pt x="20" y="38"/>
                </a:lnTo>
                <a:lnTo>
                  <a:pt x="24" y="38"/>
                </a:lnTo>
                <a:lnTo>
                  <a:pt x="24" y="38"/>
                </a:lnTo>
                <a:lnTo>
                  <a:pt x="24" y="40"/>
                </a:lnTo>
                <a:lnTo>
                  <a:pt x="24" y="42"/>
                </a:lnTo>
                <a:lnTo>
                  <a:pt x="24" y="42"/>
                </a:lnTo>
                <a:lnTo>
                  <a:pt x="24" y="42"/>
                </a:lnTo>
                <a:lnTo>
                  <a:pt x="24" y="44"/>
                </a:lnTo>
                <a:lnTo>
                  <a:pt x="22" y="44"/>
                </a:lnTo>
                <a:lnTo>
                  <a:pt x="22" y="44"/>
                </a:lnTo>
                <a:lnTo>
                  <a:pt x="22" y="42"/>
                </a:lnTo>
                <a:lnTo>
                  <a:pt x="20" y="42"/>
                </a:lnTo>
                <a:lnTo>
                  <a:pt x="20" y="42"/>
                </a:lnTo>
                <a:lnTo>
                  <a:pt x="16" y="36"/>
                </a:lnTo>
                <a:lnTo>
                  <a:pt x="16" y="28"/>
                </a:lnTo>
                <a:lnTo>
                  <a:pt x="16" y="28"/>
                </a:lnTo>
                <a:lnTo>
                  <a:pt x="20" y="28"/>
                </a:lnTo>
                <a:lnTo>
                  <a:pt x="20" y="28"/>
                </a:lnTo>
                <a:lnTo>
                  <a:pt x="20" y="24"/>
                </a:lnTo>
                <a:lnTo>
                  <a:pt x="20" y="24"/>
                </a:lnTo>
                <a:lnTo>
                  <a:pt x="20" y="26"/>
                </a:lnTo>
                <a:lnTo>
                  <a:pt x="20" y="28"/>
                </a:lnTo>
                <a:lnTo>
                  <a:pt x="20" y="28"/>
                </a:lnTo>
                <a:close/>
                <a:moveTo>
                  <a:pt x="20" y="12"/>
                </a:moveTo>
                <a:lnTo>
                  <a:pt x="20" y="12"/>
                </a:lnTo>
                <a:lnTo>
                  <a:pt x="18" y="16"/>
                </a:lnTo>
                <a:lnTo>
                  <a:pt x="18" y="20"/>
                </a:lnTo>
                <a:lnTo>
                  <a:pt x="18" y="20"/>
                </a:lnTo>
                <a:lnTo>
                  <a:pt x="14" y="20"/>
                </a:lnTo>
                <a:lnTo>
                  <a:pt x="14" y="22"/>
                </a:lnTo>
                <a:lnTo>
                  <a:pt x="14" y="22"/>
                </a:lnTo>
                <a:lnTo>
                  <a:pt x="10" y="24"/>
                </a:lnTo>
                <a:lnTo>
                  <a:pt x="10" y="24"/>
                </a:lnTo>
                <a:lnTo>
                  <a:pt x="10" y="20"/>
                </a:lnTo>
                <a:lnTo>
                  <a:pt x="14" y="16"/>
                </a:lnTo>
                <a:lnTo>
                  <a:pt x="14" y="16"/>
                </a:lnTo>
                <a:lnTo>
                  <a:pt x="12" y="14"/>
                </a:lnTo>
                <a:lnTo>
                  <a:pt x="10" y="10"/>
                </a:lnTo>
                <a:lnTo>
                  <a:pt x="10" y="10"/>
                </a:lnTo>
                <a:lnTo>
                  <a:pt x="14" y="10"/>
                </a:lnTo>
                <a:lnTo>
                  <a:pt x="14" y="10"/>
                </a:lnTo>
                <a:lnTo>
                  <a:pt x="14" y="6"/>
                </a:lnTo>
                <a:lnTo>
                  <a:pt x="20" y="2"/>
                </a:lnTo>
                <a:lnTo>
                  <a:pt x="20" y="2"/>
                </a:lnTo>
                <a:lnTo>
                  <a:pt x="22" y="4"/>
                </a:lnTo>
                <a:lnTo>
                  <a:pt x="22" y="8"/>
                </a:lnTo>
                <a:lnTo>
                  <a:pt x="20" y="12"/>
                </a:lnTo>
                <a:lnTo>
                  <a:pt x="20"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9" name="Freeform 23">
            <a:extLst>
              <a:ext uri="{FF2B5EF4-FFF2-40B4-BE49-F238E27FC236}">
                <a16:creationId xmlns:a16="http://schemas.microsoft.com/office/drawing/2014/main" id="{D9BE26A1-9C5F-4201-9294-BB2117A07CF5}"/>
              </a:ext>
            </a:extLst>
          </p:cNvPr>
          <p:cNvSpPr>
            <a:spLocks/>
          </p:cNvSpPr>
          <p:nvPr userDrawn="1"/>
        </p:nvSpPr>
        <p:spPr bwMode="auto">
          <a:xfrm>
            <a:off x="6997878" y="2942774"/>
            <a:ext cx="120747" cy="82368"/>
          </a:xfrm>
          <a:custGeom>
            <a:avLst/>
            <a:gdLst>
              <a:gd name="T0" fmla="*/ 72 w 72"/>
              <a:gd name="T1" fmla="*/ 14 h 48"/>
              <a:gd name="T2" fmla="*/ 66 w 72"/>
              <a:gd name="T3" fmla="*/ 6 h 48"/>
              <a:gd name="T4" fmla="*/ 66 w 72"/>
              <a:gd name="T5" fmla="*/ 0 h 48"/>
              <a:gd name="T6" fmla="*/ 66 w 72"/>
              <a:gd name="T7" fmla="*/ 0 h 48"/>
              <a:gd name="T8" fmla="*/ 58 w 72"/>
              <a:gd name="T9" fmla="*/ 6 h 48"/>
              <a:gd name="T10" fmla="*/ 54 w 72"/>
              <a:gd name="T11" fmla="*/ 12 h 48"/>
              <a:gd name="T12" fmla="*/ 50 w 72"/>
              <a:gd name="T13" fmla="*/ 16 h 48"/>
              <a:gd name="T14" fmla="*/ 40 w 72"/>
              <a:gd name="T15" fmla="*/ 24 h 48"/>
              <a:gd name="T16" fmla="*/ 38 w 72"/>
              <a:gd name="T17" fmla="*/ 24 h 48"/>
              <a:gd name="T18" fmla="*/ 38 w 72"/>
              <a:gd name="T19" fmla="*/ 28 h 48"/>
              <a:gd name="T20" fmla="*/ 34 w 72"/>
              <a:gd name="T21" fmla="*/ 26 h 48"/>
              <a:gd name="T22" fmla="*/ 24 w 72"/>
              <a:gd name="T23" fmla="*/ 22 h 48"/>
              <a:gd name="T24" fmla="*/ 20 w 72"/>
              <a:gd name="T25" fmla="*/ 22 h 48"/>
              <a:gd name="T26" fmla="*/ 18 w 72"/>
              <a:gd name="T27" fmla="*/ 26 h 48"/>
              <a:gd name="T28" fmla="*/ 14 w 72"/>
              <a:gd name="T29" fmla="*/ 26 h 48"/>
              <a:gd name="T30" fmla="*/ 10 w 72"/>
              <a:gd name="T31" fmla="*/ 24 h 48"/>
              <a:gd name="T32" fmla="*/ 8 w 72"/>
              <a:gd name="T33" fmla="*/ 22 h 48"/>
              <a:gd name="T34" fmla="*/ 4 w 72"/>
              <a:gd name="T35" fmla="*/ 20 h 48"/>
              <a:gd name="T36" fmla="*/ 0 w 72"/>
              <a:gd name="T37" fmla="*/ 12 h 48"/>
              <a:gd name="T38" fmla="*/ 8 w 72"/>
              <a:gd name="T39" fmla="*/ 26 h 48"/>
              <a:gd name="T40" fmla="*/ 8 w 72"/>
              <a:gd name="T41" fmla="*/ 40 h 48"/>
              <a:gd name="T42" fmla="*/ 52 w 72"/>
              <a:gd name="T43" fmla="*/ 48 h 48"/>
              <a:gd name="T44" fmla="*/ 56 w 72"/>
              <a:gd name="T45" fmla="*/ 48 h 48"/>
              <a:gd name="T46" fmla="*/ 58 w 72"/>
              <a:gd name="T47" fmla="*/ 44 h 48"/>
              <a:gd name="T48" fmla="*/ 60 w 72"/>
              <a:gd name="T49" fmla="*/ 38 h 48"/>
              <a:gd name="T50" fmla="*/ 62 w 72"/>
              <a:gd name="T51" fmla="*/ 30 h 48"/>
              <a:gd name="T52" fmla="*/ 62 w 72"/>
              <a:gd name="T53" fmla="*/ 26 h 48"/>
              <a:gd name="T54" fmla="*/ 60 w 72"/>
              <a:gd name="T55" fmla="*/ 26 h 48"/>
              <a:gd name="T56" fmla="*/ 62 w 72"/>
              <a:gd name="T57" fmla="*/ 22 h 48"/>
              <a:gd name="T58" fmla="*/ 66 w 72"/>
              <a:gd name="T59" fmla="*/ 20 h 48"/>
              <a:gd name="T60" fmla="*/ 62 w 72"/>
              <a:gd name="T61" fmla="*/ 16 h 48"/>
              <a:gd name="T62" fmla="*/ 62 w 72"/>
              <a:gd name="T63" fmla="*/ 12 h 48"/>
              <a:gd name="T64" fmla="*/ 64 w 72"/>
              <a:gd name="T65" fmla="*/ 12 h 48"/>
              <a:gd name="T66" fmla="*/ 68 w 72"/>
              <a:gd name="T67" fmla="*/ 16 h 48"/>
              <a:gd name="T68" fmla="*/ 68 w 72"/>
              <a:gd name="T69" fmla="*/ 16 h 48"/>
              <a:gd name="T70" fmla="*/ 72 w 72"/>
              <a:gd name="T7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48">
                <a:moveTo>
                  <a:pt x="72" y="14"/>
                </a:moveTo>
                <a:lnTo>
                  <a:pt x="72" y="14"/>
                </a:lnTo>
                <a:lnTo>
                  <a:pt x="70" y="6"/>
                </a:lnTo>
                <a:lnTo>
                  <a:pt x="66" y="6"/>
                </a:lnTo>
                <a:lnTo>
                  <a:pt x="68" y="0"/>
                </a:lnTo>
                <a:lnTo>
                  <a:pt x="66" y="0"/>
                </a:lnTo>
                <a:lnTo>
                  <a:pt x="66" y="0"/>
                </a:lnTo>
                <a:lnTo>
                  <a:pt x="66" y="0"/>
                </a:lnTo>
                <a:lnTo>
                  <a:pt x="62" y="4"/>
                </a:lnTo>
                <a:lnTo>
                  <a:pt x="58" y="6"/>
                </a:lnTo>
                <a:lnTo>
                  <a:pt x="58" y="6"/>
                </a:lnTo>
                <a:lnTo>
                  <a:pt x="54" y="12"/>
                </a:lnTo>
                <a:lnTo>
                  <a:pt x="50" y="16"/>
                </a:lnTo>
                <a:lnTo>
                  <a:pt x="50" y="16"/>
                </a:lnTo>
                <a:lnTo>
                  <a:pt x="42" y="22"/>
                </a:lnTo>
                <a:lnTo>
                  <a:pt x="40" y="24"/>
                </a:lnTo>
                <a:lnTo>
                  <a:pt x="40" y="24"/>
                </a:lnTo>
                <a:lnTo>
                  <a:pt x="38" y="24"/>
                </a:lnTo>
                <a:lnTo>
                  <a:pt x="38" y="24"/>
                </a:lnTo>
                <a:lnTo>
                  <a:pt x="38" y="28"/>
                </a:lnTo>
                <a:lnTo>
                  <a:pt x="38" y="28"/>
                </a:lnTo>
                <a:lnTo>
                  <a:pt x="34" y="26"/>
                </a:lnTo>
                <a:lnTo>
                  <a:pt x="30" y="24"/>
                </a:lnTo>
                <a:lnTo>
                  <a:pt x="24" y="22"/>
                </a:lnTo>
                <a:lnTo>
                  <a:pt x="24" y="22"/>
                </a:lnTo>
                <a:lnTo>
                  <a:pt x="20" y="22"/>
                </a:lnTo>
                <a:lnTo>
                  <a:pt x="20" y="24"/>
                </a:lnTo>
                <a:lnTo>
                  <a:pt x="18" y="26"/>
                </a:lnTo>
                <a:lnTo>
                  <a:pt x="18" y="26"/>
                </a:lnTo>
                <a:lnTo>
                  <a:pt x="14" y="26"/>
                </a:lnTo>
                <a:lnTo>
                  <a:pt x="10" y="24"/>
                </a:lnTo>
                <a:lnTo>
                  <a:pt x="10" y="24"/>
                </a:lnTo>
                <a:lnTo>
                  <a:pt x="8" y="22"/>
                </a:lnTo>
                <a:lnTo>
                  <a:pt x="8" y="22"/>
                </a:lnTo>
                <a:lnTo>
                  <a:pt x="4" y="20"/>
                </a:lnTo>
                <a:lnTo>
                  <a:pt x="4" y="20"/>
                </a:lnTo>
                <a:lnTo>
                  <a:pt x="6" y="14"/>
                </a:lnTo>
                <a:lnTo>
                  <a:pt x="0" y="12"/>
                </a:lnTo>
                <a:lnTo>
                  <a:pt x="0" y="18"/>
                </a:lnTo>
                <a:lnTo>
                  <a:pt x="8" y="26"/>
                </a:lnTo>
                <a:lnTo>
                  <a:pt x="8" y="40"/>
                </a:lnTo>
                <a:lnTo>
                  <a:pt x="8" y="40"/>
                </a:lnTo>
                <a:lnTo>
                  <a:pt x="52" y="48"/>
                </a:lnTo>
                <a:lnTo>
                  <a:pt x="52" y="48"/>
                </a:lnTo>
                <a:lnTo>
                  <a:pt x="56" y="48"/>
                </a:lnTo>
                <a:lnTo>
                  <a:pt x="56" y="48"/>
                </a:lnTo>
                <a:lnTo>
                  <a:pt x="56" y="48"/>
                </a:lnTo>
                <a:lnTo>
                  <a:pt x="58" y="44"/>
                </a:lnTo>
                <a:lnTo>
                  <a:pt x="60" y="38"/>
                </a:lnTo>
                <a:lnTo>
                  <a:pt x="60" y="38"/>
                </a:lnTo>
                <a:lnTo>
                  <a:pt x="62" y="34"/>
                </a:lnTo>
                <a:lnTo>
                  <a:pt x="62" y="30"/>
                </a:lnTo>
                <a:lnTo>
                  <a:pt x="62" y="26"/>
                </a:lnTo>
                <a:lnTo>
                  <a:pt x="62" y="26"/>
                </a:lnTo>
                <a:lnTo>
                  <a:pt x="60" y="26"/>
                </a:lnTo>
                <a:lnTo>
                  <a:pt x="60" y="26"/>
                </a:lnTo>
                <a:lnTo>
                  <a:pt x="62" y="22"/>
                </a:lnTo>
                <a:lnTo>
                  <a:pt x="62" y="22"/>
                </a:lnTo>
                <a:lnTo>
                  <a:pt x="66" y="20"/>
                </a:lnTo>
                <a:lnTo>
                  <a:pt x="66" y="20"/>
                </a:lnTo>
                <a:lnTo>
                  <a:pt x="64" y="18"/>
                </a:lnTo>
                <a:lnTo>
                  <a:pt x="62" y="16"/>
                </a:lnTo>
                <a:lnTo>
                  <a:pt x="62" y="16"/>
                </a:lnTo>
                <a:lnTo>
                  <a:pt x="62" y="12"/>
                </a:lnTo>
                <a:lnTo>
                  <a:pt x="64" y="12"/>
                </a:lnTo>
                <a:lnTo>
                  <a:pt x="64" y="12"/>
                </a:lnTo>
                <a:lnTo>
                  <a:pt x="66" y="16"/>
                </a:lnTo>
                <a:lnTo>
                  <a:pt x="68" y="16"/>
                </a:lnTo>
                <a:lnTo>
                  <a:pt x="68" y="16"/>
                </a:lnTo>
                <a:lnTo>
                  <a:pt x="68" y="16"/>
                </a:lnTo>
                <a:lnTo>
                  <a:pt x="70" y="14"/>
                </a:lnTo>
                <a:lnTo>
                  <a:pt x="72" y="12"/>
                </a:lnTo>
                <a:lnTo>
                  <a:pt x="72"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0" name="Freeform 24">
            <a:extLst>
              <a:ext uri="{FF2B5EF4-FFF2-40B4-BE49-F238E27FC236}">
                <a16:creationId xmlns:a16="http://schemas.microsoft.com/office/drawing/2014/main" id="{9C5D07B4-6915-4400-A8A0-EC295F2DC2F1}"/>
              </a:ext>
            </a:extLst>
          </p:cNvPr>
          <p:cNvSpPr>
            <a:spLocks noEditPoints="1"/>
          </p:cNvSpPr>
          <p:nvPr userDrawn="1"/>
        </p:nvSpPr>
        <p:spPr bwMode="auto">
          <a:xfrm>
            <a:off x="6380728" y="2088212"/>
            <a:ext cx="382364" cy="281422"/>
          </a:xfrm>
          <a:custGeom>
            <a:avLst/>
            <a:gdLst>
              <a:gd name="T0" fmla="*/ 202 w 228"/>
              <a:gd name="T1" fmla="*/ 108 h 164"/>
              <a:gd name="T2" fmla="*/ 188 w 228"/>
              <a:gd name="T3" fmla="*/ 114 h 164"/>
              <a:gd name="T4" fmla="*/ 176 w 228"/>
              <a:gd name="T5" fmla="*/ 122 h 164"/>
              <a:gd name="T6" fmla="*/ 170 w 228"/>
              <a:gd name="T7" fmla="*/ 120 h 164"/>
              <a:gd name="T8" fmla="*/ 152 w 228"/>
              <a:gd name="T9" fmla="*/ 128 h 164"/>
              <a:gd name="T10" fmla="*/ 144 w 228"/>
              <a:gd name="T11" fmla="*/ 130 h 164"/>
              <a:gd name="T12" fmla="*/ 152 w 228"/>
              <a:gd name="T13" fmla="*/ 136 h 164"/>
              <a:gd name="T14" fmla="*/ 156 w 228"/>
              <a:gd name="T15" fmla="*/ 142 h 164"/>
              <a:gd name="T16" fmla="*/ 172 w 228"/>
              <a:gd name="T17" fmla="*/ 144 h 164"/>
              <a:gd name="T18" fmla="*/ 178 w 228"/>
              <a:gd name="T19" fmla="*/ 144 h 164"/>
              <a:gd name="T20" fmla="*/ 166 w 228"/>
              <a:gd name="T21" fmla="*/ 152 h 164"/>
              <a:gd name="T22" fmla="*/ 138 w 228"/>
              <a:gd name="T23" fmla="*/ 148 h 164"/>
              <a:gd name="T24" fmla="*/ 128 w 228"/>
              <a:gd name="T25" fmla="*/ 140 h 164"/>
              <a:gd name="T26" fmla="*/ 142 w 228"/>
              <a:gd name="T27" fmla="*/ 134 h 164"/>
              <a:gd name="T28" fmla="*/ 136 w 228"/>
              <a:gd name="T29" fmla="*/ 128 h 164"/>
              <a:gd name="T30" fmla="*/ 124 w 228"/>
              <a:gd name="T31" fmla="*/ 132 h 164"/>
              <a:gd name="T32" fmla="*/ 118 w 228"/>
              <a:gd name="T33" fmla="*/ 126 h 164"/>
              <a:gd name="T34" fmla="*/ 120 w 228"/>
              <a:gd name="T35" fmla="*/ 122 h 164"/>
              <a:gd name="T36" fmla="*/ 114 w 228"/>
              <a:gd name="T37" fmla="*/ 118 h 164"/>
              <a:gd name="T38" fmla="*/ 100 w 228"/>
              <a:gd name="T39" fmla="*/ 122 h 164"/>
              <a:gd name="T40" fmla="*/ 84 w 228"/>
              <a:gd name="T41" fmla="*/ 108 h 164"/>
              <a:gd name="T42" fmla="*/ 80 w 228"/>
              <a:gd name="T43" fmla="*/ 94 h 164"/>
              <a:gd name="T44" fmla="*/ 68 w 228"/>
              <a:gd name="T45" fmla="*/ 80 h 164"/>
              <a:gd name="T46" fmla="*/ 50 w 228"/>
              <a:gd name="T47" fmla="*/ 76 h 164"/>
              <a:gd name="T48" fmla="*/ 40 w 228"/>
              <a:gd name="T49" fmla="*/ 84 h 164"/>
              <a:gd name="T50" fmla="*/ 28 w 228"/>
              <a:gd name="T51" fmla="*/ 92 h 164"/>
              <a:gd name="T52" fmla="*/ 14 w 228"/>
              <a:gd name="T53" fmla="*/ 88 h 164"/>
              <a:gd name="T54" fmla="*/ 0 w 228"/>
              <a:gd name="T55" fmla="*/ 82 h 164"/>
              <a:gd name="T56" fmla="*/ 14 w 228"/>
              <a:gd name="T57" fmla="*/ 68 h 164"/>
              <a:gd name="T58" fmla="*/ 16 w 228"/>
              <a:gd name="T59" fmla="*/ 50 h 164"/>
              <a:gd name="T60" fmla="*/ 16 w 228"/>
              <a:gd name="T61" fmla="*/ 32 h 164"/>
              <a:gd name="T62" fmla="*/ 18 w 228"/>
              <a:gd name="T63" fmla="*/ 20 h 164"/>
              <a:gd name="T64" fmla="*/ 18 w 228"/>
              <a:gd name="T65" fmla="*/ 8 h 164"/>
              <a:gd name="T66" fmla="*/ 26 w 228"/>
              <a:gd name="T67" fmla="*/ 12 h 164"/>
              <a:gd name="T68" fmla="*/ 54 w 228"/>
              <a:gd name="T69" fmla="*/ 8 h 164"/>
              <a:gd name="T70" fmla="*/ 72 w 228"/>
              <a:gd name="T71" fmla="*/ 12 h 164"/>
              <a:gd name="T72" fmla="*/ 80 w 228"/>
              <a:gd name="T73" fmla="*/ 10 h 164"/>
              <a:gd name="T74" fmla="*/ 98 w 228"/>
              <a:gd name="T75" fmla="*/ 10 h 164"/>
              <a:gd name="T76" fmla="*/ 104 w 228"/>
              <a:gd name="T77" fmla="*/ 0 h 164"/>
              <a:gd name="T78" fmla="*/ 118 w 228"/>
              <a:gd name="T79" fmla="*/ 2 h 164"/>
              <a:gd name="T80" fmla="*/ 128 w 228"/>
              <a:gd name="T81" fmla="*/ 2 h 164"/>
              <a:gd name="T82" fmla="*/ 132 w 228"/>
              <a:gd name="T83" fmla="*/ 10 h 164"/>
              <a:gd name="T84" fmla="*/ 136 w 228"/>
              <a:gd name="T85" fmla="*/ 20 h 164"/>
              <a:gd name="T86" fmla="*/ 148 w 228"/>
              <a:gd name="T87" fmla="*/ 22 h 164"/>
              <a:gd name="T88" fmla="*/ 162 w 228"/>
              <a:gd name="T89" fmla="*/ 30 h 164"/>
              <a:gd name="T90" fmla="*/ 172 w 228"/>
              <a:gd name="T91" fmla="*/ 42 h 164"/>
              <a:gd name="T92" fmla="*/ 188 w 228"/>
              <a:gd name="T93" fmla="*/ 36 h 164"/>
              <a:gd name="T94" fmla="*/ 198 w 228"/>
              <a:gd name="T95" fmla="*/ 44 h 164"/>
              <a:gd name="T96" fmla="*/ 220 w 228"/>
              <a:gd name="T97" fmla="*/ 58 h 164"/>
              <a:gd name="T98" fmla="*/ 226 w 228"/>
              <a:gd name="T99" fmla="*/ 64 h 164"/>
              <a:gd name="T100" fmla="*/ 226 w 228"/>
              <a:gd name="T101" fmla="*/ 72 h 164"/>
              <a:gd name="T102" fmla="*/ 228 w 228"/>
              <a:gd name="T103" fmla="*/ 86 h 164"/>
              <a:gd name="T104" fmla="*/ 214 w 228"/>
              <a:gd name="T105" fmla="*/ 100 h 164"/>
              <a:gd name="T106" fmla="*/ 88 w 228"/>
              <a:gd name="T107" fmla="*/ 124 h 164"/>
              <a:gd name="T108" fmla="*/ 80 w 228"/>
              <a:gd name="T109" fmla="*/ 124 h 164"/>
              <a:gd name="T110" fmla="*/ 74 w 228"/>
              <a:gd name="T111" fmla="*/ 140 h 164"/>
              <a:gd name="T112" fmla="*/ 80 w 228"/>
              <a:gd name="T113" fmla="*/ 140 h 164"/>
              <a:gd name="T114" fmla="*/ 90 w 228"/>
              <a:gd name="T115" fmla="*/ 13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8" h="164">
                <a:moveTo>
                  <a:pt x="210" y="108"/>
                </a:moveTo>
                <a:lnTo>
                  <a:pt x="210" y="108"/>
                </a:lnTo>
                <a:lnTo>
                  <a:pt x="204" y="108"/>
                </a:lnTo>
                <a:lnTo>
                  <a:pt x="204" y="108"/>
                </a:lnTo>
                <a:lnTo>
                  <a:pt x="202" y="108"/>
                </a:lnTo>
                <a:lnTo>
                  <a:pt x="202" y="108"/>
                </a:lnTo>
                <a:lnTo>
                  <a:pt x="198" y="112"/>
                </a:lnTo>
                <a:lnTo>
                  <a:pt x="198" y="112"/>
                </a:lnTo>
                <a:lnTo>
                  <a:pt x="194" y="112"/>
                </a:lnTo>
                <a:lnTo>
                  <a:pt x="194" y="112"/>
                </a:lnTo>
                <a:lnTo>
                  <a:pt x="188" y="114"/>
                </a:lnTo>
                <a:lnTo>
                  <a:pt x="188" y="114"/>
                </a:lnTo>
                <a:lnTo>
                  <a:pt x="186" y="118"/>
                </a:lnTo>
                <a:lnTo>
                  <a:pt x="186" y="118"/>
                </a:lnTo>
                <a:lnTo>
                  <a:pt x="182" y="118"/>
                </a:lnTo>
                <a:lnTo>
                  <a:pt x="178" y="118"/>
                </a:lnTo>
                <a:lnTo>
                  <a:pt x="178" y="118"/>
                </a:lnTo>
                <a:lnTo>
                  <a:pt x="176" y="122"/>
                </a:lnTo>
                <a:lnTo>
                  <a:pt x="176" y="122"/>
                </a:lnTo>
                <a:lnTo>
                  <a:pt x="174" y="122"/>
                </a:lnTo>
                <a:lnTo>
                  <a:pt x="172" y="120"/>
                </a:lnTo>
                <a:lnTo>
                  <a:pt x="172" y="120"/>
                </a:lnTo>
                <a:lnTo>
                  <a:pt x="170" y="120"/>
                </a:lnTo>
                <a:lnTo>
                  <a:pt x="170" y="120"/>
                </a:lnTo>
                <a:lnTo>
                  <a:pt x="170" y="120"/>
                </a:lnTo>
                <a:lnTo>
                  <a:pt x="162" y="126"/>
                </a:lnTo>
                <a:lnTo>
                  <a:pt x="162" y="128"/>
                </a:lnTo>
                <a:lnTo>
                  <a:pt x="162" y="128"/>
                </a:lnTo>
                <a:lnTo>
                  <a:pt x="156" y="128"/>
                </a:lnTo>
                <a:lnTo>
                  <a:pt x="152" y="128"/>
                </a:lnTo>
                <a:lnTo>
                  <a:pt x="152" y="126"/>
                </a:lnTo>
                <a:lnTo>
                  <a:pt x="152" y="126"/>
                </a:lnTo>
                <a:lnTo>
                  <a:pt x="144" y="126"/>
                </a:lnTo>
                <a:lnTo>
                  <a:pt x="144" y="126"/>
                </a:lnTo>
                <a:lnTo>
                  <a:pt x="144" y="130"/>
                </a:lnTo>
                <a:lnTo>
                  <a:pt x="144" y="130"/>
                </a:lnTo>
                <a:lnTo>
                  <a:pt x="148" y="132"/>
                </a:lnTo>
                <a:lnTo>
                  <a:pt x="148" y="132"/>
                </a:lnTo>
                <a:lnTo>
                  <a:pt x="150" y="132"/>
                </a:lnTo>
                <a:lnTo>
                  <a:pt x="150" y="132"/>
                </a:lnTo>
                <a:lnTo>
                  <a:pt x="152" y="136"/>
                </a:lnTo>
                <a:lnTo>
                  <a:pt x="152" y="136"/>
                </a:lnTo>
                <a:lnTo>
                  <a:pt x="154" y="136"/>
                </a:lnTo>
                <a:lnTo>
                  <a:pt x="156" y="136"/>
                </a:lnTo>
                <a:lnTo>
                  <a:pt x="156" y="136"/>
                </a:lnTo>
                <a:lnTo>
                  <a:pt x="156" y="138"/>
                </a:lnTo>
                <a:lnTo>
                  <a:pt x="156" y="140"/>
                </a:lnTo>
                <a:lnTo>
                  <a:pt x="156" y="142"/>
                </a:lnTo>
                <a:lnTo>
                  <a:pt x="158" y="142"/>
                </a:lnTo>
                <a:lnTo>
                  <a:pt x="158" y="144"/>
                </a:lnTo>
                <a:lnTo>
                  <a:pt x="158" y="144"/>
                </a:lnTo>
                <a:lnTo>
                  <a:pt x="164" y="144"/>
                </a:lnTo>
                <a:lnTo>
                  <a:pt x="164" y="144"/>
                </a:lnTo>
                <a:lnTo>
                  <a:pt x="172" y="144"/>
                </a:lnTo>
                <a:lnTo>
                  <a:pt x="172" y="144"/>
                </a:lnTo>
                <a:lnTo>
                  <a:pt x="174" y="144"/>
                </a:lnTo>
                <a:lnTo>
                  <a:pt x="176" y="142"/>
                </a:lnTo>
                <a:lnTo>
                  <a:pt x="176" y="142"/>
                </a:lnTo>
                <a:lnTo>
                  <a:pt x="178" y="144"/>
                </a:lnTo>
                <a:lnTo>
                  <a:pt x="178" y="144"/>
                </a:lnTo>
                <a:lnTo>
                  <a:pt x="178" y="146"/>
                </a:lnTo>
                <a:lnTo>
                  <a:pt x="176" y="150"/>
                </a:lnTo>
                <a:lnTo>
                  <a:pt x="176" y="150"/>
                </a:lnTo>
                <a:lnTo>
                  <a:pt x="170" y="152"/>
                </a:lnTo>
                <a:lnTo>
                  <a:pt x="166" y="152"/>
                </a:lnTo>
                <a:lnTo>
                  <a:pt x="166" y="152"/>
                </a:lnTo>
                <a:lnTo>
                  <a:pt x="158" y="156"/>
                </a:lnTo>
                <a:lnTo>
                  <a:pt x="158" y="156"/>
                </a:lnTo>
                <a:lnTo>
                  <a:pt x="136" y="164"/>
                </a:lnTo>
                <a:lnTo>
                  <a:pt x="136" y="164"/>
                </a:lnTo>
                <a:lnTo>
                  <a:pt x="138" y="156"/>
                </a:lnTo>
                <a:lnTo>
                  <a:pt x="138" y="148"/>
                </a:lnTo>
                <a:lnTo>
                  <a:pt x="138" y="148"/>
                </a:lnTo>
                <a:lnTo>
                  <a:pt x="130" y="144"/>
                </a:lnTo>
                <a:lnTo>
                  <a:pt x="124" y="146"/>
                </a:lnTo>
                <a:lnTo>
                  <a:pt x="126" y="142"/>
                </a:lnTo>
                <a:lnTo>
                  <a:pt x="126" y="142"/>
                </a:lnTo>
                <a:lnTo>
                  <a:pt x="128" y="140"/>
                </a:lnTo>
                <a:lnTo>
                  <a:pt x="138" y="136"/>
                </a:lnTo>
                <a:lnTo>
                  <a:pt x="138" y="136"/>
                </a:lnTo>
                <a:lnTo>
                  <a:pt x="140" y="136"/>
                </a:lnTo>
                <a:lnTo>
                  <a:pt x="142" y="136"/>
                </a:lnTo>
                <a:lnTo>
                  <a:pt x="142" y="136"/>
                </a:lnTo>
                <a:lnTo>
                  <a:pt x="142" y="134"/>
                </a:lnTo>
                <a:lnTo>
                  <a:pt x="142" y="134"/>
                </a:lnTo>
                <a:lnTo>
                  <a:pt x="140" y="130"/>
                </a:lnTo>
                <a:lnTo>
                  <a:pt x="140" y="130"/>
                </a:lnTo>
                <a:lnTo>
                  <a:pt x="138" y="130"/>
                </a:lnTo>
                <a:lnTo>
                  <a:pt x="136" y="130"/>
                </a:lnTo>
                <a:lnTo>
                  <a:pt x="136" y="128"/>
                </a:lnTo>
                <a:lnTo>
                  <a:pt x="136" y="128"/>
                </a:lnTo>
                <a:lnTo>
                  <a:pt x="128" y="128"/>
                </a:lnTo>
                <a:lnTo>
                  <a:pt x="128" y="128"/>
                </a:lnTo>
                <a:lnTo>
                  <a:pt x="128" y="130"/>
                </a:lnTo>
                <a:lnTo>
                  <a:pt x="126" y="132"/>
                </a:lnTo>
                <a:lnTo>
                  <a:pt x="124" y="132"/>
                </a:lnTo>
                <a:lnTo>
                  <a:pt x="124" y="132"/>
                </a:lnTo>
                <a:lnTo>
                  <a:pt x="122" y="128"/>
                </a:lnTo>
                <a:lnTo>
                  <a:pt x="122" y="128"/>
                </a:lnTo>
                <a:lnTo>
                  <a:pt x="118" y="128"/>
                </a:lnTo>
                <a:lnTo>
                  <a:pt x="118" y="126"/>
                </a:lnTo>
                <a:lnTo>
                  <a:pt x="118" y="126"/>
                </a:lnTo>
                <a:lnTo>
                  <a:pt x="112" y="126"/>
                </a:lnTo>
                <a:lnTo>
                  <a:pt x="114" y="124"/>
                </a:lnTo>
                <a:lnTo>
                  <a:pt x="114" y="124"/>
                </a:lnTo>
                <a:lnTo>
                  <a:pt x="120" y="124"/>
                </a:lnTo>
                <a:lnTo>
                  <a:pt x="120" y="124"/>
                </a:lnTo>
                <a:lnTo>
                  <a:pt x="120" y="122"/>
                </a:lnTo>
                <a:lnTo>
                  <a:pt x="120" y="122"/>
                </a:lnTo>
                <a:lnTo>
                  <a:pt x="118" y="122"/>
                </a:lnTo>
                <a:lnTo>
                  <a:pt x="118" y="122"/>
                </a:lnTo>
                <a:lnTo>
                  <a:pt x="116" y="118"/>
                </a:lnTo>
                <a:lnTo>
                  <a:pt x="116" y="118"/>
                </a:lnTo>
                <a:lnTo>
                  <a:pt x="114" y="118"/>
                </a:lnTo>
                <a:lnTo>
                  <a:pt x="114" y="120"/>
                </a:lnTo>
                <a:lnTo>
                  <a:pt x="114" y="120"/>
                </a:lnTo>
                <a:lnTo>
                  <a:pt x="104" y="120"/>
                </a:lnTo>
                <a:lnTo>
                  <a:pt x="102" y="122"/>
                </a:lnTo>
                <a:lnTo>
                  <a:pt x="100" y="122"/>
                </a:lnTo>
                <a:lnTo>
                  <a:pt x="100" y="122"/>
                </a:lnTo>
                <a:lnTo>
                  <a:pt x="96" y="128"/>
                </a:lnTo>
                <a:lnTo>
                  <a:pt x="88" y="116"/>
                </a:lnTo>
                <a:lnTo>
                  <a:pt x="88" y="116"/>
                </a:lnTo>
                <a:lnTo>
                  <a:pt x="86" y="114"/>
                </a:lnTo>
                <a:lnTo>
                  <a:pt x="84" y="112"/>
                </a:lnTo>
                <a:lnTo>
                  <a:pt x="84" y="108"/>
                </a:lnTo>
                <a:lnTo>
                  <a:pt x="84" y="108"/>
                </a:lnTo>
                <a:lnTo>
                  <a:pt x="84" y="104"/>
                </a:lnTo>
                <a:lnTo>
                  <a:pt x="82" y="100"/>
                </a:lnTo>
                <a:lnTo>
                  <a:pt x="82" y="100"/>
                </a:lnTo>
                <a:lnTo>
                  <a:pt x="80" y="98"/>
                </a:lnTo>
                <a:lnTo>
                  <a:pt x="80" y="94"/>
                </a:lnTo>
                <a:lnTo>
                  <a:pt x="80" y="94"/>
                </a:lnTo>
                <a:lnTo>
                  <a:pt x="78" y="88"/>
                </a:lnTo>
                <a:lnTo>
                  <a:pt x="74" y="84"/>
                </a:lnTo>
                <a:lnTo>
                  <a:pt x="74" y="84"/>
                </a:lnTo>
                <a:lnTo>
                  <a:pt x="68" y="80"/>
                </a:lnTo>
                <a:lnTo>
                  <a:pt x="68" y="80"/>
                </a:lnTo>
                <a:lnTo>
                  <a:pt x="62" y="76"/>
                </a:lnTo>
                <a:lnTo>
                  <a:pt x="62" y="76"/>
                </a:lnTo>
                <a:lnTo>
                  <a:pt x="58" y="74"/>
                </a:lnTo>
                <a:lnTo>
                  <a:pt x="54" y="76"/>
                </a:lnTo>
                <a:lnTo>
                  <a:pt x="54" y="76"/>
                </a:lnTo>
                <a:lnTo>
                  <a:pt x="50" y="76"/>
                </a:lnTo>
                <a:lnTo>
                  <a:pt x="46" y="78"/>
                </a:lnTo>
                <a:lnTo>
                  <a:pt x="46" y="80"/>
                </a:lnTo>
                <a:lnTo>
                  <a:pt x="46" y="80"/>
                </a:lnTo>
                <a:lnTo>
                  <a:pt x="44" y="80"/>
                </a:lnTo>
                <a:lnTo>
                  <a:pt x="40" y="84"/>
                </a:lnTo>
                <a:lnTo>
                  <a:pt x="40" y="84"/>
                </a:lnTo>
                <a:lnTo>
                  <a:pt x="38" y="86"/>
                </a:lnTo>
                <a:lnTo>
                  <a:pt x="34" y="88"/>
                </a:lnTo>
                <a:lnTo>
                  <a:pt x="34" y="88"/>
                </a:lnTo>
                <a:lnTo>
                  <a:pt x="32" y="88"/>
                </a:lnTo>
                <a:lnTo>
                  <a:pt x="32" y="90"/>
                </a:lnTo>
                <a:lnTo>
                  <a:pt x="28" y="92"/>
                </a:lnTo>
                <a:lnTo>
                  <a:pt x="28" y="92"/>
                </a:lnTo>
                <a:lnTo>
                  <a:pt x="24" y="94"/>
                </a:lnTo>
                <a:lnTo>
                  <a:pt x="22" y="90"/>
                </a:lnTo>
                <a:lnTo>
                  <a:pt x="22" y="90"/>
                </a:lnTo>
                <a:lnTo>
                  <a:pt x="18" y="88"/>
                </a:lnTo>
                <a:lnTo>
                  <a:pt x="14" y="88"/>
                </a:lnTo>
                <a:lnTo>
                  <a:pt x="14" y="88"/>
                </a:lnTo>
                <a:lnTo>
                  <a:pt x="8" y="88"/>
                </a:lnTo>
                <a:lnTo>
                  <a:pt x="4" y="86"/>
                </a:lnTo>
                <a:lnTo>
                  <a:pt x="4" y="86"/>
                </a:lnTo>
                <a:lnTo>
                  <a:pt x="2" y="82"/>
                </a:lnTo>
                <a:lnTo>
                  <a:pt x="0" y="82"/>
                </a:lnTo>
                <a:lnTo>
                  <a:pt x="2" y="76"/>
                </a:lnTo>
                <a:lnTo>
                  <a:pt x="6" y="74"/>
                </a:lnTo>
                <a:lnTo>
                  <a:pt x="6" y="74"/>
                </a:lnTo>
                <a:lnTo>
                  <a:pt x="10" y="72"/>
                </a:lnTo>
                <a:lnTo>
                  <a:pt x="14" y="70"/>
                </a:lnTo>
                <a:lnTo>
                  <a:pt x="14" y="68"/>
                </a:lnTo>
                <a:lnTo>
                  <a:pt x="14" y="68"/>
                </a:lnTo>
                <a:lnTo>
                  <a:pt x="12" y="64"/>
                </a:lnTo>
                <a:lnTo>
                  <a:pt x="12" y="60"/>
                </a:lnTo>
                <a:lnTo>
                  <a:pt x="12" y="58"/>
                </a:lnTo>
                <a:lnTo>
                  <a:pt x="12" y="58"/>
                </a:lnTo>
                <a:lnTo>
                  <a:pt x="16" y="50"/>
                </a:lnTo>
                <a:lnTo>
                  <a:pt x="16" y="50"/>
                </a:lnTo>
                <a:lnTo>
                  <a:pt x="20" y="42"/>
                </a:lnTo>
                <a:lnTo>
                  <a:pt x="20" y="42"/>
                </a:lnTo>
                <a:lnTo>
                  <a:pt x="18" y="38"/>
                </a:lnTo>
                <a:lnTo>
                  <a:pt x="16" y="34"/>
                </a:lnTo>
                <a:lnTo>
                  <a:pt x="16" y="32"/>
                </a:lnTo>
                <a:lnTo>
                  <a:pt x="16" y="32"/>
                </a:lnTo>
                <a:lnTo>
                  <a:pt x="16" y="28"/>
                </a:lnTo>
                <a:lnTo>
                  <a:pt x="18" y="22"/>
                </a:lnTo>
                <a:lnTo>
                  <a:pt x="18" y="22"/>
                </a:lnTo>
                <a:lnTo>
                  <a:pt x="18" y="20"/>
                </a:lnTo>
                <a:lnTo>
                  <a:pt x="18" y="20"/>
                </a:lnTo>
                <a:lnTo>
                  <a:pt x="18" y="18"/>
                </a:lnTo>
                <a:lnTo>
                  <a:pt x="18" y="18"/>
                </a:lnTo>
                <a:lnTo>
                  <a:pt x="18" y="18"/>
                </a:lnTo>
                <a:lnTo>
                  <a:pt x="16" y="12"/>
                </a:lnTo>
                <a:lnTo>
                  <a:pt x="16" y="10"/>
                </a:lnTo>
                <a:lnTo>
                  <a:pt x="18" y="8"/>
                </a:lnTo>
                <a:lnTo>
                  <a:pt x="18" y="8"/>
                </a:lnTo>
                <a:lnTo>
                  <a:pt x="20" y="6"/>
                </a:lnTo>
                <a:lnTo>
                  <a:pt x="22" y="6"/>
                </a:lnTo>
                <a:lnTo>
                  <a:pt x="24" y="10"/>
                </a:lnTo>
                <a:lnTo>
                  <a:pt x="24" y="10"/>
                </a:lnTo>
                <a:lnTo>
                  <a:pt x="26" y="12"/>
                </a:lnTo>
                <a:lnTo>
                  <a:pt x="28" y="10"/>
                </a:lnTo>
                <a:lnTo>
                  <a:pt x="30" y="6"/>
                </a:lnTo>
                <a:lnTo>
                  <a:pt x="30" y="6"/>
                </a:lnTo>
                <a:lnTo>
                  <a:pt x="40" y="6"/>
                </a:lnTo>
                <a:lnTo>
                  <a:pt x="40" y="6"/>
                </a:lnTo>
                <a:lnTo>
                  <a:pt x="54" y="8"/>
                </a:lnTo>
                <a:lnTo>
                  <a:pt x="54" y="8"/>
                </a:lnTo>
                <a:lnTo>
                  <a:pt x="60" y="10"/>
                </a:lnTo>
                <a:lnTo>
                  <a:pt x="66" y="8"/>
                </a:lnTo>
                <a:lnTo>
                  <a:pt x="66" y="8"/>
                </a:lnTo>
                <a:lnTo>
                  <a:pt x="70" y="8"/>
                </a:lnTo>
                <a:lnTo>
                  <a:pt x="72" y="12"/>
                </a:lnTo>
                <a:lnTo>
                  <a:pt x="72" y="12"/>
                </a:lnTo>
                <a:lnTo>
                  <a:pt x="74" y="8"/>
                </a:lnTo>
                <a:lnTo>
                  <a:pt x="74" y="8"/>
                </a:lnTo>
                <a:lnTo>
                  <a:pt x="76" y="10"/>
                </a:lnTo>
                <a:lnTo>
                  <a:pt x="78" y="10"/>
                </a:lnTo>
                <a:lnTo>
                  <a:pt x="80" y="10"/>
                </a:lnTo>
                <a:lnTo>
                  <a:pt x="80" y="10"/>
                </a:lnTo>
                <a:lnTo>
                  <a:pt x="82" y="8"/>
                </a:lnTo>
                <a:lnTo>
                  <a:pt x="86" y="10"/>
                </a:lnTo>
                <a:lnTo>
                  <a:pt x="86" y="10"/>
                </a:lnTo>
                <a:lnTo>
                  <a:pt x="92" y="10"/>
                </a:lnTo>
                <a:lnTo>
                  <a:pt x="98" y="10"/>
                </a:lnTo>
                <a:lnTo>
                  <a:pt x="98" y="10"/>
                </a:lnTo>
                <a:lnTo>
                  <a:pt x="100" y="10"/>
                </a:lnTo>
                <a:lnTo>
                  <a:pt x="102" y="6"/>
                </a:lnTo>
                <a:lnTo>
                  <a:pt x="102" y="6"/>
                </a:lnTo>
                <a:lnTo>
                  <a:pt x="102" y="2"/>
                </a:lnTo>
                <a:lnTo>
                  <a:pt x="104" y="0"/>
                </a:lnTo>
                <a:lnTo>
                  <a:pt x="104" y="0"/>
                </a:lnTo>
                <a:lnTo>
                  <a:pt x="110" y="0"/>
                </a:lnTo>
                <a:lnTo>
                  <a:pt x="110" y="0"/>
                </a:lnTo>
                <a:lnTo>
                  <a:pt x="112" y="4"/>
                </a:lnTo>
                <a:lnTo>
                  <a:pt x="116" y="4"/>
                </a:lnTo>
                <a:lnTo>
                  <a:pt x="118" y="2"/>
                </a:lnTo>
                <a:lnTo>
                  <a:pt x="118" y="2"/>
                </a:lnTo>
                <a:lnTo>
                  <a:pt x="120" y="0"/>
                </a:lnTo>
                <a:lnTo>
                  <a:pt x="120" y="0"/>
                </a:lnTo>
                <a:lnTo>
                  <a:pt x="124" y="2"/>
                </a:lnTo>
                <a:lnTo>
                  <a:pt x="124" y="2"/>
                </a:lnTo>
                <a:lnTo>
                  <a:pt x="128" y="2"/>
                </a:lnTo>
                <a:lnTo>
                  <a:pt x="130" y="2"/>
                </a:lnTo>
                <a:lnTo>
                  <a:pt x="130" y="4"/>
                </a:lnTo>
                <a:lnTo>
                  <a:pt x="130" y="4"/>
                </a:lnTo>
                <a:lnTo>
                  <a:pt x="132" y="8"/>
                </a:lnTo>
                <a:lnTo>
                  <a:pt x="132" y="10"/>
                </a:lnTo>
                <a:lnTo>
                  <a:pt x="132" y="10"/>
                </a:lnTo>
                <a:lnTo>
                  <a:pt x="134" y="14"/>
                </a:lnTo>
                <a:lnTo>
                  <a:pt x="134" y="16"/>
                </a:lnTo>
                <a:lnTo>
                  <a:pt x="136" y="16"/>
                </a:lnTo>
                <a:lnTo>
                  <a:pt x="136" y="16"/>
                </a:lnTo>
                <a:lnTo>
                  <a:pt x="136" y="18"/>
                </a:lnTo>
                <a:lnTo>
                  <a:pt x="136" y="20"/>
                </a:lnTo>
                <a:lnTo>
                  <a:pt x="138" y="22"/>
                </a:lnTo>
                <a:lnTo>
                  <a:pt x="140" y="22"/>
                </a:lnTo>
                <a:lnTo>
                  <a:pt x="140" y="22"/>
                </a:lnTo>
                <a:lnTo>
                  <a:pt x="144" y="22"/>
                </a:lnTo>
                <a:lnTo>
                  <a:pt x="148" y="22"/>
                </a:lnTo>
                <a:lnTo>
                  <a:pt x="148" y="22"/>
                </a:lnTo>
                <a:lnTo>
                  <a:pt x="154" y="26"/>
                </a:lnTo>
                <a:lnTo>
                  <a:pt x="158" y="24"/>
                </a:lnTo>
                <a:lnTo>
                  <a:pt x="158" y="24"/>
                </a:lnTo>
                <a:lnTo>
                  <a:pt x="160" y="24"/>
                </a:lnTo>
                <a:lnTo>
                  <a:pt x="160" y="26"/>
                </a:lnTo>
                <a:lnTo>
                  <a:pt x="162" y="30"/>
                </a:lnTo>
                <a:lnTo>
                  <a:pt x="162" y="30"/>
                </a:lnTo>
                <a:lnTo>
                  <a:pt x="168" y="32"/>
                </a:lnTo>
                <a:lnTo>
                  <a:pt x="168" y="32"/>
                </a:lnTo>
                <a:lnTo>
                  <a:pt x="170" y="34"/>
                </a:lnTo>
                <a:lnTo>
                  <a:pt x="170" y="38"/>
                </a:lnTo>
                <a:lnTo>
                  <a:pt x="172" y="42"/>
                </a:lnTo>
                <a:lnTo>
                  <a:pt x="172" y="42"/>
                </a:lnTo>
                <a:lnTo>
                  <a:pt x="180" y="38"/>
                </a:lnTo>
                <a:lnTo>
                  <a:pt x="180" y="38"/>
                </a:lnTo>
                <a:lnTo>
                  <a:pt x="184" y="36"/>
                </a:lnTo>
                <a:lnTo>
                  <a:pt x="184" y="36"/>
                </a:lnTo>
                <a:lnTo>
                  <a:pt x="188" y="36"/>
                </a:lnTo>
                <a:lnTo>
                  <a:pt x="192" y="38"/>
                </a:lnTo>
                <a:lnTo>
                  <a:pt x="192" y="38"/>
                </a:lnTo>
                <a:lnTo>
                  <a:pt x="192" y="40"/>
                </a:lnTo>
                <a:lnTo>
                  <a:pt x="194" y="42"/>
                </a:lnTo>
                <a:lnTo>
                  <a:pt x="194" y="42"/>
                </a:lnTo>
                <a:lnTo>
                  <a:pt x="198" y="44"/>
                </a:lnTo>
                <a:lnTo>
                  <a:pt x="202" y="46"/>
                </a:lnTo>
                <a:lnTo>
                  <a:pt x="202" y="46"/>
                </a:lnTo>
                <a:lnTo>
                  <a:pt x="220" y="52"/>
                </a:lnTo>
                <a:lnTo>
                  <a:pt x="220" y="52"/>
                </a:lnTo>
                <a:lnTo>
                  <a:pt x="222" y="56"/>
                </a:lnTo>
                <a:lnTo>
                  <a:pt x="220" y="58"/>
                </a:lnTo>
                <a:lnTo>
                  <a:pt x="220" y="58"/>
                </a:lnTo>
                <a:lnTo>
                  <a:pt x="220" y="60"/>
                </a:lnTo>
                <a:lnTo>
                  <a:pt x="220" y="60"/>
                </a:lnTo>
                <a:lnTo>
                  <a:pt x="224" y="62"/>
                </a:lnTo>
                <a:lnTo>
                  <a:pt x="226" y="62"/>
                </a:lnTo>
                <a:lnTo>
                  <a:pt x="226" y="64"/>
                </a:lnTo>
                <a:lnTo>
                  <a:pt x="226" y="64"/>
                </a:lnTo>
                <a:lnTo>
                  <a:pt x="224" y="68"/>
                </a:lnTo>
                <a:lnTo>
                  <a:pt x="222" y="68"/>
                </a:lnTo>
                <a:lnTo>
                  <a:pt x="224" y="70"/>
                </a:lnTo>
                <a:lnTo>
                  <a:pt x="224" y="70"/>
                </a:lnTo>
                <a:lnTo>
                  <a:pt x="226" y="72"/>
                </a:lnTo>
                <a:lnTo>
                  <a:pt x="226" y="74"/>
                </a:lnTo>
                <a:lnTo>
                  <a:pt x="226" y="76"/>
                </a:lnTo>
                <a:lnTo>
                  <a:pt x="226" y="80"/>
                </a:lnTo>
                <a:lnTo>
                  <a:pt x="226" y="80"/>
                </a:lnTo>
                <a:lnTo>
                  <a:pt x="228" y="82"/>
                </a:lnTo>
                <a:lnTo>
                  <a:pt x="228" y="86"/>
                </a:lnTo>
                <a:lnTo>
                  <a:pt x="228" y="86"/>
                </a:lnTo>
                <a:lnTo>
                  <a:pt x="226" y="96"/>
                </a:lnTo>
                <a:lnTo>
                  <a:pt x="226" y="96"/>
                </a:lnTo>
                <a:lnTo>
                  <a:pt x="224" y="98"/>
                </a:lnTo>
                <a:lnTo>
                  <a:pt x="220" y="98"/>
                </a:lnTo>
                <a:lnTo>
                  <a:pt x="214" y="100"/>
                </a:lnTo>
                <a:lnTo>
                  <a:pt x="212" y="104"/>
                </a:lnTo>
                <a:lnTo>
                  <a:pt x="210" y="108"/>
                </a:lnTo>
                <a:close/>
                <a:moveTo>
                  <a:pt x="96" y="128"/>
                </a:moveTo>
                <a:lnTo>
                  <a:pt x="96" y="128"/>
                </a:lnTo>
                <a:lnTo>
                  <a:pt x="94" y="126"/>
                </a:lnTo>
                <a:lnTo>
                  <a:pt x="88" y="124"/>
                </a:lnTo>
                <a:lnTo>
                  <a:pt x="88" y="124"/>
                </a:lnTo>
                <a:lnTo>
                  <a:pt x="84" y="122"/>
                </a:lnTo>
                <a:lnTo>
                  <a:pt x="82" y="122"/>
                </a:lnTo>
                <a:lnTo>
                  <a:pt x="82" y="122"/>
                </a:lnTo>
                <a:lnTo>
                  <a:pt x="82" y="122"/>
                </a:lnTo>
                <a:lnTo>
                  <a:pt x="80" y="124"/>
                </a:lnTo>
                <a:lnTo>
                  <a:pt x="78" y="126"/>
                </a:lnTo>
                <a:lnTo>
                  <a:pt x="76" y="130"/>
                </a:lnTo>
                <a:lnTo>
                  <a:pt x="76" y="130"/>
                </a:lnTo>
                <a:lnTo>
                  <a:pt x="74" y="136"/>
                </a:lnTo>
                <a:lnTo>
                  <a:pt x="70" y="138"/>
                </a:lnTo>
                <a:lnTo>
                  <a:pt x="74" y="140"/>
                </a:lnTo>
                <a:lnTo>
                  <a:pt x="74" y="140"/>
                </a:lnTo>
                <a:lnTo>
                  <a:pt x="76" y="142"/>
                </a:lnTo>
                <a:lnTo>
                  <a:pt x="78" y="142"/>
                </a:lnTo>
                <a:lnTo>
                  <a:pt x="78" y="140"/>
                </a:lnTo>
                <a:lnTo>
                  <a:pt x="78" y="140"/>
                </a:lnTo>
                <a:lnTo>
                  <a:pt x="80" y="140"/>
                </a:lnTo>
                <a:lnTo>
                  <a:pt x="84" y="140"/>
                </a:lnTo>
                <a:lnTo>
                  <a:pt x="86" y="142"/>
                </a:lnTo>
                <a:lnTo>
                  <a:pt x="86" y="142"/>
                </a:lnTo>
                <a:lnTo>
                  <a:pt x="86" y="138"/>
                </a:lnTo>
                <a:lnTo>
                  <a:pt x="86" y="138"/>
                </a:lnTo>
                <a:lnTo>
                  <a:pt x="90" y="136"/>
                </a:lnTo>
                <a:lnTo>
                  <a:pt x="94" y="132"/>
                </a:lnTo>
                <a:lnTo>
                  <a:pt x="94" y="132"/>
                </a:lnTo>
                <a:lnTo>
                  <a:pt x="96" y="128"/>
                </a:lnTo>
                <a:lnTo>
                  <a:pt x="96" y="1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1" name="Freeform 25">
            <a:extLst>
              <a:ext uri="{FF2B5EF4-FFF2-40B4-BE49-F238E27FC236}">
                <a16:creationId xmlns:a16="http://schemas.microsoft.com/office/drawing/2014/main" id="{A9E07F3E-6035-45EC-B750-FBA41A476BB8}"/>
              </a:ext>
            </a:extLst>
          </p:cNvPr>
          <p:cNvSpPr>
            <a:spLocks noEditPoints="1"/>
          </p:cNvSpPr>
          <p:nvPr userDrawn="1"/>
        </p:nvSpPr>
        <p:spPr bwMode="auto">
          <a:xfrm>
            <a:off x="6504829" y="3563961"/>
            <a:ext cx="127454" cy="185327"/>
          </a:xfrm>
          <a:custGeom>
            <a:avLst/>
            <a:gdLst>
              <a:gd name="T0" fmla="*/ 68 w 76"/>
              <a:gd name="T1" fmla="*/ 76 h 108"/>
              <a:gd name="T2" fmla="*/ 70 w 76"/>
              <a:gd name="T3" fmla="*/ 72 h 108"/>
              <a:gd name="T4" fmla="*/ 68 w 76"/>
              <a:gd name="T5" fmla="*/ 60 h 108"/>
              <a:gd name="T6" fmla="*/ 70 w 76"/>
              <a:gd name="T7" fmla="*/ 50 h 108"/>
              <a:gd name="T8" fmla="*/ 72 w 76"/>
              <a:gd name="T9" fmla="*/ 46 h 108"/>
              <a:gd name="T10" fmla="*/ 76 w 76"/>
              <a:gd name="T11" fmla="*/ 38 h 108"/>
              <a:gd name="T12" fmla="*/ 74 w 76"/>
              <a:gd name="T13" fmla="*/ 28 h 108"/>
              <a:gd name="T14" fmla="*/ 72 w 76"/>
              <a:gd name="T15" fmla="*/ 18 h 108"/>
              <a:gd name="T16" fmla="*/ 74 w 76"/>
              <a:gd name="T17" fmla="*/ 12 h 108"/>
              <a:gd name="T18" fmla="*/ 72 w 76"/>
              <a:gd name="T19" fmla="*/ 8 h 108"/>
              <a:gd name="T20" fmla="*/ 66 w 76"/>
              <a:gd name="T21" fmla="*/ 4 h 108"/>
              <a:gd name="T22" fmla="*/ 60 w 76"/>
              <a:gd name="T23" fmla="*/ 4 h 108"/>
              <a:gd name="T24" fmla="*/ 50 w 76"/>
              <a:gd name="T25" fmla="*/ 2 h 108"/>
              <a:gd name="T26" fmla="*/ 46 w 76"/>
              <a:gd name="T27" fmla="*/ 2 h 108"/>
              <a:gd name="T28" fmla="*/ 40 w 76"/>
              <a:gd name="T29" fmla="*/ 6 h 108"/>
              <a:gd name="T30" fmla="*/ 36 w 76"/>
              <a:gd name="T31" fmla="*/ 12 h 108"/>
              <a:gd name="T32" fmla="*/ 32 w 76"/>
              <a:gd name="T33" fmla="*/ 20 h 108"/>
              <a:gd name="T34" fmla="*/ 32 w 76"/>
              <a:gd name="T35" fmla="*/ 24 h 108"/>
              <a:gd name="T36" fmla="*/ 30 w 76"/>
              <a:gd name="T37" fmla="*/ 30 h 108"/>
              <a:gd name="T38" fmla="*/ 28 w 76"/>
              <a:gd name="T39" fmla="*/ 38 h 108"/>
              <a:gd name="T40" fmla="*/ 32 w 76"/>
              <a:gd name="T41" fmla="*/ 40 h 108"/>
              <a:gd name="T42" fmla="*/ 32 w 76"/>
              <a:gd name="T43" fmla="*/ 42 h 108"/>
              <a:gd name="T44" fmla="*/ 32 w 76"/>
              <a:gd name="T45" fmla="*/ 46 h 108"/>
              <a:gd name="T46" fmla="*/ 26 w 76"/>
              <a:gd name="T47" fmla="*/ 56 h 108"/>
              <a:gd name="T48" fmla="*/ 22 w 76"/>
              <a:gd name="T49" fmla="*/ 54 h 108"/>
              <a:gd name="T50" fmla="*/ 14 w 76"/>
              <a:gd name="T51" fmla="*/ 60 h 108"/>
              <a:gd name="T52" fmla="*/ 10 w 76"/>
              <a:gd name="T53" fmla="*/ 68 h 108"/>
              <a:gd name="T54" fmla="*/ 6 w 76"/>
              <a:gd name="T55" fmla="*/ 80 h 108"/>
              <a:gd name="T56" fmla="*/ 8 w 76"/>
              <a:gd name="T57" fmla="*/ 84 h 108"/>
              <a:gd name="T58" fmla="*/ 4 w 76"/>
              <a:gd name="T59" fmla="*/ 90 h 108"/>
              <a:gd name="T60" fmla="*/ 2 w 76"/>
              <a:gd name="T61" fmla="*/ 92 h 108"/>
              <a:gd name="T62" fmla="*/ 4 w 76"/>
              <a:gd name="T63" fmla="*/ 100 h 108"/>
              <a:gd name="T64" fmla="*/ 10 w 76"/>
              <a:gd name="T65" fmla="*/ 106 h 108"/>
              <a:gd name="T66" fmla="*/ 18 w 76"/>
              <a:gd name="T67" fmla="*/ 106 h 108"/>
              <a:gd name="T68" fmla="*/ 24 w 76"/>
              <a:gd name="T69" fmla="*/ 102 h 108"/>
              <a:gd name="T70" fmla="*/ 42 w 76"/>
              <a:gd name="T71" fmla="*/ 102 h 108"/>
              <a:gd name="T72" fmla="*/ 42 w 76"/>
              <a:gd name="T73" fmla="*/ 98 h 108"/>
              <a:gd name="T74" fmla="*/ 40 w 76"/>
              <a:gd name="T75" fmla="*/ 88 h 108"/>
              <a:gd name="T76" fmla="*/ 38 w 76"/>
              <a:gd name="T77" fmla="*/ 80 h 108"/>
              <a:gd name="T78" fmla="*/ 40 w 76"/>
              <a:gd name="T79" fmla="*/ 76 h 108"/>
              <a:gd name="T80" fmla="*/ 48 w 76"/>
              <a:gd name="T81" fmla="*/ 72 h 108"/>
              <a:gd name="T82" fmla="*/ 62 w 76"/>
              <a:gd name="T83" fmla="*/ 68 h 108"/>
              <a:gd name="T84" fmla="*/ 64 w 76"/>
              <a:gd name="T85" fmla="*/ 70 h 108"/>
              <a:gd name="T86" fmla="*/ 68 w 76"/>
              <a:gd name="T87" fmla="*/ 72 h 108"/>
              <a:gd name="T88" fmla="*/ 66 w 76"/>
              <a:gd name="T89" fmla="*/ 78 h 108"/>
              <a:gd name="T90" fmla="*/ 70 w 76"/>
              <a:gd name="T91" fmla="*/ 78 h 108"/>
              <a:gd name="T92" fmla="*/ 26 w 76"/>
              <a:gd name="T93" fmla="*/ 50 h 108"/>
              <a:gd name="T94" fmla="*/ 28 w 76"/>
              <a:gd name="T95" fmla="*/ 4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 h="108">
                <a:moveTo>
                  <a:pt x="70" y="78"/>
                </a:moveTo>
                <a:lnTo>
                  <a:pt x="70" y="78"/>
                </a:lnTo>
                <a:lnTo>
                  <a:pt x="68" y="76"/>
                </a:lnTo>
                <a:lnTo>
                  <a:pt x="70" y="74"/>
                </a:lnTo>
                <a:lnTo>
                  <a:pt x="70" y="74"/>
                </a:lnTo>
                <a:lnTo>
                  <a:pt x="70" y="72"/>
                </a:lnTo>
                <a:lnTo>
                  <a:pt x="68" y="68"/>
                </a:lnTo>
                <a:lnTo>
                  <a:pt x="68" y="64"/>
                </a:lnTo>
                <a:lnTo>
                  <a:pt x="68" y="60"/>
                </a:lnTo>
                <a:lnTo>
                  <a:pt x="68" y="60"/>
                </a:lnTo>
                <a:lnTo>
                  <a:pt x="70" y="56"/>
                </a:lnTo>
                <a:lnTo>
                  <a:pt x="70" y="50"/>
                </a:lnTo>
                <a:lnTo>
                  <a:pt x="70" y="50"/>
                </a:lnTo>
                <a:lnTo>
                  <a:pt x="70" y="48"/>
                </a:lnTo>
                <a:lnTo>
                  <a:pt x="72" y="46"/>
                </a:lnTo>
                <a:lnTo>
                  <a:pt x="74" y="44"/>
                </a:lnTo>
                <a:lnTo>
                  <a:pt x="74" y="44"/>
                </a:lnTo>
                <a:lnTo>
                  <a:pt x="76" y="38"/>
                </a:lnTo>
                <a:lnTo>
                  <a:pt x="76" y="38"/>
                </a:lnTo>
                <a:lnTo>
                  <a:pt x="76" y="32"/>
                </a:lnTo>
                <a:lnTo>
                  <a:pt x="74" y="28"/>
                </a:lnTo>
                <a:lnTo>
                  <a:pt x="74" y="28"/>
                </a:lnTo>
                <a:lnTo>
                  <a:pt x="70" y="24"/>
                </a:lnTo>
                <a:lnTo>
                  <a:pt x="72" y="18"/>
                </a:lnTo>
                <a:lnTo>
                  <a:pt x="72" y="18"/>
                </a:lnTo>
                <a:lnTo>
                  <a:pt x="74" y="14"/>
                </a:lnTo>
                <a:lnTo>
                  <a:pt x="74" y="12"/>
                </a:lnTo>
                <a:lnTo>
                  <a:pt x="72" y="10"/>
                </a:lnTo>
                <a:lnTo>
                  <a:pt x="72" y="10"/>
                </a:lnTo>
                <a:lnTo>
                  <a:pt x="72" y="8"/>
                </a:lnTo>
                <a:lnTo>
                  <a:pt x="70" y="8"/>
                </a:lnTo>
                <a:lnTo>
                  <a:pt x="70" y="8"/>
                </a:lnTo>
                <a:lnTo>
                  <a:pt x="66" y="4"/>
                </a:lnTo>
                <a:lnTo>
                  <a:pt x="66" y="0"/>
                </a:lnTo>
                <a:lnTo>
                  <a:pt x="60" y="4"/>
                </a:lnTo>
                <a:lnTo>
                  <a:pt x="60" y="4"/>
                </a:lnTo>
                <a:lnTo>
                  <a:pt x="58" y="2"/>
                </a:lnTo>
                <a:lnTo>
                  <a:pt x="54" y="0"/>
                </a:lnTo>
                <a:lnTo>
                  <a:pt x="50" y="2"/>
                </a:lnTo>
                <a:lnTo>
                  <a:pt x="50" y="2"/>
                </a:lnTo>
                <a:lnTo>
                  <a:pt x="48" y="2"/>
                </a:lnTo>
                <a:lnTo>
                  <a:pt x="46" y="2"/>
                </a:lnTo>
                <a:lnTo>
                  <a:pt x="46" y="2"/>
                </a:lnTo>
                <a:lnTo>
                  <a:pt x="42" y="4"/>
                </a:lnTo>
                <a:lnTo>
                  <a:pt x="40" y="6"/>
                </a:lnTo>
                <a:lnTo>
                  <a:pt x="36" y="10"/>
                </a:lnTo>
                <a:lnTo>
                  <a:pt x="36" y="10"/>
                </a:lnTo>
                <a:lnTo>
                  <a:pt x="36" y="12"/>
                </a:lnTo>
                <a:lnTo>
                  <a:pt x="36" y="16"/>
                </a:lnTo>
                <a:lnTo>
                  <a:pt x="36" y="16"/>
                </a:lnTo>
                <a:lnTo>
                  <a:pt x="32" y="20"/>
                </a:lnTo>
                <a:lnTo>
                  <a:pt x="30" y="22"/>
                </a:lnTo>
                <a:lnTo>
                  <a:pt x="32" y="24"/>
                </a:lnTo>
                <a:lnTo>
                  <a:pt x="32" y="24"/>
                </a:lnTo>
                <a:lnTo>
                  <a:pt x="32" y="24"/>
                </a:lnTo>
                <a:lnTo>
                  <a:pt x="32" y="26"/>
                </a:lnTo>
                <a:lnTo>
                  <a:pt x="30" y="30"/>
                </a:lnTo>
                <a:lnTo>
                  <a:pt x="30" y="30"/>
                </a:lnTo>
                <a:lnTo>
                  <a:pt x="28" y="34"/>
                </a:lnTo>
                <a:lnTo>
                  <a:pt x="28" y="38"/>
                </a:lnTo>
                <a:lnTo>
                  <a:pt x="30" y="38"/>
                </a:lnTo>
                <a:lnTo>
                  <a:pt x="30" y="38"/>
                </a:lnTo>
                <a:lnTo>
                  <a:pt x="32" y="40"/>
                </a:lnTo>
                <a:lnTo>
                  <a:pt x="32" y="42"/>
                </a:lnTo>
                <a:lnTo>
                  <a:pt x="32" y="42"/>
                </a:lnTo>
                <a:lnTo>
                  <a:pt x="32" y="42"/>
                </a:lnTo>
                <a:lnTo>
                  <a:pt x="32" y="44"/>
                </a:lnTo>
                <a:lnTo>
                  <a:pt x="32" y="46"/>
                </a:lnTo>
                <a:lnTo>
                  <a:pt x="32" y="46"/>
                </a:lnTo>
                <a:lnTo>
                  <a:pt x="30" y="50"/>
                </a:lnTo>
                <a:lnTo>
                  <a:pt x="26" y="54"/>
                </a:lnTo>
                <a:lnTo>
                  <a:pt x="26" y="56"/>
                </a:lnTo>
                <a:lnTo>
                  <a:pt x="24" y="56"/>
                </a:lnTo>
                <a:lnTo>
                  <a:pt x="24" y="56"/>
                </a:lnTo>
                <a:lnTo>
                  <a:pt x="22" y="54"/>
                </a:lnTo>
                <a:lnTo>
                  <a:pt x="22" y="54"/>
                </a:lnTo>
                <a:lnTo>
                  <a:pt x="18" y="58"/>
                </a:lnTo>
                <a:lnTo>
                  <a:pt x="14" y="60"/>
                </a:lnTo>
                <a:lnTo>
                  <a:pt x="14" y="60"/>
                </a:lnTo>
                <a:lnTo>
                  <a:pt x="12" y="64"/>
                </a:lnTo>
                <a:lnTo>
                  <a:pt x="10" y="68"/>
                </a:lnTo>
                <a:lnTo>
                  <a:pt x="10" y="68"/>
                </a:lnTo>
                <a:lnTo>
                  <a:pt x="6" y="80"/>
                </a:lnTo>
                <a:lnTo>
                  <a:pt x="6" y="80"/>
                </a:lnTo>
                <a:lnTo>
                  <a:pt x="10" y="80"/>
                </a:lnTo>
                <a:lnTo>
                  <a:pt x="10" y="80"/>
                </a:lnTo>
                <a:lnTo>
                  <a:pt x="8" y="84"/>
                </a:lnTo>
                <a:lnTo>
                  <a:pt x="6" y="88"/>
                </a:lnTo>
                <a:lnTo>
                  <a:pt x="6" y="88"/>
                </a:lnTo>
                <a:lnTo>
                  <a:pt x="4" y="90"/>
                </a:lnTo>
                <a:lnTo>
                  <a:pt x="4" y="90"/>
                </a:lnTo>
                <a:lnTo>
                  <a:pt x="2" y="92"/>
                </a:lnTo>
                <a:lnTo>
                  <a:pt x="2" y="92"/>
                </a:lnTo>
                <a:lnTo>
                  <a:pt x="0" y="96"/>
                </a:lnTo>
                <a:lnTo>
                  <a:pt x="0" y="98"/>
                </a:lnTo>
                <a:lnTo>
                  <a:pt x="4" y="100"/>
                </a:lnTo>
                <a:lnTo>
                  <a:pt x="4" y="102"/>
                </a:lnTo>
                <a:lnTo>
                  <a:pt x="4" y="102"/>
                </a:lnTo>
                <a:lnTo>
                  <a:pt x="10" y="106"/>
                </a:lnTo>
                <a:lnTo>
                  <a:pt x="10" y="106"/>
                </a:lnTo>
                <a:lnTo>
                  <a:pt x="14" y="108"/>
                </a:lnTo>
                <a:lnTo>
                  <a:pt x="18" y="106"/>
                </a:lnTo>
                <a:lnTo>
                  <a:pt x="18" y="106"/>
                </a:lnTo>
                <a:lnTo>
                  <a:pt x="22" y="104"/>
                </a:lnTo>
                <a:lnTo>
                  <a:pt x="24" y="102"/>
                </a:lnTo>
                <a:lnTo>
                  <a:pt x="42" y="102"/>
                </a:lnTo>
                <a:lnTo>
                  <a:pt x="42" y="102"/>
                </a:lnTo>
                <a:lnTo>
                  <a:pt x="42" y="102"/>
                </a:lnTo>
                <a:lnTo>
                  <a:pt x="42" y="100"/>
                </a:lnTo>
                <a:lnTo>
                  <a:pt x="42" y="98"/>
                </a:lnTo>
                <a:lnTo>
                  <a:pt x="42" y="98"/>
                </a:lnTo>
                <a:lnTo>
                  <a:pt x="36" y="94"/>
                </a:lnTo>
                <a:lnTo>
                  <a:pt x="36" y="94"/>
                </a:lnTo>
                <a:lnTo>
                  <a:pt x="40" y="88"/>
                </a:lnTo>
                <a:lnTo>
                  <a:pt x="40" y="88"/>
                </a:lnTo>
                <a:lnTo>
                  <a:pt x="38" y="82"/>
                </a:lnTo>
                <a:lnTo>
                  <a:pt x="38" y="80"/>
                </a:lnTo>
                <a:lnTo>
                  <a:pt x="40" y="80"/>
                </a:lnTo>
                <a:lnTo>
                  <a:pt x="40" y="80"/>
                </a:lnTo>
                <a:lnTo>
                  <a:pt x="40" y="76"/>
                </a:lnTo>
                <a:lnTo>
                  <a:pt x="40" y="76"/>
                </a:lnTo>
                <a:lnTo>
                  <a:pt x="44" y="74"/>
                </a:lnTo>
                <a:lnTo>
                  <a:pt x="48" y="72"/>
                </a:lnTo>
                <a:lnTo>
                  <a:pt x="60" y="74"/>
                </a:lnTo>
                <a:lnTo>
                  <a:pt x="60" y="74"/>
                </a:lnTo>
                <a:lnTo>
                  <a:pt x="62" y="68"/>
                </a:lnTo>
                <a:lnTo>
                  <a:pt x="64" y="68"/>
                </a:lnTo>
                <a:lnTo>
                  <a:pt x="64" y="68"/>
                </a:lnTo>
                <a:lnTo>
                  <a:pt x="64" y="70"/>
                </a:lnTo>
                <a:lnTo>
                  <a:pt x="64" y="72"/>
                </a:lnTo>
                <a:lnTo>
                  <a:pt x="64" y="72"/>
                </a:lnTo>
                <a:lnTo>
                  <a:pt x="68" y="72"/>
                </a:lnTo>
                <a:lnTo>
                  <a:pt x="68" y="72"/>
                </a:lnTo>
                <a:lnTo>
                  <a:pt x="68" y="76"/>
                </a:lnTo>
                <a:lnTo>
                  <a:pt x="66" y="78"/>
                </a:lnTo>
                <a:lnTo>
                  <a:pt x="66" y="78"/>
                </a:lnTo>
                <a:lnTo>
                  <a:pt x="70" y="78"/>
                </a:lnTo>
                <a:lnTo>
                  <a:pt x="70" y="78"/>
                </a:lnTo>
                <a:close/>
                <a:moveTo>
                  <a:pt x="28" y="46"/>
                </a:moveTo>
                <a:lnTo>
                  <a:pt x="28" y="46"/>
                </a:lnTo>
                <a:lnTo>
                  <a:pt x="26" y="50"/>
                </a:lnTo>
                <a:lnTo>
                  <a:pt x="26" y="50"/>
                </a:lnTo>
                <a:lnTo>
                  <a:pt x="28" y="48"/>
                </a:lnTo>
                <a:lnTo>
                  <a:pt x="28" y="48"/>
                </a:lnTo>
                <a:lnTo>
                  <a:pt x="28" y="46"/>
                </a:lnTo>
                <a:lnTo>
                  <a:pt x="28"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2" name="Freeform 26">
            <a:extLst>
              <a:ext uri="{FF2B5EF4-FFF2-40B4-BE49-F238E27FC236}">
                <a16:creationId xmlns:a16="http://schemas.microsoft.com/office/drawing/2014/main" id="{9D49FEC8-0774-493A-99BF-99C65F3C0C25}"/>
              </a:ext>
            </a:extLst>
          </p:cNvPr>
          <p:cNvSpPr>
            <a:spLocks/>
          </p:cNvSpPr>
          <p:nvPr userDrawn="1"/>
        </p:nvSpPr>
        <p:spPr bwMode="auto">
          <a:xfrm>
            <a:off x="7031418" y="2414249"/>
            <a:ext cx="318637" cy="233374"/>
          </a:xfrm>
          <a:custGeom>
            <a:avLst/>
            <a:gdLst>
              <a:gd name="T0" fmla="*/ 4 w 190"/>
              <a:gd name="T1" fmla="*/ 22 h 136"/>
              <a:gd name="T2" fmla="*/ 6 w 190"/>
              <a:gd name="T3" fmla="*/ 22 h 136"/>
              <a:gd name="T4" fmla="*/ 4 w 190"/>
              <a:gd name="T5" fmla="*/ 18 h 136"/>
              <a:gd name="T6" fmla="*/ 10 w 190"/>
              <a:gd name="T7" fmla="*/ 12 h 136"/>
              <a:gd name="T8" fmla="*/ 20 w 190"/>
              <a:gd name="T9" fmla="*/ 14 h 136"/>
              <a:gd name="T10" fmla="*/ 26 w 190"/>
              <a:gd name="T11" fmla="*/ 26 h 136"/>
              <a:gd name="T12" fmla="*/ 30 w 190"/>
              <a:gd name="T13" fmla="*/ 32 h 136"/>
              <a:gd name="T14" fmla="*/ 24 w 190"/>
              <a:gd name="T15" fmla="*/ 36 h 136"/>
              <a:gd name="T16" fmla="*/ 24 w 190"/>
              <a:gd name="T17" fmla="*/ 38 h 136"/>
              <a:gd name="T18" fmla="*/ 24 w 190"/>
              <a:gd name="T19" fmla="*/ 40 h 136"/>
              <a:gd name="T20" fmla="*/ 10 w 190"/>
              <a:gd name="T21" fmla="*/ 38 h 136"/>
              <a:gd name="T22" fmla="*/ 6 w 190"/>
              <a:gd name="T23" fmla="*/ 32 h 136"/>
              <a:gd name="T24" fmla="*/ 6 w 190"/>
              <a:gd name="T25" fmla="*/ 38 h 136"/>
              <a:gd name="T26" fmla="*/ 2 w 190"/>
              <a:gd name="T27" fmla="*/ 52 h 136"/>
              <a:gd name="T28" fmla="*/ 4 w 190"/>
              <a:gd name="T29" fmla="*/ 54 h 136"/>
              <a:gd name="T30" fmla="*/ 8 w 190"/>
              <a:gd name="T31" fmla="*/ 52 h 136"/>
              <a:gd name="T32" fmla="*/ 16 w 190"/>
              <a:gd name="T33" fmla="*/ 50 h 136"/>
              <a:gd name="T34" fmla="*/ 16 w 190"/>
              <a:gd name="T35" fmla="*/ 52 h 136"/>
              <a:gd name="T36" fmla="*/ 12 w 190"/>
              <a:gd name="T37" fmla="*/ 56 h 136"/>
              <a:gd name="T38" fmla="*/ 16 w 190"/>
              <a:gd name="T39" fmla="*/ 66 h 136"/>
              <a:gd name="T40" fmla="*/ 22 w 190"/>
              <a:gd name="T41" fmla="*/ 74 h 136"/>
              <a:gd name="T42" fmla="*/ 20 w 190"/>
              <a:gd name="T43" fmla="*/ 80 h 136"/>
              <a:gd name="T44" fmla="*/ 18 w 190"/>
              <a:gd name="T45" fmla="*/ 88 h 136"/>
              <a:gd name="T46" fmla="*/ 20 w 190"/>
              <a:gd name="T47" fmla="*/ 100 h 136"/>
              <a:gd name="T48" fmla="*/ 32 w 190"/>
              <a:gd name="T49" fmla="*/ 92 h 136"/>
              <a:gd name="T50" fmla="*/ 46 w 190"/>
              <a:gd name="T51" fmla="*/ 86 h 136"/>
              <a:gd name="T52" fmla="*/ 74 w 190"/>
              <a:gd name="T53" fmla="*/ 86 h 136"/>
              <a:gd name="T54" fmla="*/ 96 w 190"/>
              <a:gd name="T55" fmla="*/ 92 h 136"/>
              <a:gd name="T56" fmla="*/ 116 w 190"/>
              <a:gd name="T57" fmla="*/ 104 h 136"/>
              <a:gd name="T58" fmla="*/ 130 w 190"/>
              <a:gd name="T59" fmla="*/ 116 h 136"/>
              <a:gd name="T60" fmla="*/ 128 w 190"/>
              <a:gd name="T61" fmla="*/ 134 h 136"/>
              <a:gd name="T62" fmla="*/ 142 w 190"/>
              <a:gd name="T63" fmla="*/ 136 h 136"/>
              <a:gd name="T64" fmla="*/ 160 w 190"/>
              <a:gd name="T65" fmla="*/ 116 h 136"/>
              <a:gd name="T66" fmla="*/ 164 w 190"/>
              <a:gd name="T67" fmla="*/ 100 h 136"/>
              <a:gd name="T68" fmla="*/ 176 w 190"/>
              <a:gd name="T69" fmla="*/ 100 h 136"/>
              <a:gd name="T70" fmla="*/ 182 w 190"/>
              <a:gd name="T71" fmla="*/ 90 h 136"/>
              <a:gd name="T72" fmla="*/ 182 w 190"/>
              <a:gd name="T73" fmla="*/ 84 h 136"/>
              <a:gd name="T74" fmla="*/ 168 w 190"/>
              <a:gd name="T75" fmla="*/ 76 h 136"/>
              <a:gd name="T76" fmla="*/ 150 w 190"/>
              <a:gd name="T77" fmla="*/ 66 h 136"/>
              <a:gd name="T78" fmla="*/ 138 w 190"/>
              <a:gd name="T79" fmla="*/ 52 h 136"/>
              <a:gd name="T80" fmla="*/ 130 w 190"/>
              <a:gd name="T81" fmla="*/ 38 h 136"/>
              <a:gd name="T82" fmla="*/ 112 w 190"/>
              <a:gd name="T83" fmla="*/ 30 h 136"/>
              <a:gd name="T84" fmla="*/ 96 w 190"/>
              <a:gd name="T85" fmla="*/ 34 h 136"/>
              <a:gd name="T86" fmla="*/ 96 w 190"/>
              <a:gd name="T87" fmla="*/ 22 h 136"/>
              <a:gd name="T88" fmla="*/ 84 w 190"/>
              <a:gd name="T89" fmla="*/ 2 h 136"/>
              <a:gd name="T90" fmla="*/ 72 w 190"/>
              <a:gd name="T91" fmla="*/ 4 h 136"/>
              <a:gd name="T92" fmla="*/ 60 w 190"/>
              <a:gd name="T93" fmla="*/ 10 h 136"/>
              <a:gd name="T94" fmla="*/ 62 w 190"/>
              <a:gd name="T95" fmla="*/ 22 h 136"/>
              <a:gd name="T96" fmla="*/ 44 w 190"/>
              <a:gd name="T97" fmla="*/ 20 h 136"/>
              <a:gd name="T98" fmla="*/ 30 w 190"/>
              <a:gd name="T99" fmla="*/ 12 h 136"/>
              <a:gd name="T100" fmla="*/ 18 w 190"/>
              <a:gd name="T101" fmla="*/ 6 h 136"/>
              <a:gd name="T102" fmla="*/ 4 w 190"/>
              <a:gd name="T103" fmla="*/ 8 h 136"/>
              <a:gd name="T104" fmla="*/ 2 w 190"/>
              <a:gd name="T105" fmla="*/ 16 h 136"/>
              <a:gd name="T106" fmla="*/ 0 w 190"/>
              <a:gd name="T107" fmla="*/ 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 h="136">
                <a:moveTo>
                  <a:pt x="0" y="18"/>
                </a:moveTo>
                <a:lnTo>
                  <a:pt x="0" y="18"/>
                </a:lnTo>
                <a:lnTo>
                  <a:pt x="4" y="22"/>
                </a:lnTo>
                <a:lnTo>
                  <a:pt x="4" y="22"/>
                </a:lnTo>
                <a:lnTo>
                  <a:pt x="6" y="22"/>
                </a:lnTo>
                <a:lnTo>
                  <a:pt x="6" y="22"/>
                </a:lnTo>
                <a:lnTo>
                  <a:pt x="6" y="20"/>
                </a:lnTo>
                <a:lnTo>
                  <a:pt x="4" y="18"/>
                </a:lnTo>
                <a:lnTo>
                  <a:pt x="4" y="18"/>
                </a:lnTo>
                <a:lnTo>
                  <a:pt x="8" y="16"/>
                </a:lnTo>
                <a:lnTo>
                  <a:pt x="8" y="16"/>
                </a:lnTo>
                <a:lnTo>
                  <a:pt x="10" y="12"/>
                </a:lnTo>
                <a:lnTo>
                  <a:pt x="10" y="12"/>
                </a:lnTo>
                <a:lnTo>
                  <a:pt x="20" y="14"/>
                </a:lnTo>
                <a:lnTo>
                  <a:pt x="20" y="14"/>
                </a:lnTo>
                <a:lnTo>
                  <a:pt x="20" y="20"/>
                </a:lnTo>
                <a:lnTo>
                  <a:pt x="20" y="20"/>
                </a:lnTo>
                <a:lnTo>
                  <a:pt x="26" y="26"/>
                </a:lnTo>
                <a:lnTo>
                  <a:pt x="30" y="30"/>
                </a:lnTo>
                <a:lnTo>
                  <a:pt x="30" y="30"/>
                </a:lnTo>
                <a:lnTo>
                  <a:pt x="30" y="32"/>
                </a:lnTo>
                <a:lnTo>
                  <a:pt x="28" y="36"/>
                </a:lnTo>
                <a:lnTo>
                  <a:pt x="28" y="36"/>
                </a:lnTo>
                <a:lnTo>
                  <a:pt x="24" y="36"/>
                </a:lnTo>
                <a:lnTo>
                  <a:pt x="24" y="36"/>
                </a:lnTo>
                <a:lnTo>
                  <a:pt x="24" y="36"/>
                </a:lnTo>
                <a:lnTo>
                  <a:pt x="24" y="38"/>
                </a:lnTo>
                <a:lnTo>
                  <a:pt x="24" y="38"/>
                </a:lnTo>
                <a:lnTo>
                  <a:pt x="24" y="38"/>
                </a:lnTo>
                <a:lnTo>
                  <a:pt x="24" y="40"/>
                </a:lnTo>
                <a:lnTo>
                  <a:pt x="24" y="40"/>
                </a:lnTo>
                <a:lnTo>
                  <a:pt x="10" y="38"/>
                </a:lnTo>
                <a:lnTo>
                  <a:pt x="10" y="38"/>
                </a:lnTo>
                <a:lnTo>
                  <a:pt x="8" y="32"/>
                </a:lnTo>
                <a:lnTo>
                  <a:pt x="8" y="32"/>
                </a:lnTo>
                <a:lnTo>
                  <a:pt x="6" y="32"/>
                </a:lnTo>
                <a:lnTo>
                  <a:pt x="6" y="32"/>
                </a:lnTo>
                <a:lnTo>
                  <a:pt x="6" y="38"/>
                </a:lnTo>
                <a:lnTo>
                  <a:pt x="6" y="38"/>
                </a:lnTo>
                <a:lnTo>
                  <a:pt x="4" y="46"/>
                </a:lnTo>
                <a:lnTo>
                  <a:pt x="2" y="52"/>
                </a:lnTo>
                <a:lnTo>
                  <a:pt x="2" y="52"/>
                </a:lnTo>
                <a:lnTo>
                  <a:pt x="2" y="54"/>
                </a:lnTo>
                <a:lnTo>
                  <a:pt x="2" y="54"/>
                </a:lnTo>
                <a:lnTo>
                  <a:pt x="4" y="54"/>
                </a:lnTo>
                <a:lnTo>
                  <a:pt x="6" y="54"/>
                </a:lnTo>
                <a:lnTo>
                  <a:pt x="6" y="54"/>
                </a:lnTo>
                <a:lnTo>
                  <a:pt x="8" y="52"/>
                </a:lnTo>
                <a:lnTo>
                  <a:pt x="10" y="50"/>
                </a:lnTo>
                <a:lnTo>
                  <a:pt x="10" y="50"/>
                </a:lnTo>
                <a:lnTo>
                  <a:pt x="16" y="50"/>
                </a:lnTo>
                <a:lnTo>
                  <a:pt x="20" y="52"/>
                </a:lnTo>
                <a:lnTo>
                  <a:pt x="20" y="52"/>
                </a:lnTo>
                <a:lnTo>
                  <a:pt x="16" y="52"/>
                </a:lnTo>
                <a:lnTo>
                  <a:pt x="12" y="52"/>
                </a:lnTo>
                <a:lnTo>
                  <a:pt x="12" y="52"/>
                </a:lnTo>
                <a:lnTo>
                  <a:pt x="12" y="56"/>
                </a:lnTo>
                <a:lnTo>
                  <a:pt x="12" y="56"/>
                </a:lnTo>
                <a:lnTo>
                  <a:pt x="16" y="60"/>
                </a:lnTo>
                <a:lnTo>
                  <a:pt x="16" y="66"/>
                </a:lnTo>
                <a:lnTo>
                  <a:pt x="16" y="66"/>
                </a:lnTo>
                <a:lnTo>
                  <a:pt x="20" y="70"/>
                </a:lnTo>
                <a:lnTo>
                  <a:pt x="22" y="74"/>
                </a:lnTo>
                <a:lnTo>
                  <a:pt x="22" y="78"/>
                </a:lnTo>
                <a:lnTo>
                  <a:pt x="22" y="78"/>
                </a:lnTo>
                <a:lnTo>
                  <a:pt x="20" y="80"/>
                </a:lnTo>
                <a:lnTo>
                  <a:pt x="18" y="80"/>
                </a:lnTo>
                <a:lnTo>
                  <a:pt x="18" y="80"/>
                </a:lnTo>
                <a:lnTo>
                  <a:pt x="18" y="88"/>
                </a:lnTo>
                <a:lnTo>
                  <a:pt x="18" y="94"/>
                </a:lnTo>
                <a:lnTo>
                  <a:pt x="18" y="94"/>
                </a:lnTo>
                <a:lnTo>
                  <a:pt x="20" y="100"/>
                </a:lnTo>
                <a:lnTo>
                  <a:pt x="28" y="100"/>
                </a:lnTo>
                <a:lnTo>
                  <a:pt x="32" y="94"/>
                </a:lnTo>
                <a:lnTo>
                  <a:pt x="32" y="92"/>
                </a:lnTo>
                <a:lnTo>
                  <a:pt x="34" y="88"/>
                </a:lnTo>
                <a:lnTo>
                  <a:pt x="38" y="86"/>
                </a:lnTo>
                <a:lnTo>
                  <a:pt x="46" y="86"/>
                </a:lnTo>
                <a:lnTo>
                  <a:pt x="52" y="84"/>
                </a:lnTo>
                <a:lnTo>
                  <a:pt x="58" y="82"/>
                </a:lnTo>
                <a:lnTo>
                  <a:pt x="74" y="86"/>
                </a:lnTo>
                <a:lnTo>
                  <a:pt x="82" y="86"/>
                </a:lnTo>
                <a:lnTo>
                  <a:pt x="86" y="88"/>
                </a:lnTo>
                <a:lnTo>
                  <a:pt x="96" y="92"/>
                </a:lnTo>
                <a:lnTo>
                  <a:pt x="104" y="96"/>
                </a:lnTo>
                <a:lnTo>
                  <a:pt x="112" y="102"/>
                </a:lnTo>
                <a:lnTo>
                  <a:pt x="116" y="104"/>
                </a:lnTo>
                <a:lnTo>
                  <a:pt x="118" y="108"/>
                </a:lnTo>
                <a:lnTo>
                  <a:pt x="122" y="114"/>
                </a:lnTo>
                <a:lnTo>
                  <a:pt x="130" y="116"/>
                </a:lnTo>
                <a:lnTo>
                  <a:pt x="130" y="122"/>
                </a:lnTo>
                <a:lnTo>
                  <a:pt x="130" y="128"/>
                </a:lnTo>
                <a:lnTo>
                  <a:pt x="128" y="134"/>
                </a:lnTo>
                <a:lnTo>
                  <a:pt x="134" y="136"/>
                </a:lnTo>
                <a:lnTo>
                  <a:pt x="138" y="134"/>
                </a:lnTo>
                <a:lnTo>
                  <a:pt x="142" y="136"/>
                </a:lnTo>
                <a:lnTo>
                  <a:pt x="154" y="130"/>
                </a:lnTo>
                <a:lnTo>
                  <a:pt x="152" y="124"/>
                </a:lnTo>
                <a:lnTo>
                  <a:pt x="160" y="116"/>
                </a:lnTo>
                <a:lnTo>
                  <a:pt x="162" y="112"/>
                </a:lnTo>
                <a:lnTo>
                  <a:pt x="162" y="104"/>
                </a:lnTo>
                <a:lnTo>
                  <a:pt x="164" y="100"/>
                </a:lnTo>
                <a:lnTo>
                  <a:pt x="166" y="96"/>
                </a:lnTo>
                <a:lnTo>
                  <a:pt x="172" y="98"/>
                </a:lnTo>
                <a:lnTo>
                  <a:pt x="176" y="100"/>
                </a:lnTo>
                <a:lnTo>
                  <a:pt x="182" y="102"/>
                </a:lnTo>
                <a:lnTo>
                  <a:pt x="182" y="94"/>
                </a:lnTo>
                <a:lnTo>
                  <a:pt x="182" y="90"/>
                </a:lnTo>
                <a:lnTo>
                  <a:pt x="190" y="86"/>
                </a:lnTo>
                <a:lnTo>
                  <a:pt x="188" y="84"/>
                </a:lnTo>
                <a:lnTo>
                  <a:pt x="182" y="84"/>
                </a:lnTo>
                <a:lnTo>
                  <a:pt x="178" y="80"/>
                </a:lnTo>
                <a:lnTo>
                  <a:pt x="172" y="80"/>
                </a:lnTo>
                <a:lnTo>
                  <a:pt x="168" y="76"/>
                </a:lnTo>
                <a:lnTo>
                  <a:pt x="160" y="78"/>
                </a:lnTo>
                <a:lnTo>
                  <a:pt x="156" y="72"/>
                </a:lnTo>
                <a:lnTo>
                  <a:pt x="150" y="66"/>
                </a:lnTo>
                <a:lnTo>
                  <a:pt x="144" y="64"/>
                </a:lnTo>
                <a:lnTo>
                  <a:pt x="140" y="60"/>
                </a:lnTo>
                <a:lnTo>
                  <a:pt x="138" y="52"/>
                </a:lnTo>
                <a:lnTo>
                  <a:pt x="134" y="48"/>
                </a:lnTo>
                <a:lnTo>
                  <a:pt x="130" y="44"/>
                </a:lnTo>
                <a:lnTo>
                  <a:pt x="130" y="38"/>
                </a:lnTo>
                <a:lnTo>
                  <a:pt x="126" y="30"/>
                </a:lnTo>
                <a:lnTo>
                  <a:pt x="120" y="30"/>
                </a:lnTo>
                <a:lnTo>
                  <a:pt x="112" y="30"/>
                </a:lnTo>
                <a:lnTo>
                  <a:pt x="108" y="32"/>
                </a:lnTo>
                <a:lnTo>
                  <a:pt x="102" y="36"/>
                </a:lnTo>
                <a:lnTo>
                  <a:pt x="96" y="34"/>
                </a:lnTo>
                <a:lnTo>
                  <a:pt x="94" y="32"/>
                </a:lnTo>
                <a:lnTo>
                  <a:pt x="96" y="28"/>
                </a:lnTo>
                <a:lnTo>
                  <a:pt x="96" y="22"/>
                </a:lnTo>
                <a:lnTo>
                  <a:pt x="88" y="20"/>
                </a:lnTo>
                <a:lnTo>
                  <a:pt x="86" y="10"/>
                </a:lnTo>
                <a:lnTo>
                  <a:pt x="84" y="2"/>
                </a:lnTo>
                <a:lnTo>
                  <a:pt x="80" y="0"/>
                </a:lnTo>
                <a:lnTo>
                  <a:pt x="76" y="0"/>
                </a:lnTo>
                <a:lnTo>
                  <a:pt x="72" y="4"/>
                </a:lnTo>
                <a:lnTo>
                  <a:pt x="70" y="8"/>
                </a:lnTo>
                <a:lnTo>
                  <a:pt x="62" y="8"/>
                </a:lnTo>
                <a:lnTo>
                  <a:pt x="60" y="10"/>
                </a:lnTo>
                <a:lnTo>
                  <a:pt x="60" y="16"/>
                </a:lnTo>
                <a:lnTo>
                  <a:pt x="62" y="20"/>
                </a:lnTo>
                <a:lnTo>
                  <a:pt x="62" y="22"/>
                </a:lnTo>
                <a:lnTo>
                  <a:pt x="48" y="20"/>
                </a:lnTo>
                <a:lnTo>
                  <a:pt x="48" y="20"/>
                </a:lnTo>
                <a:lnTo>
                  <a:pt x="44" y="20"/>
                </a:lnTo>
                <a:lnTo>
                  <a:pt x="36" y="20"/>
                </a:lnTo>
                <a:lnTo>
                  <a:pt x="36" y="20"/>
                </a:lnTo>
                <a:lnTo>
                  <a:pt x="30" y="12"/>
                </a:lnTo>
                <a:lnTo>
                  <a:pt x="26" y="8"/>
                </a:lnTo>
                <a:lnTo>
                  <a:pt x="22" y="6"/>
                </a:lnTo>
                <a:lnTo>
                  <a:pt x="18" y="6"/>
                </a:lnTo>
                <a:lnTo>
                  <a:pt x="18" y="6"/>
                </a:lnTo>
                <a:lnTo>
                  <a:pt x="8" y="6"/>
                </a:lnTo>
                <a:lnTo>
                  <a:pt x="4" y="8"/>
                </a:lnTo>
                <a:lnTo>
                  <a:pt x="4" y="14"/>
                </a:lnTo>
                <a:lnTo>
                  <a:pt x="4" y="14"/>
                </a:lnTo>
                <a:lnTo>
                  <a:pt x="2" y="16"/>
                </a:lnTo>
                <a:lnTo>
                  <a:pt x="2" y="18"/>
                </a:lnTo>
                <a:lnTo>
                  <a:pt x="0" y="18"/>
                </a:lnTo>
                <a:lnTo>
                  <a:pt x="0"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3" name="Freeform 27">
            <a:extLst>
              <a:ext uri="{FF2B5EF4-FFF2-40B4-BE49-F238E27FC236}">
                <a16:creationId xmlns:a16="http://schemas.microsoft.com/office/drawing/2014/main" id="{385C2EC0-8E8E-4299-BAB9-39010CD9FA5F}"/>
              </a:ext>
            </a:extLst>
          </p:cNvPr>
          <p:cNvSpPr>
            <a:spLocks noEditPoints="1"/>
          </p:cNvSpPr>
          <p:nvPr userDrawn="1"/>
        </p:nvSpPr>
        <p:spPr bwMode="auto">
          <a:xfrm>
            <a:off x="6447810" y="2438273"/>
            <a:ext cx="422613" cy="202487"/>
          </a:xfrm>
          <a:custGeom>
            <a:avLst/>
            <a:gdLst>
              <a:gd name="T0" fmla="*/ 12 w 252"/>
              <a:gd name="T1" fmla="*/ 4 h 118"/>
              <a:gd name="T2" fmla="*/ 12 w 252"/>
              <a:gd name="T3" fmla="*/ 12 h 118"/>
              <a:gd name="T4" fmla="*/ 6 w 252"/>
              <a:gd name="T5" fmla="*/ 18 h 118"/>
              <a:gd name="T6" fmla="*/ 0 w 252"/>
              <a:gd name="T7" fmla="*/ 26 h 118"/>
              <a:gd name="T8" fmla="*/ 0 w 252"/>
              <a:gd name="T9" fmla="*/ 36 h 118"/>
              <a:gd name="T10" fmla="*/ 18 w 252"/>
              <a:gd name="T11" fmla="*/ 26 h 118"/>
              <a:gd name="T12" fmla="*/ 34 w 252"/>
              <a:gd name="T13" fmla="*/ 20 h 118"/>
              <a:gd name="T14" fmla="*/ 24 w 252"/>
              <a:gd name="T15" fmla="*/ 8 h 118"/>
              <a:gd name="T16" fmla="*/ 132 w 252"/>
              <a:gd name="T17" fmla="*/ 118 h 118"/>
              <a:gd name="T18" fmla="*/ 140 w 252"/>
              <a:gd name="T19" fmla="*/ 112 h 118"/>
              <a:gd name="T20" fmla="*/ 140 w 252"/>
              <a:gd name="T21" fmla="*/ 102 h 118"/>
              <a:gd name="T22" fmla="*/ 150 w 252"/>
              <a:gd name="T23" fmla="*/ 100 h 118"/>
              <a:gd name="T24" fmla="*/ 162 w 252"/>
              <a:gd name="T25" fmla="*/ 100 h 118"/>
              <a:gd name="T26" fmla="*/ 188 w 252"/>
              <a:gd name="T27" fmla="*/ 94 h 118"/>
              <a:gd name="T28" fmla="*/ 210 w 252"/>
              <a:gd name="T29" fmla="*/ 90 h 118"/>
              <a:gd name="T30" fmla="*/ 220 w 252"/>
              <a:gd name="T31" fmla="*/ 90 h 118"/>
              <a:gd name="T32" fmla="*/ 232 w 252"/>
              <a:gd name="T33" fmla="*/ 90 h 118"/>
              <a:gd name="T34" fmla="*/ 244 w 252"/>
              <a:gd name="T35" fmla="*/ 86 h 118"/>
              <a:gd name="T36" fmla="*/ 236 w 252"/>
              <a:gd name="T37" fmla="*/ 70 h 118"/>
              <a:gd name="T38" fmla="*/ 240 w 252"/>
              <a:gd name="T39" fmla="*/ 60 h 118"/>
              <a:gd name="T40" fmla="*/ 240 w 252"/>
              <a:gd name="T41" fmla="*/ 52 h 118"/>
              <a:gd name="T42" fmla="*/ 248 w 252"/>
              <a:gd name="T43" fmla="*/ 50 h 118"/>
              <a:gd name="T44" fmla="*/ 246 w 252"/>
              <a:gd name="T45" fmla="*/ 38 h 118"/>
              <a:gd name="T46" fmla="*/ 234 w 252"/>
              <a:gd name="T47" fmla="*/ 26 h 118"/>
              <a:gd name="T48" fmla="*/ 232 w 252"/>
              <a:gd name="T49" fmla="*/ 14 h 118"/>
              <a:gd name="T50" fmla="*/ 222 w 252"/>
              <a:gd name="T51" fmla="*/ 12 h 118"/>
              <a:gd name="T52" fmla="*/ 208 w 252"/>
              <a:gd name="T53" fmla="*/ 8 h 118"/>
              <a:gd name="T54" fmla="*/ 202 w 252"/>
              <a:gd name="T55" fmla="*/ 8 h 118"/>
              <a:gd name="T56" fmla="*/ 194 w 252"/>
              <a:gd name="T57" fmla="*/ 16 h 118"/>
              <a:gd name="T58" fmla="*/ 182 w 252"/>
              <a:gd name="T59" fmla="*/ 20 h 118"/>
              <a:gd name="T60" fmla="*/ 166 w 252"/>
              <a:gd name="T61" fmla="*/ 20 h 118"/>
              <a:gd name="T62" fmla="*/ 150 w 252"/>
              <a:gd name="T63" fmla="*/ 18 h 118"/>
              <a:gd name="T64" fmla="*/ 138 w 252"/>
              <a:gd name="T65" fmla="*/ 16 h 118"/>
              <a:gd name="T66" fmla="*/ 118 w 252"/>
              <a:gd name="T67" fmla="*/ 4 h 118"/>
              <a:gd name="T68" fmla="*/ 108 w 252"/>
              <a:gd name="T69" fmla="*/ 4 h 118"/>
              <a:gd name="T70" fmla="*/ 88 w 252"/>
              <a:gd name="T71" fmla="*/ 2 h 118"/>
              <a:gd name="T72" fmla="*/ 72 w 252"/>
              <a:gd name="T73" fmla="*/ 14 h 118"/>
              <a:gd name="T74" fmla="*/ 56 w 252"/>
              <a:gd name="T75" fmla="*/ 16 h 118"/>
              <a:gd name="T76" fmla="*/ 38 w 252"/>
              <a:gd name="T77" fmla="*/ 20 h 118"/>
              <a:gd name="T78" fmla="*/ 38 w 252"/>
              <a:gd name="T79" fmla="*/ 24 h 118"/>
              <a:gd name="T80" fmla="*/ 26 w 252"/>
              <a:gd name="T81" fmla="*/ 28 h 118"/>
              <a:gd name="T82" fmla="*/ 14 w 252"/>
              <a:gd name="T83" fmla="*/ 32 h 118"/>
              <a:gd name="T84" fmla="*/ 0 w 252"/>
              <a:gd name="T85" fmla="*/ 50 h 118"/>
              <a:gd name="T86" fmla="*/ 8 w 252"/>
              <a:gd name="T87" fmla="*/ 64 h 118"/>
              <a:gd name="T88" fmla="*/ 8 w 252"/>
              <a:gd name="T89" fmla="*/ 70 h 118"/>
              <a:gd name="T90" fmla="*/ 4 w 252"/>
              <a:gd name="T91" fmla="*/ 70 h 118"/>
              <a:gd name="T92" fmla="*/ 14 w 252"/>
              <a:gd name="T93" fmla="*/ 78 h 118"/>
              <a:gd name="T94" fmla="*/ 24 w 252"/>
              <a:gd name="T95" fmla="*/ 94 h 118"/>
              <a:gd name="T96" fmla="*/ 32 w 252"/>
              <a:gd name="T97" fmla="*/ 102 h 118"/>
              <a:gd name="T98" fmla="*/ 38 w 252"/>
              <a:gd name="T99" fmla="*/ 106 h 118"/>
              <a:gd name="T100" fmla="*/ 60 w 252"/>
              <a:gd name="T101" fmla="*/ 100 h 118"/>
              <a:gd name="T102" fmla="*/ 86 w 252"/>
              <a:gd name="T103" fmla="*/ 112 h 118"/>
              <a:gd name="T104" fmla="*/ 112 w 252"/>
              <a:gd name="T105" fmla="*/ 102 h 118"/>
              <a:gd name="T106" fmla="*/ 128 w 252"/>
              <a:gd name="T107" fmla="*/ 96 h 118"/>
              <a:gd name="T108" fmla="*/ 126 w 252"/>
              <a:gd name="T109" fmla="*/ 108 h 118"/>
              <a:gd name="T110" fmla="*/ 128 w 252"/>
              <a:gd name="T11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2" h="118">
                <a:moveTo>
                  <a:pt x="24" y="6"/>
                </a:moveTo>
                <a:lnTo>
                  <a:pt x="24" y="6"/>
                </a:lnTo>
                <a:lnTo>
                  <a:pt x="20" y="6"/>
                </a:lnTo>
                <a:lnTo>
                  <a:pt x="16" y="6"/>
                </a:lnTo>
                <a:lnTo>
                  <a:pt x="16" y="6"/>
                </a:lnTo>
                <a:lnTo>
                  <a:pt x="12" y="4"/>
                </a:lnTo>
                <a:lnTo>
                  <a:pt x="8" y="6"/>
                </a:lnTo>
                <a:lnTo>
                  <a:pt x="8" y="6"/>
                </a:lnTo>
                <a:lnTo>
                  <a:pt x="8" y="8"/>
                </a:lnTo>
                <a:lnTo>
                  <a:pt x="8" y="8"/>
                </a:lnTo>
                <a:lnTo>
                  <a:pt x="12" y="12"/>
                </a:lnTo>
                <a:lnTo>
                  <a:pt x="12" y="12"/>
                </a:lnTo>
                <a:lnTo>
                  <a:pt x="14" y="14"/>
                </a:lnTo>
                <a:lnTo>
                  <a:pt x="14" y="16"/>
                </a:lnTo>
                <a:lnTo>
                  <a:pt x="12" y="18"/>
                </a:lnTo>
                <a:lnTo>
                  <a:pt x="12" y="18"/>
                </a:lnTo>
                <a:lnTo>
                  <a:pt x="10" y="18"/>
                </a:lnTo>
                <a:lnTo>
                  <a:pt x="6" y="18"/>
                </a:lnTo>
                <a:lnTo>
                  <a:pt x="6" y="16"/>
                </a:lnTo>
                <a:lnTo>
                  <a:pt x="4" y="18"/>
                </a:lnTo>
                <a:lnTo>
                  <a:pt x="4" y="18"/>
                </a:lnTo>
                <a:lnTo>
                  <a:pt x="4" y="22"/>
                </a:lnTo>
                <a:lnTo>
                  <a:pt x="2" y="24"/>
                </a:lnTo>
                <a:lnTo>
                  <a:pt x="0" y="26"/>
                </a:lnTo>
                <a:lnTo>
                  <a:pt x="2" y="28"/>
                </a:lnTo>
                <a:lnTo>
                  <a:pt x="4" y="28"/>
                </a:lnTo>
                <a:lnTo>
                  <a:pt x="0" y="30"/>
                </a:lnTo>
                <a:lnTo>
                  <a:pt x="0" y="30"/>
                </a:lnTo>
                <a:lnTo>
                  <a:pt x="0" y="34"/>
                </a:lnTo>
                <a:lnTo>
                  <a:pt x="0" y="36"/>
                </a:lnTo>
                <a:lnTo>
                  <a:pt x="2" y="36"/>
                </a:lnTo>
                <a:lnTo>
                  <a:pt x="2" y="36"/>
                </a:lnTo>
                <a:lnTo>
                  <a:pt x="10" y="28"/>
                </a:lnTo>
                <a:lnTo>
                  <a:pt x="10" y="28"/>
                </a:lnTo>
                <a:lnTo>
                  <a:pt x="18" y="26"/>
                </a:lnTo>
                <a:lnTo>
                  <a:pt x="18" y="26"/>
                </a:lnTo>
                <a:lnTo>
                  <a:pt x="18" y="24"/>
                </a:lnTo>
                <a:lnTo>
                  <a:pt x="20" y="22"/>
                </a:lnTo>
                <a:lnTo>
                  <a:pt x="20" y="22"/>
                </a:lnTo>
                <a:lnTo>
                  <a:pt x="28" y="22"/>
                </a:lnTo>
                <a:lnTo>
                  <a:pt x="34" y="20"/>
                </a:lnTo>
                <a:lnTo>
                  <a:pt x="34" y="20"/>
                </a:lnTo>
                <a:lnTo>
                  <a:pt x="36" y="16"/>
                </a:lnTo>
                <a:lnTo>
                  <a:pt x="36" y="16"/>
                </a:lnTo>
                <a:lnTo>
                  <a:pt x="30" y="12"/>
                </a:lnTo>
                <a:lnTo>
                  <a:pt x="26" y="10"/>
                </a:lnTo>
                <a:lnTo>
                  <a:pt x="24" y="8"/>
                </a:lnTo>
                <a:lnTo>
                  <a:pt x="24" y="8"/>
                </a:lnTo>
                <a:lnTo>
                  <a:pt x="24" y="6"/>
                </a:lnTo>
                <a:lnTo>
                  <a:pt x="24" y="6"/>
                </a:lnTo>
                <a:close/>
                <a:moveTo>
                  <a:pt x="128" y="118"/>
                </a:moveTo>
                <a:lnTo>
                  <a:pt x="128" y="118"/>
                </a:lnTo>
                <a:lnTo>
                  <a:pt x="132" y="118"/>
                </a:lnTo>
                <a:lnTo>
                  <a:pt x="132" y="118"/>
                </a:lnTo>
                <a:lnTo>
                  <a:pt x="134" y="118"/>
                </a:lnTo>
                <a:lnTo>
                  <a:pt x="134" y="116"/>
                </a:lnTo>
                <a:lnTo>
                  <a:pt x="136" y="114"/>
                </a:lnTo>
                <a:lnTo>
                  <a:pt x="138" y="112"/>
                </a:lnTo>
                <a:lnTo>
                  <a:pt x="138" y="112"/>
                </a:lnTo>
                <a:lnTo>
                  <a:pt x="140" y="112"/>
                </a:lnTo>
                <a:lnTo>
                  <a:pt x="140" y="110"/>
                </a:lnTo>
                <a:lnTo>
                  <a:pt x="140" y="110"/>
                </a:lnTo>
                <a:lnTo>
                  <a:pt x="140" y="106"/>
                </a:lnTo>
                <a:lnTo>
                  <a:pt x="140" y="104"/>
                </a:lnTo>
                <a:lnTo>
                  <a:pt x="140" y="102"/>
                </a:lnTo>
                <a:lnTo>
                  <a:pt x="140" y="102"/>
                </a:lnTo>
                <a:lnTo>
                  <a:pt x="142" y="102"/>
                </a:lnTo>
                <a:lnTo>
                  <a:pt x="144" y="102"/>
                </a:lnTo>
                <a:lnTo>
                  <a:pt x="146" y="104"/>
                </a:lnTo>
                <a:lnTo>
                  <a:pt x="148" y="104"/>
                </a:lnTo>
                <a:lnTo>
                  <a:pt x="148" y="104"/>
                </a:lnTo>
                <a:lnTo>
                  <a:pt x="150" y="100"/>
                </a:lnTo>
                <a:lnTo>
                  <a:pt x="154" y="100"/>
                </a:lnTo>
                <a:lnTo>
                  <a:pt x="154" y="100"/>
                </a:lnTo>
                <a:lnTo>
                  <a:pt x="158" y="100"/>
                </a:lnTo>
                <a:lnTo>
                  <a:pt x="160" y="100"/>
                </a:lnTo>
                <a:lnTo>
                  <a:pt x="162" y="100"/>
                </a:lnTo>
                <a:lnTo>
                  <a:pt x="162" y="100"/>
                </a:lnTo>
                <a:lnTo>
                  <a:pt x="170" y="98"/>
                </a:lnTo>
                <a:lnTo>
                  <a:pt x="174" y="98"/>
                </a:lnTo>
                <a:lnTo>
                  <a:pt x="180" y="94"/>
                </a:lnTo>
                <a:lnTo>
                  <a:pt x="180" y="94"/>
                </a:lnTo>
                <a:lnTo>
                  <a:pt x="184" y="94"/>
                </a:lnTo>
                <a:lnTo>
                  <a:pt x="188" y="94"/>
                </a:lnTo>
                <a:lnTo>
                  <a:pt x="194" y="94"/>
                </a:lnTo>
                <a:lnTo>
                  <a:pt x="198" y="92"/>
                </a:lnTo>
                <a:lnTo>
                  <a:pt x="198" y="92"/>
                </a:lnTo>
                <a:lnTo>
                  <a:pt x="204" y="88"/>
                </a:lnTo>
                <a:lnTo>
                  <a:pt x="210" y="86"/>
                </a:lnTo>
                <a:lnTo>
                  <a:pt x="210" y="90"/>
                </a:lnTo>
                <a:lnTo>
                  <a:pt x="210" y="90"/>
                </a:lnTo>
                <a:lnTo>
                  <a:pt x="214" y="92"/>
                </a:lnTo>
                <a:lnTo>
                  <a:pt x="214" y="92"/>
                </a:lnTo>
                <a:lnTo>
                  <a:pt x="218" y="90"/>
                </a:lnTo>
                <a:lnTo>
                  <a:pt x="218" y="90"/>
                </a:lnTo>
                <a:lnTo>
                  <a:pt x="220" y="90"/>
                </a:lnTo>
                <a:lnTo>
                  <a:pt x="222" y="92"/>
                </a:lnTo>
                <a:lnTo>
                  <a:pt x="224" y="92"/>
                </a:lnTo>
                <a:lnTo>
                  <a:pt x="226" y="92"/>
                </a:lnTo>
                <a:lnTo>
                  <a:pt x="226" y="92"/>
                </a:lnTo>
                <a:lnTo>
                  <a:pt x="230" y="88"/>
                </a:lnTo>
                <a:lnTo>
                  <a:pt x="232" y="90"/>
                </a:lnTo>
                <a:lnTo>
                  <a:pt x="234" y="94"/>
                </a:lnTo>
                <a:lnTo>
                  <a:pt x="238" y="90"/>
                </a:lnTo>
                <a:lnTo>
                  <a:pt x="244" y="92"/>
                </a:lnTo>
                <a:lnTo>
                  <a:pt x="244" y="92"/>
                </a:lnTo>
                <a:lnTo>
                  <a:pt x="244" y="90"/>
                </a:lnTo>
                <a:lnTo>
                  <a:pt x="244" y="86"/>
                </a:lnTo>
                <a:lnTo>
                  <a:pt x="244" y="86"/>
                </a:lnTo>
                <a:lnTo>
                  <a:pt x="242" y="82"/>
                </a:lnTo>
                <a:lnTo>
                  <a:pt x="242" y="78"/>
                </a:lnTo>
                <a:lnTo>
                  <a:pt x="242" y="78"/>
                </a:lnTo>
                <a:lnTo>
                  <a:pt x="238" y="74"/>
                </a:lnTo>
                <a:lnTo>
                  <a:pt x="236" y="70"/>
                </a:lnTo>
                <a:lnTo>
                  <a:pt x="238" y="68"/>
                </a:lnTo>
                <a:lnTo>
                  <a:pt x="238" y="68"/>
                </a:lnTo>
                <a:lnTo>
                  <a:pt x="240" y="66"/>
                </a:lnTo>
                <a:lnTo>
                  <a:pt x="240" y="62"/>
                </a:lnTo>
                <a:lnTo>
                  <a:pt x="240" y="62"/>
                </a:lnTo>
                <a:lnTo>
                  <a:pt x="240" y="60"/>
                </a:lnTo>
                <a:lnTo>
                  <a:pt x="240" y="58"/>
                </a:lnTo>
                <a:lnTo>
                  <a:pt x="240" y="58"/>
                </a:lnTo>
                <a:lnTo>
                  <a:pt x="238" y="54"/>
                </a:lnTo>
                <a:lnTo>
                  <a:pt x="238" y="54"/>
                </a:lnTo>
                <a:lnTo>
                  <a:pt x="240" y="52"/>
                </a:lnTo>
                <a:lnTo>
                  <a:pt x="240" y="52"/>
                </a:lnTo>
                <a:lnTo>
                  <a:pt x="242" y="48"/>
                </a:lnTo>
                <a:lnTo>
                  <a:pt x="242" y="48"/>
                </a:lnTo>
                <a:lnTo>
                  <a:pt x="244" y="48"/>
                </a:lnTo>
                <a:lnTo>
                  <a:pt x="244" y="48"/>
                </a:lnTo>
                <a:lnTo>
                  <a:pt x="248" y="50"/>
                </a:lnTo>
                <a:lnTo>
                  <a:pt x="248" y="50"/>
                </a:lnTo>
                <a:lnTo>
                  <a:pt x="250" y="46"/>
                </a:lnTo>
                <a:lnTo>
                  <a:pt x="250" y="46"/>
                </a:lnTo>
                <a:lnTo>
                  <a:pt x="252" y="44"/>
                </a:lnTo>
                <a:lnTo>
                  <a:pt x="250" y="42"/>
                </a:lnTo>
                <a:lnTo>
                  <a:pt x="246" y="38"/>
                </a:lnTo>
                <a:lnTo>
                  <a:pt x="246" y="38"/>
                </a:lnTo>
                <a:lnTo>
                  <a:pt x="238" y="36"/>
                </a:lnTo>
                <a:lnTo>
                  <a:pt x="234" y="34"/>
                </a:lnTo>
                <a:lnTo>
                  <a:pt x="232" y="32"/>
                </a:lnTo>
                <a:lnTo>
                  <a:pt x="232" y="30"/>
                </a:lnTo>
                <a:lnTo>
                  <a:pt x="232" y="30"/>
                </a:lnTo>
                <a:lnTo>
                  <a:pt x="234" y="26"/>
                </a:lnTo>
                <a:lnTo>
                  <a:pt x="236" y="24"/>
                </a:lnTo>
                <a:lnTo>
                  <a:pt x="236" y="24"/>
                </a:lnTo>
                <a:lnTo>
                  <a:pt x="238" y="22"/>
                </a:lnTo>
                <a:lnTo>
                  <a:pt x="236" y="18"/>
                </a:lnTo>
                <a:lnTo>
                  <a:pt x="234" y="14"/>
                </a:lnTo>
                <a:lnTo>
                  <a:pt x="232" y="14"/>
                </a:lnTo>
                <a:lnTo>
                  <a:pt x="232" y="14"/>
                </a:lnTo>
                <a:lnTo>
                  <a:pt x="232" y="12"/>
                </a:lnTo>
                <a:lnTo>
                  <a:pt x="232" y="10"/>
                </a:lnTo>
                <a:lnTo>
                  <a:pt x="230" y="10"/>
                </a:lnTo>
                <a:lnTo>
                  <a:pt x="230" y="10"/>
                </a:lnTo>
                <a:lnTo>
                  <a:pt x="222" y="12"/>
                </a:lnTo>
                <a:lnTo>
                  <a:pt x="222" y="12"/>
                </a:lnTo>
                <a:lnTo>
                  <a:pt x="220" y="10"/>
                </a:lnTo>
                <a:lnTo>
                  <a:pt x="216" y="8"/>
                </a:lnTo>
                <a:lnTo>
                  <a:pt x="216" y="8"/>
                </a:lnTo>
                <a:lnTo>
                  <a:pt x="212" y="8"/>
                </a:lnTo>
                <a:lnTo>
                  <a:pt x="208" y="8"/>
                </a:lnTo>
                <a:lnTo>
                  <a:pt x="208" y="8"/>
                </a:lnTo>
                <a:lnTo>
                  <a:pt x="206" y="10"/>
                </a:lnTo>
                <a:lnTo>
                  <a:pt x="206" y="8"/>
                </a:lnTo>
                <a:lnTo>
                  <a:pt x="204" y="8"/>
                </a:lnTo>
                <a:lnTo>
                  <a:pt x="204" y="8"/>
                </a:lnTo>
                <a:lnTo>
                  <a:pt x="202" y="8"/>
                </a:lnTo>
                <a:lnTo>
                  <a:pt x="202" y="8"/>
                </a:lnTo>
                <a:lnTo>
                  <a:pt x="200" y="10"/>
                </a:lnTo>
                <a:lnTo>
                  <a:pt x="200" y="10"/>
                </a:lnTo>
                <a:lnTo>
                  <a:pt x="198" y="14"/>
                </a:lnTo>
                <a:lnTo>
                  <a:pt x="198" y="14"/>
                </a:lnTo>
                <a:lnTo>
                  <a:pt x="194" y="16"/>
                </a:lnTo>
                <a:lnTo>
                  <a:pt x="190" y="16"/>
                </a:lnTo>
                <a:lnTo>
                  <a:pt x="190" y="16"/>
                </a:lnTo>
                <a:lnTo>
                  <a:pt x="188" y="18"/>
                </a:lnTo>
                <a:lnTo>
                  <a:pt x="186" y="20"/>
                </a:lnTo>
                <a:lnTo>
                  <a:pt x="182" y="20"/>
                </a:lnTo>
                <a:lnTo>
                  <a:pt x="182" y="20"/>
                </a:lnTo>
                <a:lnTo>
                  <a:pt x="180" y="18"/>
                </a:lnTo>
                <a:lnTo>
                  <a:pt x="176" y="16"/>
                </a:lnTo>
                <a:lnTo>
                  <a:pt x="176" y="16"/>
                </a:lnTo>
                <a:lnTo>
                  <a:pt x="172" y="20"/>
                </a:lnTo>
                <a:lnTo>
                  <a:pt x="172" y="20"/>
                </a:lnTo>
                <a:lnTo>
                  <a:pt x="166" y="20"/>
                </a:lnTo>
                <a:lnTo>
                  <a:pt x="158" y="20"/>
                </a:lnTo>
                <a:lnTo>
                  <a:pt x="158" y="20"/>
                </a:lnTo>
                <a:lnTo>
                  <a:pt x="156" y="18"/>
                </a:lnTo>
                <a:lnTo>
                  <a:pt x="156" y="18"/>
                </a:lnTo>
                <a:lnTo>
                  <a:pt x="150" y="18"/>
                </a:lnTo>
                <a:lnTo>
                  <a:pt x="150" y="18"/>
                </a:lnTo>
                <a:lnTo>
                  <a:pt x="148" y="14"/>
                </a:lnTo>
                <a:lnTo>
                  <a:pt x="148" y="14"/>
                </a:lnTo>
                <a:lnTo>
                  <a:pt x="144" y="12"/>
                </a:lnTo>
                <a:lnTo>
                  <a:pt x="138" y="12"/>
                </a:lnTo>
                <a:lnTo>
                  <a:pt x="138" y="16"/>
                </a:lnTo>
                <a:lnTo>
                  <a:pt x="138" y="16"/>
                </a:lnTo>
                <a:lnTo>
                  <a:pt x="134" y="16"/>
                </a:lnTo>
                <a:lnTo>
                  <a:pt x="134" y="16"/>
                </a:lnTo>
                <a:lnTo>
                  <a:pt x="130" y="6"/>
                </a:lnTo>
                <a:lnTo>
                  <a:pt x="130" y="6"/>
                </a:lnTo>
                <a:lnTo>
                  <a:pt x="124" y="6"/>
                </a:lnTo>
                <a:lnTo>
                  <a:pt x="118" y="4"/>
                </a:lnTo>
                <a:lnTo>
                  <a:pt x="118" y="4"/>
                </a:lnTo>
                <a:lnTo>
                  <a:pt x="118" y="0"/>
                </a:lnTo>
                <a:lnTo>
                  <a:pt x="118" y="0"/>
                </a:lnTo>
                <a:lnTo>
                  <a:pt x="114" y="2"/>
                </a:lnTo>
                <a:lnTo>
                  <a:pt x="108" y="4"/>
                </a:lnTo>
                <a:lnTo>
                  <a:pt x="108" y="4"/>
                </a:lnTo>
                <a:lnTo>
                  <a:pt x="102" y="2"/>
                </a:lnTo>
                <a:lnTo>
                  <a:pt x="98" y="0"/>
                </a:lnTo>
                <a:lnTo>
                  <a:pt x="94" y="0"/>
                </a:lnTo>
                <a:lnTo>
                  <a:pt x="94" y="2"/>
                </a:lnTo>
                <a:lnTo>
                  <a:pt x="94" y="2"/>
                </a:lnTo>
                <a:lnTo>
                  <a:pt x="88" y="2"/>
                </a:lnTo>
                <a:lnTo>
                  <a:pt x="82" y="4"/>
                </a:lnTo>
                <a:lnTo>
                  <a:pt x="82" y="4"/>
                </a:lnTo>
                <a:lnTo>
                  <a:pt x="80" y="8"/>
                </a:lnTo>
                <a:lnTo>
                  <a:pt x="80" y="8"/>
                </a:lnTo>
                <a:lnTo>
                  <a:pt x="72" y="10"/>
                </a:lnTo>
                <a:lnTo>
                  <a:pt x="72" y="14"/>
                </a:lnTo>
                <a:lnTo>
                  <a:pt x="72" y="14"/>
                </a:lnTo>
                <a:lnTo>
                  <a:pt x="66" y="18"/>
                </a:lnTo>
                <a:lnTo>
                  <a:pt x="66" y="18"/>
                </a:lnTo>
                <a:lnTo>
                  <a:pt x="60" y="18"/>
                </a:lnTo>
                <a:lnTo>
                  <a:pt x="56" y="16"/>
                </a:lnTo>
                <a:lnTo>
                  <a:pt x="56" y="16"/>
                </a:lnTo>
                <a:lnTo>
                  <a:pt x="56" y="16"/>
                </a:lnTo>
                <a:lnTo>
                  <a:pt x="54" y="16"/>
                </a:lnTo>
                <a:lnTo>
                  <a:pt x="52" y="18"/>
                </a:lnTo>
                <a:lnTo>
                  <a:pt x="52" y="18"/>
                </a:lnTo>
                <a:lnTo>
                  <a:pt x="40" y="16"/>
                </a:lnTo>
                <a:lnTo>
                  <a:pt x="38" y="20"/>
                </a:lnTo>
                <a:lnTo>
                  <a:pt x="38" y="20"/>
                </a:lnTo>
                <a:lnTo>
                  <a:pt x="48" y="24"/>
                </a:lnTo>
                <a:lnTo>
                  <a:pt x="48" y="24"/>
                </a:lnTo>
                <a:lnTo>
                  <a:pt x="40" y="24"/>
                </a:lnTo>
                <a:lnTo>
                  <a:pt x="38" y="24"/>
                </a:lnTo>
                <a:lnTo>
                  <a:pt x="38" y="24"/>
                </a:lnTo>
                <a:lnTo>
                  <a:pt x="40" y="26"/>
                </a:lnTo>
                <a:lnTo>
                  <a:pt x="40" y="26"/>
                </a:lnTo>
                <a:lnTo>
                  <a:pt x="30" y="30"/>
                </a:lnTo>
                <a:lnTo>
                  <a:pt x="30" y="30"/>
                </a:lnTo>
                <a:lnTo>
                  <a:pt x="28" y="30"/>
                </a:lnTo>
                <a:lnTo>
                  <a:pt x="26" y="28"/>
                </a:lnTo>
                <a:lnTo>
                  <a:pt x="24" y="28"/>
                </a:lnTo>
                <a:lnTo>
                  <a:pt x="22" y="28"/>
                </a:lnTo>
                <a:lnTo>
                  <a:pt x="22" y="28"/>
                </a:lnTo>
                <a:lnTo>
                  <a:pt x="22" y="32"/>
                </a:lnTo>
                <a:lnTo>
                  <a:pt x="22" y="32"/>
                </a:lnTo>
                <a:lnTo>
                  <a:pt x="14" y="32"/>
                </a:lnTo>
                <a:lnTo>
                  <a:pt x="10" y="32"/>
                </a:lnTo>
                <a:lnTo>
                  <a:pt x="0" y="40"/>
                </a:lnTo>
                <a:lnTo>
                  <a:pt x="0" y="40"/>
                </a:lnTo>
                <a:lnTo>
                  <a:pt x="2" y="42"/>
                </a:lnTo>
                <a:lnTo>
                  <a:pt x="2" y="46"/>
                </a:lnTo>
                <a:lnTo>
                  <a:pt x="0" y="50"/>
                </a:lnTo>
                <a:lnTo>
                  <a:pt x="0" y="50"/>
                </a:lnTo>
                <a:lnTo>
                  <a:pt x="10" y="50"/>
                </a:lnTo>
                <a:lnTo>
                  <a:pt x="10" y="50"/>
                </a:lnTo>
                <a:lnTo>
                  <a:pt x="10" y="58"/>
                </a:lnTo>
                <a:lnTo>
                  <a:pt x="8" y="64"/>
                </a:lnTo>
                <a:lnTo>
                  <a:pt x="8" y="64"/>
                </a:lnTo>
                <a:lnTo>
                  <a:pt x="12" y="66"/>
                </a:lnTo>
                <a:lnTo>
                  <a:pt x="12" y="68"/>
                </a:lnTo>
                <a:lnTo>
                  <a:pt x="12" y="68"/>
                </a:lnTo>
                <a:lnTo>
                  <a:pt x="10" y="70"/>
                </a:lnTo>
                <a:lnTo>
                  <a:pt x="10" y="70"/>
                </a:lnTo>
                <a:lnTo>
                  <a:pt x="8" y="70"/>
                </a:lnTo>
                <a:lnTo>
                  <a:pt x="6" y="68"/>
                </a:lnTo>
                <a:lnTo>
                  <a:pt x="6" y="68"/>
                </a:lnTo>
                <a:lnTo>
                  <a:pt x="4" y="68"/>
                </a:lnTo>
                <a:lnTo>
                  <a:pt x="4" y="70"/>
                </a:lnTo>
                <a:lnTo>
                  <a:pt x="4" y="70"/>
                </a:lnTo>
                <a:lnTo>
                  <a:pt x="4" y="70"/>
                </a:lnTo>
                <a:lnTo>
                  <a:pt x="4" y="72"/>
                </a:lnTo>
                <a:lnTo>
                  <a:pt x="4" y="76"/>
                </a:lnTo>
                <a:lnTo>
                  <a:pt x="4" y="76"/>
                </a:lnTo>
                <a:lnTo>
                  <a:pt x="10" y="74"/>
                </a:lnTo>
                <a:lnTo>
                  <a:pt x="10" y="74"/>
                </a:lnTo>
                <a:lnTo>
                  <a:pt x="14" y="78"/>
                </a:lnTo>
                <a:lnTo>
                  <a:pt x="14" y="78"/>
                </a:lnTo>
                <a:lnTo>
                  <a:pt x="14" y="86"/>
                </a:lnTo>
                <a:lnTo>
                  <a:pt x="14" y="94"/>
                </a:lnTo>
                <a:lnTo>
                  <a:pt x="14" y="94"/>
                </a:lnTo>
                <a:lnTo>
                  <a:pt x="24" y="94"/>
                </a:lnTo>
                <a:lnTo>
                  <a:pt x="24" y="94"/>
                </a:lnTo>
                <a:lnTo>
                  <a:pt x="24" y="98"/>
                </a:lnTo>
                <a:lnTo>
                  <a:pt x="24" y="100"/>
                </a:lnTo>
                <a:lnTo>
                  <a:pt x="24" y="100"/>
                </a:lnTo>
                <a:lnTo>
                  <a:pt x="30" y="98"/>
                </a:lnTo>
                <a:lnTo>
                  <a:pt x="30" y="98"/>
                </a:lnTo>
                <a:lnTo>
                  <a:pt x="32" y="102"/>
                </a:lnTo>
                <a:lnTo>
                  <a:pt x="32" y="102"/>
                </a:lnTo>
                <a:lnTo>
                  <a:pt x="34" y="102"/>
                </a:lnTo>
                <a:lnTo>
                  <a:pt x="38" y="102"/>
                </a:lnTo>
                <a:lnTo>
                  <a:pt x="38" y="102"/>
                </a:lnTo>
                <a:lnTo>
                  <a:pt x="38" y="104"/>
                </a:lnTo>
                <a:lnTo>
                  <a:pt x="38" y="106"/>
                </a:lnTo>
                <a:lnTo>
                  <a:pt x="38" y="106"/>
                </a:lnTo>
                <a:lnTo>
                  <a:pt x="48" y="116"/>
                </a:lnTo>
                <a:lnTo>
                  <a:pt x="48" y="116"/>
                </a:lnTo>
                <a:lnTo>
                  <a:pt x="56" y="110"/>
                </a:lnTo>
                <a:lnTo>
                  <a:pt x="60" y="100"/>
                </a:lnTo>
                <a:lnTo>
                  <a:pt x="60" y="100"/>
                </a:lnTo>
                <a:lnTo>
                  <a:pt x="70" y="102"/>
                </a:lnTo>
                <a:lnTo>
                  <a:pt x="78" y="106"/>
                </a:lnTo>
                <a:lnTo>
                  <a:pt x="78" y="106"/>
                </a:lnTo>
                <a:lnTo>
                  <a:pt x="82" y="110"/>
                </a:lnTo>
                <a:lnTo>
                  <a:pt x="86" y="112"/>
                </a:lnTo>
                <a:lnTo>
                  <a:pt x="86" y="112"/>
                </a:lnTo>
                <a:lnTo>
                  <a:pt x="92" y="114"/>
                </a:lnTo>
                <a:lnTo>
                  <a:pt x="98" y="112"/>
                </a:lnTo>
                <a:lnTo>
                  <a:pt x="108" y="108"/>
                </a:lnTo>
                <a:lnTo>
                  <a:pt x="108" y="108"/>
                </a:lnTo>
                <a:lnTo>
                  <a:pt x="110" y="106"/>
                </a:lnTo>
                <a:lnTo>
                  <a:pt x="112" y="102"/>
                </a:lnTo>
                <a:lnTo>
                  <a:pt x="112" y="102"/>
                </a:lnTo>
                <a:lnTo>
                  <a:pt x="116" y="102"/>
                </a:lnTo>
                <a:lnTo>
                  <a:pt x="120" y="104"/>
                </a:lnTo>
                <a:lnTo>
                  <a:pt x="126" y="96"/>
                </a:lnTo>
                <a:lnTo>
                  <a:pt x="126" y="96"/>
                </a:lnTo>
                <a:lnTo>
                  <a:pt x="128" y="96"/>
                </a:lnTo>
                <a:lnTo>
                  <a:pt x="128" y="96"/>
                </a:lnTo>
                <a:lnTo>
                  <a:pt x="130" y="102"/>
                </a:lnTo>
                <a:lnTo>
                  <a:pt x="128" y="106"/>
                </a:lnTo>
                <a:lnTo>
                  <a:pt x="128" y="106"/>
                </a:lnTo>
                <a:lnTo>
                  <a:pt x="126" y="108"/>
                </a:lnTo>
                <a:lnTo>
                  <a:pt x="126" y="108"/>
                </a:lnTo>
                <a:lnTo>
                  <a:pt x="126" y="112"/>
                </a:lnTo>
                <a:lnTo>
                  <a:pt x="126" y="112"/>
                </a:lnTo>
                <a:lnTo>
                  <a:pt x="126" y="112"/>
                </a:lnTo>
                <a:lnTo>
                  <a:pt x="126" y="116"/>
                </a:lnTo>
                <a:lnTo>
                  <a:pt x="126" y="116"/>
                </a:lnTo>
                <a:lnTo>
                  <a:pt x="128" y="118"/>
                </a:lnTo>
                <a:lnTo>
                  <a:pt x="128" y="1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4" name="Freeform 28">
            <a:extLst>
              <a:ext uri="{FF2B5EF4-FFF2-40B4-BE49-F238E27FC236}">
                <a16:creationId xmlns:a16="http://schemas.microsoft.com/office/drawing/2014/main" id="{39350D87-8CDD-4CB1-9611-6D1FDD67291B}"/>
              </a:ext>
            </a:extLst>
          </p:cNvPr>
          <p:cNvSpPr>
            <a:spLocks/>
          </p:cNvSpPr>
          <p:nvPr userDrawn="1"/>
        </p:nvSpPr>
        <p:spPr bwMode="auto">
          <a:xfrm>
            <a:off x="6016811" y="2592712"/>
            <a:ext cx="92237" cy="202487"/>
          </a:xfrm>
          <a:custGeom>
            <a:avLst/>
            <a:gdLst>
              <a:gd name="T0" fmla="*/ 55 w 55"/>
              <a:gd name="T1" fmla="*/ 70 h 118"/>
              <a:gd name="T2" fmla="*/ 49 w 55"/>
              <a:gd name="T3" fmla="*/ 68 h 118"/>
              <a:gd name="T4" fmla="*/ 42 w 55"/>
              <a:gd name="T5" fmla="*/ 64 h 118"/>
              <a:gd name="T6" fmla="*/ 42 w 55"/>
              <a:gd name="T7" fmla="*/ 60 h 118"/>
              <a:gd name="T8" fmla="*/ 42 w 55"/>
              <a:gd name="T9" fmla="*/ 56 h 118"/>
              <a:gd name="T10" fmla="*/ 49 w 55"/>
              <a:gd name="T11" fmla="*/ 48 h 118"/>
              <a:gd name="T12" fmla="*/ 49 w 55"/>
              <a:gd name="T13" fmla="*/ 44 h 118"/>
              <a:gd name="T14" fmla="*/ 51 w 55"/>
              <a:gd name="T15" fmla="*/ 44 h 118"/>
              <a:gd name="T16" fmla="*/ 49 w 55"/>
              <a:gd name="T17" fmla="*/ 36 h 118"/>
              <a:gd name="T18" fmla="*/ 51 w 55"/>
              <a:gd name="T19" fmla="*/ 30 h 118"/>
              <a:gd name="T20" fmla="*/ 46 w 55"/>
              <a:gd name="T21" fmla="*/ 30 h 118"/>
              <a:gd name="T22" fmla="*/ 46 w 55"/>
              <a:gd name="T23" fmla="*/ 20 h 118"/>
              <a:gd name="T24" fmla="*/ 46 w 55"/>
              <a:gd name="T25" fmla="*/ 20 h 118"/>
              <a:gd name="T26" fmla="*/ 53 w 55"/>
              <a:gd name="T27" fmla="*/ 14 h 118"/>
              <a:gd name="T28" fmla="*/ 55 w 55"/>
              <a:gd name="T29" fmla="*/ 6 h 118"/>
              <a:gd name="T30" fmla="*/ 49 w 55"/>
              <a:gd name="T31" fmla="*/ 8 h 118"/>
              <a:gd name="T32" fmla="*/ 44 w 55"/>
              <a:gd name="T33" fmla="*/ 6 h 118"/>
              <a:gd name="T34" fmla="*/ 42 w 55"/>
              <a:gd name="T35" fmla="*/ 2 h 118"/>
              <a:gd name="T36" fmla="*/ 40 w 55"/>
              <a:gd name="T37" fmla="*/ 0 h 118"/>
              <a:gd name="T38" fmla="*/ 38 w 55"/>
              <a:gd name="T39" fmla="*/ 2 h 118"/>
              <a:gd name="T40" fmla="*/ 38 w 55"/>
              <a:gd name="T41" fmla="*/ 0 h 118"/>
              <a:gd name="T42" fmla="*/ 28 w 55"/>
              <a:gd name="T43" fmla="*/ 4 h 118"/>
              <a:gd name="T44" fmla="*/ 18 w 55"/>
              <a:gd name="T45" fmla="*/ 4 h 118"/>
              <a:gd name="T46" fmla="*/ 8 w 55"/>
              <a:gd name="T47" fmla="*/ 4 h 118"/>
              <a:gd name="T48" fmla="*/ 8 w 55"/>
              <a:gd name="T49" fmla="*/ 14 h 118"/>
              <a:gd name="T50" fmla="*/ 10 w 55"/>
              <a:gd name="T51" fmla="*/ 16 h 118"/>
              <a:gd name="T52" fmla="*/ 12 w 55"/>
              <a:gd name="T53" fmla="*/ 24 h 118"/>
              <a:gd name="T54" fmla="*/ 12 w 55"/>
              <a:gd name="T55" fmla="*/ 30 h 118"/>
              <a:gd name="T56" fmla="*/ 14 w 55"/>
              <a:gd name="T57" fmla="*/ 38 h 118"/>
              <a:gd name="T58" fmla="*/ 12 w 55"/>
              <a:gd name="T59" fmla="*/ 42 h 118"/>
              <a:gd name="T60" fmla="*/ 10 w 55"/>
              <a:gd name="T61" fmla="*/ 44 h 118"/>
              <a:gd name="T62" fmla="*/ 8 w 55"/>
              <a:gd name="T63" fmla="*/ 50 h 118"/>
              <a:gd name="T64" fmla="*/ 4 w 55"/>
              <a:gd name="T65" fmla="*/ 54 h 118"/>
              <a:gd name="T66" fmla="*/ 0 w 55"/>
              <a:gd name="T67" fmla="*/ 58 h 118"/>
              <a:gd name="T68" fmla="*/ 2 w 55"/>
              <a:gd name="T69" fmla="*/ 72 h 118"/>
              <a:gd name="T70" fmla="*/ 4 w 55"/>
              <a:gd name="T71" fmla="*/ 72 h 118"/>
              <a:gd name="T72" fmla="*/ 8 w 55"/>
              <a:gd name="T73" fmla="*/ 74 h 118"/>
              <a:gd name="T74" fmla="*/ 10 w 55"/>
              <a:gd name="T75" fmla="*/ 86 h 118"/>
              <a:gd name="T76" fmla="*/ 22 w 55"/>
              <a:gd name="T77" fmla="*/ 118 h 118"/>
              <a:gd name="T78" fmla="*/ 26 w 55"/>
              <a:gd name="T79" fmla="*/ 118 h 118"/>
              <a:gd name="T80" fmla="*/ 30 w 55"/>
              <a:gd name="T81" fmla="*/ 116 h 118"/>
              <a:gd name="T82" fmla="*/ 30 w 55"/>
              <a:gd name="T83" fmla="*/ 112 h 118"/>
              <a:gd name="T84" fmla="*/ 34 w 55"/>
              <a:gd name="T85" fmla="*/ 108 h 118"/>
              <a:gd name="T86" fmla="*/ 34 w 55"/>
              <a:gd name="T87" fmla="*/ 106 h 118"/>
              <a:gd name="T88" fmla="*/ 34 w 55"/>
              <a:gd name="T89" fmla="*/ 94 h 118"/>
              <a:gd name="T90" fmla="*/ 34 w 55"/>
              <a:gd name="T91" fmla="*/ 92 h 118"/>
              <a:gd name="T92" fmla="*/ 38 w 55"/>
              <a:gd name="T93" fmla="*/ 92 h 118"/>
              <a:gd name="T94" fmla="*/ 44 w 55"/>
              <a:gd name="T95" fmla="*/ 90 h 118"/>
              <a:gd name="T96" fmla="*/ 49 w 55"/>
              <a:gd name="T97" fmla="*/ 86 h 118"/>
              <a:gd name="T98" fmla="*/ 51 w 55"/>
              <a:gd name="T99" fmla="*/ 80 h 118"/>
              <a:gd name="T100" fmla="*/ 55 w 55"/>
              <a:gd name="T101"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 h="118">
                <a:moveTo>
                  <a:pt x="55" y="70"/>
                </a:moveTo>
                <a:lnTo>
                  <a:pt x="55" y="70"/>
                </a:lnTo>
                <a:lnTo>
                  <a:pt x="49" y="68"/>
                </a:lnTo>
                <a:lnTo>
                  <a:pt x="49" y="68"/>
                </a:lnTo>
                <a:lnTo>
                  <a:pt x="44" y="66"/>
                </a:lnTo>
                <a:lnTo>
                  <a:pt x="42" y="64"/>
                </a:lnTo>
                <a:lnTo>
                  <a:pt x="42" y="64"/>
                </a:lnTo>
                <a:lnTo>
                  <a:pt x="42" y="60"/>
                </a:lnTo>
                <a:lnTo>
                  <a:pt x="42" y="56"/>
                </a:lnTo>
                <a:lnTo>
                  <a:pt x="42" y="56"/>
                </a:lnTo>
                <a:lnTo>
                  <a:pt x="49" y="48"/>
                </a:lnTo>
                <a:lnTo>
                  <a:pt x="49" y="48"/>
                </a:lnTo>
                <a:lnTo>
                  <a:pt x="49" y="44"/>
                </a:lnTo>
                <a:lnTo>
                  <a:pt x="49" y="44"/>
                </a:lnTo>
                <a:lnTo>
                  <a:pt x="51" y="44"/>
                </a:lnTo>
                <a:lnTo>
                  <a:pt x="51" y="44"/>
                </a:lnTo>
                <a:lnTo>
                  <a:pt x="51" y="40"/>
                </a:lnTo>
                <a:lnTo>
                  <a:pt x="49" y="36"/>
                </a:lnTo>
                <a:lnTo>
                  <a:pt x="49" y="36"/>
                </a:lnTo>
                <a:lnTo>
                  <a:pt x="51" y="30"/>
                </a:lnTo>
                <a:lnTo>
                  <a:pt x="51" y="30"/>
                </a:lnTo>
                <a:lnTo>
                  <a:pt x="46" y="30"/>
                </a:lnTo>
                <a:lnTo>
                  <a:pt x="46" y="30"/>
                </a:lnTo>
                <a:lnTo>
                  <a:pt x="46" y="20"/>
                </a:lnTo>
                <a:lnTo>
                  <a:pt x="46" y="20"/>
                </a:lnTo>
                <a:lnTo>
                  <a:pt x="46" y="20"/>
                </a:lnTo>
                <a:lnTo>
                  <a:pt x="46" y="20"/>
                </a:lnTo>
                <a:lnTo>
                  <a:pt x="53" y="14"/>
                </a:lnTo>
                <a:lnTo>
                  <a:pt x="55" y="8"/>
                </a:lnTo>
                <a:lnTo>
                  <a:pt x="55" y="6"/>
                </a:lnTo>
                <a:lnTo>
                  <a:pt x="53" y="6"/>
                </a:lnTo>
                <a:lnTo>
                  <a:pt x="49" y="8"/>
                </a:lnTo>
                <a:lnTo>
                  <a:pt x="49" y="8"/>
                </a:lnTo>
                <a:lnTo>
                  <a:pt x="44" y="6"/>
                </a:lnTo>
                <a:lnTo>
                  <a:pt x="44" y="6"/>
                </a:lnTo>
                <a:lnTo>
                  <a:pt x="42" y="2"/>
                </a:lnTo>
                <a:lnTo>
                  <a:pt x="40" y="0"/>
                </a:lnTo>
                <a:lnTo>
                  <a:pt x="40" y="0"/>
                </a:lnTo>
                <a:lnTo>
                  <a:pt x="40" y="2"/>
                </a:lnTo>
                <a:lnTo>
                  <a:pt x="38" y="2"/>
                </a:lnTo>
                <a:lnTo>
                  <a:pt x="38" y="0"/>
                </a:lnTo>
                <a:lnTo>
                  <a:pt x="38" y="0"/>
                </a:lnTo>
                <a:lnTo>
                  <a:pt x="32" y="0"/>
                </a:lnTo>
                <a:lnTo>
                  <a:pt x="28" y="4"/>
                </a:lnTo>
                <a:lnTo>
                  <a:pt x="28" y="4"/>
                </a:lnTo>
                <a:lnTo>
                  <a:pt x="18" y="4"/>
                </a:lnTo>
                <a:lnTo>
                  <a:pt x="8" y="4"/>
                </a:lnTo>
                <a:lnTo>
                  <a:pt x="8" y="4"/>
                </a:lnTo>
                <a:lnTo>
                  <a:pt x="8" y="10"/>
                </a:lnTo>
                <a:lnTo>
                  <a:pt x="8" y="14"/>
                </a:lnTo>
                <a:lnTo>
                  <a:pt x="10" y="16"/>
                </a:lnTo>
                <a:lnTo>
                  <a:pt x="10" y="16"/>
                </a:lnTo>
                <a:lnTo>
                  <a:pt x="12" y="20"/>
                </a:lnTo>
                <a:lnTo>
                  <a:pt x="12" y="24"/>
                </a:lnTo>
                <a:lnTo>
                  <a:pt x="12" y="24"/>
                </a:lnTo>
                <a:lnTo>
                  <a:pt x="12" y="30"/>
                </a:lnTo>
                <a:lnTo>
                  <a:pt x="14" y="38"/>
                </a:lnTo>
                <a:lnTo>
                  <a:pt x="14" y="38"/>
                </a:lnTo>
                <a:lnTo>
                  <a:pt x="14" y="40"/>
                </a:lnTo>
                <a:lnTo>
                  <a:pt x="12" y="42"/>
                </a:lnTo>
                <a:lnTo>
                  <a:pt x="12" y="44"/>
                </a:lnTo>
                <a:lnTo>
                  <a:pt x="10" y="44"/>
                </a:lnTo>
                <a:lnTo>
                  <a:pt x="10" y="44"/>
                </a:lnTo>
                <a:lnTo>
                  <a:pt x="8" y="50"/>
                </a:lnTo>
                <a:lnTo>
                  <a:pt x="4" y="54"/>
                </a:lnTo>
                <a:lnTo>
                  <a:pt x="4" y="54"/>
                </a:lnTo>
                <a:lnTo>
                  <a:pt x="0" y="54"/>
                </a:lnTo>
                <a:lnTo>
                  <a:pt x="0" y="58"/>
                </a:lnTo>
                <a:lnTo>
                  <a:pt x="0" y="58"/>
                </a:lnTo>
                <a:lnTo>
                  <a:pt x="2" y="72"/>
                </a:lnTo>
                <a:lnTo>
                  <a:pt x="2" y="72"/>
                </a:lnTo>
                <a:lnTo>
                  <a:pt x="4" y="72"/>
                </a:lnTo>
                <a:lnTo>
                  <a:pt x="6" y="72"/>
                </a:lnTo>
                <a:lnTo>
                  <a:pt x="8" y="74"/>
                </a:lnTo>
                <a:lnTo>
                  <a:pt x="8" y="74"/>
                </a:lnTo>
                <a:lnTo>
                  <a:pt x="10" y="86"/>
                </a:lnTo>
                <a:lnTo>
                  <a:pt x="18" y="88"/>
                </a:lnTo>
                <a:lnTo>
                  <a:pt x="22" y="118"/>
                </a:lnTo>
                <a:lnTo>
                  <a:pt x="26" y="118"/>
                </a:lnTo>
                <a:lnTo>
                  <a:pt x="26" y="118"/>
                </a:lnTo>
                <a:lnTo>
                  <a:pt x="28" y="116"/>
                </a:lnTo>
                <a:lnTo>
                  <a:pt x="30" y="116"/>
                </a:lnTo>
                <a:lnTo>
                  <a:pt x="30" y="112"/>
                </a:lnTo>
                <a:lnTo>
                  <a:pt x="30" y="112"/>
                </a:lnTo>
                <a:lnTo>
                  <a:pt x="32" y="110"/>
                </a:lnTo>
                <a:lnTo>
                  <a:pt x="34" y="108"/>
                </a:lnTo>
                <a:lnTo>
                  <a:pt x="34" y="106"/>
                </a:lnTo>
                <a:lnTo>
                  <a:pt x="34" y="106"/>
                </a:lnTo>
                <a:lnTo>
                  <a:pt x="32" y="98"/>
                </a:lnTo>
                <a:lnTo>
                  <a:pt x="34" y="94"/>
                </a:lnTo>
                <a:lnTo>
                  <a:pt x="34" y="94"/>
                </a:lnTo>
                <a:lnTo>
                  <a:pt x="34" y="92"/>
                </a:lnTo>
                <a:lnTo>
                  <a:pt x="38" y="92"/>
                </a:lnTo>
                <a:lnTo>
                  <a:pt x="38" y="92"/>
                </a:lnTo>
                <a:lnTo>
                  <a:pt x="42" y="90"/>
                </a:lnTo>
                <a:lnTo>
                  <a:pt x="44" y="90"/>
                </a:lnTo>
                <a:lnTo>
                  <a:pt x="49" y="86"/>
                </a:lnTo>
                <a:lnTo>
                  <a:pt x="49" y="86"/>
                </a:lnTo>
                <a:lnTo>
                  <a:pt x="51" y="82"/>
                </a:lnTo>
                <a:lnTo>
                  <a:pt x="51" y="80"/>
                </a:lnTo>
                <a:lnTo>
                  <a:pt x="51" y="78"/>
                </a:lnTo>
                <a:lnTo>
                  <a:pt x="55"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5" name="Freeform 29">
            <a:extLst>
              <a:ext uri="{FF2B5EF4-FFF2-40B4-BE49-F238E27FC236}">
                <a16:creationId xmlns:a16="http://schemas.microsoft.com/office/drawing/2014/main" id="{8EA39C6F-B4FF-4CA7-B7ED-F9E555C4C7FA}"/>
              </a:ext>
            </a:extLst>
          </p:cNvPr>
          <p:cNvSpPr>
            <a:spLocks/>
          </p:cNvSpPr>
          <p:nvPr userDrawn="1"/>
        </p:nvSpPr>
        <p:spPr bwMode="auto">
          <a:xfrm>
            <a:off x="5849107" y="3347746"/>
            <a:ext cx="43603" cy="175030"/>
          </a:xfrm>
          <a:custGeom>
            <a:avLst/>
            <a:gdLst>
              <a:gd name="T0" fmla="*/ 16 w 26"/>
              <a:gd name="T1" fmla="*/ 100 h 102"/>
              <a:gd name="T2" fmla="*/ 20 w 26"/>
              <a:gd name="T3" fmla="*/ 94 h 102"/>
              <a:gd name="T4" fmla="*/ 20 w 26"/>
              <a:gd name="T5" fmla="*/ 100 h 102"/>
              <a:gd name="T6" fmla="*/ 18 w 26"/>
              <a:gd name="T7" fmla="*/ 102 h 102"/>
              <a:gd name="T8" fmla="*/ 20 w 26"/>
              <a:gd name="T9" fmla="*/ 102 h 102"/>
              <a:gd name="T10" fmla="*/ 22 w 26"/>
              <a:gd name="T11" fmla="*/ 98 h 102"/>
              <a:gd name="T12" fmla="*/ 24 w 26"/>
              <a:gd name="T13" fmla="*/ 98 h 102"/>
              <a:gd name="T14" fmla="*/ 26 w 26"/>
              <a:gd name="T15" fmla="*/ 98 h 102"/>
              <a:gd name="T16" fmla="*/ 24 w 26"/>
              <a:gd name="T17" fmla="*/ 90 h 102"/>
              <a:gd name="T18" fmla="*/ 24 w 26"/>
              <a:gd name="T19" fmla="*/ 86 h 102"/>
              <a:gd name="T20" fmla="*/ 24 w 26"/>
              <a:gd name="T21" fmla="*/ 84 h 102"/>
              <a:gd name="T22" fmla="*/ 22 w 26"/>
              <a:gd name="T23" fmla="*/ 78 h 102"/>
              <a:gd name="T24" fmla="*/ 24 w 26"/>
              <a:gd name="T25" fmla="*/ 68 h 102"/>
              <a:gd name="T26" fmla="*/ 24 w 26"/>
              <a:gd name="T27" fmla="*/ 64 h 102"/>
              <a:gd name="T28" fmla="*/ 24 w 26"/>
              <a:gd name="T29" fmla="*/ 58 h 102"/>
              <a:gd name="T30" fmla="*/ 24 w 26"/>
              <a:gd name="T31" fmla="*/ 46 h 102"/>
              <a:gd name="T32" fmla="*/ 24 w 26"/>
              <a:gd name="T33" fmla="*/ 38 h 102"/>
              <a:gd name="T34" fmla="*/ 24 w 26"/>
              <a:gd name="T35" fmla="*/ 36 h 102"/>
              <a:gd name="T36" fmla="*/ 22 w 26"/>
              <a:gd name="T37" fmla="*/ 28 h 102"/>
              <a:gd name="T38" fmla="*/ 22 w 26"/>
              <a:gd name="T39" fmla="*/ 22 h 102"/>
              <a:gd name="T40" fmla="*/ 12 w 26"/>
              <a:gd name="T41" fmla="*/ 16 h 102"/>
              <a:gd name="T42" fmla="*/ 12 w 26"/>
              <a:gd name="T43" fmla="*/ 2 h 102"/>
              <a:gd name="T44" fmla="*/ 6 w 26"/>
              <a:gd name="T45" fmla="*/ 2 h 102"/>
              <a:gd name="T46" fmla="*/ 0 w 26"/>
              <a:gd name="T47" fmla="*/ 0 h 102"/>
              <a:gd name="T48" fmla="*/ 0 w 26"/>
              <a:gd name="T49" fmla="*/ 12 h 102"/>
              <a:gd name="T50" fmla="*/ 0 w 26"/>
              <a:gd name="T51" fmla="*/ 14 h 102"/>
              <a:gd name="T52" fmla="*/ 4 w 26"/>
              <a:gd name="T53" fmla="*/ 22 h 102"/>
              <a:gd name="T54" fmla="*/ 6 w 26"/>
              <a:gd name="T55" fmla="*/ 28 h 102"/>
              <a:gd name="T56" fmla="*/ 4 w 26"/>
              <a:gd name="T57" fmla="*/ 34 h 102"/>
              <a:gd name="T58" fmla="*/ 4 w 26"/>
              <a:gd name="T59" fmla="*/ 38 h 102"/>
              <a:gd name="T60" fmla="*/ 6 w 26"/>
              <a:gd name="T61" fmla="*/ 40 h 102"/>
              <a:gd name="T62" fmla="*/ 4 w 26"/>
              <a:gd name="T63" fmla="*/ 46 h 102"/>
              <a:gd name="T64" fmla="*/ 4 w 26"/>
              <a:gd name="T65" fmla="*/ 52 h 102"/>
              <a:gd name="T66" fmla="*/ 8 w 26"/>
              <a:gd name="T67" fmla="*/ 56 h 102"/>
              <a:gd name="T68" fmla="*/ 10 w 26"/>
              <a:gd name="T69" fmla="*/ 60 h 102"/>
              <a:gd name="T70" fmla="*/ 8 w 26"/>
              <a:gd name="T71" fmla="*/ 74 h 102"/>
              <a:gd name="T72" fmla="*/ 8 w 26"/>
              <a:gd name="T73" fmla="*/ 80 h 102"/>
              <a:gd name="T74" fmla="*/ 8 w 26"/>
              <a:gd name="T75" fmla="*/ 82 h 102"/>
              <a:gd name="T76" fmla="*/ 8 w 26"/>
              <a:gd name="T77" fmla="*/ 84 h 102"/>
              <a:gd name="T78" fmla="*/ 8 w 26"/>
              <a:gd name="T79" fmla="*/ 84 h 102"/>
              <a:gd name="T80" fmla="*/ 16 w 26"/>
              <a:gd name="T81" fmla="*/ 10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102">
                <a:moveTo>
                  <a:pt x="16" y="100"/>
                </a:moveTo>
                <a:lnTo>
                  <a:pt x="16" y="100"/>
                </a:lnTo>
                <a:lnTo>
                  <a:pt x="20" y="94"/>
                </a:lnTo>
                <a:lnTo>
                  <a:pt x="20" y="94"/>
                </a:lnTo>
                <a:lnTo>
                  <a:pt x="20" y="98"/>
                </a:lnTo>
                <a:lnTo>
                  <a:pt x="20" y="100"/>
                </a:lnTo>
                <a:lnTo>
                  <a:pt x="20" y="100"/>
                </a:lnTo>
                <a:lnTo>
                  <a:pt x="18" y="102"/>
                </a:lnTo>
                <a:lnTo>
                  <a:pt x="18" y="102"/>
                </a:lnTo>
                <a:lnTo>
                  <a:pt x="20" y="102"/>
                </a:lnTo>
                <a:lnTo>
                  <a:pt x="20" y="102"/>
                </a:lnTo>
                <a:lnTo>
                  <a:pt x="22" y="98"/>
                </a:lnTo>
                <a:lnTo>
                  <a:pt x="22" y="98"/>
                </a:lnTo>
                <a:lnTo>
                  <a:pt x="24" y="98"/>
                </a:lnTo>
                <a:lnTo>
                  <a:pt x="26" y="98"/>
                </a:lnTo>
                <a:lnTo>
                  <a:pt x="26" y="98"/>
                </a:lnTo>
                <a:lnTo>
                  <a:pt x="26" y="96"/>
                </a:lnTo>
                <a:lnTo>
                  <a:pt x="24" y="90"/>
                </a:lnTo>
                <a:lnTo>
                  <a:pt x="24" y="90"/>
                </a:lnTo>
                <a:lnTo>
                  <a:pt x="24" y="86"/>
                </a:lnTo>
                <a:lnTo>
                  <a:pt x="24" y="86"/>
                </a:lnTo>
                <a:lnTo>
                  <a:pt x="24" y="84"/>
                </a:lnTo>
                <a:lnTo>
                  <a:pt x="22" y="78"/>
                </a:lnTo>
                <a:lnTo>
                  <a:pt x="22" y="78"/>
                </a:lnTo>
                <a:lnTo>
                  <a:pt x="22" y="74"/>
                </a:lnTo>
                <a:lnTo>
                  <a:pt x="24" y="68"/>
                </a:lnTo>
                <a:lnTo>
                  <a:pt x="24" y="68"/>
                </a:lnTo>
                <a:lnTo>
                  <a:pt x="24" y="64"/>
                </a:lnTo>
                <a:lnTo>
                  <a:pt x="24" y="58"/>
                </a:lnTo>
                <a:lnTo>
                  <a:pt x="24" y="58"/>
                </a:lnTo>
                <a:lnTo>
                  <a:pt x="22" y="52"/>
                </a:lnTo>
                <a:lnTo>
                  <a:pt x="24" y="46"/>
                </a:lnTo>
                <a:lnTo>
                  <a:pt x="24" y="46"/>
                </a:lnTo>
                <a:lnTo>
                  <a:pt x="24" y="38"/>
                </a:lnTo>
                <a:lnTo>
                  <a:pt x="24" y="36"/>
                </a:lnTo>
                <a:lnTo>
                  <a:pt x="24" y="36"/>
                </a:lnTo>
                <a:lnTo>
                  <a:pt x="22" y="34"/>
                </a:lnTo>
                <a:lnTo>
                  <a:pt x="22" y="28"/>
                </a:lnTo>
                <a:lnTo>
                  <a:pt x="22" y="28"/>
                </a:lnTo>
                <a:lnTo>
                  <a:pt x="22" y="22"/>
                </a:lnTo>
                <a:lnTo>
                  <a:pt x="22" y="20"/>
                </a:lnTo>
                <a:lnTo>
                  <a:pt x="12" y="16"/>
                </a:lnTo>
                <a:lnTo>
                  <a:pt x="12" y="2"/>
                </a:lnTo>
                <a:lnTo>
                  <a:pt x="12" y="2"/>
                </a:lnTo>
                <a:lnTo>
                  <a:pt x="6" y="2"/>
                </a:lnTo>
                <a:lnTo>
                  <a:pt x="6" y="2"/>
                </a:lnTo>
                <a:lnTo>
                  <a:pt x="0" y="0"/>
                </a:lnTo>
                <a:lnTo>
                  <a:pt x="0" y="0"/>
                </a:lnTo>
                <a:lnTo>
                  <a:pt x="0" y="6"/>
                </a:lnTo>
                <a:lnTo>
                  <a:pt x="0" y="12"/>
                </a:lnTo>
                <a:lnTo>
                  <a:pt x="0" y="14"/>
                </a:lnTo>
                <a:lnTo>
                  <a:pt x="0" y="14"/>
                </a:lnTo>
                <a:lnTo>
                  <a:pt x="4" y="16"/>
                </a:lnTo>
                <a:lnTo>
                  <a:pt x="4" y="22"/>
                </a:lnTo>
                <a:lnTo>
                  <a:pt x="4" y="22"/>
                </a:lnTo>
                <a:lnTo>
                  <a:pt x="6" y="28"/>
                </a:lnTo>
                <a:lnTo>
                  <a:pt x="4" y="34"/>
                </a:lnTo>
                <a:lnTo>
                  <a:pt x="4" y="34"/>
                </a:lnTo>
                <a:lnTo>
                  <a:pt x="4" y="36"/>
                </a:lnTo>
                <a:lnTo>
                  <a:pt x="4" y="38"/>
                </a:lnTo>
                <a:lnTo>
                  <a:pt x="6" y="38"/>
                </a:lnTo>
                <a:lnTo>
                  <a:pt x="6" y="40"/>
                </a:lnTo>
                <a:lnTo>
                  <a:pt x="6" y="40"/>
                </a:lnTo>
                <a:lnTo>
                  <a:pt x="4" y="46"/>
                </a:lnTo>
                <a:lnTo>
                  <a:pt x="4" y="48"/>
                </a:lnTo>
                <a:lnTo>
                  <a:pt x="4" y="52"/>
                </a:lnTo>
                <a:lnTo>
                  <a:pt x="4" y="52"/>
                </a:lnTo>
                <a:lnTo>
                  <a:pt x="8" y="56"/>
                </a:lnTo>
                <a:lnTo>
                  <a:pt x="10" y="60"/>
                </a:lnTo>
                <a:lnTo>
                  <a:pt x="10" y="60"/>
                </a:lnTo>
                <a:lnTo>
                  <a:pt x="8" y="74"/>
                </a:lnTo>
                <a:lnTo>
                  <a:pt x="8" y="74"/>
                </a:lnTo>
                <a:lnTo>
                  <a:pt x="6" y="78"/>
                </a:lnTo>
                <a:lnTo>
                  <a:pt x="8" y="80"/>
                </a:lnTo>
                <a:lnTo>
                  <a:pt x="8" y="80"/>
                </a:lnTo>
                <a:lnTo>
                  <a:pt x="8" y="82"/>
                </a:lnTo>
                <a:lnTo>
                  <a:pt x="8" y="82"/>
                </a:lnTo>
                <a:lnTo>
                  <a:pt x="8" y="84"/>
                </a:lnTo>
                <a:lnTo>
                  <a:pt x="8" y="84"/>
                </a:lnTo>
                <a:lnTo>
                  <a:pt x="8" y="84"/>
                </a:lnTo>
                <a:lnTo>
                  <a:pt x="16" y="100"/>
                </a:lnTo>
                <a:lnTo>
                  <a:pt x="16"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6" name="Freeform 30">
            <a:extLst>
              <a:ext uri="{FF2B5EF4-FFF2-40B4-BE49-F238E27FC236}">
                <a16:creationId xmlns:a16="http://schemas.microsoft.com/office/drawing/2014/main" id="{B5DEE3A6-F728-432F-9FDE-96EBD9F4B9DE}"/>
              </a:ext>
            </a:extLst>
          </p:cNvPr>
          <p:cNvSpPr>
            <a:spLocks/>
          </p:cNvSpPr>
          <p:nvPr userDrawn="1"/>
        </p:nvSpPr>
        <p:spPr bwMode="auto">
          <a:xfrm>
            <a:off x="8051055" y="3114372"/>
            <a:ext cx="164349" cy="422133"/>
          </a:xfrm>
          <a:custGeom>
            <a:avLst/>
            <a:gdLst>
              <a:gd name="T0" fmla="*/ 38 w 98"/>
              <a:gd name="T1" fmla="*/ 6 h 246"/>
              <a:gd name="T2" fmla="*/ 40 w 98"/>
              <a:gd name="T3" fmla="*/ 18 h 246"/>
              <a:gd name="T4" fmla="*/ 44 w 98"/>
              <a:gd name="T5" fmla="*/ 26 h 246"/>
              <a:gd name="T6" fmla="*/ 48 w 98"/>
              <a:gd name="T7" fmla="*/ 38 h 246"/>
              <a:gd name="T8" fmla="*/ 62 w 98"/>
              <a:gd name="T9" fmla="*/ 26 h 246"/>
              <a:gd name="T10" fmla="*/ 68 w 98"/>
              <a:gd name="T11" fmla="*/ 32 h 246"/>
              <a:gd name="T12" fmla="*/ 86 w 98"/>
              <a:gd name="T13" fmla="*/ 44 h 246"/>
              <a:gd name="T14" fmla="*/ 90 w 98"/>
              <a:gd name="T15" fmla="*/ 62 h 246"/>
              <a:gd name="T16" fmla="*/ 96 w 98"/>
              <a:gd name="T17" fmla="*/ 76 h 246"/>
              <a:gd name="T18" fmla="*/ 94 w 98"/>
              <a:gd name="T19" fmla="*/ 88 h 246"/>
              <a:gd name="T20" fmla="*/ 80 w 98"/>
              <a:gd name="T21" fmla="*/ 100 h 246"/>
              <a:gd name="T22" fmla="*/ 64 w 98"/>
              <a:gd name="T23" fmla="*/ 104 h 246"/>
              <a:gd name="T24" fmla="*/ 60 w 98"/>
              <a:gd name="T25" fmla="*/ 124 h 246"/>
              <a:gd name="T26" fmla="*/ 66 w 98"/>
              <a:gd name="T27" fmla="*/ 148 h 246"/>
              <a:gd name="T28" fmla="*/ 64 w 98"/>
              <a:gd name="T29" fmla="*/ 144 h 246"/>
              <a:gd name="T30" fmla="*/ 60 w 98"/>
              <a:gd name="T31" fmla="*/ 138 h 246"/>
              <a:gd name="T32" fmla="*/ 56 w 98"/>
              <a:gd name="T33" fmla="*/ 132 h 246"/>
              <a:gd name="T34" fmla="*/ 46 w 98"/>
              <a:gd name="T35" fmla="*/ 126 h 246"/>
              <a:gd name="T36" fmla="*/ 42 w 98"/>
              <a:gd name="T37" fmla="*/ 118 h 246"/>
              <a:gd name="T38" fmla="*/ 32 w 98"/>
              <a:gd name="T39" fmla="*/ 114 h 246"/>
              <a:gd name="T40" fmla="*/ 30 w 98"/>
              <a:gd name="T41" fmla="*/ 116 h 246"/>
              <a:gd name="T42" fmla="*/ 30 w 98"/>
              <a:gd name="T43" fmla="*/ 130 h 246"/>
              <a:gd name="T44" fmla="*/ 30 w 98"/>
              <a:gd name="T45" fmla="*/ 140 h 246"/>
              <a:gd name="T46" fmla="*/ 28 w 98"/>
              <a:gd name="T47" fmla="*/ 144 h 246"/>
              <a:gd name="T48" fmla="*/ 24 w 98"/>
              <a:gd name="T49" fmla="*/ 162 h 246"/>
              <a:gd name="T50" fmla="*/ 20 w 98"/>
              <a:gd name="T51" fmla="*/ 180 h 246"/>
              <a:gd name="T52" fmla="*/ 24 w 98"/>
              <a:gd name="T53" fmla="*/ 186 h 246"/>
              <a:gd name="T54" fmla="*/ 28 w 98"/>
              <a:gd name="T55" fmla="*/ 198 h 246"/>
              <a:gd name="T56" fmla="*/ 32 w 98"/>
              <a:gd name="T57" fmla="*/ 196 h 246"/>
              <a:gd name="T58" fmla="*/ 36 w 98"/>
              <a:gd name="T59" fmla="*/ 214 h 246"/>
              <a:gd name="T60" fmla="*/ 44 w 98"/>
              <a:gd name="T61" fmla="*/ 216 h 246"/>
              <a:gd name="T62" fmla="*/ 48 w 98"/>
              <a:gd name="T63" fmla="*/ 220 h 246"/>
              <a:gd name="T64" fmla="*/ 52 w 98"/>
              <a:gd name="T65" fmla="*/ 226 h 246"/>
              <a:gd name="T66" fmla="*/ 56 w 98"/>
              <a:gd name="T67" fmla="*/ 234 h 246"/>
              <a:gd name="T68" fmla="*/ 48 w 98"/>
              <a:gd name="T69" fmla="*/ 242 h 246"/>
              <a:gd name="T70" fmla="*/ 44 w 98"/>
              <a:gd name="T71" fmla="*/ 240 h 246"/>
              <a:gd name="T72" fmla="*/ 32 w 98"/>
              <a:gd name="T73" fmla="*/ 238 h 246"/>
              <a:gd name="T74" fmla="*/ 30 w 98"/>
              <a:gd name="T75" fmla="*/ 222 h 246"/>
              <a:gd name="T76" fmla="*/ 28 w 98"/>
              <a:gd name="T77" fmla="*/ 218 h 246"/>
              <a:gd name="T78" fmla="*/ 22 w 98"/>
              <a:gd name="T79" fmla="*/ 212 h 246"/>
              <a:gd name="T80" fmla="*/ 10 w 98"/>
              <a:gd name="T81" fmla="*/ 196 h 246"/>
              <a:gd name="T82" fmla="*/ 10 w 98"/>
              <a:gd name="T83" fmla="*/ 182 h 246"/>
              <a:gd name="T84" fmla="*/ 16 w 98"/>
              <a:gd name="T85" fmla="*/ 174 h 246"/>
              <a:gd name="T86" fmla="*/ 14 w 98"/>
              <a:gd name="T87" fmla="*/ 168 h 246"/>
              <a:gd name="T88" fmla="*/ 12 w 98"/>
              <a:gd name="T89" fmla="*/ 162 h 246"/>
              <a:gd name="T90" fmla="*/ 16 w 98"/>
              <a:gd name="T91" fmla="*/ 152 h 246"/>
              <a:gd name="T92" fmla="*/ 20 w 98"/>
              <a:gd name="T93" fmla="*/ 138 h 246"/>
              <a:gd name="T94" fmla="*/ 22 w 98"/>
              <a:gd name="T95" fmla="*/ 112 h 246"/>
              <a:gd name="T96" fmla="*/ 6 w 98"/>
              <a:gd name="T97" fmla="*/ 80 h 246"/>
              <a:gd name="T98" fmla="*/ 8 w 98"/>
              <a:gd name="T99" fmla="*/ 64 h 246"/>
              <a:gd name="T100" fmla="*/ 2 w 98"/>
              <a:gd name="T101" fmla="*/ 36 h 246"/>
              <a:gd name="T102" fmla="*/ 2 w 98"/>
              <a:gd name="T103" fmla="*/ 16 h 246"/>
              <a:gd name="T104" fmla="*/ 14 w 98"/>
              <a:gd name="T105" fmla="*/ 10 h 246"/>
              <a:gd name="T106" fmla="*/ 20 w 98"/>
              <a:gd name="T10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246">
                <a:moveTo>
                  <a:pt x="34" y="2"/>
                </a:moveTo>
                <a:lnTo>
                  <a:pt x="34" y="6"/>
                </a:lnTo>
                <a:lnTo>
                  <a:pt x="38" y="6"/>
                </a:lnTo>
                <a:lnTo>
                  <a:pt x="42" y="6"/>
                </a:lnTo>
                <a:lnTo>
                  <a:pt x="44" y="10"/>
                </a:lnTo>
                <a:lnTo>
                  <a:pt x="40" y="18"/>
                </a:lnTo>
                <a:lnTo>
                  <a:pt x="42" y="20"/>
                </a:lnTo>
                <a:lnTo>
                  <a:pt x="42" y="24"/>
                </a:lnTo>
                <a:lnTo>
                  <a:pt x="44" y="26"/>
                </a:lnTo>
                <a:lnTo>
                  <a:pt x="46" y="32"/>
                </a:lnTo>
                <a:lnTo>
                  <a:pt x="44" y="36"/>
                </a:lnTo>
                <a:lnTo>
                  <a:pt x="48" y="38"/>
                </a:lnTo>
                <a:lnTo>
                  <a:pt x="52" y="36"/>
                </a:lnTo>
                <a:lnTo>
                  <a:pt x="54" y="32"/>
                </a:lnTo>
                <a:lnTo>
                  <a:pt x="62" y="26"/>
                </a:lnTo>
                <a:lnTo>
                  <a:pt x="66" y="28"/>
                </a:lnTo>
                <a:lnTo>
                  <a:pt x="66" y="30"/>
                </a:lnTo>
                <a:lnTo>
                  <a:pt x="68" y="32"/>
                </a:lnTo>
                <a:lnTo>
                  <a:pt x="74" y="36"/>
                </a:lnTo>
                <a:lnTo>
                  <a:pt x="80" y="36"/>
                </a:lnTo>
                <a:lnTo>
                  <a:pt x="86" y="44"/>
                </a:lnTo>
                <a:lnTo>
                  <a:pt x="86" y="50"/>
                </a:lnTo>
                <a:lnTo>
                  <a:pt x="86" y="58"/>
                </a:lnTo>
                <a:lnTo>
                  <a:pt x="90" y="62"/>
                </a:lnTo>
                <a:lnTo>
                  <a:pt x="94" y="66"/>
                </a:lnTo>
                <a:lnTo>
                  <a:pt x="96" y="70"/>
                </a:lnTo>
                <a:lnTo>
                  <a:pt x="96" y="76"/>
                </a:lnTo>
                <a:lnTo>
                  <a:pt x="98" y="78"/>
                </a:lnTo>
                <a:lnTo>
                  <a:pt x="96" y="84"/>
                </a:lnTo>
                <a:lnTo>
                  <a:pt x="94" y="88"/>
                </a:lnTo>
                <a:lnTo>
                  <a:pt x="90" y="92"/>
                </a:lnTo>
                <a:lnTo>
                  <a:pt x="86" y="96"/>
                </a:lnTo>
                <a:lnTo>
                  <a:pt x="80" y="100"/>
                </a:lnTo>
                <a:lnTo>
                  <a:pt x="76" y="100"/>
                </a:lnTo>
                <a:lnTo>
                  <a:pt x="70" y="100"/>
                </a:lnTo>
                <a:lnTo>
                  <a:pt x="64" y="104"/>
                </a:lnTo>
                <a:lnTo>
                  <a:pt x="60" y="106"/>
                </a:lnTo>
                <a:lnTo>
                  <a:pt x="60" y="114"/>
                </a:lnTo>
                <a:lnTo>
                  <a:pt x="60" y="124"/>
                </a:lnTo>
                <a:lnTo>
                  <a:pt x="64" y="130"/>
                </a:lnTo>
                <a:lnTo>
                  <a:pt x="66" y="138"/>
                </a:lnTo>
                <a:lnTo>
                  <a:pt x="66" y="148"/>
                </a:lnTo>
                <a:lnTo>
                  <a:pt x="66" y="148"/>
                </a:lnTo>
                <a:lnTo>
                  <a:pt x="64" y="144"/>
                </a:lnTo>
                <a:lnTo>
                  <a:pt x="64" y="144"/>
                </a:lnTo>
                <a:lnTo>
                  <a:pt x="62" y="140"/>
                </a:lnTo>
                <a:lnTo>
                  <a:pt x="62" y="140"/>
                </a:lnTo>
                <a:lnTo>
                  <a:pt x="60" y="138"/>
                </a:lnTo>
                <a:lnTo>
                  <a:pt x="58" y="138"/>
                </a:lnTo>
                <a:lnTo>
                  <a:pt x="58" y="138"/>
                </a:lnTo>
                <a:lnTo>
                  <a:pt x="56" y="132"/>
                </a:lnTo>
                <a:lnTo>
                  <a:pt x="52" y="126"/>
                </a:lnTo>
                <a:lnTo>
                  <a:pt x="52" y="126"/>
                </a:lnTo>
                <a:lnTo>
                  <a:pt x="46" y="126"/>
                </a:lnTo>
                <a:lnTo>
                  <a:pt x="46" y="126"/>
                </a:lnTo>
                <a:lnTo>
                  <a:pt x="44" y="120"/>
                </a:lnTo>
                <a:lnTo>
                  <a:pt x="42" y="118"/>
                </a:lnTo>
                <a:lnTo>
                  <a:pt x="38" y="116"/>
                </a:lnTo>
                <a:lnTo>
                  <a:pt x="32" y="114"/>
                </a:lnTo>
                <a:lnTo>
                  <a:pt x="32" y="114"/>
                </a:lnTo>
                <a:lnTo>
                  <a:pt x="32" y="116"/>
                </a:lnTo>
                <a:lnTo>
                  <a:pt x="30" y="116"/>
                </a:lnTo>
                <a:lnTo>
                  <a:pt x="30" y="116"/>
                </a:lnTo>
                <a:lnTo>
                  <a:pt x="30" y="122"/>
                </a:lnTo>
                <a:lnTo>
                  <a:pt x="30" y="126"/>
                </a:lnTo>
                <a:lnTo>
                  <a:pt x="30" y="130"/>
                </a:lnTo>
                <a:lnTo>
                  <a:pt x="30" y="136"/>
                </a:lnTo>
                <a:lnTo>
                  <a:pt x="30" y="136"/>
                </a:lnTo>
                <a:lnTo>
                  <a:pt x="30" y="140"/>
                </a:lnTo>
                <a:lnTo>
                  <a:pt x="30" y="140"/>
                </a:lnTo>
                <a:lnTo>
                  <a:pt x="28" y="144"/>
                </a:lnTo>
                <a:lnTo>
                  <a:pt x="28" y="144"/>
                </a:lnTo>
                <a:lnTo>
                  <a:pt x="26" y="152"/>
                </a:lnTo>
                <a:lnTo>
                  <a:pt x="26" y="160"/>
                </a:lnTo>
                <a:lnTo>
                  <a:pt x="24" y="162"/>
                </a:lnTo>
                <a:lnTo>
                  <a:pt x="24" y="162"/>
                </a:lnTo>
                <a:lnTo>
                  <a:pt x="22" y="172"/>
                </a:lnTo>
                <a:lnTo>
                  <a:pt x="20" y="180"/>
                </a:lnTo>
                <a:lnTo>
                  <a:pt x="22" y="184"/>
                </a:lnTo>
                <a:lnTo>
                  <a:pt x="22" y="184"/>
                </a:lnTo>
                <a:lnTo>
                  <a:pt x="24" y="186"/>
                </a:lnTo>
                <a:lnTo>
                  <a:pt x="26" y="188"/>
                </a:lnTo>
                <a:lnTo>
                  <a:pt x="26" y="188"/>
                </a:lnTo>
                <a:lnTo>
                  <a:pt x="28" y="198"/>
                </a:lnTo>
                <a:lnTo>
                  <a:pt x="28" y="198"/>
                </a:lnTo>
                <a:lnTo>
                  <a:pt x="30" y="198"/>
                </a:lnTo>
                <a:lnTo>
                  <a:pt x="32" y="196"/>
                </a:lnTo>
                <a:lnTo>
                  <a:pt x="32" y="196"/>
                </a:lnTo>
                <a:lnTo>
                  <a:pt x="34" y="208"/>
                </a:lnTo>
                <a:lnTo>
                  <a:pt x="36" y="214"/>
                </a:lnTo>
                <a:lnTo>
                  <a:pt x="40" y="216"/>
                </a:lnTo>
                <a:lnTo>
                  <a:pt x="40" y="216"/>
                </a:lnTo>
                <a:lnTo>
                  <a:pt x="44" y="216"/>
                </a:lnTo>
                <a:lnTo>
                  <a:pt x="48" y="218"/>
                </a:lnTo>
                <a:lnTo>
                  <a:pt x="48" y="218"/>
                </a:lnTo>
                <a:lnTo>
                  <a:pt x="48" y="220"/>
                </a:lnTo>
                <a:lnTo>
                  <a:pt x="48" y="222"/>
                </a:lnTo>
                <a:lnTo>
                  <a:pt x="48" y="222"/>
                </a:lnTo>
                <a:lnTo>
                  <a:pt x="52" y="226"/>
                </a:lnTo>
                <a:lnTo>
                  <a:pt x="54" y="228"/>
                </a:lnTo>
                <a:lnTo>
                  <a:pt x="54" y="228"/>
                </a:lnTo>
                <a:lnTo>
                  <a:pt x="56" y="234"/>
                </a:lnTo>
                <a:lnTo>
                  <a:pt x="54" y="236"/>
                </a:lnTo>
                <a:lnTo>
                  <a:pt x="54" y="244"/>
                </a:lnTo>
                <a:lnTo>
                  <a:pt x="48" y="242"/>
                </a:lnTo>
                <a:lnTo>
                  <a:pt x="48" y="246"/>
                </a:lnTo>
                <a:lnTo>
                  <a:pt x="44" y="246"/>
                </a:lnTo>
                <a:lnTo>
                  <a:pt x="44" y="240"/>
                </a:lnTo>
                <a:lnTo>
                  <a:pt x="38" y="236"/>
                </a:lnTo>
                <a:lnTo>
                  <a:pt x="32" y="238"/>
                </a:lnTo>
                <a:lnTo>
                  <a:pt x="32" y="238"/>
                </a:lnTo>
                <a:lnTo>
                  <a:pt x="32" y="230"/>
                </a:lnTo>
                <a:lnTo>
                  <a:pt x="30" y="222"/>
                </a:lnTo>
                <a:lnTo>
                  <a:pt x="30" y="222"/>
                </a:lnTo>
                <a:lnTo>
                  <a:pt x="28" y="220"/>
                </a:lnTo>
                <a:lnTo>
                  <a:pt x="28" y="220"/>
                </a:lnTo>
                <a:lnTo>
                  <a:pt x="28" y="218"/>
                </a:lnTo>
                <a:lnTo>
                  <a:pt x="26" y="214"/>
                </a:lnTo>
                <a:lnTo>
                  <a:pt x="26" y="214"/>
                </a:lnTo>
                <a:lnTo>
                  <a:pt x="22" y="212"/>
                </a:lnTo>
                <a:lnTo>
                  <a:pt x="22" y="212"/>
                </a:lnTo>
                <a:lnTo>
                  <a:pt x="14" y="202"/>
                </a:lnTo>
                <a:lnTo>
                  <a:pt x="10" y="196"/>
                </a:lnTo>
                <a:lnTo>
                  <a:pt x="10" y="190"/>
                </a:lnTo>
                <a:lnTo>
                  <a:pt x="10" y="190"/>
                </a:lnTo>
                <a:lnTo>
                  <a:pt x="10" y="182"/>
                </a:lnTo>
                <a:lnTo>
                  <a:pt x="12" y="176"/>
                </a:lnTo>
                <a:lnTo>
                  <a:pt x="12" y="176"/>
                </a:lnTo>
                <a:lnTo>
                  <a:pt x="16" y="174"/>
                </a:lnTo>
                <a:lnTo>
                  <a:pt x="16" y="174"/>
                </a:lnTo>
                <a:lnTo>
                  <a:pt x="14" y="172"/>
                </a:lnTo>
                <a:lnTo>
                  <a:pt x="14" y="168"/>
                </a:lnTo>
                <a:lnTo>
                  <a:pt x="12" y="166"/>
                </a:lnTo>
                <a:lnTo>
                  <a:pt x="12" y="162"/>
                </a:lnTo>
                <a:lnTo>
                  <a:pt x="12" y="162"/>
                </a:lnTo>
                <a:lnTo>
                  <a:pt x="16" y="156"/>
                </a:lnTo>
                <a:lnTo>
                  <a:pt x="16" y="156"/>
                </a:lnTo>
                <a:lnTo>
                  <a:pt x="16" y="152"/>
                </a:lnTo>
                <a:lnTo>
                  <a:pt x="18" y="152"/>
                </a:lnTo>
                <a:lnTo>
                  <a:pt x="18" y="146"/>
                </a:lnTo>
                <a:lnTo>
                  <a:pt x="20" y="138"/>
                </a:lnTo>
                <a:lnTo>
                  <a:pt x="26" y="130"/>
                </a:lnTo>
                <a:lnTo>
                  <a:pt x="26" y="122"/>
                </a:lnTo>
                <a:lnTo>
                  <a:pt x="22" y="112"/>
                </a:lnTo>
                <a:lnTo>
                  <a:pt x="14" y="104"/>
                </a:lnTo>
                <a:lnTo>
                  <a:pt x="10" y="92"/>
                </a:lnTo>
                <a:lnTo>
                  <a:pt x="6" y="80"/>
                </a:lnTo>
                <a:lnTo>
                  <a:pt x="14" y="76"/>
                </a:lnTo>
                <a:lnTo>
                  <a:pt x="14" y="70"/>
                </a:lnTo>
                <a:lnTo>
                  <a:pt x="8" y="64"/>
                </a:lnTo>
                <a:lnTo>
                  <a:pt x="2" y="56"/>
                </a:lnTo>
                <a:lnTo>
                  <a:pt x="0" y="44"/>
                </a:lnTo>
                <a:lnTo>
                  <a:pt x="2" y="36"/>
                </a:lnTo>
                <a:lnTo>
                  <a:pt x="2" y="30"/>
                </a:lnTo>
                <a:lnTo>
                  <a:pt x="0" y="22"/>
                </a:lnTo>
                <a:lnTo>
                  <a:pt x="2" y="16"/>
                </a:lnTo>
                <a:lnTo>
                  <a:pt x="6" y="16"/>
                </a:lnTo>
                <a:lnTo>
                  <a:pt x="10" y="10"/>
                </a:lnTo>
                <a:lnTo>
                  <a:pt x="14" y="10"/>
                </a:lnTo>
                <a:lnTo>
                  <a:pt x="14" y="6"/>
                </a:lnTo>
                <a:lnTo>
                  <a:pt x="16" y="0"/>
                </a:lnTo>
                <a:lnTo>
                  <a:pt x="20" y="0"/>
                </a:lnTo>
                <a:lnTo>
                  <a:pt x="24" y="2"/>
                </a:lnTo>
                <a:lnTo>
                  <a:pt x="3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7" name="Freeform 31">
            <a:extLst>
              <a:ext uri="{FF2B5EF4-FFF2-40B4-BE49-F238E27FC236}">
                <a16:creationId xmlns:a16="http://schemas.microsoft.com/office/drawing/2014/main" id="{FD1DE370-3282-409A-9F74-6439AC193713}"/>
              </a:ext>
            </a:extLst>
          </p:cNvPr>
          <p:cNvSpPr>
            <a:spLocks/>
          </p:cNvSpPr>
          <p:nvPr userDrawn="1"/>
        </p:nvSpPr>
        <p:spPr bwMode="auto">
          <a:xfrm>
            <a:off x="6521599" y="3738991"/>
            <a:ext cx="241493" cy="295149"/>
          </a:xfrm>
          <a:custGeom>
            <a:avLst/>
            <a:gdLst>
              <a:gd name="T0" fmla="*/ 126 w 144"/>
              <a:gd name="T1" fmla="*/ 54 h 172"/>
              <a:gd name="T2" fmla="*/ 126 w 144"/>
              <a:gd name="T3" fmla="*/ 58 h 172"/>
              <a:gd name="T4" fmla="*/ 124 w 144"/>
              <a:gd name="T5" fmla="*/ 68 h 172"/>
              <a:gd name="T6" fmla="*/ 122 w 144"/>
              <a:gd name="T7" fmla="*/ 74 h 172"/>
              <a:gd name="T8" fmla="*/ 128 w 144"/>
              <a:gd name="T9" fmla="*/ 86 h 172"/>
              <a:gd name="T10" fmla="*/ 132 w 144"/>
              <a:gd name="T11" fmla="*/ 96 h 172"/>
              <a:gd name="T12" fmla="*/ 130 w 144"/>
              <a:gd name="T13" fmla="*/ 122 h 172"/>
              <a:gd name="T14" fmla="*/ 134 w 144"/>
              <a:gd name="T15" fmla="*/ 136 h 172"/>
              <a:gd name="T16" fmla="*/ 142 w 144"/>
              <a:gd name="T17" fmla="*/ 146 h 172"/>
              <a:gd name="T18" fmla="*/ 144 w 144"/>
              <a:gd name="T19" fmla="*/ 150 h 172"/>
              <a:gd name="T20" fmla="*/ 120 w 144"/>
              <a:gd name="T21" fmla="*/ 160 h 172"/>
              <a:gd name="T22" fmla="*/ 114 w 144"/>
              <a:gd name="T23" fmla="*/ 164 h 172"/>
              <a:gd name="T24" fmla="*/ 106 w 144"/>
              <a:gd name="T25" fmla="*/ 164 h 172"/>
              <a:gd name="T26" fmla="*/ 92 w 144"/>
              <a:gd name="T27" fmla="*/ 170 h 172"/>
              <a:gd name="T28" fmla="*/ 80 w 144"/>
              <a:gd name="T29" fmla="*/ 172 h 172"/>
              <a:gd name="T30" fmla="*/ 76 w 144"/>
              <a:gd name="T31" fmla="*/ 166 h 172"/>
              <a:gd name="T32" fmla="*/ 66 w 144"/>
              <a:gd name="T33" fmla="*/ 170 h 172"/>
              <a:gd name="T34" fmla="*/ 66 w 144"/>
              <a:gd name="T35" fmla="*/ 166 h 172"/>
              <a:gd name="T36" fmla="*/ 60 w 144"/>
              <a:gd name="T37" fmla="*/ 134 h 172"/>
              <a:gd name="T38" fmla="*/ 56 w 144"/>
              <a:gd name="T39" fmla="*/ 130 h 172"/>
              <a:gd name="T40" fmla="*/ 36 w 144"/>
              <a:gd name="T41" fmla="*/ 126 h 172"/>
              <a:gd name="T42" fmla="*/ 30 w 144"/>
              <a:gd name="T43" fmla="*/ 122 h 172"/>
              <a:gd name="T44" fmla="*/ 28 w 144"/>
              <a:gd name="T45" fmla="*/ 114 h 172"/>
              <a:gd name="T46" fmla="*/ 22 w 144"/>
              <a:gd name="T47" fmla="*/ 110 h 172"/>
              <a:gd name="T48" fmla="*/ 20 w 144"/>
              <a:gd name="T49" fmla="*/ 104 h 172"/>
              <a:gd name="T50" fmla="*/ 14 w 144"/>
              <a:gd name="T51" fmla="*/ 96 h 172"/>
              <a:gd name="T52" fmla="*/ 16 w 144"/>
              <a:gd name="T53" fmla="*/ 84 h 172"/>
              <a:gd name="T54" fmla="*/ 0 w 144"/>
              <a:gd name="T55" fmla="*/ 72 h 172"/>
              <a:gd name="T56" fmla="*/ 0 w 144"/>
              <a:gd name="T57" fmla="*/ 60 h 172"/>
              <a:gd name="T58" fmla="*/ 2 w 144"/>
              <a:gd name="T59" fmla="*/ 58 h 172"/>
              <a:gd name="T60" fmla="*/ 0 w 144"/>
              <a:gd name="T61" fmla="*/ 54 h 172"/>
              <a:gd name="T62" fmla="*/ 6 w 144"/>
              <a:gd name="T63" fmla="*/ 52 h 172"/>
              <a:gd name="T64" fmla="*/ 20 w 144"/>
              <a:gd name="T65" fmla="*/ 36 h 172"/>
              <a:gd name="T66" fmla="*/ 22 w 144"/>
              <a:gd name="T67" fmla="*/ 30 h 172"/>
              <a:gd name="T68" fmla="*/ 16 w 144"/>
              <a:gd name="T69" fmla="*/ 24 h 172"/>
              <a:gd name="T70" fmla="*/ 18 w 144"/>
              <a:gd name="T71" fmla="*/ 16 h 172"/>
              <a:gd name="T72" fmla="*/ 32 w 144"/>
              <a:gd name="T73" fmla="*/ 0 h 172"/>
              <a:gd name="T74" fmla="*/ 30 w 144"/>
              <a:gd name="T75" fmla="*/ 16 h 172"/>
              <a:gd name="T76" fmla="*/ 36 w 144"/>
              <a:gd name="T77" fmla="*/ 26 h 172"/>
              <a:gd name="T78" fmla="*/ 38 w 144"/>
              <a:gd name="T79" fmla="*/ 20 h 172"/>
              <a:gd name="T80" fmla="*/ 44 w 144"/>
              <a:gd name="T81" fmla="*/ 18 h 172"/>
              <a:gd name="T82" fmla="*/ 48 w 144"/>
              <a:gd name="T83" fmla="*/ 16 h 172"/>
              <a:gd name="T84" fmla="*/ 54 w 144"/>
              <a:gd name="T85" fmla="*/ 26 h 172"/>
              <a:gd name="T86" fmla="*/ 58 w 144"/>
              <a:gd name="T87" fmla="*/ 18 h 172"/>
              <a:gd name="T88" fmla="*/ 66 w 144"/>
              <a:gd name="T89" fmla="*/ 14 h 172"/>
              <a:gd name="T90" fmla="*/ 62 w 144"/>
              <a:gd name="T91" fmla="*/ 12 h 172"/>
              <a:gd name="T92" fmla="*/ 62 w 144"/>
              <a:gd name="T93" fmla="*/ 10 h 172"/>
              <a:gd name="T94" fmla="*/ 58 w 144"/>
              <a:gd name="T95" fmla="*/ 8 h 172"/>
              <a:gd name="T96" fmla="*/ 104 w 144"/>
              <a:gd name="T97" fmla="*/ 20 h 172"/>
              <a:gd name="T98" fmla="*/ 108 w 144"/>
              <a:gd name="T99" fmla="*/ 32 h 172"/>
              <a:gd name="T100" fmla="*/ 112 w 144"/>
              <a:gd name="T101" fmla="*/ 3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 h="172">
                <a:moveTo>
                  <a:pt x="130" y="46"/>
                </a:moveTo>
                <a:lnTo>
                  <a:pt x="130" y="46"/>
                </a:lnTo>
                <a:lnTo>
                  <a:pt x="128" y="54"/>
                </a:lnTo>
                <a:lnTo>
                  <a:pt x="126" y="54"/>
                </a:lnTo>
                <a:lnTo>
                  <a:pt x="126" y="54"/>
                </a:lnTo>
                <a:lnTo>
                  <a:pt x="126" y="56"/>
                </a:lnTo>
                <a:lnTo>
                  <a:pt x="126" y="58"/>
                </a:lnTo>
                <a:lnTo>
                  <a:pt x="126" y="58"/>
                </a:lnTo>
                <a:lnTo>
                  <a:pt x="126" y="60"/>
                </a:lnTo>
                <a:lnTo>
                  <a:pt x="124" y="62"/>
                </a:lnTo>
                <a:lnTo>
                  <a:pt x="124" y="68"/>
                </a:lnTo>
                <a:lnTo>
                  <a:pt x="124" y="68"/>
                </a:lnTo>
                <a:lnTo>
                  <a:pt x="120" y="70"/>
                </a:lnTo>
                <a:lnTo>
                  <a:pt x="120" y="72"/>
                </a:lnTo>
                <a:lnTo>
                  <a:pt x="120" y="72"/>
                </a:lnTo>
                <a:lnTo>
                  <a:pt x="122" y="74"/>
                </a:lnTo>
                <a:lnTo>
                  <a:pt x="122" y="76"/>
                </a:lnTo>
                <a:lnTo>
                  <a:pt x="122" y="80"/>
                </a:lnTo>
                <a:lnTo>
                  <a:pt x="122" y="80"/>
                </a:lnTo>
                <a:lnTo>
                  <a:pt x="128" y="86"/>
                </a:lnTo>
                <a:lnTo>
                  <a:pt x="134" y="90"/>
                </a:lnTo>
                <a:lnTo>
                  <a:pt x="134" y="90"/>
                </a:lnTo>
                <a:lnTo>
                  <a:pt x="134" y="94"/>
                </a:lnTo>
                <a:lnTo>
                  <a:pt x="132" y="96"/>
                </a:lnTo>
                <a:lnTo>
                  <a:pt x="130" y="100"/>
                </a:lnTo>
                <a:lnTo>
                  <a:pt x="130" y="100"/>
                </a:lnTo>
                <a:lnTo>
                  <a:pt x="130" y="110"/>
                </a:lnTo>
                <a:lnTo>
                  <a:pt x="130" y="122"/>
                </a:lnTo>
                <a:lnTo>
                  <a:pt x="130" y="122"/>
                </a:lnTo>
                <a:lnTo>
                  <a:pt x="130" y="128"/>
                </a:lnTo>
                <a:lnTo>
                  <a:pt x="134" y="136"/>
                </a:lnTo>
                <a:lnTo>
                  <a:pt x="134" y="136"/>
                </a:lnTo>
                <a:lnTo>
                  <a:pt x="138" y="138"/>
                </a:lnTo>
                <a:lnTo>
                  <a:pt x="142" y="142"/>
                </a:lnTo>
                <a:lnTo>
                  <a:pt x="142" y="142"/>
                </a:lnTo>
                <a:lnTo>
                  <a:pt x="142" y="146"/>
                </a:lnTo>
                <a:lnTo>
                  <a:pt x="144" y="146"/>
                </a:lnTo>
                <a:lnTo>
                  <a:pt x="144" y="146"/>
                </a:lnTo>
                <a:lnTo>
                  <a:pt x="144" y="150"/>
                </a:lnTo>
                <a:lnTo>
                  <a:pt x="144" y="150"/>
                </a:lnTo>
                <a:lnTo>
                  <a:pt x="130" y="158"/>
                </a:lnTo>
                <a:lnTo>
                  <a:pt x="130" y="158"/>
                </a:lnTo>
                <a:lnTo>
                  <a:pt x="126" y="160"/>
                </a:lnTo>
                <a:lnTo>
                  <a:pt x="120" y="160"/>
                </a:lnTo>
                <a:lnTo>
                  <a:pt x="120" y="160"/>
                </a:lnTo>
                <a:lnTo>
                  <a:pt x="116" y="162"/>
                </a:lnTo>
                <a:lnTo>
                  <a:pt x="114" y="164"/>
                </a:lnTo>
                <a:lnTo>
                  <a:pt x="114" y="164"/>
                </a:lnTo>
                <a:lnTo>
                  <a:pt x="110" y="166"/>
                </a:lnTo>
                <a:lnTo>
                  <a:pt x="108" y="164"/>
                </a:lnTo>
                <a:lnTo>
                  <a:pt x="108" y="164"/>
                </a:lnTo>
                <a:lnTo>
                  <a:pt x="106" y="164"/>
                </a:lnTo>
                <a:lnTo>
                  <a:pt x="106" y="166"/>
                </a:lnTo>
                <a:lnTo>
                  <a:pt x="102" y="168"/>
                </a:lnTo>
                <a:lnTo>
                  <a:pt x="102" y="168"/>
                </a:lnTo>
                <a:lnTo>
                  <a:pt x="92" y="170"/>
                </a:lnTo>
                <a:lnTo>
                  <a:pt x="92" y="170"/>
                </a:lnTo>
                <a:lnTo>
                  <a:pt x="84" y="172"/>
                </a:lnTo>
                <a:lnTo>
                  <a:pt x="84" y="172"/>
                </a:lnTo>
                <a:lnTo>
                  <a:pt x="80" y="172"/>
                </a:lnTo>
                <a:lnTo>
                  <a:pt x="80" y="170"/>
                </a:lnTo>
                <a:lnTo>
                  <a:pt x="78" y="168"/>
                </a:lnTo>
                <a:lnTo>
                  <a:pt x="76" y="166"/>
                </a:lnTo>
                <a:lnTo>
                  <a:pt x="76" y="166"/>
                </a:lnTo>
                <a:lnTo>
                  <a:pt x="74" y="166"/>
                </a:lnTo>
                <a:lnTo>
                  <a:pt x="72" y="168"/>
                </a:lnTo>
                <a:lnTo>
                  <a:pt x="72" y="168"/>
                </a:lnTo>
                <a:lnTo>
                  <a:pt x="66" y="170"/>
                </a:lnTo>
                <a:lnTo>
                  <a:pt x="66" y="170"/>
                </a:lnTo>
                <a:lnTo>
                  <a:pt x="66" y="170"/>
                </a:lnTo>
                <a:lnTo>
                  <a:pt x="66" y="166"/>
                </a:lnTo>
                <a:lnTo>
                  <a:pt x="66" y="166"/>
                </a:lnTo>
                <a:lnTo>
                  <a:pt x="66" y="152"/>
                </a:lnTo>
                <a:lnTo>
                  <a:pt x="66" y="136"/>
                </a:lnTo>
                <a:lnTo>
                  <a:pt x="66" y="136"/>
                </a:lnTo>
                <a:lnTo>
                  <a:pt x="60" y="134"/>
                </a:lnTo>
                <a:lnTo>
                  <a:pt x="60" y="134"/>
                </a:lnTo>
                <a:lnTo>
                  <a:pt x="60" y="132"/>
                </a:lnTo>
                <a:lnTo>
                  <a:pt x="58" y="130"/>
                </a:lnTo>
                <a:lnTo>
                  <a:pt x="56" y="130"/>
                </a:lnTo>
                <a:lnTo>
                  <a:pt x="44" y="128"/>
                </a:lnTo>
                <a:lnTo>
                  <a:pt x="44" y="128"/>
                </a:lnTo>
                <a:lnTo>
                  <a:pt x="40" y="128"/>
                </a:lnTo>
                <a:lnTo>
                  <a:pt x="36" y="126"/>
                </a:lnTo>
                <a:lnTo>
                  <a:pt x="36" y="126"/>
                </a:lnTo>
                <a:lnTo>
                  <a:pt x="32" y="122"/>
                </a:lnTo>
                <a:lnTo>
                  <a:pt x="30" y="122"/>
                </a:lnTo>
                <a:lnTo>
                  <a:pt x="30" y="122"/>
                </a:lnTo>
                <a:lnTo>
                  <a:pt x="28" y="120"/>
                </a:lnTo>
                <a:lnTo>
                  <a:pt x="28" y="118"/>
                </a:lnTo>
                <a:lnTo>
                  <a:pt x="28" y="114"/>
                </a:lnTo>
                <a:lnTo>
                  <a:pt x="28" y="114"/>
                </a:lnTo>
                <a:lnTo>
                  <a:pt x="26" y="110"/>
                </a:lnTo>
                <a:lnTo>
                  <a:pt x="26" y="110"/>
                </a:lnTo>
                <a:lnTo>
                  <a:pt x="22" y="110"/>
                </a:lnTo>
                <a:lnTo>
                  <a:pt x="22" y="110"/>
                </a:lnTo>
                <a:lnTo>
                  <a:pt x="22" y="104"/>
                </a:lnTo>
                <a:lnTo>
                  <a:pt x="22" y="104"/>
                </a:lnTo>
                <a:lnTo>
                  <a:pt x="20" y="104"/>
                </a:lnTo>
                <a:lnTo>
                  <a:pt x="20" y="104"/>
                </a:lnTo>
                <a:lnTo>
                  <a:pt x="18" y="100"/>
                </a:lnTo>
                <a:lnTo>
                  <a:pt x="18" y="98"/>
                </a:lnTo>
                <a:lnTo>
                  <a:pt x="18" y="98"/>
                </a:lnTo>
                <a:lnTo>
                  <a:pt x="14" y="96"/>
                </a:lnTo>
                <a:lnTo>
                  <a:pt x="14" y="96"/>
                </a:lnTo>
                <a:lnTo>
                  <a:pt x="14" y="90"/>
                </a:lnTo>
                <a:lnTo>
                  <a:pt x="16" y="84"/>
                </a:lnTo>
                <a:lnTo>
                  <a:pt x="16" y="84"/>
                </a:lnTo>
                <a:lnTo>
                  <a:pt x="8" y="78"/>
                </a:lnTo>
                <a:lnTo>
                  <a:pt x="6" y="76"/>
                </a:lnTo>
                <a:lnTo>
                  <a:pt x="0" y="72"/>
                </a:lnTo>
                <a:lnTo>
                  <a:pt x="0" y="72"/>
                </a:lnTo>
                <a:lnTo>
                  <a:pt x="2" y="60"/>
                </a:lnTo>
                <a:lnTo>
                  <a:pt x="2" y="60"/>
                </a:lnTo>
                <a:lnTo>
                  <a:pt x="2" y="60"/>
                </a:lnTo>
                <a:lnTo>
                  <a:pt x="0" y="60"/>
                </a:lnTo>
                <a:lnTo>
                  <a:pt x="0" y="60"/>
                </a:lnTo>
                <a:lnTo>
                  <a:pt x="0" y="58"/>
                </a:lnTo>
                <a:lnTo>
                  <a:pt x="0" y="58"/>
                </a:lnTo>
                <a:lnTo>
                  <a:pt x="2" y="58"/>
                </a:lnTo>
                <a:lnTo>
                  <a:pt x="2" y="58"/>
                </a:lnTo>
                <a:lnTo>
                  <a:pt x="2" y="54"/>
                </a:lnTo>
                <a:lnTo>
                  <a:pt x="2" y="54"/>
                </a:lnTo>
                <a:lnTo>
                  <a:pt x="0" y="54"/>
                </a:lnTo>
                <a:lnTo>
                  <a:pt x="0" y="50"/>
                </a:lnTo>
                <a:lnTo>
                  <a:pt x="0" y="50"/>
                </a:lnTo>
                <a:lnTo>
                  <a:pt x="6" y="52"/>
                </a:lnTo>
                <a:lnTo>
                  <a:pt x="6" y="52"/>
                </a:lnTo>
                <a:lnTo>
                  <a:pt x="12" y="48"/>
                </a:lnTo>
                <a:lnTo>
                  <a:pt x="14" y="40"/>
                </a:lnTo>
                <a:lnTo>
                  <a:pt x="14" y="40"/>
                </a:lnTo>
                <a:lnTo>
                  <a:pt x="20" y="36"/>
                </a:lnTo>
                <a:lnTo>
                  <a:pt x="20" y="36"/>
                </a:lnTo>
                <a:lnTo>
                  <a:pt x="22" y="30"/>
                </a:lnTo>
                <a:lnTo>
                  <a:pt x="22" y="30"/>
                </a:lnTo>
                <a:lnTo>
                  <a:pt x="22" y="30"/>
                </a:lnTo>
                <a:lnTo>
                  <a:pt x="18" y="30"/>
                </a:lnTo>
                <a:lnTo>
                  <a:pt x="18" y="30"/>
                </a:lnTo>
                <a:lnTo>
                  <a:pt x="16" y="26"/>
                </a:lnTo>
                <a:lnTo>
                  <a:pt x="16" y="24"/>
                </a:lnTo>
                <a:lnTo>
                  <a:pt x="16" y="20"/>
                </a:lnTo>
                <a:lnTo>
                  <a:pt x="16" y="20"/>
                </a:lnTo>
                <a:lnTo>
                  <a:pt x="18" y="20"/>
                </a:lnTo>
                <a:lnTo>
                  <a:pt x="18" y="16"/>
                </a:lnTo>
                <a:lnTo>
                  <a:pt x="18" y="16"/>
                </a:lnTo>
                <a:lnTo>
                  <a:pt x="18" y="8"/>
                </a:lnTo>
                <a:lnTo>
                  <a:pt x="14" y="0"/>
                </a:lnTo>
                <a:lnTo>
                  <a:pt x="32" y="0"/>
                </a:lnTo>
                <a:lnTo>
                  <a:pt x="32" y="0"/>
                </a:lnTo>
                <a:lnTo>
                  <a:pt x="28" y="10"/>
                </a:lnTo>
                <a:lnTo>
                  <a:pt x="28" y="10"/>
                </a:lnTo>
                <a:lnTo>
                  <a:pt x="30" y="16"/>
                </a:lnTo>
                <a:lnTo>
                  <a:pt x="32" y="20"/>
                </a:lnTo>
                <a:lnTo>
                  <a:pt x="32" y="20"/>
                </a:lnTo>
                <a:lnTo>
                  <a:pt x="34" y="24"/>
                </a:lnTo>
                <a:lnTo>
                  <a:pt x="36" y="26"/>
                </a:lnTo>
                <a:lnTo>
                  <a:pt x="40" y="24"/>
                </a:lnTo>
                <a:lnTo>
                  <a:pt x="40" y="24"/>
                </a:lnTo>
                <a:lnTo>
                  <a:pt x="38" y="20"/>
                </a:lnTo>
                <a:lnTo>
                  <a:pt x="38" y="20"/>
                </a:lnTo>
                <a:lnTo>
                  <a:pt x="42" y="20"/>
                </a:lnTo>
                <a:lnTo>
                  <a:pt x="42" y="20"/>
                </a:lnTo>
                <a:lnTo>
                  <a:pt x="44" y="18"/>
                </a:lnTo>
                <a:lnTo>
                  <a:pt x="44" y="18"/>
                </a:lnTo>
                <a:lnTo>
                  <a:pt x="42" y="16"/>
                </a:lnTo>
                <a:lnTo>
                  <a:pt x="42" y="16"/>
                </a:lnTo>
                <a:lnTo>
                  <a:pt x="42" y="16"/>
                </a:lnTo>
                <a:lnTo>
                  <a:pt x="48" y="16"/>
                </a:lnTo>
                <a:lnTo>
                  <a:pt x="54" y="20"/>
                </a:lnTo>
                <a:lnTo>
                  <a:pt x="54" y="20"/>
                </a:lnTo>
                <a:lnTo>
                  <a:pt x="54" y="26"/>
                </a:lnTo>
                <a:lnTo>
                  <a:pt x="54" y="26"/>
                </a:lnTo>
                <a:lnTo>
                  <a:pt x="58" y="28"/>
                </a:lnTo>
                <a:lnTo>
                  <a:pt x="58" y="28"/>
                </a:lnTo>
                <a:lnTo>
                  <a:pt x="58" y="22"/>
                </a:lnTo>
                <a:lnTo>
                  <a:pt x="58" y="18"/>
                </a:lnTo>
                <a:lnTo>
                  <a:pt x="60" y="16"/>
                </a:lnTo>
                <a:lnTo>
                  <a:pt x="66" y="16"/>
                </a:lnTo>
                <a:lnTo>
                  <a:pt x="66" y="16"/>
                </a:lnTo>
                <a:lnTo>
                  <a:pt x="66" y="14"/>
                </a:lnTo>
                <a:lnTo>
                  <a:pt x="68" y="14"/>
                </a:lnTo>
                <a:lnTo>
                  <a:pt x="68" y="12"/>
                </a:lnTo>
                <a:lnTo>
                  <a:pt x="68" y="12"/>
                </a:lnTo>
                <a:lnTo>
                  <a:pt x="62" y="12"/>
                </a:lnTo>
                <a:lnTo>
                  <a:pt x="62" y="12"/>
                </a:lnTo>
                <a:lnTo>
                  <a:pt x="60" y="10"/>
                </a:lnTo>
                <a:lnTo>
                  <a:pt x="60" y="10"/>
                </a:lnTo>
                <a:lnTo>
                  <a:pt x="62" y="10"/>
                </a:lnTo>
                <a:lnTo>
                  <a:pt x="64" y="8"/>
                </a:lnTo>
                <a:lnTo>
                  <a:pt x="64" y="8"/>
                </a:lnTo>
                <a:lnTo>
                  <a:pt x="58" y="8"/>
                </a:lnTo>
                <a:lnTo>
                  <a:pt x="58" y="8"/>
                </a:lnTo>
                <a:lnTo>
                  <a:pt x="62" y="4"/>
                </a:lnTo>
                <a:lnTo>
                  <a:pt x="64" y="0"/>
                </a:lnTo>
                <a:lnTo>
                  <a:pt x="104" y="20"/>
                </a:lnTo>
                <a:lnTo>
                  <a:pt x="104" y="20"/>
                </a:lnTo>
                <a:lnTo>
                  <a:pt x="106" y="22"/>
                </a:lnTo>
                <a:lnTo>
                  <a:pt x="108" y="26"/>
                </a:lnTo>
                <a:lnTo>
                  <a:pt x="108" y="26"/>
                </a:lnTo>
                <a:lnTo>
                  <a:pt x="108" y="32"/>
                </a:lnTo>
                <a:lnTo>
                  <a:pt x="108" y="32"/>
                </a:lnTo>
                <a:lnTo>
                  <a:pt x="110" y="34"/>
                </a:lnTo>
                <a:lnTo>
                  <a:pt x="110" y="34"/>
                </a:lnTo>
                <a:lnTo>
                  <a:pt x="112" y="36"/>
                </a:lnTo>
                <a:lnTo>
                  <a:pt x="114" y="36"/>
                </a:lnTo>
                <a:lnTo>
                  <a:pt x="130"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8" name="Freeform 32">
            <a:extLst>
              <a:ext uri="{FF2B5EF4-FFF2-40B4-BE49-F238E27FC236}">
                <a16:creationId xmlns:a16="http://schemas.microsoft.com/office/drawing/2014/main" id="{C1D96FEB-2C8C-47F4-BAD8-591DFB110C56}"/>
              </a:ext>
            </a:extLst>
          </p:cNvPr>
          <p:cNvSpPr>
            <a:spLocks/>
          </p:cNvSpPr>
          <p:nvPr userDrawn="1"/>
        </p:nvSpPr>
        <p:spPr bwMode="auto">
          <a:xfrm>
            <a:off x="7360117" y="2476025"/>
            <a:ext cx="167704" cy="157870"/>
          </a:xfrm>
          <a:custGeom>
            <a:avLst/>
            <a:gdLst>
              <a:gd name="T0" fmla="*/ 42 w 100"/>
              <a:gd name="T1" fmla="*/ 8 h 92"/>
              <a:gd name="T2" fmla="*/ 46 w 100"/>
              <a:gd name="T3" fmla="*/ 0 h 92"/>
              <a:gd name="T4" fmla="*/ 42 w 100"/>
              <a:gd name="T5" fmla="*/ 0 h 92"/>
              <a:gd name="T6" fmla="*/ 38 w 100"/>
              <a:gd name="T7" fmla="*/ 2 h 92"/>
              <a:gd name="T8" fmla="*/ 36 w 100"/>
              <a:gd name="T9" fmla="*/ 6 h 92"/>
              <a:gd name="T10" fmla="*/ 34 w 100"/>
              <a:gd name="T11" fmla="*/ 6 h 92"/>
              <a:gd name="T12" fmla="*/ 28 w 100"/>
              <a:gd name="T13" fmla="*/ 0 h 92"/>
              <a:gd name="T14" fmla="*/ 26 w 100"/>
              <a:gd name="T15" fmla="*/ 0 h 92"/>
              <a:gd name="T16" fmla="*/ 22 w 100"/>
              <a:gd name="T17" fmla="*/ 2 h 92"/>
              <a:gd name="T18" fmla="*/ 24 w 100"/>
              <a:gd name="T19" fmla="*/ 8 h 92"/>
              <a:gd name="T20" fmla="*/ 26 w 100"/>
              <a:gd name="T21" fmla="*/ 10 h 92"/>
              <a:gd name="T22" fmla="*/ 26 w 100"/>
              <a:gd name="T23" fmla="*/ 12 h 92"/>
              <a:gd name="T24" fmla="*/ 24 w 100"/>
              <a:gd name="T25" fmla="*/ 14 h 92"/>
              <a:gd name="T26" fmla="*/ 20 w 100"/>
              <a:gd name="T27" fmla="*/ 18 h 92"/>
              <a:gd name="T28" fmla="*/ 20 w 100"/>
              <a:gd name="T29" fmla="*/ 22 h 92"/>
              <a:gd name="T30" fmla="*/ 22 w 100"/>
              <a:gd name="T31" fmla="*/ 20 h 92"/>
              <a:gd name="T32" fmla="*/ 20 w 100"/>
              <a:gd name="T33" fmla="*/ 24 h 92"/>
              <a:gd name="T34" fmla="*/ 20 w 100"/>
              <a:gd name="T35" fmla="*/ 24 h 92"/>
              <a:gd name="T36" fmla="*/ 12 w 100"/>
              <a:gd name="T37" fmla="*/ 30 h 92"/>
              <a:gd name="T38" fmla="*/ 10 w 100"/>
              <a:gd name="T39" fmla="*/ 30 h 92"/>
              <a:gd name="T40" fmla="*/ 8 w 100"/>
              <a:gd name="T41" fmla="*/ 28 h 92"/>
              <a:gd name="T42" fmla="*/ 4 w 100"/>
              <a:gd name="T43" fmla="*/ 28 h 92"/>
              <a:gd name="T44" fmla="*/ 0 w 100"/>
              <a:gd name="T45" fmla="*/ 34 h 92"/>
              <a:gd name="T46" fmla="*/ 2 w 100"/>
              <a:gd name="T47" fmla="*/ 36 h 92"/>
              <a:gd name="T48" fmla="*/ 8 w 100"/>
              <a:gd name="T49" fmla="*/ 40 h 92"/>
              <a:gd name="T50" fmla="*/ 14 w 100"/>
              <a:gd name="T51" fmla="*/ 40 h 92"/>
              <a:gd name="T52" fmla="*/ 16 w 100"/>
              <a:gd name="T53" fmla="*/ 42 h 92"/>
              <a:gd name="T54" fmla="*/ 12 w 100"/>
              <a:gd name="T55" fmla="*/ 48 h 92"/>
              <a:gd name="T56" fmla="*/ 14 w 100"/>
              <a:gd name="T57" fmla="*/ 52 h 92"/>
              <a:gd name="T58" fmla="*/ 16 w 100"/>
              <a:gd name="T59" fmla="*/ 54 h 92"/>
              <a:gd name="T60" fmla="*/ 14 w 100"/>
              <a:gd name="T61" fmla="*/ 58 h 92"/>
              <a:gd name="T62" fmla="*/ 10 w 100"/>
              <a:gd name="T63" fmla="*/ 62 h 92"/>
              <a:gd name="T64" fmla="*/ 6 w 100"/>
              <a:gd name="T65" fmla="*/ 70 h 92"/>
              <a:gd name="T66" fmla="*/ 16 w 100"/>
              <a:gd name="T67" fmla="*/ 70 h 92"/>
              <a:gd name="T68" fmla="*/ 24 w 100"/>
              <a:gd name="T69" fmla="*/ 64 h 92"/>
              <a:gd name="T70" fmla="*/ 32 w 100"/>
              <a:gd name="T71" fmla="*/ 62 h 92"/>
              <a:gd name="T72" fmla="*/ 38 w 100"/>
              <a:gd name="T73" fmla="*/ 72 h 92"/>
              <a:gd name="T74" fmla="*/ 34 w 100"/>
              <a:gd name="T75" fmla="*/ 86 h 92"/>
              <a:gd name="T76" fmla="*/ 46 w 100"/>
              <a:gd name="T77" fmla="*/ 90 h 92"/>
              <a:gd name="T78" fmla="*/ 56 w 100"/>
              <a:gd name="T79" fmla="*/ 80 h 92"/>
              <a:gd name="T80" fmla="*/ 70 w 100"/>
              <a:gd name="T81" fmla="*/ 74 h 92"/>
              <a:gd name="T82" fmla="*/ 84 w 100"/>
              <a:gd name="T83" fmla="*/ 74 h 92"/>
              <a:gd name="T84" fmla="*/ 100 w 100"/>
              <a:gd name="T85" fmla="*/ 72 h 92"/>
              <a:gd name="T86" fmla="*/ 96 w 100"/>
              <a:gd name="T87" fmla="*/ 64 h 92"/>
              <a:gd name="T88" fmla="*/ 92 w 100"/>
              <a:gd name="T89" fmla="*/ 50 h 92"/>
              <a:gd name="T90" fmla="*/ 94 w 100"/>
              <a:gd name="T91" fmla="*/ 40 h 92"/>
              <a:gd name="T92" fmla="*/ 84 w 100"/>
              <a:gd name="T93" fmla="*/ 42 h 92"/>
              <a:gd name="T94" fmla="*/ 80 w 100"/>
              <a:gd name="T95" fmla="*/ 34 h 92"/>
              <a:gd name="T96" fmla="*/ 80 w 100"/>
              <a:gd name="T97" fmla="*/ 28 h 92"/>
              <a:gd name="T98" fmla="*/ 74 w 100"/>
              <a:gd name="T99" fmla="*/ 26 h 92"/>
              <a:gd name="T100" fmla="*/ 68 w 100"/>
              <a:gd name="T101" fmla="*/ 28 h 92"/>
              <a:gd name="T102" fmla="*/ 60 w 100"/>
              <a:gd name="T103" fmla="*/ 28 h 92"/>
              <a:gd name="T104" fmla="*/ 58 w 100"/>
              <a:gd name="T105" fmla="*/ 28 h 92"/>
              <a:gd name="T106" fmla="*/ 54 w 100"/>
              <a:gd name="T107" fmla="*/ 26 h 92"/>
              <a:gd name="T108" fmla="*/ 52 w 100"/>
              <a:gd name="T109" fmla="*/ 24 h 92"/>
              <a:gd name="T110" fmla="*/ 46 w 100"/>
              <a:gd name="T111" fmla="*/ 26 h 92"/>
              <a:gd name="T112" fmla="*/ 44 w 100"/>
              <a:gd name="T113" fmla="*/ 26 h 92"/>
              <a:gd name="T114" fmla="*/ 42 w 100"/>
              <a:gd name="T115" fmla="*/ 22 h 92"/>
              <a:gd name="T116" fmla="*/ 28 w 100"/>
              <a:gd name="T117" fmla="*/ 18 h 92"/>
              <a:gd name="T118" fmla="*/ 42 w 100"/>
              <a:gd name="T119"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 h="92">
                <a:moveTo>
                  <a:pt x="42" y="16"/>
                </a:moveTo>
                <a:lnTo>
                  <a:pt x="42" y="8"/>
                </a:lnTo>
                <a:lnTo>
                  <a:pt x="48" y="6"/>
                </a:lnTo>
                <a:lnTo>
                  <a:pt x="46" y="0"/>
                </a:lnTo>
                <a:lnTo>
                  <a:pt x="46" y="0"/>
                </a:lnTo>
                <a:lnTo>
                  <a:pt x="42" y="0"/>
                </a:lnTo>
                <a:lnTo>
                  <a:pt x="38" y="2"/>
                </a:lnTo>
                <a:lnTo>
                  <a:pt x="38" y="2"/>
                </a:lnTo>
                <a:lnTo>
                  <a:pt x="38" y="4"/>
                </a:lnTo>
                <a:lnTo>
                  <a:pt x="36" y="6"/>
                </a:lnTo>
                <a:lnTo>
                  <a:pt x="34" y="6"/>
                </a:lnTo>
                <a:lnTo>
                  <a:pt x="34" y="6"/>
                </a:lnTo>
                <a:lnTo>
                  <a:pt x="30" y="2"/>
                </a:lnTo>
                <a:lnTo>
                  <a:pt x="28" y="0"/>
                </a:lnTo>
                <a:lnTo>
                  <a:pt x="28" y="0"/>
                </a:lnTo>
                <a:lnTo>
                  <a:pt x="26" y="0"/>
                </a:lnTo>
                <a:lnTo>
                  <a:pt x="24" y="2"/>
                </a:lnTo>
                <a:lnTo>
                  <a:pt x="22" y="2"/>
                </a:lnTo>
                <a:lnTo>
                  <a:pt x="22" y="2"/>
                </a:lnTo>
                <a:lnTo>
                  <a:pt x="24" y="8"/>
                </a:lnTo>
                <a:lnTo>
                  <a:pt x="26" y="10"/>
                </a:lnTo>
                <a:lnTo>
                  <a:pt x="26" y="10"/>
                </a:lnTo>
                <a:lnTo>
                  <a:pt x="26" y="12"/>
                </a:lnTo>
                <a:lnTo>
                  <a:pt x="26" y="12"/>
                </a:lnTo>
                <a:lnTo>
                  <a:pt x="24" y="14"/>
                </a:lnTo>
                <a:lnTo>
                  <a:pt x="24" y="14"/>
                </a:lnTo>
                <a:lnTo>
                  <a:pt x="22" y="16"/>
                </a:lnTo>
                <a:lnTo>
                  <a:pt x="20" y="18"/>
                </a:lnTo>
                <a:lnTo>
                  <a:pt x="20" y="22"/>
                </a:lnTo>
                <a:lnTo>
                  <a:pt x="20" y="22"/>
                </a:lnTo>
                <a:lnTo>
                  <a:pt x="20" y="22"/>
                </a:lnTo>
                <a:lnTo>
                  <a:pt x="22" y="20"/>
                </a:lnTo>
                <a:lnTo>
                  <a:pt x="22" y="22"/>
                </a:lnTo>
                <a:lnTo>
                  <a:pt x="20" y="24"/>
                </a:lnTo>
                <a:lnTo>
                  <a:pt x="20" y="24"/>
                </a:lnTo>
                <a:lnTo>
                  <a:pt x="20" y="24"/>
                </a:lnTo>
                <a:lnTo>
                  <a:pt x="14" y="28"/>
                </a:lnTo>
                <a:lnTo>
                  <a:pt x="12" y="30"/>
                </a:lnTo>
                <a:lnTo>
                  <a:pt x="10" y="30"/>
                </a:lnTo>
                <a:lnTo>
                  <a:pt x="10" y="30"/>
                </a:lnTo>
                <a:lnTo>
                  <a:pt x="10" y="28"/>
                </a:lnTo>
                <a:lnTo>
                  <a:pt x="8" y="28"/>
                </a:lnTo>
                <a:lnTo>
                  <a:pt x="4" y="28"/>
                </a:lnTo>
                <a:lnTo>
                  <a:pt x="4" y="28"/>
                </a:lnTo>
                <a:lnTo>
                  <a:pt x="0" y="32"/>
                </a:lnTo>
                <a:lnTo>
                  <a:pt x="0" y="34"/>
                </a:lnTo>
                <a:lnTo>
                  <a:pt x="2" y="36"/>
                </a:lnTo>
                <a:lnTo>
                  <a:pt x="2" y="36"/>
                </a:lnTo>
                <a:lnTo>
                  <a:pt x="6" y="40"/>
                </a:lnTo>
                <a:lnTo>
                  <a:pt x="8" y="40"/>
                </a:lnTo>
                <a:lnTo>
                  <a:pt x="8" y="40"/>
                </a:lnTo>
                <a:lnTo>
                  <a:pt x="14" y="40"/>
                </a:lnTo>
                <a:lnTo>
                  <a:pt x="16" y="40"/>
                </a:lnTo>
                <a:lnTo>
                  <a:pt x="16" y="42"/>
                </a:lnTo>
                <a:lnTo>
                  <a:pt x="16" y="42"/>
                </a:lnTo>
                <a:lnTo>
                  <a:pt x="12" y="48"/>
                </a:lnTo>
                <a:lnTo>
                  <a:pt x="12" y="50"/>
                </a:lnTo>
                <a:lnTo>
                  <a:pt x="14" y="52"/>
                </a:lnTo>
                <a:lnTo>
                  <a:pt x="14" y="52"/>
                </a:lnTo>
                <a:lnTo>
                  <a:pt x="16" y="54"/>
                </a:lnTo>
                <a:lnTo>
                  <a:pt x="14" y="58"/>
                </a:lnTo>
                <a:lnTo>
                  <a:pt x="14" y="58"/>
                </a:lnTo>
                <a:lnTo>
                  <a:pt x="12" y="60"/>
                </a:lnTo>
                <a:lnTo>
                  <a:pt x="10" y="62"/>
                </a:lnTo>
                <a:lnTo>
                  <a:pt x="10" y="62"/>
                </a:lnTo>
                <a:lnTo>
                  <a:pt x="6" y="70"/>
                </a:lnTo>
                <a:lnTo>
                  <a:pt x="12" y="68"/>
                </a:lnTo>
                <a:lnTo>
                  <a:pt x="16" y="70"/>
                </a:lnTo>
                <a:lnTo>
                  <a:pt x="22" y="66"/>
                </a:lnTo>
                <a:lnTo>
                  <a:pt x="24" y="64"/>
                </a:lnTo>
                <a:lnTo>
                  <a:pt x="28" y="60"/>
                </a:lnTo>
                <a:lnTo>
                  <a:pt x="32" y="62"/>
                </a:lnTo>
                <a:lnTo>
                  <a:pt x="34" y="66"/>
                </a:lnTo>
                <a:lnTo>
                  <a:pt x="38" y="72"/>
                </a:lnTo>
                <a:lnTo>
                  <a:pt x="36" y="76"/>
                </a:lnTo>
                <a:lnTo>
                  <a:pt x="34" y="86"/>
                </a:lnTo>
                <a:lnTo>
                  <a:pt x="40" y="92"/>
                </a:lnTo>
                <a:lnTo>
                  <a:pt x="46" y="90"/>
                </a:lnTo>
                <a:lnTo>
                  <a:pt x="52" y="84"/>
                </a:lnTo>
                <a:lnTo>
                  <a:pt x="56" y="80"/>
                </a:lnTo>
                <a:lnTo>
                  <a:pt x="60" y="78"/>
                </a:lnTo>
                <a:lnTo>
                  <a:pt x="70" y="74"/>
                </a:lnTo>
                <a:lnTo>
                  <a:pt x="74" y="72"/>
                </a:lnTo>
                <a:lnTo>
                  <a:pt x="84" y="74"/>
                </a:lnTo>
                <a:lnTo>
                  <a:pt x="94" y="74"/>
                </a:lnTo>
                <a:lnTo>
                  <a:pt x="100" y="72"/>
                </a:lnTo>
                <a:lnTo>
                  <a:pt x="98" y="68"/>
                </a:lnTo>
                <a:lnTo>
                  <a:pt x="96" y="64"/>
                </a:lnTo>
                <a:lnTo>
                  <a:pt x="94" y="58"/>
                </a:lnTo>
                <a:lnTo>
                  <a:pt x="92" y="50"/>
                </a:lnTo>
                <a:lnTo>
                  <a:pt x="94" y="44"/>
                </a:lnTo>
                <a:lnTo>
                  <a:pt x="94" y="40"/>
                </a:lnTo>
                <a:lnTo>
                  <a:pt x="92" y="38"/>
                </a:lnTo>
                <a:lnTo>
                  <a:pt x="84" y="42"/>
                </a:lnTo>
                <a:lnTo>
                  <a:pt x="80" y="38"/>
                </a:lnTo>
                <a:lnTo>
                  <a:pt x="80" y="34"/>
                </a:lnTo>
                <a:lnTo>
                  <a:pt x="80" y="34"/>
                </a:lnTo>
                <a:lnTo>
                  <a:pt x="80" y="28"/>
                </a:lnTo>
                <a:lnTo>
                  <a:pt x="80" y="28"/>
                </a:lnTo>
                <a:lnTo>
                  <a:pt x="74" y="26"/>
                </a:lnTo>
                <a:lnTo>
                  <a:pt x="68" y="28"/>
                </a:lnTo>
                <a:lnTo>
                  <a:pt x="68" y="28"/>
                </a:lnTo>
                <a:lnTo>
                  <a:pt x="64" y="28"/>
                </a:lnTo>
                <a:lnTo>
                  <a:pt x="60" y="28"/>
                </a:lnTo>
                <a:lnTo>
                  <a:pt x="60" y="28"/>
                </a:lnTo>
                <a:lnTo>
                  <a:pt x="58" y="28"/>
                </a:lnTo>
                <a:lnTo>
                  <a:pt x="56" y="28"/>
                </a:lnTo>
                <a:lnTo>
                  <a:pt x="54" y="26"/>
                </a:lnTo>
                <a:lnTo>
                  <a:pt x="54" y="26"/>
                </a:lnTo>
                <a:lnTo>
                  <a:pt x="52" y="24"/>
                </a:lnTo>
                <a:lnTo>
                  <a:pt x="50" y="24"/>
                </a:lnTo>
                <a:lnTo>
                  <a:pt x="46" y="26"/>
                </a:lnTo>
                <a:lnTo>
                  <a:pt x="46" y="26"/>
                </a:lnTo>
                <a:lnTo>
                  <a:pt x="44" y="26"/>
                </a:lnTo>
                <a:lnTo>
                  <a:pt x="42" y="24"/>
                </a:lnTo>
                <a:lnTo>
                  <a:pt x="42" y="22"/>
                </a:lnTo>
                <a:lnTo>
                  <a:pt x="32" y="24"/>
                </a:lnTo>
                <a:lnTo>
                  <a:pt x="28" y="18"/>
                </a:lnTo>
                <a:lnTo>
                  <a:pt x="36" y="14"/>
                </a:lnTo>
                <a:lnTo>
                  <a:pt x="42" y="18"/>
                </a:lnTo>
                <a:lnTo>
                  <a:pt x="42" y="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9" name="Freeform 33">
            <a:extLst>
              <a:ext uri="{FF2B5EF4-FFF2-40B4-BE49-F238E27FC236}">
                <a16:creationId xmlns:a16="http://schemas.microsoft.com/office/drawing/2014/main" id="{7FDF9320-F6C7-4974-812D-1CEE43888CEE}"/>
              </a:ext>
            </a:extLst>
          </p:cNvPr>
          <p:cNvSpPr>
            <a:spLocks/>
          </p:cNvSpPr>
          <p:nvPr userDrawn="1"/>
        </p:nvSpPr>
        <p:spPr bwMode="auto">
          <a:xfrm>
            <a:off x="8547458" y="2956501"/>
            <a:ext cx="43603" cy="92663"/>
          </a:xfrm>
          <a:custGeom>
            <a:avLst/>
            <a:gdLst>
              <a:gd name="T0" fmla="*/ 18 w 26"/>
              <a:gd name="T1" fmla="*/ 0 h 54"/>
              <a:gd name="T2" fmla="*/ 18 w 26"/>
              <a:gd name="T3" fmla="*/ 0 h 54"/>
              <a:gd name="T4" fmla="*/ 14 w 26"/>
              <a:gd name="T5" fmla="*/ 4 h 54"/>
              <a:gd name="T6" fmla="*/ 14 w 26"/>
              <a:gd name="T7" fmla="*/ 4 h 54"/>
              <a:gd name="T8" fmla="*/ 12 w 26"/>
              <a:gd name="T9" fmla="*/ 10 h 54"/>
              <a:gd name="T10" fmla="*/ 12 w 26"/>
              <a:gd name="T11" fmla="*/ 10 h 54"/>
              <a:gd name="T12" fmla="*/ 8 w 26"/>
              <a:gd name="T13" fmla="*/ 14 h 54"/>
              <a:gd name="T14" fmla="*/ 6 w 26"/>
              <a:gd name="T15" fmla="*/ 18 h 54"/>
              <a:gd name="T16" fmla="*/ 6 w 26"/>
              <a:gd name="T17" fmla="*/ 18 h 54"/>
              <a:gd name="T18" fmla="*/ 6 w 26"/>
              <a:gd name="T19" fmla="*/ 22 h 54"/>
              <a:gd name="T20" fmla="*/ 6 w 26"/>
              <a:gd name="T21" fmla="*/ 24 h 54"/>
              <a:gd name="T22" fmla="*/ 6 w 26"/>
              <a:gd name="T23" fmla="*/ 24 h 54"/>
              <a:gd name="T24" fmla="*/ 2 w 26"/>
              <a:gd name="T25" fmla="*/ 28 h 54"/>
              <a:gd name="T26" fmla="*/ 2 w 26"/>
              <a:gd name="T27" fmla="*/ 28 h 54"/>
              <a:gd name="T28" fmla="*/ 0 w 26"/>
              <a:gd name="T29" fmla="*/ 34 h 54"/>
              <a:gd name="T30" fmla="*/ 0 w 26"/>
              <a:gd name="T31" fmla="*/ 42 h 54"/>
              <a:gd name="T32" fmla="*/ 0 w 26"/>
              <a:gd name="T33" fmla="*/ 42 h 54"/>
              <a:gd name="T34" fmla="*/ 2 w 26"/>
              <a:gd name="T35" fmla="*/ 46 h 54"/>
              <a:gd name="T36" fmla="*/ 4 w 26"/>
              <a:gd name="T37" fmla="*/ 50 h 54"/>
              <a:gd name="T38" fmla="*/ 4 w 26"/>
              <a:gd name="T39" fmla="*/ 50 h 54"/>
              <a:gd name="T40" fmla="*/ 8 w 26"/>
              <a:gd name="T41" fmla="*/ 54 h 54"/>
              <a:gd name="T42" fmla="*/ 8 w 26"/>
              <a:gd name="T43" fmla="*/ 54 h 54"/>
              <a:gd name="T44" fmla="*/ 10 w 26"/>
              <a:gd name="T45" fmla="*/ 48 h 54"/>
              <a:gd name="T46" fmla="*/ 10 w 26"/>
              <a:gd name="T47" fmla="*/ 48 h 54"/>
              <a:gd name="T48" fmla="*/ 14 w 26"/>
              <a:gd name="T49" fmla="*/ 46 h 54"/>
              <a:gd name="T50" fmla="*/ 16 w 26"/>
              <a:gd name="T51" fmla="*/ 44 h 54"/>
              <a:gd name="T52" fmla="*/ 16 w 26"/>
              <a:gd name="T53" fmla="*/ 44 h 54"/>
              <a:gd name="T54" fmla="*/ 16 w 26"/>
              <a:gd name="T55" fmla="*/ 40 h 54"/>
              <a:gd name="T56" fmla="*/ 18 w 26"/>
              <a:gd name="T57" fmla="*/ 36 h 54"/>
              <a:gd name="T58" fmla="*/ 18 w 26"/>
              <a:gd name="T59" fmla="*/ 36 h 54"/>
              <a:gd name="T60" fmla="*/ 18 w 26"/>
              <a:gd name="T61" fmla="*/ 24 h 54"/>
              <a:gd name="T62" fmla="*/ 18 w 26"/>
              <a:gd name="T63" fmla="*/ 24 h 54"/>
              <a:gd name="T64" fmla="*/ 26 w 26"/>
              <a:gd name="T65" fmla="*/ 4 h 54"/>
              <a:gd name="T66" fmla="*/ 26 w 26"/>
              <a:gd name="T67" fmla="*/ 4 h 54"/>
              <a:gd name="T68" fmla="*/ 24 w 26"/>
              <a:gd name="T69" fmla="*/ 2 h 54"/>
              <a:gd name="T70" fmla="*/ 22 w 26"/>
              <a:gd name="T71" fmla="*/ 0 h 54"/>
              <a:gd name="T72" fmla="*/ 18 w 26"/>
              <a:gd name="T73" fmla="*/ 0 h 54"/>
              <a:gd name="T74" fmla="*/ 18 w 26"/>
              <a:gd name="T7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54">
                <a:moveTo>
                  <a:pt x="18" y="0"/>
                </a:moveTo>
                <a:lnTo>
                  <a:pt x="18" y="0"/>
                </a:lnTo>
                <a:lnTo>
                  <a:pt x="14" y="4"/>
                </a:lnTo>
                <a:lnTo>
                  <a:pt x="14" y="4"/>
                </a:lnTo>
                <a:lnTo>
                  <a:pt x="12" y="10"/>
                </a:lnTo>
                <a:lnTo>
                  <a:pt x="12" y="10"/>
                </a:lnTo>
                <a:lnTo>
                  <a:pt x="8" y="14"/>
                </a:lnTo>
                <a:lnTo>
                  <a:pt x="6" y="18"/>
                </a:lnTo>
                <a:lnTo>
                  <a:pt x="6" y="18"/>
                </a:lnTo>
                <a:lnTo>
                  <a:pt x="6" y="22"/>
                </a:lnTo>
                <a:lnTo>
                  <a:pt x="6" y="24"/>
                </a:lnTo>
                <a:lnTo>
                  <a:pt x="6" y="24"/>
                </a:lnTo>
                <a:lnTo>
                  <a:pt x="2" y="28"/>
                </a:lnTo>
                <a:lnTo>
                  <a:pt x="2" y="28"/>
                </a:lnTo>
                <a:lnTo>
                  <a:pt x="0" y="34"/>
                </a:lnTo>
                <a:lnTo>
                  <a:pt x="0" y="42"/>
                </a:lnTo>
                <a:lnTo>
                  <a:pt x="0" y="42"/>
                </a:lnTo>
                <a:lnTo>
                  <a:pt x="2" y="46"/>
                </a:lnTo>
                <a:lnTo>
                  <a:pt x="4" y="50"/>
                </a:lnTo>
                <a:lnTo>
                  <a:pt x="4" y="50"/>
                </a:lnTo>
                <a:lnTo>
                  <a:pt x="8" y="54"/>
                </a:lnTo>
                <a:lnTo>
                  <a:pt x="8" y="54"/>
                </a:lnTo>
                <a:lnTo>
                  <a:pt x="10" y="48"/>
                </a:lnTo>
                <a:lnTo>
                  <a:pt x="10" y="48"/>
                </a:lnTo>
                <a:lnTo>
                  <a:pt x="14" y="46"/>
                </a:lnTo>
                <a:lnTo>
                  <a:pt x="16" y="44"/>
                </a:lnTo>
                <a:lnTo>
                  <a:pt x="16" y="44"/>
                </a:lnTo>
                <a:lnTo>
                  <a:pt x="16" y="40"/>
                </a:lnTo>
                <a:lnTo>
                  <a:pt x="18" y="36"/>
                </a:lnTo>
                <a:lnTo>
                  <a:pt x="18" y="36"/>
                </a:lnTo>
                <a:lnTo>
                  <a:pt x="18" y="24"/>
                </a:lnTo>
                <a:lnTo>
                  <a:pt x="18" y="24"/>
                </a:lnTo>
                <a:lnTo>
                  <a:pt x="26" y="4"/>
                </a:lnTo>
                <a:lnTo>
                  <a:pt x="26" y="4"/>
                </a:lnTo>
                <a:lnTo>
                  <a:pt x="24" y="2"/>
                </a:lnTo>
                <a:lnTo>
                  <a:pt x="22" y="0"/>
                </a:lnTo>
                <a:lnTo>
                  <a:pt x="18" y="0"/>
                </a:lnTo>
                <a:lnTo>
                  <a:pt x="18"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0" name="Freeform 34">
            <a:extLst>
              <a:ext uri="{FF2B5EF4-FFF2-40B4-BE49-F238E27FC236}">
                <a16:creationId xmlns:a16="http://schemas.microsoft.com/office/drawing/2014/main" id="{05639C3E-CA0F-450B-B506-C18EB381DA55}"/>
              </a:ext>
            </a:extLst>
          </p:cNvPr>
          <p:cNvSpPr>
            <a:spLocks/>
          </p:cNvSpPr>
          <p:nvPr userDrawn="1"/>
        </p:nvSpPr>
        <p:spPr bwMode="auto">
          <a:xfrm>
            <a:off x="6659116" y="2585848"/>
            <a:ext cx="147579" cy="161303"/>
          </a:xfrm>
          <a:custGeom>
            <a:avLst/>
            <a:gdLst>
              <a:gd name="T0" fmla="*/ 2 w 88"/>
              <a:gd name="T1" fmla="*/ 32 h 94"/>
              <a:gd name="T2" fmla="*/ 0 w 88"/>
              <a:gd name="T3" fmla="*/ 36 h 94"/>
              <a:gd name="T4" fmla="*/ 0 w 88"/>
              <a:gd name="T5" fmla="*/ 40 h 94"/>
              <a:gd name="T6" fmla="*/ 4 w 88"/>
              <a:gd name="T7" fmla="*/ 40 h 94"/>
              <a:gd name="T8" fmla="*/ 4 w 88"/>
              <a:gd name="T9" fmla="*/ 48 h 94"/>
              <a:gd name="T10" fmla="*/ 2 w 88"/>
              <a:gd name="T11" fmla="*/ 48 h 94"/>
              <a:gd name="T12" fmla="*/ 2 w 88"/>
              <a:gd name="T13" fmla="*/ 48 h 94"/>
              <a:gd name="T14" fmla="*/ 2 w 88"/>
              <a:gd name="T15" fmla="*/ 50 h 94"/>
              <a:gd name="T16" fmla="*/ 4 w 88"/>
              <a:gd name="T17" fmla="*/ 52 h 94"/>
              <a:gd name="T18" fmla="*/ 6 w 88"/>
              <a:gd name="T19" fmla="*/ 56 h 94"/>
              <a:gd name="T20" fmla="*/ 8 w 88"/>
              <a:gd name="T21" fmla="*/ 52 h 94"/>
              <a:gd name="T22" fmla="*/ 12 w 88"/>
              <a:gd name="T23" fmla="*/ 52 h 94"/>
              <a:gd name="T24" fmla="*/ 16 w 88"/>
              <a:gd name="T25" fmla="*/ 54 h 94"/>
              <a:gd name="T26" fmla="*/ 18 w 88"/>
              <a:gd name="T27" fmla="*/ 56 h 94"/>
              <a:gd name="T28" fmla="*/ 16 w 88"/>
              <a:gd name="T29" fmla="*/ 64 h 94"/>
              <a:gd name="T30" fmla="*/ 12 w 88"/>
              <a:gd name="T31" fmla="*/ 70 h 94"/>
              <a:gd name="T32" fmla="*/ 10 w 88"/>
              <a:gd name="T33" fmla="*/ 78 h 94"/>
              <a:gd name="T34" fmla="*/ 8 w 88"/>
              <a:gd name="T35" fmla="*/ 80 h 94"/>
              <a:gd name="T36" fmla="*/ 6 w 88"/>
              <a:gd name="T37" fmla="*/ 82 h 94"/>
              <a:gd name="T38" fmla="*/ 4 w 88"/>
              <a:gd name="T39" fmla="*/ 94 h 94"/>
              <a:gd name="T40" fmla="*/ 6 w 88"/>
              <a:gd name="T41" fmla="*/ 92 h 94"/>
              <a:gd name="T42" fmla="*/ 12 w 88"/>
              <a:gd name="T43" fmla="*/ 90 h 94"/>
              <a:gd name="T44" fmla="*/ 18 w 88"/>
              <a:gd name="T45" fmla="*/ 92 h 94"/>
              <a:gd name="T46" fmla="*/ 42 w 88"/>
              <a:gd name="T47" fmla="*/ 78 h 94"/>
              <a:gd name="T48" fmla="*/ 70 w 88"/>
              <a:gd name="T49" fmla="*/ 56 h 94"/>
              <a:gd name="T50" fmla="*/ 74 w 88"/>
              <a:gd name="T51" fmla="*/ 52 h 94"/>
              <a:gd name="T52" fmla="*/ 76 w 88"/>
              <a:gd name="T53" fmla="*/ 44 h 94"/>
              <a:gd name="T54" fmla="*/ 76 w 88"/>
              <a:gd name="T55" fmla="*/ 38 h 94"/>
              <a:gd name="T56" fmla="*/ 76 w 88"/>
              <a:gd name="T57" fmla="*/ 34 h 94"/>
              <a:gd name="T58" fmla="*/ 80 w 88"/>
              <a:gd name="T59" fmla="*/ 30 h 94"/>
              <a:gd name="T60" fmla="*/ 78 w 88"/>
              <a:gd name="T61" fmla="*/ 26 h 94"/>
              <a:gd name="T62" fmla="*/ 78 w 88"/>
              <a:gd name="T63" fmla="*/ 22 h 94"/>
              <a:gd name="T64" fmla="*/ 80 w 88"/>
              <a:gd name="T65" fmla="*/ 18 h 94"/>
              <a:gd name="T66" fmla="*/ 84 w 88"/>
              <a:gd name="T67" fmla="*/ 14 h 94"/>
              <a:gd name="T68" fmla="*/ 88 w 88"/>
              <a:gd name="T69" fmla="*/ 8 h 94"/>
              <a:gd name="T70" fmla="*/ 88 w 88"/>
              <a:gd name="T71" fmla="*/ 6 h 94"/>
              <a:gd name="T72" fmla="*/ 84 w 88"/>
              <a:gd name="T73" fmla="*/ 4 h 94"/>
              <a:gd name="T74" fmla="*/ 84 w 88"/>
              <a:gd name="T75" fmla="*/ 0 h 94"/>
              <a:gd name="T76" fmla="*/ 72 w 88"/>
              <a:gd name="T77" fmla="*/ 6 h 94"/>
              <a:gd name="T78" fmla="*/ 68 w 88"/>
              <a:gd name="T79" fmla="*/ 8 h 94"/>
              <a:gd name="T80" fmla="*/ 58 w 88"/>
              <a:gd name="T81" fmla="*/ 8 h 94"/>
              <a:gd name="T82" fmla="*/ 54 w 88"/>
              <a:gd name="T83" fmla="*/ 8 h 94"/>
              <a:gd name="T84" fmla="*/ 44 w 88"/>
              <a:gd name="T85" fmla="*/ 12 h 94"/>
              <a:gd name="T86" fmla="*/ 36 w 88"/>
              <a:gd name="T87" fmla="*/ 14 h 94"/>
              <a:gd name="T88" fmla="*/ 32 w 88"/>
              <a:gd name="T89" fmla="*/ 14 h 94"/>
              <a:gd name="T90" fmla="*/ 28 w 88"/>
              <a:gd name="T91" fmla="*/ 14 h 94"/>
              <a:gd name="T92" fmla="*/ 22 w 88"/>
              <a:gd name="T93" fmla="*/ 18 h 94"/>
              <a:gd name="T94" fmla="*/ 20 w 88"/>
              <a:gd name="T95" fmla="*/ 18 h 94"/>
              <a:gd name="T96" fmla="*/ 16 w 88"/>
              <a:gd name="T97" fmla="*/ 16 h 94"/>
              <a:gd name="T98" fmla="*/ 14 w 88"/>
              <a:gd name="T99" fmla="*/ 16 h 94"/>
              <a:gd name="T100" fmla="*/ 14 w 88"/>
              <a:gd name="T101" fmla="*/ 20 h 94"/>
              <a:gd name="T102" fmla="*/ 14 w 88"/>
              <a:gd name="T103" fmla="*/ 24 h 94"/>
              <a:gd name="T104" fmla="*/ 12 w 88"/>
              <a:gd name="T105" fmla="*/ 26 h 94"/>
              <a:gd name="T106" fmla="*/ 10 w 88"/>
              <a:gd name="T107" fmla="*/ 28 h 94"/>
              <a:gd name="T108" fmla="*/ 8 w 88"/>
              <a:gd name="T109" fmla="*/ 32 h 94"/>
              <a:gd name="T110" fmla="*/ 6 w 88"/>
              <a:gd name="T111" fmla="*/ 32 h 94"/>
              <a:gd name="T112" fmla="*/ 2 w 88"/>
              <a:gd name="T113"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 h="94">
                <a:moveTo>
                  <a:pt x="2" y="32"/>
                </a:moveTo>
                <a:lnTo>
                  <a:pt x="2" y="32"/>
                </a:lnTo>
                <a:lnTo>
                  <a:pt x="0" y="36"/>
                </a:lnTo>
                <a:lnTo>
                  <a:pt x="0" y="36"/>
                </a:lnTo>
                <a:lnTo>
                  <a:pt x="0" y="40"/>
                </a:lnTo>
                <a:lnTo>
                  <a:pt x="0" y="40"/>
                </a:lnTo>
                <a:lnTo>
                  <a:pt x="4" y="40"/>
                </a:lnTo>
                <a:lnTo>
                  <a:pt x="4" y="40"/>
                </a:lnTo>
                <a:lnTo>
                  <a:pt x="4" y="48"/>
                </a:lnTo>
                <a:lnTo>
                  <a:pt x="4" y="48"/>
                </a:lnTo>
                <a:lnTo>
                  <a:pt x="2" y="48"/>
                </a:lnTo>
                <a:lnTo>
                  <a:pt x="2" y="48"/>
                </a:lnTo>
                <a:lnTo>
                  <a:pt x="2" y="48"/>
                </a:lnTo>
                <a:lnTo>
                  <a:pt x="2" y="48"/>
                </a:lnTo>
                <a:lnTo>
                  <a:pt x="2" y="48"/>
                </a:lnTo>
                <a:lnTo>
                  <a:pt x="2" y="50"/>
                </a:lnTo>
                <a:lnTo>
                  <a:pt x="2" y="50"/>
                </a:lnTo>
                <a:lnTo>
                  <a:pt x="4" y="52"/>
                </a:lnTo>
                <a:lnTo>
                  <a:pt x="4" y="52"/>
                </a:lnTo>
                <a:lnTo>
                  <a:pt x="6" y="56"/>
                </a:lnTo>
                <a:lnTo>
                  <a:pt x="6" y="56"/>
                </a:lnTo>
                <a:lnTo>
                  <a:pt x="8" y="52"/>
                </a:lnTo>
                <a:lnTo>
                  <a:pt x="10" y="52"/>
                </a:lnTo>
                <a:lnTo>
                  <a:pt x="12" y="52"/>
                </a:lnTo>
                <a:lnTo>
                  <a:pt x="12" y="52"/>
                </a:lnTo>
                <a:lnTo>
                  <a:pt x="16" y="54"/>
                </a:lnTo>
                <a:lnTo>
                  <a:pt x="18" y="54"/>
                </a:lnTo>
                <a:lnTo>
                  <a:pt x="18" y="56"/>
                </a:lnTo>
                <a:lnTo>
                  <a:pt x="18" y="56"/>
                </a:lnTo>
                <a:lnTo>
                  <a:pt x="16" y="64"/>
                </a:lnTo>
                <a:lnTo>
                  <a:pt x="12" y="70"/>
                </a:lnTo>
                <a:lnTo>
                  <a:pt x="12" y="70"/>
                </a:lnTo>
                <a:lnTo>
                  <a:pt x="10" y="74"/>
                </a:lnTo>
                <a:lnTo>
                  <a:pt x="10" y="78"/>
                </a:lnTo>
                <a:lnTo>
                  <a:pt x="10" y="78"/>
                </a:lnTo>
                <a:lnTo>
                  <a:pt x="8" y="80"/>
                </a:lnTo>
                <a:lnTo>
                  <a:pt x="6" y="82"/>
                </a:lnTo>
                <a:lnTo>
                  <a:pt x="6" y="82"/>
                </a:lnTo>
                <a:lnTo>
                  <a:pt x="2" y="88"/>
                </a:lnTo>
                <a:lnTo>
                  <a:pt x="4" y="94"/>
                </a:lnTo>
                <a:lnTo>
                  <a:pt x="4" y="94"/>
                </a:lnTo>
                <a:lnTo>
                  <a:pt x="6" y="92"/>
                </a:lnTo>
                <a:lnTo>
                  <a:pt x="10" y="90"/>
                </a:lnTo>
                <a:lnTo>
                  <a:pt x="12" y="90"/>
                </a:lnTo>
                <a:lnTo>
                  <a:pt x="12" y="90"/>
                </a:lnTo>
                <a:lnTo>
                  <a:pt x="18" y="92"/>
                </a:lnTo>
                <a:lnTo>
                  <a:pt x="22" y="94"/>
                </a:lnTo>
                <a:lnTo>
                  <a:pt x="42" y="78"/>
                </a:lnTo>
                <a:lnTo>
                  <a:pt x="70" y="56"/>
                </a:lnTo>
                <a:lnTo>
                  <a:pt x="70" y="56"/>
                </a:lnTo>
                <a:lnTo>
                  <a:pt x="74" y="52"/>
                </a:lnTo>
                <a:lnTo>
                  <a:pt x="74" y="52"/>
                </a:lnTo>
                <a:lnTo>
                  <a:pt x="76" y="44"/>
                </a:lnTo>
                <a:lnTo>
                  <a:pt x="76" y="44"/>
                </a:lnTo>
                <a:lnTo>
                  <a:pt x="78" y="42"/>
                </a:lnTo>
                <a:lnTo>
                  <a:pt x="76" y="38"/>
                </a:lnTo>
                <a:lnTo>
                  <a:pt x="76" y="38"/>
                </a:lnTo>
                <a:lnTo>
                  <a:pt x="76" y="34"/>
                </a:lnTo>
                <a:lnTo>
                  <a:pt x="76" y="32"/>
                </a:lnTo>
                <a:lnTo>
                  <a:pt x="80" y="30"/>
                </a:lnTo>
                <a:lnTo>
                  <a:pt x="80" y="30"/>
                </a:lnTo>
                <a:lnTo>
                  <a:pt x="78" y="26"/>
                </a:lnTo>
                <a:lnTo>
                  <a:pt x="78" y="22"/>
                </a:lnTo>
                <a:lnTo>
                  <a:pt x="78" y="22"/>
                </a:lnTo>
                <a:lnTo>
                  <a:pt x="78" y="20"/>
                </a:lnTo>
                <a:lnTo>
                  <a:pt x="80" y="18"/>
                </a:lnTo>
                <a:lnTo>
                  <a:pt x="84" y="14"/>
                </a:lnTo>
                <a:lnTo>
                  <a:pt x="84" y="14"/>
                </a:lnTo>
                <a:lnTo>
                  <a:pt x="86" y="12"/>
                </a:lnTo>
                <a:lnTo>
                  <a:pt x="88" y="8"/>
                </a:lnTo>
                <a:lnTo>
                  <a:pt x="88" y="6"/>
                </a:lnTo>
                <a:lnTo>
                  <a:pt x="88" y="6"/>
                </a:lnTo>
                <a:lnTo>
                  <a:pt x="84" y="4"/>
                </a:lnTo>
                <a:lnTo>
                  <a:pt x="84" y="4"/>
                </a:lnTo>
                <a:lnTo>
                  <a:pt x="84" y="0"/>
                </a:lnTo>
                <a:lnTo>
                  <a:pt x="84" y="0"/>
                </a:lnTo>
                <a:lnTo>
                  <a:pt x="78" y="2"/>
                </a:lnTo>
                <a:lnTo>
                  <a:pt x="72" y="6"/>
                </a:lnTo>
                <a:lnTo>
                  <a:pt x="72" y="6"/>
                </a:lnTo>
                <a:lnTo>
                  <a:pt x="68" y="8"/>
                </a:lnTo>
                <a:lnTo>
                  <a:pt x="62" y="8"/>
                </a:lnTo>
                <a:lnTo>
                  <a:pt x="58" y="8"/>
                </a:lnTo>
                <a:lnTo>
                  <a:pt x="54" y="8"/>
                </a:lnTo>
                <a:lnTo>
                  <a:pt x="54" y="8"/>
                </a:lnTo>
                <a:lnTo>
                  <a:pt x="48" y="12"/>
                </a:lnTo>
                <a:lnTo>
                  <a:pt x="44" y="12"/>
                </a:lnTo>
                <a:lnTo>
                  <a:pt x="36" y="14"/>
                </a:lnTo>
                <a:lnTo>
                  <a:pt x="36" y="14"/>
                </a:lnTo>
                <a:lnTo>
                  <a:pt x="34" y="14"/>
                </a:lnTo>
                <a:lnTo>
                  <a:pt x="32" y="14"/>
                </a:lnTo>
                <a:lnTo>
                  <a:pt x="28" y="14"/>
                </a:lnTo>
                <a:lnTo>
                  <a:pt x="28" y="14"/>
                </a:lnTo>
                <a:lnTo>
                  <a:pt x="24" y="14"/>
                </a:lnTo>
                <a:lnTo>
                  <a:pt x="22" y="18"/>
                </a:lnTo>
                <a:lnTo>
                  <a:pt x="22" y="18"/>
                </a:lnTo>
                <a:lnTo>
                  <a:pt x="20" y="18"/>
                </a:lnTo>
                <a:lnTo>
                  <a:pt x="18" y="16"/>
                </a:lnTo>
                <a:lnTo>
                  <a:pt x="16" y="16"/>
                </a:lnTo>
                <a:lnTo>
                  <a:pt x="14" y="16"/>
                </a:lnTo>
                <a:lnTo>
                  <a:pt x="14" y="16"/>
                </a:lnTo>
                <a:lnTo>
                  <a:pt x="14" y="18"/>
                </a:lnTo>
                <a:lnTo>
                  <a:pt x="14" y="20"/>
                </a:lnTo>
                <a:lnTo>
                  <a:pt x="14" y="24"/>
                </a:lnTo>
                <a:lnTo>
                  <a:pt x="14" y="24"/>
                </a:lnTo>
                <a:lnTo>
                  <a:pt x="14" y="26"/>
                </a:lnTo>
                <a:lnTo>
                  <a:pt x="12" y="26"/>
                </a:lnTo>
                <a:lnTo>
                  <a:pt x="12" y="26"/>
                </a:lnTo>
                <a:lnTo>
                  <a:pt x="10" y="28"/>
                </a:lnTo>
                <a:lnTo>
                  <a:pt x="8" y="30"/>
                </a:lnTo>
                <a:lnTo>
                  <a:pt x="8" y="32"/>
                </a:lnTo>
                <a:lnTo>
                  <a:pt x="6" y="32"/>
                </a:lnTo>
                <a:lnTo>
                  <a:pt x="6" y="32"/>
                </a:lnTo>
                <a:lnTo>
                  <a:pt x="2" y="32"/>
                </a:lnTo>
                <a:lnTo>
                  <a:pt x="2"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1" name="Freeform 35">
            <a:extLst>
              <a:ext uri="{FF2B5EF4-FFF2-40B4-BE49-F238E27FC236}">
                <a16:creationId xmlns:a16="http://schemas.microsoft.com/office/drawing/2014/main" id="{F48D3A74-F57E-4E0F-8EAE-E9EF346EC3F4}"/>
              </a:ext>
            </a:extLst>
          </p:cNvPr>
          <p:cNvSpPr>
            <a:spLocks/>
          </p:cNvSpPr>
          <p:nvPr userDrawn="1"/>
        </p:nvSpPr>
        <p:spPr bwMode="auto">
          <a:xfrm>
            <a:off x="5986624" y="2246082"/>
            <a:ext cx="103976" cy="75504"/>
          </a:xfrm>
          <a:custGeom>
            <a:avLst/>
            <a:gdLst>
              <a:gd name="T0" fmla="*/ 60 w 62"/>
              <a:gd name="T1" fmla="*/ 20 h 44"/>
              <a:gd name="T2" fmla="*/ 62 w 62"/>
              <a:gd name="T3" fmla="*/ 18 h 44"/>
              <a:gd name="T4" fmla="*/ 60 w 62"/>
              <a:gd name="T5" fmla="*/ 18 h 44"/>
              <a:gd name="T6" fmla="*/ 60 w 62"/>
              <a:gd name="T7" fmla="*/ 18 h 44"/>
              <a:gd name="T8" fmla="*/ 56 w 62"/>
              <a:gd name="T9" fmla="*/ 12 h 44"/>
              <a:gd name="T10" fmla="*/ 46 w 62"/>
              <a:gd name="T11" fmla="*/ 2 h 44"/>
              <a:gd name="T12" fmla="*/ 42 w 62"/>
              <a:gd name="T13" fmla="*/ 0 h 44"/>
              <a:gd name="T14" fmla="*/ 40 w 62"/>
              <a:gd name="T15" fmla="*/ 0 h 44"/>
              <a:gd name="T16" fmla="*/ 36 w 62"/>
              <a:gd name="T17" fmla="*/ 2 h 44"/>
              <a:gd name="T18" fmla="*/ 30 w 62"/>
              <a:gd name="T19" fmla="*/ 6 h 44"/>
              <a:gd name="T20" fmla="*/ 28 w 62"/>
              <a:gd name="T21" fmla="*/ 6 h 44"/>
              <a:gd name="T22" fmla="*/ 24 w 62"/>
              <a:gd name="T23" fmla="*/ 6 h 44"/>
              <a:gd name="T24" fmla="*/ 24 w 62"/>
              <a:gd name="T25" fmla="*/ 6 h 44"/>
              <a:gd name="T26" fmla="*/ 22 w 62"/>
              <a:gd name="T27" fmla="*/ 10 h 44"/>
              <a:gd name="T28" fmla="*/ 22 w 62"/>
              <a:gd name="T29" fmla="*/ 10 h 44"/>
              <a:gd name="T30" fmla="*/ 18 w 62"/>
              <a:gd name="T31" fmla="*/ 12 h 44"/>
              <a:gd name="T32" fmla="*/ 14 w 62"/>
              <a:gd name="T33" fmla="*/ 16 h 44"/>
              <a:gd name="T34" fmla="*/ 10 w 62"/>
              <a:gd name="T35" fmla="*/ 22 h 44"/>
              <a:gd name="T36" fmla="*/ 2 w 62"/>
              <a:gd name="T37" fmla="*/ 32 h 44"/>
              <a:gd name="T38" fmla="*/ 0 w 62"/>
              <a:gd name="T39" fmla="*/ 38 h 44"/>
              <a:gd name="T40" fmla="*/ 4 w 62"/>
              <a:gd name="T41" fmla="*/ 38 h 44"/>
              <a:gd name="T42" fmla="*/ 8 w 62"/>
              <a:gd name="T43" fmla="*/ 36 h 44"/>
              <a:gd name="T44" fmla="*/ 10 w 62"/>
              <a:gd name="T45" fmla="*/ 38 h 44"/>
              <a:gd name="T46" fmla="*/ 12 w 62"/>
              <a:gd name="T47" fmla="*/ 40 h 44"/>
              <a:gd name="T48" fmla="*/ 16 w 62"/>
              <a:gd name="T49" fmla="*/ 42 h 44"/>
              <a:gd name="T50" fmla="*/ 18 w 62"/>
              <a:gd name="T51" fmla="*/ 44 h 44"/>
              <a:gd name="T52" fmla="*/ 22 w 62"/>
              <a:gd name="T53" fmla="*/ 44 h 44"/>
              <a:gd name="T54" fmla="*/ 24 w 62"/>
              <a:gd name="T55" fmla="*/ 42 h 44"/>
              <a:gd name="T56" fmla="*/ 28 w 62"/>
              <a:gd name="T57" fmla="*/ 40 h 44"/>
              <a:gd name="T58" fmla="*/ 30 w 62"/>
              <a:gd name="T59" fmla="*/ 38 h 44"/>
              <a:gd name="T60" fmla="*/ 30 w 62"/>
              <a:gd name="T61" fmla="*/ 32 h 44"/>
              <a:gd name="T62" fmla="*/ 32 w 62"/>
              <a:gd name="T63" fmla="*/ 34 h 44"/>
              <a:gd name="T64" fmla="*/ 38 w 62"/>
              <a:gd name="T65" fmla="*/ 38 h 44"/>
              <a:gd name="T66" fmla="*/ 42 w 62"/>
              <a:gd name="T67" fmla="*/ 40 h 44"/>
              <a:gd name="T68" fmla="*/ 44 w 62"/>
              <a:gd name="T69" fmla="*/ 40 h 44"/>
              <a:gd name="T70" fmla="*/ 44 w 62"/>
              <a:gd name="T71" fmla="*/ 36 h 44"/>
              <a:gd name="T72" fmla="*/ 46 w 62"/>
              <a:gd name="T73" fmla="*/ 34 h 44"/>
              <a:gd name="T74" fmla="*/ 50 w 62"/>
              <a:gd name="T75" fmla="*/ 32 h 44"/>
              <a:gd name="T76" fmla="*/ 50 w 62"/>
              <a:gd name="T77" fmla="*/ 30 h 44"/>
              <a:gd name="T78" fmla="*/ 54 w 62"/>
              <a:gd name="T79" fmla="*/ 26 h 44"/>
              <a:gd name="T80" fmla="*/ 56 w 62"/>
              <a:gd name="T81" fmla="*/ 28 h 44"/>
              <a:gd name="T82" fmla="*/ 60 w 62"/>
              <a:gd name="T83" fmla="*/ 26 h 44"/>
              <a:gd name="T84" fmla="*/ 62 w 62"/>
              <a:gd name="T85" fmla="*/ 26 h 44"/>
              <a:gd name="T86" fmla="*/ 58 w 62"/>
              <a:gd name="T87" fmla="*/ 24 h 44"/>
              <a:gd name="T88" fmla="*/ 60 w 62"/>
              <a:gd name="T8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44">
                <a:moveTo>
                  <a:pt x="60" y="20"/>
                </a:moveTo>
                <a:lnTo>
                  <a:pt x="60" y="20"/>
                </a:lnTo>
                <a:lnTo>
                  <a:pt x="62" y="18"/>
                </a:lnTo>
                <a:lnTo>
                  <a:pt x="62" y="18"/>
                </a:lnTo>
                <a:lnTo>
                  <a:pt x="60" y="18"/>
                </a:lnTo>
                <a:lnTo>
                  <a:pt x="60" y="18"/>
                </a:lnTo>
                <a:lnTo>
                  <a:pt x="60" y="18"/>
                </a:lnTo>
                <a:lnTo>
                  <a:pt x="60" y="18"/>
                </a:lnTo>
                <a:lnTo>
                  <a:pt x="56" y="16"/>
                </a:lnTo>
                <a:lnTo>
                  <a:pt x="56" y="12"/>
                </a:lnTo>
                <a:lnTo>
                  <a:pt x="58" y="10"/>
                </a:lnTo>
                <a:lnTo>
                  <a:pt x="46" y="2"/>
                </a:lnTo>
                <a:lnTo>
                  <a:pt x="46" y="2"/>
                </a:lnTo>
                <a:lnTo>
                  <a:pt x="42" y="0"/>
                </a:lnTo>
                <a:lnTo>
                  <a:pt x="42" y="0"/>
                </a:lnTo>
                <a:lnTo>
                  <a:pt x="40" y="0"/>
                </a:lnTo>
                <a:lnTo>
                  <a:pt x="38" y="0"/>
                </a:lnTo>
                <a:lnTo>
                  <a:pt x="36" y="2"/>
                </a:lnTo>
                <a:lnTo>
                  <a:pt x="36" y="2"/>
                </a:lnTo>
                <a:lnTo>
                  <a:pt x="30" y="6"/>
                </a:lnTo>
                <a:lnTo>
                  <a:pt x="30" y="6"/>
                </a:lnTo>
                <a:lnTo>
                  <a:pt x="28" y="6"/>
                </a:lnTo>
                <a:lnTo>
                  <a:pt x="26" y="6"/>
                </a:lnTo>
                <a:lnTo>
                  <a:pt x="24" y="6"/>
                </a:lnTo>
                <a:lnTo>
                  <a:pt x="24" y="6"/>
                </a:lnTo>
                <a:lnTo>
                  <a:pt x="24" y="6"/>
                </a:lnTo>
                <a:lnTo>
                  <a:pt x="22" y="6"/>
                </a:lnTo>
                <a:lnTo>
                  <a:pt x="22" y="10"/>
                </a:lnTo>
                <a:lnTo>
                  <a:pt x="22" y="10"/>
                </a:lnTo>
                <a:lnTo>
                  <a:pt x="22" y="10"/>
                </a:lnTo>
                <a:lnTo>
                  <a:pt x="18" y="12"/>
                </a:lnTo>
                <a:lnTo>
                  <a:pt x="18" y="12"/>
                </a:lnTo>
                <a:lnTo>
                  <a:pt x="16" y="14"/>
                </a:lnTo>
                <a:lnTo>
                  <a:pt x="14" y="16"/>
                </a:lnTo>
                <a:lnTo>
                  <a:pt x="10" y="22"/>
                </a:lnTo>
                <a:lnTo>
                  <a:pt x="10" y="22"/>
                </a:lnTo>
                <a:lnTo>
                  <a:pt x="2" y="32"/>
                </a:lnTo>
                <a:lnTo>
                  <a:pt x="2" y="32"/>
                </a:lnTo>
                <a:lnTo>
                  <a:pt x="0" y="36"/>
                </a:lnTo>
                <a:lnTo>
                  <a:pt x="0" y="38"/>
                </a:lnTo>
                <a:lnTo>
                  <a:pt x="4" y="38"/>
                </a:lnTo>
                <a:lnTo>
                  <a:pt x="4" y="38"/>
                </a:lnTo>
                <a:lnTo>
                  <a:pt x="6" y="36"/>
                </a:lnTo>
                <a:lnTo>
                  <a:pt x="8" y="36"/>
                </a:lnTo>
                <a:lnTo>
                  <a:pt x="10" y="38"/>
                </a:lnTo>
                <a:lnTo>
                  <a:pt x="10" y="38"/>
                </a:lnTo>
                <a:lnTo>
                  <a:pt x="10" y="40"/>
                </a:lnTo>
                <a:lnTo>
                  <a:pt x="12" y="40"/>
                </a:lnTo>
                <a:lnTo>
                  <a:pt x="16" y="40"/>
                </a:lnTo>
                <a:lnTo>
                  <a:pt x="16" y="42"/>
                </a:lnTo>
                <a:lnTo>
                  <a:pt x="16" y="42"/>
                </a:lnTo>
                <a:lnTo>
                  <a:pt x="18" y="44"/>
                </a:lnTo>
                <a:lnTo>
                  <a:pt x="20" y="44"/>
                </a:lnTo>
                <a:lnTo>
                  <a:pt x="22" y="44"/>
                </a:lnTo>
                <a:lnTo>
                  <a:pt x="22" y="44"/>
                </a:lnTo>
                <a:lnTo>
                  <a:pt x="24" y="42"/>
                </a:lnTo>
                <a:lnTo>
                  <a:pt x="26" y="40"/>
                </a:lnTo>
                <a:lnTo>
                  <a:pt x="28" y="40"/>
                </a:lnTo>
                <a:lnTo>
                  <a:pt x="30" y="38"/>
                </a:lnTo>
                <a:lnTo>
                  <a:pt x="30" y="38"/>
                </a:lnTo>
                <a:lnTo>
                  <a:pt x="30" y="34"/>
                </a:lnTo>
                <a:lnTo>
                  <a:pt x="30" y="32"/>
                </a:lnTo>
                <a:lnTo>
                  <a:pt x="32" y="34"/>
                </a:lnTo>
                <a:lnTo>
                  <a:pt x="32" y="34"/>
                </a:lnTo>
                <a:lnTo>
                  <a:pt x="34" y="38"/>
                </a:lnTo>
                <a:lnTo>
                  <a:pt x="38" y="38"/>
                </a:lnTo>
                <a:lnTo>
                  <a:pt x="38" y="38"/>
                </a:lnTo>
                <a:lnTo>
                  <a:pt x="42" y="40"/>
                </a:lnTo>
                <a:lnTo>
                  <a:pt x="44" y="40"/>
                </a:lnTo>
                <a:lnTo>
                  <a:pt x="44" y="40"/>
                </a:lnTo>
                <a:lnTo>
                  <a:pt x="46" y="40"/>
                </a:lnTo>
                <a:lnTo>
                  <a:pt x="44" y="36"/>
                </a:lnTo>
                <a:lnTo>
                  <a:pt x="44" y="36"/>
                </a:lnTo>
                <a:lnTo>
                  <a:pt x="46" y="34"/>
                </a:lnTo>
                <a:lnTo>
                  <a:pt x="48" y="32"/>
                </a:lnTo>
                <a:lnTo>
                  <a:pt x="50" y="32"/>
                </a:lnTo>
                <a:lnTo>
                  <a:pt x="50" y="30"/>
                </a:lnTo>
                <a:lnTo>
                  <a:pt x="50" y="30"/>
                </a:lnTo>
                <a:lnTo>
                  <a:pt x="52" y="28"/>
                </a:lnTo>
                <a:lnTo>
                  <a:pt x="54" y="26"/>
                </a:lnTo>
                <a:lnTo>
                  <a:pt x="56" y="28"/>
                </a:lnTo>
                <a:lnTo>
                  <a:pt x="56" y="28"/>
                </a:lnTo>
                <a:lnTo>
                  <a:pt x="58" y="28"/>
                </a:lnTo>
                <a:lnTo>
                  <a:pt x="60" y="26"/>
                </a:lnTo>
                <a:lnTo>
                  <a:pt x="60" y="26"/>
                </a:lnTo>
                <a:lnTo>
                  <a:pt x="62" y="26"/>
                </a:lnTo>
                <a:lnTo>
                  <a:pt x="60" y="24"/>
                </a:lnTo>
                <a:lnTo>
                  <a:pt x="58" y="24"/>
                </a:lnTo>
                <a:lnTo>
                  <a:pt x="60" y="22"/>
                </a:lnTo>
                <a:lnTo>
                  <a:pt x="6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2" name="Freeform 36">
            <a:extLst>
              <a:ext uri="{FF2B5EF4-FFF2-40B4-BE49-F238E27FC236}">
                <a16:creationId xmlns:a16="http://schemas.microsoft.com/office/drawing/2014/main" id="{F5A26430-5DE3-4B86-BB63-8ED75938289C}"/>
              </a:ext>
            </a:extLst>
          </p:cNvPr>
          <p:cNvSpPr>
            <a:spLocks/>
          </p:cNvSpPr>
          <p:nvPr userDrawn="1"/>
        </p:nvSpPr>
        <p:spPr bwMode="auto">
          <a:xfrm>
            <a:off x="6112402" y="1446432"/>
            <a:ext cx="281742" cy="531956"/>
          </a:xfrm>
          <a:custGeom>
            <a:avLst/>
            <a:gdLst>
              <a:gd name="T0" fmla="*/ 164 w 168"/>
              <a:gd name="T1" fmla="*/ 52 h 310"/>
              <a:gd name="T2" fmla="*/ 162 w 168"/>
              <a:gd name="T3" fmla="*/ 36 h 310"/>
              <a:gd name="T4" fmla="*/ 160 w 168"/>
              <a:gd name="T5" fmla="*/ 24 h 310"/>
              <a:gd name="T6" fmla="*/ 144 w 168"/>
              <a:gd name="T7" fmla="*/ 12 h 310"/>
              <a:gd name="T8" fmla="*/ 134 w 168"/>
              <a:gd name="T9" fmla="*/ 2 h 310"/>
              <a:gd name="T10" fmla="*/ 120 w 168"/>
              <a:gd name="T11" fmla="*/ 12 h 310"/>
              <a:gd name="T12" fmla="*/ 106 w 168"/>
              <a:gd name="T13" fmla="*/ 18 h 310"/>
              <a:gd name="T14" fmla="*/ 102 w 168"/>
              <a:gd name="T15" fmla="*/ 24 h 310"/>
              <a:gd name="T16" fmla="*/ 98 w 168"/>
              <a:gd name="T17" fmla="*/ 26 h 310"/>
              <a:gd name="T18" fmla="*/ 84 w 168"/>
              <a:gd name="T19" fmla="*/ 30 h 310"/>
              <a:gd name="T20" fmla="*/ 76 w 168"/>
              <a:gd name="T21" fmla="*/ 46 h 310"/>
              <a:gd name="T22" fmla="*/ 68 w 168"/>
              <a:gd name="T23" fmla="*/ 52 h 310"/>
              <a:gd name="T24" fmla="*/ 62 w 168"/>
              <a:gd name="T25" fmla="*/ 70 h 310"/>
              <a:gd name="T26" fmla="*/ 48 w 168"/>
              <a:gd name="T27" fmla="*/ 86 h 310"/>
              <a:gd name="T28" fmla="*/ 46 w 168"/>
              <a:gd name="T29" fmla="*/ 108 h 310"/>
              <a:gd name="T30" fmla="*/ 36 w 168"/>
              <a:gd name="T31" fmla="*/ 102 h 310"/>
              <a:gd name="T32" fmla="*/ 22 w 168"/>
              <a:gd name="T33" fmla="*/ 116 h 310"/>
              <a:gd name="T34" fmla="*/ 12 w 168"/>
              <a:gd name="T35" fmla="*/ 128 h 310"/>
              <a:gd name="T36" fmla="*/ 12 w 168"/>
              <a:gd name="T37" fmla="*/ 146 h 310"/>
              <a:gd name="T38" fmla="*/ 10 w 168"/>
              <a:gd name="T39" fmla="*/ 168 h 310"/>
              <a:gd name="T40" fmla="*/ 16 w 168"/>
              <a:gd name="T41" fmla="*/ 178 h 310"/>
              <a:gd name="T42" fmla="*/ 10 w 168"/>
              <a:gd name="T43" fmla="*/ 188 h 310"/>
              <a:gd name="T44" fmla="*/ 10 w 168"/>
              <a:gd name="T45" fmla="*/ 204 h 310"/>
              <a:gd name="T46" fmla="*/ 8 w 168"/>
              <a:gd name="T47" fmla="*/ 214 h 310"/>
              <a:gd name="T48" fmla="*/ 4 w 168"/>
              <a:gd name="T49" fmla="*/ 220 h 310"/>
              <a:gd name="T50" fmla="*/ 4 w 168"/>
              <a:gd name="T51" fmla="*/ 236 h 310"/>
              <a:gd name="T52" fmla="*/ 4 w 168"/>
              <a:gd name="T53" fmla="*/ 244 h 310"/>
              <a:gd name="T54" fmla="*/ 4 w 168"/>
              <a:gd name="T55" fmla="*/ 260 h 310"/>
              <a:gd name="T56" fmla="*/ 12 w 168"/>
              <a:gd name="T57" fmla="*/ 266 h 310"/>
              <a:gd name="T58" fmla="*/ 20 w 168"/>
              <a:gd name="T59" fmla="*/ 278 h 310"/>
              <a:gd name="T60" fmla="*/ 24 w 168"/>
              <a:gd name="T61" fmla="*/ 286 h 310"/>
              <a:gd name="T62" fmla="*/ 18 w 168"/>
              <a:gd name="T63" fmla="*/ 294 h 310"/>
              <a:gd name="T64" fmla="*/ 24 w 168"/>
              <a:gd name="T65" fmla="*/ 310 h 310"/>
              <a:gd name="T66" fmla="*/ 42 w 168"/>
              <a:gd name="T67" fmla="*/ 296 h 310"/>
              <a:gd name="T68" fmla="*/ 50 w 168"/>
              <a:gd name="T69" fmla="*/ 290 h 310"/>
              <a:gd name="T70" fmla="*/ 68 w 168"/>
              <a:gd name="T71" fmla="*/ 288 h 310"/>
              <a:gd name="T72" fmla="*/ 74 w 168"/>
              <a:gd name="T73" fmla="*/ 278 h 310"/>
              <a:gd name="T74" fmla="*/ 70 w 168"/>
              <a:gd name="T75" fmla="*/ 284 h 310"/>
              <a:gd name="T76" fmla="*/ 70 w 168"/>
              <a:gd name="T77" fmla="*/ 270 h 310"/>
              <a:gd name="T78" fmla="*/ 74 w 168"/>
              <a:gd name="T79" fmla="*/ 260 h 310"/>
              <a:gd name="T80" fmla="*/ 78 w 168"/>
              <a:gd name="T81" fmla="*/ 240 h 310"/>
              <a:gd name="T82" fmla="*/ 90 w 168"/>
              <a:gd name="T83" fmla="*/ 236 h 310"/>
              <a:gd name="T84" fmla="*/ 98 w 168"/>
              <a:gd name="T85" fmla="*/ 232 h 310"/>
              <a:gd name="T86" fmla="*/ 104 w 168"/>
              <a:gd name="T87" fmla="*/ 226 h 310"/>
              <a:gd name="T88" fmla="*/ 106 w 168"/>
              <a:gd name="T89" fmla="*/ 218 h 310"/>
              <a:gd name="T90" fmla="*/ 100 w 168"/>
              <a:gd name="T91" fmla="*/ 206 h 310"/>
              <a:gd name="T92" fmla="*/ 92 w 168"/>
              <a:gd name="T93" fmla="*/ 194 h 310"/>
              <a:gd name="T94" fmla="*/ 82 w 168"/>
              <a:gd name="T95" fmla="*/ 194 h 310"/>
              <a:gd name="T96" fmla="*/ 80 w 168"/>
              <a:gd name="T97" fmla="*/ 170 h 310"/>
              <a:gd name="T98" fmla="*/ 84 w 168"/>
              <a:gd name="T99" fmla="*/ 158 h 310"/>
              <a:gd name="T100" fmla="*/ 82 w 168"/>
              <a:gd name="T101" fmla="*/ 148 h 310"/>
              <a:gd name="T102" fmla="*/ 92 w 168"/>
              <a:gd name="T103" fmla="*/ 146 h 310"/>
              <a:gd name="T104" fmla="*/ 98 w 168"/>
              <a:gd name="T105" fmla="*/ 138 h 310"/>
              <a:gd name="T106" fmla="*/ 104 w 168"/>
              <a:gd name="T107" fmla="*/ 126 h 310"/>
              <a:gd name="T108" fmla="*/ 116 w 168"/>
              <a:gd name="T109" fmla="*/ 122 h 310"/>
              <a:gd name="T110" fmla="*/ 126 w 168"/>
              <a:gd name="T111" fmla="*/ 116 h 310"/>
              <a:gd name="T112" fmla="*/ 136 w 168"/>
              <a:gd name="T113" fmla="*/ 106 h 310"/>
              <a:gd name="T114" fmla="*/ 134 w 168"/>
              <a:gd name="T115" fmla="*/ 100 h 310"/>
              <a:gd name="T116" fmla="*/ 136 w 168"/>
              <a:gd name="T117" fmla="*/ 84 h 310"/>
              <a:gd name="T118" fmla="*/ 138 w 168"/>
              <a:gd name="T119" fmla="*/ 80 h 310"/>
              <a:gd name="T120" fmla="*/ 146 w 168"/>
              <a:gd name="T121" fmla="*/ 78 h 310"/>
              <a:gd name="T122" fmla="*/ 152 w 168"/>
              <a:gd name="T123" fmla="*/ 70 h 310"/>
              <a:gd name="T124" fmla="*/ 160 w 168"/>
              <a:gd name="T125" fmla="*/ 6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310">
                <a:moveTo>
                  <a:pt x="168" y="70"/>
                </a:moveTo>
                <a:lnTo>
                  <a:pt x="164" y="60"/>
                </a:lnTo>
                <a:lnTo>
                  <a:pt x="164" y="60"/>
                </a:lnTo>
                <a:lnTo>
                  <a:pt x="162" y="56"/>
                </a:lnTo>
                <a:lnTo>
                  <a:pt x="162" y="56"/>
                </a:lnTo>
                <a:lnTo>
                  <a:pt x="164" y="52"/>
                </a:lnTo>
                <a:lnTo>
                  <a:pt x="164" y="46"/>
                </a:lnTo>
                <a:lnTo>
                  <a:pt x="164" y="46"/>
                </a:lnTo>
                <a:lnTo>
                  <a:pt x="164" y="42"/>
                </a:lnTo>
                <a:lnTo>
                  <a:pt x="162" y="38"/>
                </a:lnTo>
                <a:lnTo>
                  <a:pt x="162" y="38"/>
                </a:lnTo>
                <a:lnTo>
                  <a:pt x="162" y="36"/>
                </a:lnTo>
                <a:lnTo>
                  <a:pt x="162" y="34"/>
                </a:lnTo>
                <a:lnTo>
                  <a:pt x="162" y="32"/>
                </a:lnTo>
                <a:lnTo>
                  <a:pt x="162" y="30"/>
                </a:lnTo>
                <a:lnTo>
                  <a:pt x="162" y="30"/>
                </a:lnTo>
                <a:lnTo>
                  <a:pt x="160" y="26"/>
                </a:lnTo>
                <a:lnTo>
                  <a:pt x="160" y="24"/>
                </a:lnTo>
                <a:lnTo>
                  <a:pt x="160" y="24"/>
                </a:lnTo>
                <a:lnTo>
                  <a:pt x="154" y="16"/>
                </a:lnTo>
                <a:lnTo>
                  <a:pt x="154" y="16"/>
                </a:lnTo>
                <a:lnTo>
                  <a:pt x="152" y="14"/>
                </a:lnTo>
                <a:lnTo>
                  <a:pt x="150" y="14"/>
                </a:lnTo>
                <a:lnTo>
                  <a:pt x="144" y="12"/>
                </a:lnTo>
                <a:lnTo>
                  <a:pt x="144" y="12"/>
                </a:lnTo>
                <a:lnTo>
                  <a:pt x="140" y="12"/>
                </a:lnTo>
                <a:lnTo>
                  <a:pt x="138" y="10"/>
                </a:lnTo>
                <a:lnTo>
                  <a:pt x="134" y="4"/>
                </a:lnTo>
                <a:lnTo>
                  <a:pt x="134" y="4"/>
                </a:lnTo>
                <a:lnTo>
                  <a:pt x="134" y="2"/>
                </a:lnTo>
                <a:lnTo>
                  <a:pt x="130" y="0"/>
                </a:lnTo>
                <a:lnTo>
                  <a:pt x="126" y="0"/>
                </a:lnTo>
                <a:lnTo>
                  <a:pt x="120" y="0"/>
                </a:lnTo>
                <a:lnTo>
                  <a:pt x="122" y="4"/>
                </a:lnTo>
                <a:lnTo>
                  <a:pt x="120" y="12"/>
                </a:lnTo>
                <a:lnTo>
                  <a:pt x="120" y="12"/>
                </a:lnTo>
                <a:lnTo>
                  <a:pt x="118" y="16"/>
                </a:lnTo>
                <a:lnTo>
                  <a:pt x="118" y="18"/>
                </a:lnTo>
                <a:lnTo>
                  <a:pt x="116" y="20"/>
                </a:lnTo>
                <a:lnTo>
                  <a:pt x="116" y="20"/>
                </a:lnTo>
                <a:lnTo>
                  <a:pt x="110" y="18"/>
                </a:lnTo>
                <a:lnTo>
                  <a:pt x="106" y="18"/>
                </a:lnTo>
                <a:lnTo>
                  <a:pt x="106" y="18"/>
                </a:lnTo>
                <a:lnTo>
                  <a:pt x="102" y="18"/>
                </a:lnTo>
                <a:lnTo>
                  <a:pt x="102" y="18"/>
                </a:lnTo>
                <a:lnTo>
                  <a:pt x="102" y="20"/>
                </a:lnTo>
                <a:lnTo>
                  <a:pt x="102" y="20"/>
                </a:lnTo>
                <a:lnTo>
                  <a:pt x="102" y="24"/>
                </a:lnTo>
                <a:lnTo>
                  <a:pt x="100" y="26"/>
                </a:lnTo>
                <a:lnTo>
                  <a:pt x="102" y="28"/>
                </a:lnTo>
                <a:lnTo>
                  <a:pt x="102" y="28"/>
                </a:lnTo>
                <a:lnTo>
                  <a:pt x="102" y="28"/>
                </a:lnTo>
                <a:lnTo>
                  <a:pt x="102" y="28"/>
                </a:lnTo>
                <a:lnTo>
                  <a:pt x="98" y="26"/>
                </a:lnTo>
                <a:lnTo>
                  <a:pt x="92" y="20"/>
                </a:lnTo>
                <a:lnTo>
                  <a:pt x="92" y="20"/>
                </a:lnTo>
                <a:lnTo>
                  <a:pt x="90" y="22"/>
                </a:lnTo>
                <a:lnTo>
                  <a:pt x="86" y="26"/>
                </a:lnTo>
                <a:lnTo>
                  <a:pt x="86" y="26"/>
                </a:lnTo>
                <a:lnTo>
                  <a:pt x="84" y="30"/>
                </a:lnTo>
                <a:lnTo>
                  <a:pt x="84" y="36"/>
                </a:lnTo>
                <a:lnTo>
                  <a:pt x="84" y="36"/>
                </a:lnTo>
                <a:lnTo>
                  <a:pt x="82" y="40"/>
                </a:lnTo>
                <a:lnTo>
                  <a:pt x="80" y="42"/>
                </a:lnTo>
                <a:lnTo>
                  <a:pt x="80" y="42"/>
                </a:lnTo>
                <a:lnTo>
                  <a:pt x="76" y="46"/>
                </a:lnTo>
                <a:lnTo>
                  <a:pt x="74" y="48"/>
                </a:lnTo>
                <a:lnTo>
                  <a:pt x="72" y="50"/>
                </a:lnTo>
                <a:lnTo>
                  <a:pt x="72" y="50"/>
                </a:lnTo>
                <a:lnTo>
                  <a:pt x="72" y="50"/>
                </a:lnTo>
                <a:lnTo>
                  <a:pt x="72" y="52"/>
                </a:lnTo>
                <a:lnTo>
                  <a:pt x="68" y="52"/>
                </a:lnTo>
                <a:lnTo>
                  <a:pt x="68" y="52"/>
                </a:lnTo>
                <a:lnTo>
                  <a:pt x="66" y="54"/>
                </a:lnTo>
                <a:lnTo>
                  <a:pt x="64" y="56"/>
                </a:lnTo>
                <a:lnTo>
                  <a:pt x="64" y="62"/>
                </a:lnTo>
                <a:lnTo>
                  <a:pt x="64" y="62"/>
                </a:lnTo>
                <a:lnTo>
                  <a:pt x="62" y="70"/>
                </a:lnTo>
                <a:lnTo>
                  <a:pt x="58" y="76"/>
                </a:lnTo>
                <a:lnTo>
                  <a:pt x="56" y="80"/>
                </a:lnTo>
                <a:lnTo>
                  <a:pt x="56" y="80"/>
                </a:lnTo>
                <a:lnTo>
                  <a:pt x="52" y="82"/>
                </a:lnTo>
                <a:lnTo>
                  <a:pt x="50" y="84"/>
                </a:lnTo>
                <a:lnTo>
                  <a:pt x="48" y="86"/>
                </a:lnTo>
                <a:lnTo>
                  <a:pt x="48" y="86"/>
                </a:lnTo>
                <a:lnTo>
                  <a:pt x="50" y="92"/>
                </a:lnTo>
                <a:lnTo>
                  <a:pt x="48" y="100"/>
                </a:lnTo>
                <a:lnTo>
                  <a:pt x="48" y="100"/>
                </a:lnTo>
                <a:lnTo>
                  <a:pt x="48" y="106"/>
                </a:lnTo>
                <a:lnTo>
                  <a:pt x="46" y="108"/>
                </a:lnTo>
                <a:lnTo>
                  <a:pt x="44" y="108"/>
                </a:lnTo>
                <a:lnTo>
                  <a:pt x="44" y="108"/>
                </a:lnTo>
                <a:lnTo>
                  <a:pt x="40" y="104"/>
                </a:lnTo>
                <a:lnTo>
                  <a:pt x="38" y="102"/>
                </a:lnTo>
                <a:lnTo>
                  <a:pt x="36" y="102"/>
                </a:lnTo>
                <a:lnTo>
                  <a:pt x="36" y="102"/>
                </a:lnTo>
                <a:lnTo>
                  <a:pt x="28" y="104"/>
                </a:lnTo>
                <a:lnTo>
                  <a:pt x="26" y="108"/>
                </a:lnTo>
                <a:lnTo>
                  <a:pt x="24" y="110"/>
                </a:lnTo>
                <a:lnTo>
                  <a:pt x="24" y="110"/>
                </a:lnTo>
                <a:lnTo>
                  <a:pt x="24" y="112"/>
                </a:lnTo>
                <a:lnTo>
                  <a:pt x="22" y="116"/>
                </a:lnTo>
                <a:lnTo>
                  <a:pt x="18" y="118"/>
                </a:lnTo>
                <a:lnTo>
                  <a:pt x="18" y="122"/>
                </a:lnTo>
                <a:lnTo>
                  <a:pt x="18" y="122"/>
                </a:lnTo>
                <a:lnTo>
                  <a:pt x="16" y="124"/>
                </a:lnTo>
                <a:lnTo>
                  <a:pt x="14" y="126"/>
                </a:lnTo>
                <a:lnTo>
                  <a:pt x="12" y="128"/>
                </a:lnTo>
                <a:lnTo>
                  <a:pt x="10" y="132"/>
                </a:lnTo>
                <a:lnTo>
                  <a:pt x="10" y="132"/>
                </a:lnTo>
                <a:lnTo>
                  <a:pt x="12" y="136"/>
                </a:lnTo>
                <a:lnTo>
                  <a:pt x="12" y="140"/>
                </a:lnTo>
                <a:lnTo>
                  <a:pt x="12" y="140"/>
                </a:lnTo>
                <a:lnTo>
                  <a:pt x="12" y="146"/>
                </a:lnTo>
                <a:lnTo>
                  <a:pt x="12" y="152"/>
                </a:lnTo>
                <a:lnTo>
                  <a:pt x="12" y="152"/>
                </a:lnTo>
                <a:lnTo>
                  <a:pt x="12" y="158"/>
                </a:lnTo>
                <a:lnTo>
                  <a:pt x="12" y="164"/>
                </a:lnTo>
                <a:lnTo>
                  <a:pt x="12" y="164"/>
                </a:lnTo>
                <a:lnTo>
                  <a:pt x="10" y="168"/>
                </a:lnTo>
                <a:lnTo>
                  <a:pt x="10" y="170"/>
                </a:lnTo>
                <a:lnTo>
                  <a:pt x="12" y="170"/>
                </a:lnTo>
                <a:lnTo>
                  <a:pt x="12" y="170"/>
                </a:lnTo>
                <a:lnTo>
                  <a:pt x="14" y="172"/>
                </a:lnTo>
                <a:lnTo>
                  <a:pt x="16" y="178"/>
                </a:lnTo>
                <a:lnTo>
                  <a:pt x="16" y="178"/>
                </a:lnTo>
                <a:lnTo>
                  <a:pt x="16" y="182"/>
                </a:lnTo>
                <a:lnTo>
                  <a:pt x="16" y="184"/>
                </a:lnTo>
                <a:lnTo>
                  <a:pt x="14" y="186"/>
                </a:lnTo>
                <a:lnTo>
                  <a:pt x="14" y="186"/>
                </a:lnTo>
                <a:lnTo>
                  <a:pt x="10" y="188"/>
                </a:lnTo>
                <a:lnTo>
                  <a:pt x="10" y="188"/>
                </a:lnTo>
                <a:lnTo>
                  <a:pt x="10" y="188"/>
                </a:lnTo>
                <a:lnTo>
                  <a:pt x="10" y="196"/>
                </a:lnTo>
                <a:lnTo>
                  <a:pt x="10" y="196"/>
                </a:lnTo>
                <a:lnTo>
                  <a:pt x="8" y="200"/>
                </a:lnTo>
                <a:lnTo>
                  <a:pt x="8" y="202"/>
                </a:lnTo>
                <a:lnTo>
                  <a:pt x="10" y="204"/>
                </a:lnTo>
                <a:lnTo>
                  <a:pt x="10" y="204"/>
                </a:lnTo>
                <a:lnTo>
                  <a:pt x="12" y="208"/>
                </a:lnTo>
                <a:lnTo>
                  <a:pt x="10" y="210"/>
                </a:lnTo>
                <a:lnTo>
                  <a:pt x="10" y="210"/>
                </a:lnTo>
                <a:lnTo>
                  <a:pt x="8" y="212"/>
                </a:lnTo>
                <a:lnTo>
                  <a:pt x="8" y="214"/>
                </a:lnTo>
                <a:lnTo>
                  <a:pt x="8" y="216"/>
                </a:lnTo>
                <a:lnTo>
                  <a:pt x="6" y="216"/>
                </a:lnTo>
                <a:lnTo>
                  <a:pt x="6" y="216"/>
                </a:lnTo>
                <a:lnTo>
                  <a:pt x="4" y="218"/>
                </a:lnTo>
                <a:lnTo>
                  <a:pt x="4" y="220"/>
                </a:lnTo>
                <a:lnTo>
                  <a:pt x="4" y="220"/>
                </a:lnTo>
                <a:lnTo>
                  <a:pt x="6" y="226"/>
                </a:lnTo>
                <a:lnTo>
                  <a:pt x="8" y="228"/>
                </a:lnTo>
                <a:lnTo>
                  <a:pt x="8" y="228"/>
                </a:lnTo>
                <a:lnTo>
                  <a:pt x="6" y="234"/>
                </a:lnTo>
                <a:lnTo>
                  <a:pt x="6" y="236"/>
                </a:lnTo>
                <a:lnTo>
                  <a:pt x="4" y="236"/>
                </a:lnTo>
                <a:lnTo>
                  <a:pt x="4" y="236"/>
                </a:lnTo>
                <a:lnTo>
                  <a:pt x="0" y="236"/>
                </a:lnTo>
                <a:lnTo>
                  <a:pt x="0" y="236"/>
                </a:lnTo>
                <a:lnTo>
                  <a:pt x="0" y="244"/>
                </a:lnTo>
                <a:lnTo>
                  <a:pt x="0" y="244"/>
                </a:lnTo>
                <a:lnTo>
                  <a:pt x="4" y="244"/>
                </a:lnTo>
                <a:lnTo>
                  <a:pt x="4" y="244"/>
                </a:lnTo>
                <a:lnTo>
                  <a:pt x="8" y="252"/>
                </a:lnTo>
                <a:lnTo>
                  <a:pt x="8" y="252"/>
                </a:lnTo>
                <a:lnTo>
                  <a:pt x="8" y="252"/>
                </a:lnTo>
                <a:lnTo>
                  <a:pt x="6" y="256"/>
                </a:lnTo>
                <a:lnTo>
                  <a:pt x="4" y="260"/>
                </a:lnTo>
                <a:lnTo>
                  <a:pt x="4" y="260"/>
                </a:lnTo>
                <a:lnTo>
                  <a:pt x="8" y="262"/>
                </a:lnTo>
                <a:lnTo>
                  <a:pt x="8" y="262"/>
                </a:lnTo>
                <a:lnTo>
                  <a:pt x="8" y="266"/>
                </a:lnTo>
                <a:lnTo>
                  <a:pt x="8" y="266"/>
                </a:lnTo>
                <a:lnTo>
                  <a:pt x="12" y="266"/>
                </a:lnTo>
                <a:lnTo>
                  <a:pt x="12" y="266"/>
                </a:lnTo>
                <a:lnTo>
                  <a:pt x="12" y="268"/>
                </a:lnTo>
                <a:lnTo>
                  <a:pt x="12" y="270"/>
                </a:lnTo>
                <a:lnTo>
                  <a:pt x="12" y="270"/>
                </a:lnTo>
                <a:lnTo>
                  <a:pt x="16" y="274"/>
                </a:lnTo>
                <a:lnTo>
                  <a:pt x="20" y="278"/>
                </a:lnTo>
                <a:lnTo>
                  <a:pt x="20" y="278"/>
                </a:lnTo>
                <a:lnTo>
                  <a:pt x="20" y="282"/>
                </a:lnTo>
                <a:lnTo>
                  <a:pt x="20" y="282"/>
                </a:lnTo>
                <a:lnTo>
                  <a:pt x="24" y="284"/>
                </a:lnTo>
                <a:lnTo>
                  <a:pt x="24" y="286"/>
                </a:lnTo>
                <a:lnTo>
                  <a:pt x="24" y="286"/>
                </a:lnTo>
                <a:lnTo>
                  <a:pt x="20" y="286"/>
                </a:lnTo>
                <a:lnTo>
                  <a:pt x="20" y="286"/>
                </a:lnTo>
                <a:lnTo>
                  <a:pt x="22" y="292"/>
                </a:lnTo>
                <a:lnTo>
                  <a:pt x="22" y="292"/>
                </a:lnTo>
                <a:lnTo>
                  <a:pt x="18" y="294"/>
                </a:lnTo>
                <a:lnTo>
                  <a:pt x="18" y="294"/>
                </a:lnTo>
                <a:lnTo>
                  <a:pt x="18" y="298"/>
                </a:lnTo>
                <a:lnTo>
                  <a:pt x="20" y="300"/>
                </a:lnTo>
                <a:lnTo>
                  <a:pt x="20" y="300"/>
                </a:lnTo>
                <a:lnTo>
                  <a:pt x="20" y="306"/>
                </a:lnTo>
                <a:lnTo>
                  <a:pt x="22" y="310"/>
                </a:lnTo>
                <a:lnTo>
                  <a:pt x="24" y="310"/>
                </a:lnTo>
                <a:lnTo>
                  <a:pt x="24" y="310"/>
                </a:lnTo>
                <a:lnTo>
                  <a:pt x="32" y="310"/>
                </a:lnTo>
                <a:lnTo>
                  <a:pt x="40" y="306"/>
                </a:lnTo>
                <a:lnTo>
                  <a:pt x="40" y="306"/>
                </a:lnTo>
                <a:lnTo>
                  <a:pt x="40" y="300"/>
                </a:lnTo>
                <a:lnTo>
                  <a:pt x="42" y="296"/>
                </a:lnTo>
                <a:lnTo>
                  <a:pt x="42" y="296"/>
                </a:lnTo>
                <a:lnTo>
                  <a:pt x="46" y="296"/>
                </a:lnTo>
                <a:lnTo>
                  <a:pt x="46" y="296"/>
                </a:lnTo>
                <a:lnTo>
                  <a:pt x="46" y="292"/>
                </a:lnTo>
                <a:lnTo>
                  <a:pt x="46" y="292"/>
                </a:lnTo>
                <a:lnTo>
                  <a:pt x="50" y="290"/>
                </a:lnTo>
                <a:lnTo>
                  <a:pt x="54" y="290"/>
                </a:lnTo>
                <a:lnTo>
                  <a:pt x="64" y="292"/>
                </a:lnTo>
                <a:lnTo>
                  <a:pt x="64" y="292"/>
                </a:lnTo>
                <a:lnTo>
                  <a:pt x="66" y="288"/>
                </a:lnTo>
                <a:lnTo>
                  <a:pt x="66" y="288"/>
                </a:lnTo>
                <a:lnTo>
                  <a:pt x="68" y="288"/>
                </a:lnTo>
                <a:lnTo>
                  <a:pt x="68" y="290"/>
                </a:lnTo>
                <a:lnTo>
                  <a:pt x="68" y="290"/>
                </a:lnTo>
                <a:lnTo>
                  <a:pt x="70" y="290"/>
                </a:lnTo>
                <a:lnTo>
                  <a:pt x="70" y="290"/>
                </a:lnTo>
                <a:lnTo>
                  <a:pt x="74" y="278"/>
                </a:lnTo>
                <a:lnTo>
                  <a:pt x="74" y="278"/>
                </a:lnTo>
                <a:lnTo>
                  <a:pt x="74" y="278"/>
                </a:lnTo>
                <a:lnTo>
                  <a:pt x="74" y="278"/>
                </a:lnTo>
                <a:lnTo>
                  <a:pt x="74" y="278"/>
                </a:lnTo>
                <a:lnTo>
                  <a:pt x="72" y="280"/>
                </a:lnTo>
                <a:lnTo>
                  <a:pt x="70" y="284"/>
                </a:lnTo>
                <a:lnTo>
                  <a:pt x="70" y="284"/>
                </a:lnTo>
                <a:lnTo>
                  <a:pt x="68" y="284"/>
                </a:lnTo>
                <a:lnTo>
                  <a:pt x="68" y="284"/>
                </a:lnTo>
                <a:lnTo>
                  <a:pt x="68" y="280"/>
                </a:lnTo>
                <a:lnTo>
                  <a:pt x="68" y="280"/>
                </a:lnTo>
                <a:lnTo>
                  <a:pt x="70" y="270"/>
                </a:lnTo>
                <a:lnTo>
                  <a:pt x="70" y="270"/>
                </a:lnTo>
                <a:lnTo>
                  <a:pt x="74" y="266"/>
                </a:lnTo>
                <a:lnTo>
                  <a:pt x="74" y="266"/>
                </a:lnTo>
                <a:lnTo>
                  <a:pt x="72" y="262"/>
                </a:lnTo>
                <a:lnTo>
                  <a:pt x="72" y="260"/>
                </a:lnTo>
                <a:lnTo>
                  <a:pt x="74" y="260"/>
                </a:lnTo>
                <a:lnTo>
                  <a:pt x="74" y="260"/>
                </a:lnTo>
                <a:lnTo>
                  <a:pt x="76" y="254"/>
                </a:lnTo>
                <a:lnTo>
                  <a:pt x="74" y="250"/>
                </a:lnTo>
                <a:lnTo>
                  <a:pt x="74" y="242"/>
                </a:lnTo>
                <a:lnTo>
                  <a:pt x="74" y="242"/>
                </a:lnTo>
                <a:lnTo>
                  <a:pt x="78" y="240"/>
                </a:lnTo>
                <a:lnTo>
                  <a:pt x="78" y="240"/>
                </a:lnTo>
                <a:lnTo>
                  <a:pt x="70" y="236"/>
                </a:lnTo>
                <a:lnTo>
                  <a:pt x="70" y="236"/>
                </a:lnTo>
                <a:lnTo>
                  <a:pt x="78" y="236"/>
                </a:lnTo>
                <a:lnTo>
                  <a:pt x="88" y="234"/>
                </a:lnTo>
                <a:lnTo>
                  <a:pt x="88" y="236"/>
                </a:lnTo>
                <a:lnTo>
                  <a:pt x="90" y="236"/>
                </a:lnTo>
                <a:lnTo>
                  <a:pt x="90" y="236"/>
                </a:lnTo>
                <a:lnTo>
                  <a:pt x="90" y="234"/>
                </a:lnTo>
                <a:lnTo>
                  <a:pt x="92" y="232"/>
                </a:lnTo>
                <a:lnTo>
                  <a:pt x="92" y="232"/>
                </a:lnTo>
                <a:lnTo>
                  <a:pt x="94" y="232"/>
                </a:lnTo>
                <a:lnTo>
                  <a:pt x="98" y="232"/>
                </a:lnTo>
                <a:lnTo>
                  <a:pt x="98" y="232"/>
                </a:lnTo>
                <a:lnTo>
                  <a:pt x="98" y="230"/>
                </a:lnTo>
                <a:lnTo>
                  <a:pt x="98" y="228"/>
                </a:lnTo>
                <a:lnTo>
                  <a:pt x="98" y="228"/>
                </a:lnTo>
                <a:lnTo>
                  <a:pt x="100" y="226"/>
                </a:lnTo>
                <a:lnTo>
                  <a:pt x="104" y="226"/>
                </a:lnTo>
                <a:lnTo>
                  <a:pt x="102" y="224"/>
                </a:lnTo>
                <a:lnTo>
                  <a:pt x="102" y="224"/>
                </a:lnTo>
                <a:lnTo>
                  <a:pt x="96" y="222"/>
                </a:lnTo>
                <a:lnTo>
                  <a:pt x="96" y="222"/>
                </a:lnTo>
                <a:lnTo>
                  <a:pt x="106" y="218"/>
                </a:lnTo>
                <a:lnTo>
                  <a:pt x="106" y="218"/>
                </a:lnTo>
                <a:lnTo>
                  <a:pt x="106" y="212"/>
                </a:lnTo>
                <a:lnTo>
                  <a:pt x="104" y="206"/>
                </a:lnTo>
                <a:lnTo>
                  <a:pt x="104" y="206"/>
                </a:lnTo>
                <a:lnTo>
                  <a:pt x="102" y="206"/>
                </a:lnTo>
                <a:lnTo>
                  <a:pt x="100" y="206"/>
                </a:lnTo>
                <a:lnTo>
                  <a:pt x="100" y="206"/>
                </a:lnTo>
                <a:lnTo>
                  <a:pt x="98" y="204"/>
                </a:lnTo>
                <a:lnTo>
                  <a:pt x="98" y="200"/>
                </a:lnTo>
                <a:lnTo>
                  <a:pt x="98" y="200"/>
                </a:lnTo>
                <a:lnTo>
                  <a:pt x="94" y="200"/>
                </a:lnTo>
                <a:lnTo>
                  <a:pt x="92" y="194"/>
                </a:lnTo>
                <a:lnTo>
                  <a:pt x="92" y="194"/>
                </a:lnTo>
                <a:lnTo>
                  <a:pt x="88" y="198"/>
                </a:lnTo>
                <a:lnTo>
                  <a:pt x="88" y="198"/>
                </a:lnTo>
                <a:lnTo>
                  <a:pt x="86" y="198"/>
                </a:lnTo>
                <a:lnTo>
                  <a:pt x="84" y="196"/>
                </a:lnTo>
                <a:lnTo>
                  <a:pt x="84" y="196"/>
                </a:lnTo>
                <a:lnTo>
                  <a:pt x="82" y="194"/>
                </a:lnTo>
                <a:lnTo>
                  <a:pt x="82" y="194"/>
                </a:lnTo>
                <a:lnTo>
                  <a:pt x="82" y="188"/>
                </a:lnTo>
                <a:lnTo>
                  <a:pt x="82" y="184"/>
                </a:lnTo>
                <a:lnTo>
                  <a:pt x="80" y="174"/>
                </a:lnTo>
                <a:lnTo>
                  <a:pt x="80" y="174"/>
                </a:lnTo>
                <a:lnTo>
                  <a:pt x="80" y="170"/>
                </a:lnTo>
                <a:lnTo>
                  <a:pt x="80" y="170"/>
                </a:lnTo>
                <a:lnTo>
                  <a:pt x="84" y="170"/>
                </a:lnTo>
                <a:lnTo>
                  <a:pt x="84" y="170"/>
                </a:lnTo>
                <a:lnTo>
                  <a:pt x="82" y="166"/>
                </a:lnTo>
                <a:lnTo>
                  <a:pt x="82" y="162"/>
                </a:lnTo>
                <a:lnTo>
                  <a:pt x="84" y="158"/>
                </a:lnTo>
                <a:lnTo>
                  <a:pt x="84" y="152"/>
                </a:lnTo>
                <a:lnTo>
                  <a:pt x="84" y="152"/>
                </a:lnTo>
                <a:lnTo>
                  <a:pt x="82" y="152"/>
                </a:lnTo>
                <a:lnTo>
                  <a:pt x="82" y="152"/>
                </a:lnTo>
                <a:lnTo>
                  <a:pt x="82" y="148"/>
                </a:lnTo>
                <a:lnTo>
                  <a:pt x="82" y="148"/>
                </a:lnTo>
                <a:lnTo>
                  <a:pt x="84" y="148"/>
                </a:lnTo>
                <a:lnTo>
                  <a:pt x="86" y="150"/>
                </a:lnTo>
                <a:lnTo>
                  <a:pt x="86" y="150"/>
                </a:lnTo>
                <a:lnTo>
                  <a:pt x="88" y="148"/>
                </a:lnTo>
                <a:lnTo>
                  <a:pt x="88" y="148"/>
                </a:lnTo>
                <a:lnTo>
                  <a:pt x="92" y="146"/>
                </a:lnTo>
                <a:lnTo>
                  <a:pt x="92" y="146"/>
                </a:lnTo>
                <a:lnTo>
                  <a:pt x="94" y="140"/>
                </a:lnTo>
                <a:lnTo>
                  <a:pt x="92" y="140"/>
                </a:lnTo>
                <a:lnTo>
                  <a:pt x="92" y="138"/>
                </a:lnTo>
                <a:lnTo>
                  <a:pt x="92" y="138"/>
                </a:lnTo>
                <a:lnTo>
                  <a:pt x="98" y="138"/>
                </a:lnTo>
                <a:lnTo>
                  <a:pt x="100" y="136"/>
                </a:lnTo>
                <a:lnTo>
                  <a:pt x="102" y="134"/>
                </a:lnTo>
                <a:lnTo>
                  <a:pt x="102" y="134"/>
                </a:lnTo>
                <a:lnTo>
                  <a:pt x="100" y="134"/>
                </a:lnTo>
                <a:lnTo>
                  <a:pt x="98" y="132"/>
                </a:lnTo>
                <a:lnTo>
                  <a:pt x="104" y="126"/>
                </a:lnTo>
                <a:lnTo>
                  <a:pt x="104" y="126"/>
                </a:lnTo>
                <a:lnTo>
                  <a:pt x="106" y="126"/>
                </a:lnTo>
                <a:lnTo>
                  <a:pt x="108" y="128"/>
                </a:lnTo>
                <a:lnTo>
                  <a:pt x="108" y="128"/>
                </a:lnTo>
                <a:lnTo>
                  <a:pt x="112" y="124"/>
                </a:lnTo>
                <a:lnTo>
                  <a:pt x="116" y="122"/>
                </a:lnTo>
                <a:lnTo>
                  <a:pt x="116" y="122"/>
                </a:lnTo>
                <a:lnTo>
                  <a:pt x="120" y="120"/>
                </a:lnTo>
                <a:lnTo>
                  <a:pt x="122" y="122"/>
                </a:lnTo>
                <a:lnTo>
                  <a:pt x="122" y="122"/>
                </a:lnTo>
                <a:lnTo>
                  <a:pt x="126" y="120"/>
                </a:lnTo>
                <a:lnTo>
                  <a:pt x="126" y="116"/>
                </a:lnTo>
                <a:lnTo>
                  <a:pt x="130" y="110"/>
                </a:lnTo>
                <a:lnTo>
                  <a:pt x="130" y="110"/>
                </a:lnTo>
                <a:lnTo>
                  <a:pt x="132" y="110"/>
                </a:lnTo>
                <a:lnTo>
                  <a:pt x="136" y="108"/>
                </a:lnTo>
                <a:lnTo>
                  <a:pt x="136" y="108"/>
                </a:lnTo>
                <a:lnTo>
                  <a:pt x="136" y="106"/>
                </a:lnTo>
                <a:lnTo>
                  <a:pt x="136" y="104"/>
                </a:lnTo>
                <a:lnTo>
                  <a:pt x="136" y="104"/>
                </a:lnTo>
                <a:lnTo>
                  <a:pt x="132" y="104"/>
                </a:lnTo>
                <a:lnTo>
                  <a:pt x="132" y="104"/>
                </a:lnTo>
                <a:lnTo>
                  <a:pt x="134" y="100"/>
                </a:lnTo>
                <a:lnTo>
                  <a:pt x="134" y="100"/>
                </a:lnTo>
                <a:lnTo>
                  <a:pt x="132" y="96"/>
                </a:lnTo>
                <a:lnTo>
                  <a:pt x="132" y="92"/>
                </a:lnTo>
                <a:lnTo>
                  <a:pt x="138" y="88"/>
                </a:lnTo>
                <a:lnTo>
                  <a:pt x="138" y="88"/>
                </a:lnTo>
                <a:lnTo>
                  <a:pt x="138" y="86"/>
                </a:lnTo>
                <a:lnTo>
                  <a:pt x="136" y="84"/>
                </a:lnTo>
                <a:lnTo>
                  <a:pt x="136" y="84"/>
                </a:lnTo>
                <a:lnTo>
                  <a:pt x="138" y="84"/>
                </a:lnTo>
                <a:lnTo>
                  <a:pt x="140" y="82"/>
                </a:lnTo>
                <a:lnTo>
                  <a:pt x="140" y="82"/>
                </a:lnTo>
                <a:lnTo>
                  <a:pt x="138" y="80"/>
                </a:lnTo>
                <a:lnTo>
                  <a:pt x="138" y="80"/>
                </a:lnTo>
                <a:lnTo>
                  <a:pt x="138" y="80"/>
                </a:lnTo>
                <a:lnTo>
                  <a:pt x="138" y="80"/>
                </a:lnTo>
                <a:lnTo>
                  <a:pt x="140" y="78"/>
                </a:lnTo>
                <a:lnTo>
                  <a:pt x="144" y="80"/>
                </a:lnTo>
                <a:lnTo>
                  <a:pt x="144" y="80"/>
                </a:lnTo>
                <a:lnTo>
                  <a:pt x="146" y="78"/>
                </a:lnTo>
                <a:lnTo>
                  <a:pt x="148" y="74"/>
                </a:lnTo>
                <a:lnTo>
                  <a:pt x="150" y="66"/>
                </a:lnTo>
                <a:lnTo>
                  <a:pt x="150" y="66"/>
                </a:lnTo>
                <a:lnTo>
                  <a:pt x="150" y="68"/>
                </a:lnTo>
                <a:lnTo>
                  <a:pt x="152" y="70"/>
                </a:lnTo>
                <a:lnTo>
                  <a:pt x="152" y="70"/>
                </a:lnTo>
                <a:lnTo>
                  <a:pt x="156" y="68"/>
                </a:lnTo>
                <a:lnTo>
                  <a:pt x="156" y="68"/>
                </a:lnTo>
                <a:lnTo>
                  <a:pt x="158" y="72"/>
                </a:lnTo>
                <a:lnTo>
                  <a:pt x="158" y="72"/>
                </a:lnTo>
                <a:lnTo>
                  <a:pt x="160" y="70"/>
                </a:lnTo>
                <a:lnTo>
                  <a:pt x="160" y="68"/>
                </a:lnTo>
                <a:lnTo>
                  <a:pt x="160" y="68"/>
                </a:lnTo>
                <a:lnTo>
                  <a:pt x="168" y="70"/>
                </a:lnTo>
                <a:lnTo>
                  <a:pt x="168"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3" name="Freeform 37">
            <a:extLst>
              <a:ext uri="{FF2B5EF4-FFF2-40B4-BE49-F238E27FC236}">
                <a16:creationId xmlns:a16="http://schemas.microsoft.com/office/drawing/2014/main" id="{08BB1A89-D9D5-4940-B65D-AFA936A2FFB5}"/>
              </a:ext>
            </a:extLst>
          </p:cNvPr>
          <p:cNvSpPr>
            <a:spLocks/>
          </p:cNvSpPr>
          <p:nvPr userDrawn="1"/>
        </p:nvSpPr>
        <p:spPr bwMode="auto">
          <a:xfrm>
            <a:off x="6545077" y="4428818"/>
            <a:ext cx="26832" cy="41184"/>
          </a:xfrm>
          <a:custGeom>
            <a:avLst/>
            <a:gdLst>
              <a:gd name="T0" fmla="*/ 14 w 16"/>
              <a:gd name="T1" fmla="*/ 14 h 24"/>
              <a:gd name="T2" fmla="*/ 14 w 16"/>
              <a:gd name="T3" fmla="*/ 14 h 24"/>
              <a:gd name="T4" fmla="*/ 16 w 16"/>
              <a:gd name="T5" fmla="*/ 6 h 24"/>
              <a:gd name="T6" fmla="*/ 16 w 16"/>
              <a:gd name="T7" fmla="*/ 6 h 24"/>
              <a:gd name="T8" fmla="*/ 16 w 16"/>
              <a:gd name="T9" fmla="*/ 4 h 24"/>
              <a:gd name="T10" fmla="*/ 14 w 16"/>
              <a:gd name="T11" fmla="*/ 2 h 24"/>
              <a:gd name="T12" fmla="*/ 10 w 16"/>
              <a:gd name="T13" fmla="*/ 0 h 24"/>
              <a:gd name="T14" fmla="*/ 10 w 16"/>
              <a:gd name="T15" fmla="*/ 0 h 24"/>
              <a:gd name="T16" fmla="*/ 8 w 16"/>
              <a:gd name="T17" fmla="*/ 0 h 24"/>
              <a:gd name="T18" fmla="*/ 6 w 16"/>
              <a:gd name="T19" fmla="*/ 2 h 24"/>
              <a:gd name="T20" fmla="*/ 4 w 16"/>
              <a:gd name="T21" fmla="*/ 0 h 24"/>
              <a:gd name="T22" fmla="*/ 4 w 16"/>
              <a:gd name="T23" fmla="*/ 0 h 24"/>
              <a:gd name="T24" fmla="*/ 2 w 16"/>
              <a:gd name="T25" fmla="*/ 0 h 24"/>
              <a:gd name="T26" fmla="*/ 2 w 16"/>
              <a:gd name="T27" fmla="*/ 2 h 24"/>
              <a:gd name="T28" fmla="*/ 0 w 16"/>
              <a:gd name="T29" fmla="*/ 8 h 24"/>
              <a:gd name="T30" fmla="*/ 0 w 16"/>
              <a:gd name="T31" fmla="*/ 8 h 24"/>
              <a:gd name="T32" fmla="*/ 0 w 16"/>
              <a:gd name="T33" fmla="*/ 12 h 24"/>
              <a:gd name="T34" fmla="*/ 0 w 16"/>
              <a:gd name="T35" fmla="*/ 16 h 24"/>
              <a:gd name="T36" fmla="*/ 0 w 16"/>
              <a:gd name="T37" fmla="*/ 16 h 24"/>
              <a:gd name="T38" fmla="*/ 2 w 16"/>
              <a:gd name="T39" fmla="*/ 18 h 24"/>
              <a:gd name="T40" fmla="*/ 6 w 16"/>
              <a:gd name="T41" fmla="*/ 20 h 24"/>
              <a:gd name="T42" fmla="*/ 6 w 16"/>
              <a:gd name="T43" fmla="*/ 20 h 24"/>
              <a:gd name="T44" fmla="*/ 12 w 16"/>
              <a:gd name="T45" fmla="*/ 22 h 24"/>
              <a:gd name="T46" fmla="*/ 16 w 16"/>
              <a:gd name="T47" fmla="*/ 24 h 24"/>
              <a:gd name="T48" fmla="*/ 14 w 16"/>
              <a:gd name="T4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4">
                <a:moveTo>
                  <a:pt x="14" y="14"/>
                </a:moveTo>
                <a:lnTo>
                  <a:pt x="14" y="14"/>
                </a:lnTo>
                <a:lnTo>
                  <a:pt x="16" y="6"/>
                </a:lnTo>
                <a:lnTo>
                  <a:pt x="16" y="6"/>
                </a:lnTo>
                <a:lnTo>
                  <a:pt x="16" y="4"/>
                </a:lnTo>
                <a:lnTo>
                  <a:pt x="14" y="2"/>
                </a:lnTo>
                <a:lnTo>
                  <a:pt x="10" y="0"/>
                </a:lnTo>
                <a:lnTo>
                  <a:pt x="10" y="0"/>
                </a:lnTo>
                <a:lnTo>
                  <a:pt x="8" y="0"/>
                </a:lnTo>
                <a:lnTo>
                  <a:pt x="6" y="2"/>
                </a:lnTo>
                <a:lnTo>
                  <a:pt x="4" y="0"/>
                </a:lnTo>
                <a:lnTo>
                  <a:pt x="4" y="0"/>
                </a:lnTo>
                <a:lnTo>
                  <a:pt x="2" y="0"/>
                </a:lnTo>
                <a:lnTo>
                  <a:pt x="2" y="2"/>
                </a:lnTo>
                <a:lnTo>
                  <a:pt x="0" y="8"/>
                </a:lnTo>
                <a:lnTo>
                  <a:pt x="0" y="8"/>
                </a:lnTo>
                <a:lnTo>
                  <a:pt x="0" y="12"/>
                </a:lnTo>
                <a:lnTo>
                  <a:pt x="0" y="16"/>
                </a:lnTo>
                <a:lnTo>
                  <a:pt x="0" y="16"/>
                </a:lnTo>
                <a:lnTo>
                  <a:pt x="2" y="18"/>
                </a:lnTo>
                <a:lnTo>
                  <a:pt x="6" y="20"/>
                </a:lnTo>
                <a:lnTo>
                  <a:pt x="6" y="20"/>
                </a:lnTo>
                <a:lnTo>
                  <a:pt x="12" y="22"/>
                </a:lnTo>
                <a:lnTo>
                  <a:pt x="16" y="24"/>
                </a:lnTo>
                <a:lnTo>
                  <a:pt x="14"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4" name="Freeform 38">
            <a:extLst>
              <a:ext uri="{FF2B5EF4-FFF2-40B4-BE49-F238E27FC236}">
                <a16:creationId xmlns:a16="http://schemas.microsoft.com/office/drawing/2014/main" id="{CAD72996-B468-48D6-9C1D-05B33131F0AA}"/>
              </a:ext>
            </a:extLst>
          </p:cNvPr>
          <p:cNvSpPr>
            <a:spLocks/>
          </p:cNvSpPr>
          <p:nvPr userDrawn="1"/>
        </p:nvSpPr>
        <p:spPr bwMode="auto">
          <a:xfrm>
            <a:off x="4547728" y="3502185"/>
            <a:ext cx="90560" cy="147575"/>
          </a:xfrm>
          <a:custGeom>
            <a:avLst/>
            <a:gdLst>
              <a:gd name="T0" fmla="*/ 52 w 54"/>
              <a:gd name="T1" fmla="*/ 2 h 86"/>
              <a:gd name="T2" fmla="*/ 48 w 54"/>
              <a:gd name="T3" fmla="*/ 2 h 86"/>
              <a:gd name="T4" fmla="*/ 46 w 54"/>
              <a:gd name="T5" fmla="*/ 0 h 86"/>
              <a:gd name="T6" fmla="*/ 40 w 54"/>
              <a:gd name="T7" fmla="*/ 0 h 86"/>
              <a:gd name="T8" fmla="*/ 40 w 54"/>
              <a:gd name="T9" fmla="*/ 2 h 86"/>
              <a:gd name="T10" fmla="*/ 34 w 54"/>
              <a:gd name="T11" fmla="*/ 4 h 86"/>
              <a:gd name="T12" fmla="*/ 22 w 54"/>
              <a:gd name="T13" fmla="*/ 2 h 86"/>
              <a:gd name="T14" fmla="*/ 16 w 54"/>
              <a:gd name="T15" fmla="*/ 8 h 86"/>
              <a:gd name="T16" fmla="*/ 16 w 54"/>
              <a:gd name="T17" fmla="*/ 6 h 86"/>
              <a:gd name="T18" fmla="*/ 8 w 54"/>
              <a:gd name="T19" fmla="*/ 18 h 86"/>
              <a:gd name="T20" fmla="*/ 8 w 54"/>
              <a:gd name="T21" fmla="*/ 26 h 86"/>
              <a:gd name="T22" fmla="*/ 0 w 54"/>
              <a:gd name="T23" fmla="*/ 32 h 86"/>
              <a:gd name="T24" fmla="*/ 0 w 54"/>
              <a:gd name="T25" fmla="*/ 34 h 86"/>
              <a:gd name="T26" fmla="*/ 2 w 54"/>
              <a:gd name="T27" fmla="*/ 42 h 86"/>
              <a:gd name="T28" fmla="*/ 2 w 54"/>
              <a:gd name="T29" fmla="*/ 52 h 86"/>
              <a:gd name="T30" fmla="*/ 4 w 54"/>
              <a:gd name="T31" fmla="*/ 56 h 86"/>
              <a:gd name="T32" fmla="*/ 6 w 54"/>
              <a:gd name="T33" fmla="*/ 58 h 86"/>
              <a:gd name="T34" fmla="*/ 4 w 54"/>
              <a:gd name="T35" fmla="*/ 64 h 86"/>
              <a:gd name="T36" fmla="*/ 8 w 54"/>
              <a:gd name="T37" fmla="*/ 84 h 86"/>
              <a:gd name="T38" fmla="*/ 24 w 54"/>
              <a:gd name="T39" fmla="*/ 86 h 86"/>
              <a:gd name="T40" fmla="*/ 22 w 54"/>
              <a:gd name="T41" fmla="*/ 76 h 86"/>
              <a:gd name="T42" fmla="*/ 34 w 54"/>
              <a:gd name="T43" fmla="*/ 72 h 86"/>
              <a:gd name="T44" fmla="*/ 40 w 54"/>
              <a:gd name="T45" fmla="*/ 72 h 86"/>
              <a:gd name="T46" fmla="*/ 46 w 54"/>
              <a:gd name="T47" fmla="*/ 72 h 86"/>
              <a:gd name="T48" fmla="*/ 50 w 54"/>
              <a:gd name="T49" fmla="*/ 62 h 86"/>
              <a:gd name="T50" fmla="*/ 54 w 54"/>
              <a:gd name="T51" fmla="*/ 52 h 86"/>
              <a:gd name="T52" fmla="*/ 50 w 54"/>
              <a:gd name="T53" fmla="*/ 48 h 86"/>
              <a:gd name="T54" fmla="*/ 46 w 54"/>
              <a:gd name="T55" fmla="*/ 40 h 86"/>
              <a:gd name="T56" fmla="*/ 46 w 54"/>
              <a:gd name="T57" fmla="*/ 22 h 86"/>
              <a:gd name="T58" fmla="*/ 52 w 54"/>
              <a:gd name="T59" fmla="*/ 12 h 86"/>
              <a:gd name="T60" fmla="*/ 52 w 54"/>
              <a:gd name="T61" fmla="*/ 6 h 86"/>
              <a:gd name="T62" fmla="*/ 52 w 54"/>
              <a:gd name="T63" fmla="*/ 8 h 86"/>
              <a:gd name="T64" fmla="*/ 52 w 54"/>
              <a:gd name="T65" fmla="*/ 4 h 86"/>
              <a:gd name="T66" fmla="*/ 52 w 54"/>
              <a:gd name="T67"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86">
                <a:moveTo>
                  <a:pt x="52" y="2"/>
                </a:moveTo>
                <a:lnTo>
                  <a:pt x="52" y="2"/>
                </a:lnTo>
                <a:lnTo>
                  <a:pt x="50" y="2"/>
                </a:lnTo>
                <a:lnTo>
                  <a:pt x="48" y="2"/>
                </a:lnTo>
                <a:lnTo>
                  <a:pt x="48" y="2"/>
                </a:lnTo>
                <a:lnTo>
                  <a:pt x="46" y="0"/>
                </a:lnTo>
                <a:lnTo>
                  <a:pt x="46" y="0"/>
                </a:lnTo>
                <a:lnTo>
                  <a:pt x="40" y="0"/>
                </a:lnTo>
                <a:lnTo>
                  <a:pt x="40" y="2"/>
                </a:lnTo>
                <a:lnTo>
                  <a:pt x="40" y="2"/>
                </a:lnTo>
                <a:lnTo>
                  <a:pt x="34" y="4"/>
                </a:lnTo>
                <a:lnTo>
                  <a:pt x="34" y="4"/>
                </a:lnTo>
                <a:lnTo>
                  <a:pt x="28" y="4"/>
                </a:lnTo>
                <a:lnTo>
                  <a:pt x="22" y="2"/>
                </a:lnTo>
                <a:lnTo>
                  <a:pt x="20" y="2"/>
                </a:lnTo>
                <a:lnTo>
                  <a:pt x="16" y="8"/>
                </a:lnTo>
                <a:lnTo>
                  <a:pt x="16" y="6"/>
                </a:lnTo>
                <a:lnTo>
                  <a:pt x="16" y="6"/>
                </a:lnTo>
                <a:lnTo>
                  <a:pt x="8" y="18"/>
                </a:lnTo>
                <a:lnTo>
                  <a:pt x="8" y="18"/>
                </a:lnTo>
                <a:lnTo>
                  <a:pt x="8" y="26"/>
                </a:lnTo>
                <a:lnTo>
                  <a:pt x="8" y="26"/>
                </a:lnTo>
                <a:lnTo>
                  <a:pt x="4" y="30"/>
                </a:lnTo>
                <a:lnTo>
                  <a:pt x="0" y="32"/>
                </a:lnTo>
                <a:lnTo>
                  <a:pt x="0" y="32"/>
                </a:lnTo>
                <a:lnTo>
                  <a:pt x="0" y="34"/>
                </a:lnTo>
                <a:lnTo>
                  <a:pt x="0" y="36"/>
                </a:lnTo>
                <a:lnTo>
                  <a:pt x="2" y="42"/>
                </a:lnTo>
                <a:lnTo>
                  <a:pt x="2" y="42"/>
                </a:lnTo>
                <a:lnTo>
                  <a:pt x="2" y="52"/>
                </a:lnTo>
                <a:lnTo>
                  <a:pt x="2" y="52"/>
                </a:lnTo>
                <a:lnTo>
                  <a:pt x="4" y="56"/>
                </a:lnTo>
                <a:lnTo>
                  <a:pt x="4" y="56"/>
                </a:lnTo>
                <a:lnTo>
                  <a:pt x="6" y="58"/>
                </a:lnTo>
                <a:lnTo>
                  <a:pt x="6" y="60"/>
                </a:lnTo>
                <a:lnTo>
                  <a:pt x="4" y="64"/>
                </a:lnTo>
                <a:lnTo>
                  <a:pt x="6" y="76"/>
                </a:lnTo>
                <a:lnTo>
                  <a:pt x="8" y="84"/>
                </a:lnTo>
                <a:lnTo>
                  <a:pt x="14" y="82"/>
                </a:lnTo>
                <a:lnTo>
                  <a:pt x="24" y="86"/>
                </a:lnTo>
                <a:lnTo>
                  <a:pt x="26" y="80"/>
                </a:lnTo>
                <a:lnTo>
                  <a:pt x="22" y="76"/>
                </a:lnTo>
                <a:lnTo>
                  <a:pt x="24" y="68"/>
                </a:lnTo>
                <a:lnTo>
                  <a:pt x="34" y="72"/>
                </a:lnTo>
                <a:lnTo>
                  <a:pt x="38" y="70"/>
                </a:lnTo>
                <a:lnTo>
                  <a:pt x="40" y="72"/>
                </a:lnTo>
                <a:lnTo>
                  <a:pt x="46" y="72"/>
                </a:lnTo>
                <a:lnTo>
                  <a:pt x="46" y="72"/>
                </a:lnTo>
                <a:lnTo>
                  <a:pt x="50" y="62"/>
                </a:lnTo>
                <a:lnTo>
                  <a:pt x="50" y="62"/>
                </a:lnTo>
                <a:lnTo>
                  <a:pt x="54" y="56"/>
                </a:lnTo>
                <a:lnTo>
                  <a:pt x="54" y="52"/>
                </a:lnTo>
                <a:lnTo>
                  <a:pt x="54" y="52"/>
                </a:lnTo>
                <a:lnTo>
                  <a:pt x="50" y="48"/>
                </a:lnTo>
                <a:lnTo>
                  <a:pt x="48" y="44"/>
                </a:lnTo>
                <a:lnTo>
                  <a:pt x="46" y="40"/>
                </a:lnTo>
                <a:lnTo>
                  <a:pt x="46" y="40"/>
                </a:lnTo>
                <a:lnTo>
                  <a:pt x="46" y="22"/>
                </a:lnTo>
                <a:lnTo>
                  <a:pt x="52" y="12"/>
                </a:lnTo>
                <a:lnTo>
                  <a:pt x="52" y="12"/>
                </a:lnTo>
                <a:lnTo>
                  <a:pt x="52" y="6"/>
                </a:lnTo>
                <a:lnTo>
                  <a:pt x="52" y="6"/>
                </a:lnTo>
                <a:lnTo>
                  <a:pt x="52" y="8"/>
                </a:lnTo>
                <a:lnTo>
                  <a:pt x="52" y="8"/>
                </a:lnTo>
                <a:lnTo>
                  <a:pt x="52" y="6"/>
                </a:lnTo>
                <a:lnTo>
                  <a:pt x="52" y="4"/>
                </a:lnTo>
                <a:lnTo>
                  <a:pt x="52" y="4"/>
                </a:lnTo>
                <a:lnTo>
                  <a:pt x="52"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5" name="Freeform 39">
            <a:extLst>
              <a:ext uri="{FF2B5EF4-FFF2-40B4-BE49-F238E27FC236}">
                <a16:creationId xmlns:a16="http://schemas.microsoft.com/office/drawing/2014/main" id="{20E3A621-5724-44D5-99F0-1CD446E7A0F8}"/>
              </a:ext>
            </a:extLst>
          </p:cNvPr>
          <p:cNvSpPr>
            <a:spLocks/>
          </p:cNvSpPr>
          <p:nvPr userDrawn="1"/>
        </p:nvSpPr>
        <p:spPr bwMode="auto">
          <a:xfrm>
            <a:off x="6340479" y="3011413"/>
            <a:ext cx="379010" cy="569707"/>
          </a:xfrm>
          <a:custGeom>
            <a:avLst/>
            <a:gdLst>
              <a:gd name="T0" fmla="*/ 222 w 226"/>
              <a:gd name="T1" fmla="*/ 80 h 332"/>
              <a:gd name="T2" fmla="*/ 210 w 226"/>
              <a:gd name="T3" fmla="*/ 68 h 332"/>
              <a:gd name="T4" fmla="*/ 212 w 226"/>
              <a:gd name="T5" fmla="*/ 52 h 332"/>
              <a:gd name="T6" fmla="*/ 212 w 226"/>
              <a:gd name="T7" fmla="*/ 34 h 332"/>
              <a:gd name="T8" fmla="*/ 206 w 226"/>
              <a:gd name="T9" fmla="*/ 18 h 332"/>
              <a:gd name="T10" fmla="*/ 196 w 226"/>
              <a:gd name="T11" fmla="*/ 12 h 332"/>
              <a:gd name="T12" fmla="*/ 190 w 226"/>
              <a:gd name="T13" fmla="*/ 0 h 332"/>
              <a:gd name="T14" fmla="*/ 168 w 226"/>
              <a:gd name="T15" fmla="*/ 22 h 332"/>
              <a:gd name="T16" fmla="*/ 144 w 226"/>
              <a:gd name="T17" fmla="*/ 20 h 332"/>
              <a:gd name="T18" fmla="*/ 36 w 226"/>
              <a:gd name="T19" fmla="*/ 126 h 332"/>
              <a:gd name="T20" fmla="*/ 22 w 226"/>
              <a:gd name="T21" fmla="*/ 126 h 332"/>
              <a:gd name="T22" fmla="*/ 16 w 226"/>
              <a:gd name="T23" fmla="*/ 134 h 332"/>
              <a:gd name="T24" fmla="*/ 14 w 226"/>
              <a:gd name="T25" fmla="*/ 144 h 332"/>
              <a:gd name="T26" fmla="*/ 8 w 226"/>
              <a:gd name="T27" fmla="*/ 160 h 332"/>
              <a:gd name="T28" fmla="*/ 4 w 226"/>
              <a:gd name="T29" fmla="*/ 168 h 332"/>
              <a:gd name="T30" fmla="*/ 0 w 226"/>
              <a:gd name="T31" fmla="*/ 176 h 332"/>
              <a:gd name="T32" fmla="*/ 8 w 226"/>
              <a:gd name="T33" fmla="*/ 178 h 332"/>
              <a:gd name="T34" fmla="*/ 8 w 226"/>
              <a:gd name="T35" fmla="*/ 186 h 332"/>
              <a:gd name="T36" fmla="*/ 10 w 226"/>
              <a:gd name="T37" fmla="*/ 198 h 332"/>
              <a:gd name="T38" fmla="*/ 12 w 226"/>
              <a:gd name="T39" fmla="*/ 208 h 332"/>
              <a:gd name="T40" fmla="*/ 20 w 226"/>
              <a:gd name="T41" fmla="*/ 226 h 332"/>
              <a:gd name="T42" fmla="*/ 26 w 226"/>
              <a:gd name="T43" fmla="*/ 236 h 332"/>
              <a:gd name="T44" fmla="*/ 32 w 226"/>
              <a:gd name="T45" fmla="*/ 254 h 332"/>
              <a:gd name="T46" fmla="*/ 36 w 226"/>
              <a:gd name="T47" fmla="*/ 260 h 332"/>
              <a:gd name="T48" fmla="*/ 50 w 226"/>
              <a:gd name="T49" fmla="*/ 266 h 332"/>
              <a:gd name="T50" fmla="*/ 56 w 226"/>
              <a:gd name="T51" fmla="*/ 274 h 332"/>
              <a:gd name="T52" fmla="*/ 70 w 226"/>
              <a:gd name="T53" fmla="*/ 286 h 332"/>
              <a:gd name="T54" fmla="*/ 72 w 226"/>
              <a:gd name="T55" fmla="*/ 294 h 332"/>
              <a:gd name="T56" fmla="*/ 80 w 226"/>
              <a:gd name="T57" fmla="*/ 310 h 332"/>
              <a:gd name="T58" fmla="*/ 88 w 226"/>
              <a:gd name="T59" fmla="*/ 310 h 332"/>
              <a:gd name="T60" fmla="*/ 98 w 226"/>
              <a:gd name="T61" fmla="*/ 314 h 332"/>
              <a:gd name="T62" fmla="*/ 108 w 226"/>
              <a:gd name="T63" fmla="*/ 314 h 332"/>
              <a:gd name="T64" fmla="*/ 122 w 226"/>
              <a:gd name="T65" fmla="*/ 326 h 332"/>
              <a:gd name="T66" fmla="*/ 134 w 226"/>
              <a:gd name="T67" fmla="*/ 332 h 332"/>
              <a:gd name="T68" fmla="*/ 146 w 226"/>
              <a:gd name="T69" fmla="*/ 324 h 332"/>
              <a:gd name="T70" fmla="*/ 158 w 226"/>
              <a:gd name="T71" fmla="*/ 326 h 332"/>
              <a:gd name="T72" fmla="*/ 180 w 226"/>
              <a:gd name="T73" fmla="*/ 316 h 332"/>
              <a:gd name="T74" fmla="*/ 192 w 226"/>
              <a:gd name="T75" fmla="*/ 314 h 332"/>
              <a:gd name="T76" fmla="*/ 186 w 226"/>
              <a:gd name="T77" fmla="*/ 310 h 332"/>
              <a:gd name="T78" fmla="*/ 174 w 226"/>
              <a:gd name="T79" fmla="*/ 298 h 332"/>
              <a:gd name="T80" fmla="*/ 168 w 226"/>
              <a:gd name="T81" fmla="*/ 284 h 332"/>
              <a:gd name="T82" fmla="*/ 156 w 226"/>
              <a:gd name="T83" fmla="*/ 270 h 332"/>
              <a:gd name="T84" fmla="*/ 146 w 226"/>
              <a:gd name="T85" fmla="*/ 268 h 332"/>
              <a:gd name="T86" fmla="*/ 158 w 226"/>
              <a:gd name="T87" fmla="*/ 258 h 332"/>
              <a:gd name="T88" fmla="*/ 162 w 226"/>
              <a:gd name="T89" fmla="*/ 250 h 332"/>
              <a:gd name="T90" fmla="*/ 168 w 226"/>
              <a:gd name="T91" fmla="*/ 222 h 332"/>
              <a:gd name="T92" fmla="*/ 174 w 226"/>
              <a:gd name="T93" fmla="*/ 206 h 332"/>
              <a:gd name="T94" fmla="*/ 184 w 226"/>
              <a:gd name="T95" fmla="*/ 192 h 332"/>
              <a:gd name="T96" fmla="*/ 190 w 226"/>
              <a:gd name="T97" fmla="*/ 176 h 332"/>
              <a:gd name="T98" fmla="*/ 202 w 226"/>
              <a:gd name="T99" fmla="*/ 156 h 332"/>
              <a:gd name="T100" fmla="*/ 202 w 226"/>
              <a:gd name="T101" fmla="*/ 130 h 332"/>
              <a:gd name="T102" fmla="*/ 206 w 226"/>
              <a:gd name="T103" fmla="*/ 112 h 332"/>
              <a:gd name="T104" fmla="*/ 208 w 226"/>
              <a:gd name="T105" fmla="*/ 100 h 332"/>
              <a:gd name="T106" fmla="*/ 212 w 226"/>
              <a:gd name="T107" fmla="*/ 9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32">
                <a:moveTo>
                  <a:pt x="226" y="88"/>
                </a:moveTo>
                <a:lnTo>
                  <a:pt x="226" y="88"/>
                </a:lnTo>
                <a:lnTo>
                  <a:pt x="224" y="84"/>
                </a:lnTo>
                <a:lnTo>
                  <a:pt x="222" y="80"/>
                </a:lnTo>
                <a:lnTo>
                  <a:pt x="222" y="80"/>
                </a:lnTo>
                <a:lnTo>
                  <a:pt x="214" y="78"/>
                </a:lnTo>
                <a:lnTo>
                  <a:pt x="214" y="78"/>
                </a:lnTo>
                <a:lnTo>
                  <a:pt x="212" y="74"/>
                </a:lnTo>
                <a:lnTo>
                  <a:pt x="212" y="70"/>
                </a:lnTo>
                <a:lnTo>
                  <a:pt x="210" y="68"/>
                </a:lnTo>
                <a:lnTo>
                  <a:pt x="210" y="68"/>
                </a:lnTo>
                <a:lnTo>
                  <a:pt x="210" y="58"/>
                </a:lnTo>
                <a:lnTo>
                  <a:pt x="210" y="54"/>
                </a:lnTo>
                <a:lnTo>
                  <a:pt x="210" y="54"/>
                </a:lnTo>
                <a:lnTo>
                  <a:pt x="212" y="52"/>
                </a:lnTo>
                <a:lnTo>
                  <a:pt x="212" y="52"/>
                </a:lnTo>
                <a:lnTo>
                  <a:pt x="212" y="42"/>
                </a:lnTo>
                <a:lnTo>
                  <a:pt x="210" y="40"/>
                </a:lnTo>
                <a:lnTo>
                  <a:pt x="210" y="40"/>
                </a:lnTo>
                <a:lnTo>
                  <a:pt x="212" y="34"/>
                </a:lnTo>
                <a:lnTo>
                  <a:pt x="212" y="34"/>
                </a:lnTo>
                <a:lnTo>
                  <a:pt x="208" y="32"/>
                </a:lnTo>
                <a:lnTo>
                  <a:pt x="208" y="32"/>
                </a:lnTo>
                <a:lnTo>
                  <a:pt x="206" y="26"/>
                </a:lnTo>
                <a:lnTo>
                  <a:pt x="206" y="18"/>
                </a:lnTo>
                <a:lnTo>
                  <a:pt x="206" y="18"/>
                </a:lnTo>
                <a:lnTo>
                  <a:pt x="202" y="18"/>
                </a:lnTo>
                <a:lnTo>
                  <a:pt x="200" y="16"/>
                </a:lnTo>
                <a:lnTo>
                  <a:pt x="200" y="16"/>
                </a:lnTo>
                <a:lnTo>
                  <a:pt x="196" y="12"/>
                </a:lnTo>
                <a:lnTo>
                  <a:pt x="192" y="6"/>
                </a:lnTo>
                <a:lnTo>
                  <a:pt x="190" y="6"/>
                </a:lnTo>
                <a:lnTo>
                  <a:pt x="190" y="6"/>
                </a:lnTo>
                <a:lnTo>
                  <a:pt x="190" y="0"/>
                </a:lnTo>
                <a:lnTo>
                  <a:pt x="190" y="0"/>
                </a:lnTo>
                <a:lnTo>
                  <a:pt x="182" y="4"/>
                </a:lnTo>
                <a:lnTo>
                  <a:pt x="178" y="4"/>
                </a:lnTo>
                <a:lnTo>
                  <a:pt x="174" y="12"/>
                </a:lnTo>
                <a:lnTo>
                  <a:pt x="168" y="14"/>
                </a:lnTo>
                <a:lnTo>
                  <a:pt x="168" y="22"/>
                </a:lnTo>
                <a:lnTo>
                  <a:pt x="162" y="24"/>
                </a:lnTo>
                <a:lnTo>
                  <a:pt x="160" y="20"/>
                </a:lnTo>
                <a:lnTo>
                  <a:pt x="148" y="20"/>
                </a:lnTo>
                <a:lnTo>
                  <a:pt x="148" y="18"/>
                </a:lnTo>
                <a:lnTo>
                  <a:pt x="144" y="20"/>
                </a:lnTo>
                <a:lnTo>
                  <a:pt x="48" y="20"/>
                </a:lnTo>
                <a:lnTo>
                  <a:pt x="48" y="52"/>
                </a:lnTo>
                <a:lnTo>
                  <a:pt x="36" y="52"/>
                </a:lnTo>
                <a:lnTo>
                  <a:pt x="36" y="64"/>
                </a:lnTo>
                <a:lnTo>
                  <a:pt x="36" y="126"/>
                </a:lnTo>
                <a:lnTo>
                  <a:pt x="36" y="126"/>
                </a:lnTo>
                <a:lnTo>
                  <a:pt x="32" y="128"/>
                </a:lnTo>
                <a:lnTo>
                  <a:pt x="26" y="126"/>
                </a:lnTo>
                <a:lnTo>
                  <a:pt x="26" y="126"/>
                </a:lnTo>
                <a:lnTo>
                  <a:pt x="22" y="126"/>
                </a:lnTo>
                <a:lnTo>
                  <a:pt x="20" y="126"/>
                </a:lnTo>
                <a:lnTo>
                  <a:pt x="20" y="128"/>
                </a:lnTo>
                <a:lnTo>
                  <a:pt x="20" y="128"/>
                </a:lnTo>
                <a:lnTo>
                  <a:pt x="16" y="132"/>
                </a:lnTo>
                <a:lnTo>
                  <a:pt x="16" y="134"/>
                </a:lnTo>
                <a:lnTo>
                  <a:pt x="16" y="136"/>
                </a:lnTo>
                <a:lnTo>
                  <a:pt x="16" y="136"/>
                </a:lnTo>
                <a:lnTo>
                  <a:pt x="16" y="140"/>
                </a:lnTo>
                <a:lnTo>
                  <a:pt x="14" y="144"/>
                </a:lnTo>
                <a:lnTo>
                  <a:pt x="14" y="144"/>
                </a:lnTo>
                <a:lnTo>
                  <a:pt x="12" y="146"/>
                </a:lnTo>
                <a:lnTo>
                  <a:pt x="12" y="150"/>
                </a:lnTo>
                <a:lnTo>
                  <a:pt x="12" y="150"/>
                </a:lnTo>
                <a:lnTo>
                  <a:pt x="10" y="154"/>
                </a:lnTo>
                <a:lnTo>
                  <a:pt x="8" y="160"/>
                </a:lnTo>
                <a:lnTo>
                  <a:pt x="8" y="160"/>
                </a:lnTo>
                <a:lnTo>
                  <a:pt x="6" y="162"/>
                </a:lnTo>
                <a:lnTo>
                  <a:pt x="4" y="164"/>
                </a:lnTo>
                <a:lnTo>
                  <a:pt x="4" y="164"/>
                </a:lnTo>
                <a:lnTo>
                  <a:pt x="4" y="168"/>
                </a:lnTo>
                <a:lnTo>
                  <a:pt x="0" y="170"/>
                </a:lnTo>
                <a:lnTo>
                  <a:pt x="0" y="170"/>
                </a:lnTo>
                <a:lnTo>
                  <a:pt x="0" y="172"/>
                </a:lnTo>
                <a:lnTo>
                  <a:pt x="0" y="176"/>
                </a:lnTo>
                <a:lnTo>
                  <a:pt x="0" y="176"/>
                </a:lnTo>
                <a:lnTo>
                  <a:pt x="0" y="178"/>
                </a:lnTo>
                <a:lnTo>
                  <a:pt x="2" y="178"/>
                </a:lnTo>
                <a:lnTo>
                  <a:pt x="6" y="176"/>
                </a:lnTo>
                <a:lnTo>
                  <a:pt x="6" y="176"/>
                </a:lnTo>
                <a:lnTo>
                  <a:pt x="8" y="178"/>
                </a:lnTo>
                <a:lnTo>
                  <a:pt x="12" y="180"/>
                </a:lnTo>
                <a:lnTo>
                  <a:pt x="12" y="180"/>
                </a:lnTo>
                <a:lnTo>
                  <a:pt x="12" y="182"/>
                </a:lnTo>
                <a:lnTo>
                  <a:pt x="10" y="184"/>
                </a:lnTo>
                <a:lnTo>
                  <a:pt x="8" y="186"/>
                </a:lnTo>
                <a:lnTo>
                  <a:pt x="8" y="188"/>
                </a:lnTo>
                <a:lnTo>
                  <a:pt x="10" y="192"/>
                </a:lnTo>
                <a:lnTo>
                  <a:pt x="10" y="192"/>
                </a:lnTo>
                <a:lnTo>
                  <a:pt x="10" y="192"/>
                </a:lnTo>
                <a:lnTo>
                  <a:pt x="10" y="198"/>
                </a:lnTo>
                <a:lnTo>
                  <a:pt x="10" y="198"/>
                </a:lnTo>
                <a:lnTo>
                  <a:pt x="8" y="200"/>
                </a:lnTo>
                <a:lnTo>
                  <a:pt x="12" y="204"/>
                </a:lnTo>
                <a:lnTo>
                  <a:pt x="12" y="204"/>
                </a:lnTo>
                <a:lnTo>
                  <a:pt x="12" y="208"/>
                </a:lnTo>
                <a:lnTo>
                  <a:pt x="12" y="210"/>
                </a:lnTo>
                <a:lnTo>
                  <a:pt x="20" y="218"/>
                </a:lnTo>
                <a:lnTo>
                  <a:pt x="20" y="218"/>
                </a:lnTo>
                <a:lnTo>
                  <a:pt x="20" y="220"/>
                </a:lnTo>
                <a:lnTo>
                  <a:pt x="20" y="226"/>
                </a:lnTo>
                <a:lnTo>
                  <a:pt x="20" y="226"/>
                </a:lnTo>
                <a:lnTo>
                  <a:pt x="20" y="230"/>
                </a:lnTo>
                <a:lnTo>
                  <a:pt x="22" y="232"/>
                </a:lnTo>
                <a:lnTo>
                  <a:pt x="22" y="232"/>
                </a:lnTo>
                <a:lnTo>
                  <a:pt x="26" y="236"/>
                </a:lnTo>
                <a:lnTo>
                  <a:pt x="26" y="242"/>
                </a:lnTo>
                <a:lnTo>
                  <a:pt x="26" y="242"/>
                </a:lnTo>
                <a:lnTo>
                  <a:pt x="26" y="246"/>
                </a:lnTo>
                <a:lnTo>
                  <a:pt x="26" y="248"/>
                </a:lnTo>
                <a:lnTo>
                  <a:pt x="32" y="254"/>
                </a:lnTo>
                <a:lnTo>
                  <a:pt x="32" y="254"/>
                </a:lnTo>
                <a:lnTo>
                  <a:pt x="34" y="258"/>
                </a:lnTo>
                <a:lnTo>
                  <a:pt x="36" y="258"/>
                </a:lnTo>
                <a:lnTo>
                  <a:pt x="36" y="260"/>
                </a:lnTo>
                <a:lnTo>
                  <a:pt x="36" y="260"/>
                </a:lnTo>
                <a:lnTo>
                  <a:pt x="40" y="260"/>
                </a:lnTo>
                <a:lnTo>
                  <a:pt x="44" y="262"/>
                </a:lnTo>
                <a:lnTo>
                  <a:pt x="44" y="262"/>
                </a:lnTo>
                <a:lnTo>
                  <a:pt x="46" y="264"/>
                </a:lnTo>
                <a:lnTo>
                  <a:pt x="50" y="266"/>
                </a:lnTo>
                <a:lnTo>
                  <a:pt x="50" y="266"/>
                </a:lnTo>
                <a:lnTo>
                  <a:pt x="52" y="266"/>
                </a:lnTo>
                <a:lnTo>
                  <a:pt x="56" y="268"/>
                </a:lnTo>
                <a:lnTo>
                  <a:pt x="56" y="268"/>
                </a:lnTo>
                <a:lnTo>
                  <a:pt x="56" y="274"/>
                </a:lnTo>
                <a:lnTo>
                  <a:pt x="58" y="276"/>
                </a:lnTo>
                <a:lnTo>
                  <a:pt x="62" y="278"/>
                </a:lnTo>
                <a:lnTo>
                  <a:pt x="62" y="278"/>
                </a:lnTo>
                <a:lnTo>
                  <a:pt x="66" y="280"/>
                </a:lnTo>
                <a:lnTo>
                  <a:pt x="70" y="286"/>
                </a:lnTo>
                <a:lnTo>
                  <a:pt x="70" y="286"/>
                </a:lnTo>
                <a:lnTo>
                  <a:pt x="70" y="292"/>
                </a:lnTo>
                <a:lnTo>
                  <a:pt x="70" y="294"/>
                </a:lnTo>
                <a:lnTo>
                  <a:pt x="72" y="294"/>
                </a:lnTo>
                <a:lnTo>
                  <a:pt x="72" y="294"/>
                </a:lnTo>
                <a:lnTo>
                  <a:pt x="74" y="298"/>
                </a:lnTo>
                <a:lnTo>
                  <a:pt x="74" y="300"/>
                </a:lnTo>
                <a:lnTo>
                  <a:pt x="78" y="306"/>
                </a:lnTo>
                <a:lnTo>
                  <a:pt x="78" y="306"/>
                </a:lnTo>
                <a:lnTo>
                  <a:pt x="80" y="310"/>
                </a:lnTo>
                <a:lnTo>
                  <a:pt x="82" y="314"/>
                </a:lnTo>
                <a:lnTo>
                  <a:pt x="82" y="314"/>
                </a:lnTo>
                <a:lnTo>
                  <a:pt x="86" y="314"/>
                </a:lnTo>
                <a:lnTo>
                  <a:pt x="88" y="310"/>
                </a:lnTo>
                <a:lnTo>
                  <a:pt x="88" y="310"/>
                </a:lnTo>
                <a:lnTo>
                  <a:pt x="88" y="308"/>
                </a:lnTo>
                <a:lnTo>
                  <a:pt x="90" y="310"/>
                </a:lnTo>
                <a:lnTo>
                  <a:pt x="96" y="314"/>
                </a:lnTo>
                <a:lnTo>
                  <a:pt x="96" y="314"/>
                </a:lnTo>
                <a:lnTo>
                  <a:pt x="98" y="314"/>
                </a:lnTo>
                <a:lnTo>
                  <a:pt x="100" y="312"/>
                </a:lnTo>
                <a:lnTo>
                  <a:pt x="100" y="312"/>
                </a:lnTo>
                <a:lnTo>
                  <a:pt x="102" y="310"/>
                </a:lnTo>
                <a:lnTo>
                  <a:pt x="104" y="310"/>
                </a:lnTo>
                <a:lnTo>
                  <a:pt x="108" y="314"/>
                </a:lnTo>
                <a:lnTo>
                  <a:pt x="108" y="314"/>
                </a:lnTo>
                <a:lnTo>
                  <a:pt x="114" y="322"/>
                </a:lnTo>
                <a:lnTo>
                  <a:pt x="114" y="322"/>
                </a:lnTo>
                <a:lnTo>
                  <a:pt x="118" y="324"/>
                </a:lnTo>
                <a:lnTo>
                  <a:pt x="122" y="326"/>
                </a:lnTo>
                <a:lnTo>
                  <a:pt x="122" y="326"/>
                </a:lnTo>
                <a:lnTo>
                  <a:pt x="124" y="328"/>
                </a:lnTo>
                <a:lnTo>
                  <a:pt x="126" y="326"/>
                </a:lnTo>
                <a:lnTo>
                  <a:pt x="134" y="332"/>
                </a:lnTo>
                <a:lnTo>
                  <a:pt x="134" y="332"/>
                </a:lnTo>
                <a:lnTo>
                  <a:pt x="136" y="328"/>
                </a:lnTo>
                <a:lnTo>
                  <a:pt x="140" y="326"/>
                </a:lnTo>
                <a:lnTo>
                  <a:pt x="144" y="324"/>
                </a:lnTo>
                <a:lnTo>
                  <a:pt x="144" y="324"/>
                </a:lnTo>
                <a:lnTo>
                  <a:pt x="146" y="324"/>
                </a:lnTo>
                <a:lnTo>
                  <a:pt x="148" y="324"/>
                </a:lnTo>
                <a:lnTo>
                  <a:pt x="148" y="324"/>
                </a:lnTo>
                <a:lnTo>
                  <a:pt x="152" y="322"/>
                </a:lnTo>
                <a:lnTo>
                  <a:pt x="156" y="324"/>
                </a:lnTo>
                <a:lnTo>
                  <a:pt x="158" y="326"/>
                </a:lnTo>
                <a:lnTo>
                  <a:pt x="164" y="322"/>
                </a:lnTo>
                <a:lnTo>
                  <a:pt x="170" y="320"/>
                </a:lnTo>
                <a:lnTo>
                  <a:pt x="174" y="316"/>
                </a:lnTo>
                <a:lnTo>
                  <a:pt x="174" y="316"/>
                </a:lnTo>
                <a:lnTo>
                  <a:pt x="180" y="316"/>
                </a:lnTo>
                <a:lnTo>
                  <a:pt x="186" y="316"/>
                </a:lnTo>
                <a:lnTo>
                  <a:pt x="192" y="322"/>
                </a:lnTo>
                <a:lnTo>
                  <a:pt x="192" y="318"/>
                </a:lnTo>
                <a:lnTo>
                  <a:pt x="192" y="318"/>
                </a:lnTo>
                <a:lnTo>
                  <a:pt x="192" y="314"/>
                </a:lnTo>
                <a:lnTo>
                  <a:pt x="192" y="312"/>
                </a:lnTo>
                <a:lnTo>
                  <a:pt x="190" y="310"/>
                </a:lnTo>
                <a:lnTo>
                  <a:pt x="190" y="310"/>
                </a:lnTo>
                <a:lnTo>
                  <a:pt x="186" y="310"/>
                </a:lnTo>
                <a:lnTo>
                  <a:pt x="186" y="310"/>
                </a:lnTo>
                <a:lnTo>
                  <a:pt x="180" y="308"/>
                </a:lnTo>
                <a:lnTo>
                  <a:pt x="178" y="308"/>
                </a:lnTo>
                <a:lnTo>
                  <a:pt x="178" y="304"/>
                </a:lnTo>
                <a:lnTo>
                  <a:pt x="178" y="304"/>
                </a:lnTo>
                <a:lnTo>
                  <a:pt x="174" y="298"/>
                </a:lnTo>
                <a:lnTo>
                  <a:pt x="172" y="290"/>
                </a:lnTo>
                <a:lnTo>
                  <a:pt x="172" y="290"/>
                </a:lnTo>
                <a:lnTo>
                  <a:pt x="172" y="286"/>
                </a:lnTo>
                <a:lnTo>
                  <a:pt x="168" y="284"/>
                </a:lnTo>
                <a:lnTo>
                  <a:pt x="168" y="284"/>
                </a:lnTo>
                <a:lnTo>
                  <a:pt x="166" y="280"/>
                </a:lnTo>
                <a:lnTo>
                  <a:pt x="162" y="276"/>
                </a:lnTo>
                <a:lnTo>
                  <a:pt x="162" y="276"/>
                </a:lnTo>
                <a:lnTo>
                  <a:pt x="160" y="272"/>
                </a:lnTo>
                <a:lnTo>
                  <a:pt x="156" y="270"/>
                </a:lnTo>
                <a:lnTo>
                  <a:pt x="156" y="270"/>
                </a:lnTo>
                <a:lnTo>
                  <a:pt x="150" y="270"/>
                </a:lnTo>
                <a:lnTo>
                  <a:pt x="148" y="270"/>
                </a:lnTo>
                <a:lnTo>
                  <a:pt x="146" y="268"/>
                </a:lnTo>
                <a:lnTo>
                  <a:pt x="146" y="268"/>
                </a:lnTo>
                <a:lnTo>
                  <a:pt x="148" y="260"/>
                </a:lnTo>
                <a:lnTo>
                  <a:pt x="148" y="260"/>
                </a:lnTo>
                <a:lnTo>
                  <a:pt x="154" y="260"/>
                </a:lnTo>
                <a:lnTo>
                  <a:pt x="154" y="260"/>
                </a:lnTo>
                <a:lnTo>
                  <a:pt x="158" y="258"/>
                </a:lnTo>
                <a:lnTo>
                  <a:pt x="158" y="258"/>
                </a:lnTo>
                <a:lnTo>
                  <a:pt x="158" y="258"/>
                </a:lnTo>
                <a:lnTo>
                  <a:pt x="160" y="254"/>
                </a:lnTo>
                <a:lnTo>
                  <a:pt x="162" y="250"/>
                </a:lnTo>
                <a:lnTo>
                  <a:pt x="162" y="250"/>
                </a:lnTo>
                <a:lnTo>
                  <a:pt x="162" y="234"/>
                </a:lnTo>
                <a:lnTo>
                  <a:pt x="162" y="234"/>
                </a:lnTo>
                <a:lnTo>
                  <a:pt x="162" y="232"/>
                </a:lnTo>
                <a:lnTo>
                  <a:pt x="166" y="228"/>
                </a:lnTo>
                <a:lnTo>
                  <a:pt x="168" y="222"/>
                </a:lnTo>
                <a:lnTo>
                  <a:pt x="168" y="218"/>
                </a:lnTo>
                <a:lnTo>
                  <a:pt x="168" y="218"/>
                </a:lnTo>
                <a:lnTo>
                  <a:pt x="168" y="210"/>
                </a:lnTo>
                <a:lnTo>
                  <a:pt x="168" y="210"/>
                </a:lnTo>
                <a:lnTo>
                  <a:pt x="174" y="206"/>
                </a:lnTo>
                <a:lnTo>
                  <a:pt x="174" y="206"/>
                </a:lnTo>
                <a:lnTo>
                  <a:pt x="178" y="204"/>
                </a:lnTo>
                <a:lnTo>
                  <a:pt x="180" y="200"/>
                </a:lnTo>
                <a:lnTo>
                  <a:pt x="180" y="200"/>
                </a:lnTo>
                <a:lnTo>
                  <a:pt x="184" y="192"/>
                </a:lnTo>
                <a:lnTo>
                  <a:pt x="184" y="192"/>
                </a:lnTo>
                <a:lnTo>
                  <a:pt x="186" y="186"/>
                </a:lnTo>
                <a:lnTo>
                  <a:pt x="188" y="180"/>
                </a:lnTo>
                <a:lnTo>
                  <a:pt x="188" y="180"/>
                </a:lnTo>
                <a:lnTo>
                  <a:pt x="190" y="176"/>
                </a:lnTo>
                <a:lnTo>
                  <a:pt x="192" y="172"/>
                </a:lnTo>
                <a:lnTo>
                  <a:pt x="196" y="168"/>
                </a:lnTo>
                <a:lnTo>
                  <a:pt x="196" y="168"/>
                </a:lnTo>
                <a:lnTo>
                  <a:pt x="202" y="156"/>
                </a:lnTo>
                <a:lnTo>
                  <a:pt x="202" y="156"/>
                </a:lnTo>
                <a:lnTo>
                  <a:pt x="202" y="150"/>
                </a:lnTo>
                <a:lnTo>
                  <a:pt x="202" y="142"/>
                </a:lnTo>
                <a:lnTo>
                  <a:pt x="202" y="142"/>
                </a:lnTo>
                <a:lnTo>
                  <a:pt x="202" y="136"/>
                </a:lnTo>
                <a:lnTo>
                  <a:pt x="202" y="130"/>
                </a:lnTo>
                <a:lnTo>
                  <a:pt x="202" y="130"/>
                </a:lnTo>
                <a:lnTo>
                  <a:pt x="206" y="124"/>
                </a:lnTo>
                <a:lnTo>
                  <a:pt x="206" y="118"/>
                </a:lnTo>
                <a:lnTo>
                  <a:pt x="206" y="118"/>
                </a:lnTo>
                <a:lnTo>
                  <a:pt x="206" y="112"/>
                </a:lnTo>
                <a:lnTo>
                  <a:pt x="208" y="108"/>
                </a:lnTo>
                <a:lnTo>
                  <a:pt x="208" y="108"/>
                </a:lnTo>
                <a:lnTo>
                  <a:pt x="208" y="102"/>
                </a:lnTo>
                <a:lnTo>
                  <a:pt x="208" y="102"/>
                </a:lnTo>
                <a:lnTo>
                  <a:pt x="208" y="100"/>
                </a:lnTo>
                <a:lnTo>
                  <a:pt x="208" y="100"/>
                </a:lnTo>
                <a:lnTo>
                  <a:pt x="210" y="100"/>
                </a:lnTo>
                <a:lnTo>
                  <a:pt x="210" y="98"/>
                </a:lnTo>
                <a:lnTo>
                  <a:pt x="212" y="94"/>
                </a:lnTo>
                <a:lnTo>
                  <a:pt x="212" y="94"/>
                </a:lnTo>
                <a:lnTo>
                  <a:pt x="214" y="92"/>
                </a:lnTo>
                <a:lnTo>
                  <a:pt x="216" y="92"/>
                </a:lnTo>
                <a:lnTo>
                  <a:pt x="222" y="94"/>
                </a:lnTo>
                <a:lnTo>
                  <a:pt x="226" y="8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6" name="Freeform 40">
            <a:extLst>
              <a:ext uri="{FF2B5EF4-FFF2-40B4-BE49-F238E27FC236}">
                <a16:creationId xmlns:a16="http://schemas.microsoft.com/office/drawing/2014/main" id="{6C3CD550-6A0B-44FB-B7C4-CCBD5C405830}"/>
              </a:ext>
            </a:extLst>
          </p:cNvPr>
          <p:cNvSpPr>
            <a:spLocks/>
          </p:cNvSpPr>
          <p:nvPr userDrawn="1"/>
        </p:nvSpPr>
        <p:spPr bwMode="auto">
          <a:xfrm>
            <a:off x="7631796" y="3412953"/>
            <a:ext cx="50311" cy="109823"/>
          </a:xfrm>
          <a:custGeom>
            <a:avLst/>
            <a:gdLst>
              <a:gd name="T0" fmla="*/ 4 w 30"/>
              <a:gd name="T1" fmla="*/ 0 h 64"/>
              <a:gd name="T2" fmla="*/ 4 w 30"/>
              <a:gd name="T3" fmla="*/ 0 h 64"/>
              <a:gd name="T4" fmla="*/ 4 w 30"/>
              <a:gd name="T5" fmla="*/ 2 h 64"/>
              <a:gd name="T6" fmla="*/ 4 w 30"/>
              <a:gd name="T7" fmla="*/ 2 h 64"/>
              <a:gd name="T8" fmla="*/ 4 w 30"/>
              <a:gd name="T9" fmla="*/ 6 h 64"/>
              <a:gd name="T10" fmla="*/ 6 w 30"/>
              <a:gd name="T11" fmla="*/ 8 h 64"/>
              <a:gd name="T12" fmla="*/ 6 w 30"/>
              <a:gd name="T13" fmla="*/ 10 h 64"/>
              <a:gd name="T14" fmla="*/ 6 w 30"/>
              <a:gd name="T15" fmla="*/ 10 h 64"/>
              <a:gd name="T16" fmla="*/ 4 w 30"/>
              <a:gd name="T17" fmla="*/ 12 h 64"/>
              <a:gd name="T18" fmla="*/ 4 w 30"/>
              <a:gd name="T19" fmla="*/ 12 h 64"/>
              <a:gd name="T20" fmla="*/ 4 w 30"/>
              <a:gd name="T21" fmla="*/ 18 h 64"/>
              <a:gd name="T22" fmla="*/ 4 w 30"/>
              <a:gd name="T23" fmla="*/ 18 h 64"/>
              <a:gd name="T24" fmla="*/ 0 w 30"/>
              <a:gd name="T25" fmla="*/ 28 h 64"/>
              <a:gd name="T26" fmla="*/ 0 w 30"/>
              <a:gd name="T27" fmla="*/ 28 h 64"/>
              <a:gd name="T28" fmla="*/ 0 w 30"/>
              <a:gd name="T29" fmla="*/ 28 h 64"/>
              <a:gd name="T30" fmla="*/ 0 w 30"/>
              <a:gd name="T31" fmla="*/ 28 h 64"/>
              <a:gd name="T32" fmla="*/ 0 w 30"/>
              <a:gd name="T33" fmla="*/ 36 h 64"/>
              <a:gd name="T34" fmla="*/ 2 w 30"/>
              <a:gd name="T35" fmla="*/ 44 h 64"/>
              <a:gd name="T36" fmla="*/ 2 w 30"/>
              <a:gd name="T37" fmla="*/ 44 h 64"/>
              <a:gd name="T38" fmla="*/ 2 w 30"/>
              <a:gd name="T39" fmla="*/ 50 h 64"/>
              <a:gd name="T40" fmla="*/ 4 w 30"/>
              <a:gd name="T41" fmla="*/ 56 h 64"/>
              <a:gd name="T42" fmla="*/ 6 w 30"/>
              <a:gd name="T43" fmla="*/ 58 h 64"/>
              <a:gd name="T44" fmla="*/ 6 w 30"/>
              <a:gd name="T45" fmla="*/ 58 h 64"/>
              <a:gd name="T46" fmla="*/ 8 w 30"/>
              <a:gd name="T47" fmla="*/ 62 h 64"/>
              <a:gd name="T48" fmla="*/ 8 w 30"/>
              <a:gd name="T49" fmla="*/ 62 h 64"/>
              <a:gd name="T50" fmla="*/ 14 w 30"/>
              <a:gd name="T51" fmla="*/ 64 h 64"/>
              <a:gd name="T52" fmla="*/ 14 w 30"/>
              <a:gd name="T53" fmla="*/ 64 h 64"/>
              <a:gd name="T54" fmla="*/ 20 w 30"/>
              <a:gd name="T55" fmla="*/ 60 h 64"/>
              <a:gd name="T56" fmla="*/ 26 w 30"/>
              <a:gd name="T57" fmla="*/ 56 h 64"/>
              <a:gd name="T58" fmla="*/ 26 w 30"/>
              <a:gd name="T59" fmla="*/ 56 h 64"/>
              <a:gd name="T60" fmla="*/ 28 w 30"/>
              <a:gd name="T61" fmla="*/ 52 h 64"/>
              <a:gd name="T62" fmla="*/ 30 w 30"/>
              <a:gd name="T63" fmla="*/ 48 h 64"/>
              <a:gd name="T64" fmla="*/ 30 w 30"/>
              <a:gd name="T65" fmla="*/ 38 h 64"/>
              <a:gd name="T66" fmla="*/ 30 w 30"/>
              <a:gd name="T67" fmla="*/ 38 h 64"/>
              <a:gd name="T68" fmla="*/ 28 w 30"/>
              <a:gd name="T69" fmla="*/ 38 h 64"/>
              <a:gd name="T70" fmla="*/ 28 w 30"/>
              <a:gd name="T71" fmla="*/ 38 h 64"/>
              <a:gd name="T72" fmla="*/ 28 w 30"/>
              <a:gd name="T73" fmla="*/ 30 h 64"/>
              <a:gd name="T74" fmla="*/ 28 w 30"/>
              <a:gd name="T75" fmla="*/ 30 h 64"/>
              <a:gd name="T76" fmla="*/ 24 w 30"/>
              <a:gd name="T77" fmla="*/ 26 h 64"/>
              <a:gd name="T78" fmla="*/ 24 w 30"/>
              <a:gd name="T79" fmla="*/ 26 h 64"/>
              <a:gd name="T80" fmla="*/ 22 w 30"/>
              <a:gd name="T81" fmla="*/ 20 h 64"/>
              <a:gd name="T82" fmla="*/ 22 w 30"/>
              <a:gd name="T83" fmla="*/ 20 h 64"/>
              <a:gd name="T84" fmla="*/ 20 w 30"/>
              <a:gd name="T85" fmla="*/ 20 h 64"/>
              <a:gd name="T86" fmla="*/ 16 w 30"/>
              <a:gd name="T87" fmla="*/ 16 h 64"/>
              <a:gd name="T88" fmla="*/ 16 w 30"/>
              <a:gd name="T89" fmla="*/ 16 h 64"/>
              <a:gd name="T90" fmla="*/ 16 w 30"/>
              <a:gd name="T91" fmla="*/ 14 h 64"/>
              <a:gd name="T92" fmla="*/ 16 w 30"/>
              <a:gd name="T93" fmla="*/ 14 h 64"/>
              <a:gd name="T94" fmla="*/ 12 w 30"/>
              <a:gd name="T95" fmla="*/ 12 h 64"/>
              <a:gd name="T96" fmla="*/ 12 w 30"/>
              <a:gd name="T97" fmla="*/ 12 h 64"/>
              <a:gd name="T98" fmla="*/ 10 w 30"/>
              <a:gd name="T99" fmla="*/ 6 h 64"/>
              <a:gd name="T100" fmla="*/ 8 w 30"/>
              <a:gd name="T101" fmla="*/ 0 h 64"/>
              <a:gd name="T102" fmla="*/ 8 w 30"/>
              <a:gd name="T103" fmla="*/ 0 h 64"/>
              <a:gd name="T104" fmla="*/ 4 w 30"/>
              <a:gd name="T105" fmla="*/ 0 h 64"/>
              <a:gd name="T106" fmla="*/ 4 w 30"/>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 h="64">
                <a:moveTo>
                  <a:pt x="4" y="0"/>
                </a:moveTo>
                <a:lnTo>
                  <a:pt x="4" y="0"/>
                </a:lnTo>
                <a:lnTo>
                  <a:pt x="4" y="2"/>
                </a:lnTo>
                <a:lnTo>
                  <a:pt x="4" y="2"/>
                </a:lnTo>
                <a:lnTo>
                  <a:pt x="4" y="6"/>
                </a:lnTo>
                <a:lnTo>
                  <a:pt x="6" y="8"/>
                </a:lnTo>
                <a:lnTo>
                  <a:pt x="6" y="10"/>
                </a:lnTo>
                <a:lnTo>
                  <a:pt x="6" y="10"/>
                </a:lnTo>
                <a:lnTo>
                  <a:pt x="4" y="12"/>
                </a:lnTo>
                <a:lnTo>
                  <a:pt x="4" y="12"/>
                </a:lnTo>
                <a:lnTo>
                  <a:pt x="4" y="18"/>
                </a:lnTo>
                <a:lnTo>
                  <a:pt x="4" y="18"/>
                </a:lnTo>
                <a:lnTo>
                  <a:pt x="0" y="28"/>
                </a:lnTo>
                <a:lnTo>
                  <a:pt x="0" y="28"/>
                </a:lnTo>
                <a:lnTo>
                  <a:pt x="0" y="28"/>
                </a:lnTo>
                <a:lnTo>
                  <a:pt x="0" y="28"/>
                </a:lnTo>
                <a:lnTo>
                  <a:pt x="0" y="36"/>
                </a:lnTo>
                <a:lnTo>
                  <a:pt x="2" y="44"/>
                </a:lnTo>
                <a:lnTo>
                  <a:pt x="2" y="44"/>
                </a:lnTo>
                <a:lnTo>
                  <a:pt x="2" y="50"/>
                </a:lnTo>
                <a:lnTo>
                  <a:pt x="4" y="56"/>
                </a:lnTo>
                <a:lnTo>
                  <a:pt x="6" y="58"/>
                </a:lnTo>
                <a:lnTo>
                  <a:pt x="6" y="58"/>
                </a:lnTo>
                <a:lnTo>
                  <a:pt x="8" y="62"/>
                </a:lnTo>
                <a:lnTo>
                  <a:pt x="8" y="62"/>
                </a:lnTo>
                <a:lnTo>
                  <a:pt x="14" y="64"/>
                </a:lnTo>
                <a:lnTo>
                  <a:pt x="14" y="64"/>
                </a:lnTo>
                <a:lnTo>
                  <a:pt x="20" y="60"/>
                </a:lnTo>
                <a:lnTo>
                  <a:pt x="26" y="56"/>
                </a:lnTo>
                <a:lnTo>
                  <a:pt x="26" y="56"/>
                </a:lnTo>
                <a:lnTo>
                  <a:pt x="28" y="52"/>
                </a:lnTo>
                <a:lnTo>
                  <a:pt x="30" y="48"/>
                </a:lnTo>
                <a:lnTo>
                  <a:pt x="30" y="38"/>
                </a:lnTo>
                <a:lnTo>
                  <a:pt x="30" y="38"/>
                </a:lnTo>
                <a:lnTo>
                  <a:pt x="28" y="38"/>
                </a:lnTo>
                <a:lnTo>
                  <a:pt x="28" y="38"/>
                </a:lnTo>
                <a:lnTo>
                  <a:pt x="28" y="30"/>
                </a:lnTo>
                <a:lnTo>
                  <a:pt x="28" y="30"/>
                </a:lnTo>
                <a:lnTo>
                  <a:pt x="24" y="26"/>
                </a:lnTo>
                <a:lnTo>
                  <a:pt x="24" y="26"/>
                </a:lnTo>
                <a:lnTo>
                  <a:pt x="22" y="20"/>
                </a:lnTo>
                <a:lnTo>
                  <a:pt x="22" y="20"/>
                </a:lnTo>
                <a:lnTo>
                  <a:pt x="20" y="20"/>
                </a:lnTo>
                <a:lnTo>
                  <a:pt x="16" y="16"/>
                </a:lnTo>
                <a:lnTo>
                  <a:pt x="16" y="16"/>
                </a:lnTo>
                <a:lnTo>
                  <a:pt x="16" y="14"/>
                </a:lnTo>
                <a:lnTo>
                  <a:pt x="16" y="14"/>
                </a:lnTo>
                <a:lnTo>
                  <a:pt x="12" y="12"/>
                </a:lnTo>
                <a:lnTo>
                  <a:pt x="12" y="12"/>
                </a:lnTo>
                <a:lnTo>
                  <a:pt x="10" y="6"/>
                </a:lnTo>
                <a:lnTo>
                  <a:pt x="8" y="0"/>
                </a:lnTo>
                <a:lnTo>
                  <a:pt x="8" y="0"/>
                </a:lnTo>
                <a:lnTo>
                  <a:pt x="4"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7" name="Freeform 41">
            <a:extLst>
              <a:ext uri="{FF2B5EF4-FFF2-40B4-BE49-F238E27FC236}">
                <a16:creationId xmlns:a16="http://schemas.microsoft.com/office/drawing/2014/main" id="{41CBB549-034A-4E91-BCFA-8ADFE0D1189D}"/>
              </a:ext>
            </a:extLst>
          </p:cNvPr>
          <p:cNvSpPr>
            <a:spLocks noEditPoints="1"/>
          </p:cNvSpPr>
          <p:nvPr userDrawn="1"/>
        </p:nvSpPr>
        <p:spPr bwMode="auto">
          <a:xfrm>
            <a:off x="5644509" y="2379930"/>
            <a:ext cx="328699" cy="240238"/>
          </a:xfrm>
          <a:custGeom>
            <a:avLst/>
            <a:gdLst>
              <a:gd name="T0" fmla="*/ 170 w 196"/>
              <a:gd name="T1" fmla="*/ 34 h 140"/>
              <a:gd name="T2" fmla="*/ 156 w 196"/>
              <a:gd name="T3" fmla="*/ 42 h 140"/>
              <a:gd name="T4" fmla="*/ 150 w 196"/>
              <a:gd name="T5" fmla="*/ 48 h 140"/>
              <a:gd name="T6" fmla="*/ 142 w 196"/>
              <a:gd name="T7" fmla="*/ 56 h 140"/>
              <a:gd name="T8" fmla="*/ 136 w 196"/>
              <a:gd name="T9" fmla="*/ 62 h 140"/>
              <a:gd name="T10" fmla="*/ 128 w 196"/>
              <a:gd name="T11" fmla="*/ 72 h 140"/>
              <a:gd name="T12" fmla="*/ 124 w 196"/>
              <a:gd name="T13" fmla="*/ 82 h 140"/>
              <a:gd name="T14" fmla="*/ 128 w 196"/>
              <a:gd name="T15" fmla="*/ 88 h 140"/>
              <a:gd name="T16" fmla="*/ 120 w 196"/>
              <a:gd name="T17" fmla="*/ 100 h 140"/>
              <a:gd name="T18" fmla="*/ 114 w 196"/>
              <a:gd name="T19" fmla="*/ 108 h 140"/>
              <a:gd name="T20" fmla="*/ 108 w 196"/>
              <a:gd name="T21" fmla="*/ 114 h 140"/>
              <a:gd name="T22" fmla="*/ 94 w 196"/>
              <a:gd name="T23" fmla="*/ 128 h 140"/>
              <a:gd name="T24" fmla="*/ 88 w 196"/>
              <a:gd name="T25" fmla="*/ 132 h 140"/>
              <a:gd name="T26" fmla="*/ 66 w 196"/>
              <a:gd name="T27" fmla="*/ 130 h 140"/>
              <a:gd name="T28" fmla="*/ 62 w 196"/>
              <a:gd name="T29" fmla="*/ 136 h 140"/>
              <a:gd name="T30" fmla="*/ 52 w 196"/>
              <a:gd name="T31" fmla="*/ 140 h 140"/>
              <a:gd name="T32" fmla="*/ 40 w 196"/>
              <a:gd name="T33" fmla="*/ 128 h 140"/>
              <a:gd name="T34" fmla="*/ 28 w 196"/>
              <a:gd name="T35" fmla="*/ 120 h 140"/>
              <a:gd name="T36" fmla="*/ 30 w 196"/>
              <a:gd name="T37" fmla="*/ 112 h 140"/>
              <a:gd name="T38" fmla="*/ 26 w 196"/>
              <a:gd name="T39" fmla="*/ 106 h 140"/>
              <a:gd name="T40" fmla="*/ 30 w 196"/>
              <a:gd name="T41" fmla="*/ 96 h 140"/>
              <a:gd name="T42" fmla="*/ 26 w 196"/>
              <a:gd name="T43" fmla="*/ 88 h 140"/>
              <a:gd name="T44" fmla="*/ 30 w 196"/>
              <a:gd name="T45" fmla="*/ 74 h 140"/>
              <a:gd name="T46" fmla="*/ 32 w 196"/>
              <a:gd name="T47" fmla="*/ 66 h 140"/>
              <a:gd name="T48" fmla="*/ 30 w 196"/>
              <a:gd name="T49" fmla="*/ 52 h 140"/>
              <a:gd name="T50" fmla="*/ 34 w 196"/>
              <a:gd name="T51" fmla="*/ 44 h 140"/>
              <a:gd name="T52" fmla="*/ 32 w 196"/>
              <a:gd name="T53" fmla="*/ 36 h 140"/>
              <a:gd name="T54" fmla="*/ 18 w 196"/>
              <a:gd name="T55" fmla="*/ 36 h 140"/>
              <a:gd name="T56" fmla="*/ 16 w 196"/>
              <a:gd name="T57" fmla="*/ 34 h 140"/>
              <a:gd name="T58" fmla="*/ 8 w 196"/>
              <a:gd name="T59" fmla="*/ 36 h 140"/>
              <a:gd name="T60" fmla="*/ 6 w 196"/>
              <a:gd name="T61" fmla="*/ 32 h 140"/>
              <a:gd name="T62" fmla="*/ 6 w 196"/>
              <a:gd name="T63" fmla="*/ 26 h 140"/>
              <a:gd name="T64" fmla="*/ 4 w 196"/>
              <a:gd name="T65" fmla="*/ 20 h 140"/>
              <a:gd name="T66" fmla="*/ 0 w 196"/>
              <a:gd name="T67" fmla="*/ 14 h 140"/>
              <a:gd name="T68" fmla="*/ 8 w 196"/>
              <a:gd name="T69" fmla="*/ 6 h 140"/>
              <a:gd name="T70" fmla="*/ 16 w 196"/>
              <a:gd name="T71" fmla="*/ 4 h 140"/>
              <a:gd name="T72" fmla="*/ 26 w 196"/>
              <a:gd name="T73" fmla="*/ 0 h 140"/>
              <a:gd name="T74" fmla="*/ 36 w 196"/>
              <a:gd name="T75" fmla="*/ 4 h 140"/>
              <a:gd name="T76" fmla="*/ 66 w 196"/>
              <a:gd name="T77" fmla="*/ 6 h 140"/>
              <a:gd name="T78" fmla="*/ 90 w 196"/>
              <a:gd name="T79" fmla="*/ 6 h 140"/>
              <a:gd name="T80" fmla="*/ 98 w 196"/>
              <a:gd name="T81" fmla="*/ 10 h 140"/>
              <a:gd name="T82" fmla="*/ 106 w 196"/>
              <a:gd name="T83" fmla="*/ 16 h 140"/>
              <a:gd name="T84" fmla="*/ 112 w 196"/>
              <a:gd name="T85" fmla="*/ 18 h 140"/>
              <a:gd name="T86" fmla="*/ 120 w 196"/>
              <a:gd name="T87" fmla="*/ 20 h 140"/>
              <a:gd name="T88" fmla="*/ 132 w 196"/>
              <a:gd name="T89" fmla="*/ 22 h 140"/>
              <a:gd name="T90" fmla="*/ 146 w 196"/>
              <a:gd name="T91" fmla="*/ 26 h 140"/>
              <a:gd name="T92" fmla="*/ 156 w 196"/>
              <a:gd name="T93" fmla="*/ 28 h 140"/>
              <a:gd name="T94" fmla="*/ 162 w 196"/>
              <a:gd name="T95" fmla="*/ 26 h 140"/>
              <a:gd name="T96" fmla="*/ 146 w 196"/>
              <a:gd name="T97" fmla="*/ 82 h 140"/>
              <a:gd name="T98" fmla="*/ 144 w 196"/>
              <a:gd name="T99" fmla="*/ 88 h 140"/>
              <a:gd name="T100" fmla="*/ 144 w 196"/>
              <a:gd name="T101" fmla="*/ 88 h 140"/>
              <a:gd name="T102" fmla="*/ 146 w 196"/>
              <a:gd name="T103" fmla="*/ 82 h 140"/>
              <a:gd name="T104" fmla="*/ 190 w 196"/>
              <a:gd name="T105" fmla="*/ 74 h 140"/>
              <a:gd name="T106" fmla="*/ 196 w 196"/>
              <a:gd name="T107" fmla="*/ 70 h 140"/>
              <a:gd name="T108" fmla="*/ 170 w 196"/>
              <a:gd name="T109" fmla="*/ 70 h 140"/>
              <a:gd name="T110" fmla="*/ 168 w 196"/>
              <a:gd name="T111" fmla="*/ 76 h 140"/>
              <a:gd name="T112" fmla="*/ 168 w 196"/>
              <a:gd name="T113" fmla="*/ 86 h 140"/>
              <a:gd name="T114" fmla="*/ 174 w 196"/>
              <a:gd name="T115" fmla="*/ 82 h 140"/>
              <a:gd name="T116" fmla="*/ 170 w 196"/>
              <a:gd name="T117"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6" h="140">
                <a:moveTo>
                  <a:pt x="168" y="24"/>
                </a:moveTo>
                <a:lnTo>
                  <a:pt x="168" y="24"/>
                </a:lnTo>
                <a:lnTo>
                  <a:pt x="170" y="34"/>
                </a:lnTo>
                <a:lnTo>
                  <a:pt x="170" y="34"/>
                </a:lnTo>
                <a:lnTo>
                  <a:pt x="162" y="42"/>
                </a:lnTo>
                <a:lnTo>
                  <a:pt x="162" y="42"/>
                </a:lnTo>
                <a:lnTo>
                  <a:pt x="158" y="42"/>
                </a:lnTo>
                <a:lnTo>
                  <a:pt x="156" y="42"/>
                </a:lnTo>
                <a:lnTo>
                  <a:pt x="156" y="42"/>
                </a:lnTo>
                <a:lnTo>
                  <a:pt x="156" y="46"/>
                </a:lnTo>
                <a:lnTo>
                  <a:pt x="156" y="46"/>
                </a:lnTo>
                <a:lnTo>
                  <a:pt x="150" y="48"/>
                </a:lnTo>
                <a:lnTo>
                  <a:pt x="150" y="48"/>
                </a:lnTo>
                <a:lnTo>
                  <a:pt x="144" y="52"/>
                </a:lnTo>
                <a:lnTo>
                  <a:pt x="142" y="56"/>
                </a:lnTo>
                <a:lnTo>
                  <a:pt x="142" y="56"/>
                </a:lnTo>
                <a:lnTo>
                  <a:pt x="136" y="58"/>
                </a:lnTo>
                <a:lnTo>
                  <a:pt x="136" y="58"/>
                </a:lnTo>
                <a:lnTo>
                  <a:pt x="136" y="62"/>
                </a:lnTo>
                <a:lnTo>
                  <a:pt x="136" y="62"/>
                </a:lnTo>
                <a:lnTo>
                  <a:pt x="132" y="64"/>
                </a:lnTo>
                <a:lnTo>
                  <a:pt x="132" y="64"/>
                </a:lnTo>
                <a:lnTo>
                  <a:pt x="130" y="68"/>
                </a:lnTo>
                <a:lnTo>
                  <a:pt x="128" y="72"/>
                </a:lnTo>
                <a:lnTo>
                  <a:pt x="128" y="72"/>
                </a:lnTo>
                <a:lnTo>
                  <a:pt x="124" y="76"/>
                </a:lnTo>
                <a:lnTo>
                  <a:pt x="122" y="80"/>
                </a:lnTo>
                <a:lnTo>
                  <a:pt x="124" y="82"/>
                </a:lnTo>
                <a:lnTo>
                  <a:pt x="124" y="82"/>
                </a:lnTo>
                <a:lnTo>
                  <a:pt x="124" y="86"/>
                </a:lnTo>
                <a:lnTo>
                  <a:pt x="124" y="86"/>
                </a:lnTo>
                <a:lnTo>
                  <a:pt x="128" y="88"/>
                </a:lnTo>
                <a:lnTo>
                  <a:pt x="128" y="88"/>
                </a:lnTo>
                <a:lnTo>
                  <a:pt x="128" y="90"/>
                </a:lnTo>
                <a:lnTo>
                  <a:pt x="128" y="90"/>
                </a:lnTo>
                <a:lnTo>
                  <a:pt x="120" y="100"/>
                </a:lnTo>
                <a:lnTo>
                  <a:pt x="120" y="100"/>
                </a:lnTo>
                <a:lnTo>
                  <a:pt x="116" y="104"/>
                </a:lnTo>
                <a:lnTo>
                  <a:pt x="116" y="104"/>
                </a:lnTo>
                <a:lnTo>
                  <a:pt x="114" y="108"/>
                </a:lnTo>
                <a:lnTo>
                  <a:pt x="114" y="112"/>
                </a:lnTo>
                <a:lnTo>
                  <a:pt x="114" y="112"/>
                </a:lnTo>
                <a:lnTo>
                  <a:pt x="112" y="114"/>
                </a:lnTo>
                <a:lnTo>
                  <a:pt x="108" y="114"/>
                </a:lnTo>
                <a:lnTo>
                  <a:pt x="108" y="114"/>
                </a:lnTo>
                <a:lnTo>
                  <a:pt x="96" y="124"/>
                </a:lnTo>
                <a:lnTo>
                  <a:pt x="96" y="124"/>
                </a:lnTo>
                <a:lnTo>
                  <a:pt x="94" y="128"/>
                </a:lnTo>
                <a:lnTo>
                  <a:pt x="94" y="130"/>
                </a:lnTo>
                <a:lnTo>
                  <a:pt x="92" y="132"/>
                </a:lnTo>
                <a:lnTo>
                  <a:pt x="92" y="132"/>
                </a:lnTo>
                <a:lnTo>
                  <a:pt x="88" y="132"/>
                </a:lnTo>
                <a:lnTo>
                  <a:pt x="84" y="132"/>
                </a:lnTo>
                <a:lnTo>
                  <a:pt x="82" y="134"/>
                </a:lnTo>
                <a:lnTo>
                  <a:pt x="82" y="134"/>
                </a:lnTo>
                <a:lnTo>
                  <a:pt x="66" y="130"/>
                </a:lnTo>
                <a:lnTo>
                  <a:pt x="66" y="130"/>
                </a:lnTo>
                <a:lnTo>
                  <a:pt x="64" y="134"/>
                </a:lnTo>
                <a:lnTo>
                  <a:pt x="64" y="134"/>
                </a:lnTo>
                <a:lnTo>
                  <a:pt x="62" y="136"/>
                </a:lnTo>
                <a:lnTo>
                  <a:pt x="58" y="136"/>
                </a:lnTo>
                <a:lnTo>
                  <a:pt x="58" y="136"/>
                </a:lnTo>
                <a:lnTo>
                  <a:pt x="52" y="140"/>
                </a:lnTo>
                <a:lnTo>
                  <a:pt x="52" y="140"/>
                </a:lnTo>
                <a:lnTo>
                  <a:pt x="52" y="140"/>
                </a:lnTo>
                <a:lnTo>
                  <a:pt x="46" y="140"/>
                </a:lnTo>
                <a:lnTo>
                  <a:pt x="46" y="140"/>
                </a:lnTo>
                <a:lnTo>
                  <a:pt x="40" y="128"/>
                </a:lnTo>
                <a:lnTo>
                  <a:pt x="34" y="124"/>
                </a:lnTo>
                <a:lnTo>
                  <a:pt x="28" y="122"/>
                </a:lnTo>
                <a:lnTo>
                  <a:pt x="28" y="122"/>
                </a:lnTo>
                <a:lnTo>
                  <a:pt x="28" y="120"/>
                </a:lnTo>
                <a:lnTo>
                  <a:pt x="30" y="114"/>
                </a:lnTo>
                <a:lnTo>
                  <a:pt x="30" y="114"/>
                </a:lnTo>
                <a:lnTo>
                  <a:pt x="32" y="112"/>
                </a:lnTo>
                <a:lnTo>
                  <a:pt x="30" y="112"/>
                </a:lnTo>
                <a:lnTo>
                  <a:pt x="28" y="112"/>
                </a:lnTo>
                <a:lnTo>
                  <a:pt x="26" y="110"/>
                </a:lnTo>
                <a:lnTo>
                  <a:pt x="26" y="110"/>
                </a:lnTo>
                <a:lnTo>
                  <a:pt x="26" y="106"/>
                </a:lnTo>
                <a:lnTo>
                  <a:pt x="26" y="104"/>
                </a:lnTo>
                <a:lnTo>
                  <a:pt x="28" y="100"/>
                </a:lnTo>
                <a:lnTo>
                  <a:pt x="28" y="100"/>
                </a:lnTo>
                <a:lnTo>
                  <a:pt x="30" y="96"/>
                </a:lnTo>
                <a:lnTo>
                  <a:pt x="28" y="94"/>
                </a:lnTo>
                <a:lnTo>
                  <a:pt x="28" y="94"/>
                </a:lnTo>
                <a:lnTo>
                  <a:pt x="26" y="90"/>
                </a:lnTo>
                <a:lnTo>
                  <a:pt x="26" y="88"/>
                </a:lnTo>
                <a:lnTo>
                  <a:pt x="30" y="84"/>
                </a:lnTo>
                <a:lnTo>
                  <a:pt x="30" y="84"/>
                </a:lnTo>
                <a:lnTo>
                  <a:pt x="30" y="80"/>
                </a:lnTo>
                <a:lnTo>
                  <a:pt x="30" y="74"/>
                </a:lnTo>
                <a:lnTo>
                  <a:pt x="30" y="74"/>
                </a:lnTo>
                <a:lnTo>
                  <a:pt x="28" y="70"/>
                </a:lnTo>
                <a:lnTo>
                  <a:pt x="32" y="66"/>
                </a:lnTo>
                <a:lnTo>
                  <a:pt x="32" y="66"/>
                </a:lnTo>
                <a:lnTo>
                  <a:pt x="34" y="64"/>
                </a:lnTo>
                <a:lnTo>
                  <a:pt x="34" y="60"/>
                </a:lnTo>
                <a:lnTo>
                  <a:pt x="30" y="52"/>
                </a:lnTo>
                <a:lnTo>
                  <a:pt x="30" y="52"/>
                </a:lnTo>
                <a:lnTo>
                  <a:pt x="28" y="50"/>
                </a:lnTo>
                <a:lnTo>
                  <a:pt x="30" y="48"/>
                </a:lnTo>
                <a:lnTo>
                  <a:pt x="34" y="44"/>
                </a:lnTo>
                <a:lnTo>
                  <a:pt x="34" y="44"/>
                </a:lnTo>
                <a:lnTo>
                  <a:pt x="36" y="38"/>
                </a:lnTo>
                <a:lnTo>
                  <a:pt x="32" y="38"/>
                </a:lnTo>
                <a:lnTo>
                  <a:pt x="32" y="38"/>
                </a:lnTo>
                <a:lnTo>
                  <a:pt x="32" y="36"/>
                </a:lnTo>
                <a:lnTo>
                  <a:pt x="28" y="36"/>
                </a:lnTo>
                <a:lnTo>
                  <a:pt x="28" y="36"/>
                </a:lnTo>
                <a:lnTo>
                  <a:pt x="18" y="36"/>
                </a:lnTo>
                <a:lnTo>
                  <a:pt x="18" y="36"/>
                </a:lnTo>
                <a:lnTo>
                  <a:pt x="16" y="36"/>
                </a:lnTo>
                <a:lnTo>
                  <a:pt x="16" y="36"/>
                </a:lnTo>
                <a:lnTo>
                  <a:pt x="16" y="34"/>
                </a:lnTo>
                <a:lnTo>
                  <a:pt x="16" y="34"/>
                </a:lnTo>
                <a:lnTo>
                  <a:pt x="14" y="32"/>
                </a:lnTo>
                <a:lnTo>
                  <a:pt x="10" y="34"/>
                </a:lnTo>
                <a:lnTo>
                  <a:pt x="8" y="36"/>
                </a:lnTo>
                <a:lnTo>
                  <a:pt x="8" y="36"/>
                </a:lnTo>
                <a:lnTo>
                  <a:pt x="6" y="34"/>
                </a:lnTo>
                <a:lnTo>
                  <a:pt x="4" y="34"/>
                </a:lnTo>
                <a:lnTo>
                  <a:pt x="6" y="32"/>
                </a:lnTo>
                <a:lnTo>
                  <a:pt x="6" y="32"/>
                </a:lnTo>
                <a:lnTo>
                  <a:pt x="10" y="28"/>
                </a:lnTo>
                <a:lnTo>
                  <a:pt x="10" y="28"/>
                </a:lnTo>
                <a:lnTo>
                  <a:pt x="6" y="26"/>
                </a:lnTo>
                <a:lnTo>
                  <a:pt x="6" y="26"/>
                </a:lnTo>
                <a:lnTo>
                  <a:pt x="6" y="24"/>
                </a:lnTo>
                <a:lnTo>
                  <a:pt x="4" y="22"/>
                </a:lnTo>
                <a:lnTo>
                  <a:pt x="4" y="22"/>
                </a:lnTo>
                <a:lnTo>
                  <a:pt x="4" y="20"/>
                </a:lnTo>
                <a:lnTo>
                  <a:pt x="4" y="18"/>
                </a:lnTo>
                <a:lnTo>
                  <a:pt x="0" y="16"/>
                </a:lnTo>
                <a:lnTo>
                  <a:pt x="0" y="16"/>
                </a:lnTo>
                <a:lnTo>
                  <a:pt x="0" y="14"/>
                </a:lnTo>
                <a:lnTo>
                  <a:pt x="2" y="10"/>
                </a:lnTo>
                <a:lnTo>
                  <a:pt x="2" y="10"/>
                </a:lnTo>
                <a:lnTo>
                  <a:pt x="8" y="6"/>
                </a:lnTo>
                <a:lnTo>
                  <a:pt x="8" y="6"/>
                </a:lnTo>
                <a:lnTo>
                  <a:pt x="12" y="8"/>
                </a:lnTo>
                <a:lnTo>
                  <a:pt x="16" y="6"/>
                </a:lnTo>
                <a:lnTo>
                  <a:pt x="16" y="6"/>
                </a:lnTo>
                <a:lnTo>
                  <a:pt x="16" y="4"/>
                </a:lnTo>
                <a:lnTo>
                  <a:pt x="16" y="4"/>
                </a:lnTo>
                <a:lnTo>
                  <a:pt x="22" y="2"/>
                </a:lnTo>
                <a:lnTo>
                  <a:pt x="26" y="0"/>
                </a:lnTo>
                <a:lnTo>
                  <a:pt x="26" y="0"/>
                </a:lnTo>
                <a:lnTo>
                  <a:pt x="30" y="0"/>
                </a:lnTo>
                <a:lnTo>
                  <a:pt x="32" y="2"/>
                </a:lnTo>
                <a:lnTo>
                  <a:pt x="36" y="4"/>
                </a:lnTo>
                <a:lnTo>
                  <a:pt x="36" y="4"/>
                </a:lnTo>
                <a:lnTo>
                  <a:pt x="48" y="2"/>
                </a:lnTo>
                <a:lnTo>
                  <a:pt x="48" y="2"/>
                </a:lnTo>
                <a:lnTo>
                  <a:pt x="58" y="4"/>
                </a:lnTo>
                <a:lnTo>
                  <a:pt x="66" y="6"/>
                </a:lnTo>
                <a:lnTo>
                  <a:pt x="66" y="6"/>
                </a:lnTo>
                <a:lnTo>
                  <a:pt x="82" y="4"/>
                </a:lnTo>
                <a:lnTo>
                  <a:pt x="82" y="4"/>
                </a:lnTo>
                <a:lnTo>
                  <a:pt x="90" y="6"/>
                </a:lnTo>
                <a:lnTo>
                  <a:pt x="90" y="6"/>
                </a:lnTo>
                <a:lnTo>
                  <a:pt x="92" y="10"/>
                </a:lnTo>
                <a:lnTo>
                  <a:pt x="92" y="10"/>
                </a:lnTo>
                <a:lnTo>
                  <a:pt x="98" y="10"/>
                </a:lnTo>
                <a:lnTo>
                  <a:pt x="102" y="10"/>
                </a:lnTo>
                <a:lnTo>
                  <a:pt x="102" y="10"/>
                </a:lnTo>
                <a:lnTo>
                  <a:pt x="104" y="12"/>
                </a:lnTo>
                <a:lnTo>
                  <a:pt x="106" y="16"/>
                </a:lnTo>
                <a:lnTo>
                  <a:pt x="106" y="16"/>
                </a:lnTo>
                <a:lnTo>
                  <a:pt x="106" y="16"/>
                </a:lnTo>
                <a:lnTo>
                  <a:pt x="108" y="18"/>
                </a:lnTo>
                <a:lnTo>
                  <a:pt x="112" y="18"/>
                </a:lnTo>
                <a:lnTo>
                  <a:pt x="112" y="18"/>
                </a:lnTo>
                <a:lnTo>
                  <a:pt x="116" y="20"/>
                </a:lnTo>
                <a:lnTo>
                  <a:pt x="120" y="20"/>
                </a:lnTo>
                <a:lnTo>
                  <a:pt x="120" y="20"/>
                </a:lnTo>
                <a:lnTo>
                  <a:pt x="124" y="22"/>
                </a:lnTo>
                <a:lnTo>
                  <a:pt x="128" y="24"/>
                </a:lnTo>
                <a:lnTo>
                  <a:pt x="128" y="24"/>
                </a:lnTo>
                <a:lnTo>
                  <a:pt x="132" y="22"/>
                </a:lnTo>
                <a:lnTo>
                  <a:pt x="134" y="22"/>
                </a:lnTo>
                <a:lnTo>
                  <a:pt x="136" y="24"/>
                </a:lnTo>
                <a:lnTo>
                  <a:pt x="136" y="24"/>
                </a:lnTo>
                <a:lnTo>
                  <a:pt x="146" y="26"/>
                </a:lnTo>
                <a:lnTo>
                  <a:pt x="148" y="30"/>
                </a:lnTo>
                <a:lnTo>
                  <a:pt x="152" y="28"/>
                </a:lnTo>
                <a:lnTo>
                  <a:pt x="152" y="28"/>
                </a:lnTo>
                <a:lnTo>
                  <a:pt x="156" y="28"/>
                </a:lnTo>
                <a:lnTo>
                  <a:pt x="160" y="28"/>
                </a:lnTo>
                <a:lnTo>
                  <a:pt x="160" y="28"/>
                </a:lnTo>
                <a:lnTo>
                  <a:pt x="162" y="26"/>
                </a:lnTo>
                <a:lnTo>
                  <a:pt x="162" y="26"/>
                </a:lnTo>
                <a:lnTo>
                  <a:pt x="164" y="24"/>
                </a:lnTo>
                <a:lnTo>
                  <a:pt x="168" y="24"/>
                </a:lnTo>
                <a:lnTo>
                  <a:pt x="168" y="24"/>
                </a:lnTo>
                <a:close/>
                <a:moveTo>
                  <a:pt x="146" y="82"/>
                </a:moveTo>
                <a:lnTo>
                  <a:pt x="146" y="82"/>
                </a:lnTo>
                <a:lnTo>
                  <a:pt x="144" y="86"/>
                </a:lnTo>
                <a:lnTo>
                  <a:pt x="142" y="88"/>
                </a:lnTo>
                <a:lnTo>
                  <a:pt x="144" y="88"/>
                </a:lnTo>
                <a:lnTo>
                  <a:pt x="144" y="88"/>
                </a:lnTo>
                <a:lnTo>
                  <a:pt x="144" y="88"/>
                </a:lnTo>
                <a:lnTo>
                  <a:pt x="144" y="88"/>
                </a:lnTo>
                <a:lnTo>
                  <a:pt x="144" y="88"/>
                </a:lnTo>
                <a:lnTo>
                  <a:pt x="148" y="84"/>
                </a:lnTo>
                <a:lnTo>
                  <a:pt x="148" y="84"/>
                </a:lnTo>
                <a:lnTo>
                  <a:pt x="148" y="82"/>
                </a:lnTo>
                <a:lnTo>
                  <a:pt x="146" y="82"/>
                </a:lnTo>
                <a:lnTo>
                  <a:pt x="146" y="82"/>
                </a:lnTo>
                <a:close/>
                <a:moveTo>
                  <a:pt x="190" y="70"/>
                </a:moveTo>
                <a:lnTo>
                  <a:pt x="190" y="74"/>
                </a:lnTo>
                <a:lnTo>
                  <a:pt x="190" y="74"/>
                </a:lnTo>
                <a:lnTo>
                  <a:pt x="194" y="74"/>
                </a:lnTo>
                <a:lnTo>
                  <a:pt x="196" y="74"/>
                </a:lnTo>
                <a:lnTo>
                  <a:pt x="196" y="72"/>
                </a:lnTo>
                <a:lnTo>
                  <a:pt x="196" y="70"/>
                </a:lnTo>
                <a:lnTo>
                  <a:pt x="196" y="70"/>
                </a:lnTo>
                <a:lnTo>
                  <a:pt x="190" y="70"/>
                </a:lnTo>
                <a:lnTo>
                  <a:pt x="190" y="70"/>
                </a:lnTo>
                <a:close/>
                <a:moveTo>
                  <a:pt x="170" y="70"/>
                </a:moveTo>
                <a:lnTo>
                  <a:pt x="170" y="70"/>
                </a:lnTo>
                <a:lnTo>
                  <a:pt x="166" y="72"/>
                </a:lnTo>
                <a:lnTo>
                  <a:pt x="166" y="72"/>
                </a:lnTo>
                <a:lnTo>
                  <a:pt x="168" y="76"/>
                </a:lnTo>
                <a:lnTo>
                  <a:pt x="168" y="78"/>
                </a:lnTo>
                <a:lnTo>
                  <a:pt x="168" y="82"/>
                </a:lnTo>
                <a:lnTo>
                  <a:pt x="168" y="82"/>
                </a:lnTo>
                <a:lnTo>
                  <a:pt x="168" y="86"/>
                </a:lnTo>
                <a:lnTo>
                  <a:pt x="168" y="86"/>
                </a:lnTo>
                <a:lnTo>
                  <a:pt x="170" y="86"/>
                </a:lnTo>
                <a:lnTo>
                  <a:pt x="170" y="86"/>
                </a:lnTo>
                <a:lnTo>
                  <a:pt x="174" y="82"/>
                </a:lnTo>
                <a:lnTo>
                  <a:pt x="174" y="82"/>
                </a:lnTo>
                <a:lnTo>
                  <a:pt x="176" y="78"/>
                </a:lnTo>
                <a:lnTo>
                  <a:pt x="176" y="76"/>
                </a:lnTo>
                <a:lnTo>
                  <a:pt x="170" y="70"/>
                </a:lnTo>
                <a:lnTo>
                  <a:pt x="170"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8" name="Freeform 42">
            <a:extLst>
              <a:ext uri="{FF2B5EF4-FFF2-40B4-BE49-F238E27FC236}">
                <a16:creationId xmlns:a16="http://schemas.microsoft.com/office/drawing/2014/main" id="{D42CB693-6BFD-40F6-9BB1-B2F3846593B2}"/>
              </a:ext>
            </a:extLst>
          </p:cNvPr>
          <p:cNvSpPr>
            <a:spLocks/>
          </p:cNvSpPr>
          <p:nvPr userDrawn="1"/>
        </p:nvSpPr>
        <p:spPr bwMode="auto">
          <a:xfrm>
            <a:off x="8684975" y="2561824"/>
            <a:ext cx="67082" cy="126983"/>
          </a:xfrm>
          <a:custGeom>
            <a:avLst/>
            <a:gdLst>
              <a:gd name="T0" fmla="*/ 6 w 40"/>
              <a:gd name="T1" fmla="*/ 10 h 74"/>
              <a:gd name="T2" fmla="*/ 10 w 40"/>
              <a:gd name="T3" fmla="*/ 20 h 74"/>
              <a:gd name="T4" fmla="*/ 10 w 40"/>
              <a:gd name="T5" fmla="*/ 22 h 74"/>
              <a:gd name="T6" fmla="*/ 10 w 40"/>
              <a:gd name="T7" fmla="*/ 24 h 74"/>
              <a:gd name="T8" fmla="*/ 4 w 40"/>
              <a:gd name="T9" fmla="*/ 24 h 74"/>
              <a:gd name="T10" fmla="*/ 4 w 40"/>
              <a:gd name="T11" fmla="*/ 28 h 74"/>
              <a:gd name="T12" fmla="*/ 10 w 40"/>
              <a:gd name="T13" fmla="*/ 32 h 74"/>
              <a:gd name="T14" fmla="*/ 6 w 40"/>
              <a:gd name="T15" fmla="*/ 36 h 74"/>
              <a:gd name="T16" fmla="*/ 6 w 40"/>
              <a:gd name="T17" fmla="*/ 38 h 74"/>
              <a:gd name="T18" fmla="*/ 10 w 40"/>
              <a:gd name="T19" fmla="*/ 44 h 74"/>
              <a:gd name="T20" fmla="*/ 4 w 40"/>
              <a:gd name="T21" fmla="*/ 52 h 74"/>
              <a:gd name="T22" fmla="*/ 4 w 40"/>
              <a:gd name="T23" fmla="*/ 56 h 74"/>
              <a:gd name="T24" fmla="*/ 4 w 40"/>
              <a:gd name="T25" fmla="*/ 60 h 74"/>
              <a:gd name="T26" fmla="*/ 2 w 40"/>
              <a:gd name="T27" fmla="*/ 64 h 74"/>
              <a:gd name="T28" fmla="*/ 2 w 40"/>
              <a:gd name="T29" fmla="*/ 70 h 74"/>
              <a:gd name="T30" fmla="*/ 2 w 40"/>
              <a:gd name="T31" fmla="*/ 70 h 74"/>
              <a:gd name="T32" fmla="*/ 0 w 40"/>
              <a:gd name="T33" fmla="*/ 72 h 74"/>
              <a:gd name="T34" fmla="*/ 6 w 40"/>
              <a:gd name="T35" fmla="*/ 74 h 74"/>
              <a:gd name="T36" fmla="*/ 6 w 40"/>
              <a:gd name="T37" fmla="*/ 74 h 74"/>
              <a:gd name="T38" fmla="*/ 14 w 40"/>
              <a:gd name="T39" fmla="*/ 70 h 74"/>
              <a:gd name="T40" fmla="*/ 14 w 40"/>
              <a:gd name="T41" fmla="*/ 66 h 74"/>
              <a:gd name="T42" fmla="*/ 30 w 40"/>
              <a:gd name="T43" fmla="*/ 64 h 74"/>
              <a:gd name="T44" fmla="*/ 30 w 40"/>
              <a:gd name="T45" fmla="*/ 60 h 74"/>
              <a:gd name="T46" fmla="*/ 30 w 40"/>
              <a:gd name="T47" fmla="*/ 58 h 74"/>
              <a:gd name="T48" fmla="*/ 38 w 40"/>
              <a:gd name="T49" fmla="*/ 56 h 74"/>
              <a:gd name="T50" fmla="*/ 40 w 40"/>
              <a:gd name="T51" fmla="*/ 52 h 74"/>
              <a:gd name="T52" fmla="*/ 40 w 40"/>
              <a:gd name="T53" fmla="*/ 24 h 74"/>
              <a:gd name="T54" fmla="*/ 38 w 40"/>
              <a:gd name="T55" fmla="*/ 20 h 74"/>
              <a:gd name="T56" fmla="*/ 34 w 40"/>
              <a:gd name="T57" fmla="*/ 16 h 74"/>
              <a:gd name="T58" fmla="*/ 34 w 40"/>
              <a:gd name="T59" fmla="*/ 12 h 74"/>
              <a:gd name="T60" fmla="*/ 30 w 40"/>
              <a:gd name="T61" fmla="*/ 10 h 74"/>
              <a:gd name="T62" fmla="*/ 30 w 40"/>
              <a:gd name="T63" fmla="*/ 6 h 74"/>
              <a:gd name="T64" fmla="*/ 30 w 40"/>
              <a:gd name="T65" fmla="*/ 4 h 74"/>
              <a:gd name="T66" fmla="*/ 30 w 40"/>
              <a:gd name="T67" fmla="*/ 2 h 74"/>
              <a:gd name="T68" fmla="*/ 22 w 40"/>
              <a:gd name="T69" fmla="*/ 4 h 74"/>
              <a:gd name="T70" fmla="*/ 12 w 40"/>
              <a:gd name="T71" fmla="*/ 2 h 74"/>
              <a:gd name="T72" fmla="*/ 6 w 40"/>
              <a:gd name="T73"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74">
                <a:moveTo>
                  <a:pt x="6" y="10"/>
                </a:moveTo>
                <a:lnTo>
                  <a:pt x="6" y="10"/>
                </a:lnTo>
                <a:lnTo>
                  <a:pt x="8" y="20"/>
                </a:lnTo>
                <a:lnTo>
                  <a:pt x="10" y="20"/>
                </a:lnTo>
                <a:lnTo>
                  <a:pt x="10" y="20"/>
                </a:lnTo>
                <a:lnTo>
                  <a:pt x="10" y="22"/>
                </a:lnTo>
                <a:lnTo>
                  <a:pt x="10" y="24"/>
                </a:lnTo>
                <a:lnTo>
                  <a:pt x="10" y="24"/>
                </a:lnTo>
                <a:lnTo>
                  <a:pt x="4" y="24"/>
                </a:lnTo>
                <a:lnTo>
                  <a:pt x="4" y="24"/>
                </a:lnTo>
                <a:lnTo>
                  <a:pt x="4" y="28"/>
                </a:lnTo>
                <a:lnTo>
                  <a:pt x="4" y="28"/>
                </a:lnTo>
                <a:lnTo>
                  <a:pt x="10" y="32"/>
                </a:lnTo>
                <a:lnTo>
                  <a:pt x="10" y="32"/>
                </a:lnTo>
                <a:lnTo>
                  <a:pt x="6" y="34"/>
                </a:lnTo>
                <a:lnTo>
                  <a:pt x="6" y="36"/>
                </a:lnTo>
                <a:lnTo>
                  <a:pt x="6" y="38"/>
                </a:lnTo>
                <a:lnTo>
                  <a:pt x="6" y="38"/>
                </a:lnTo>
                <a:lnTo>
                  <a:pt x="10" y="44"/>
                </a:lnTo>
                <a:lnTo>
                  <a:pt x="10" y="44"/>
                </a:lnTo>
                <a:lnTo>
                  <a:pt x="8" y="48"/>
                </a:lnTo>
                <a:lnTo>
                  <a:pt x="4" y="52"/>
                </a:lnTo>
                <a:lnTo>
                  <a:pt x="4" y="52"/>
                </a:lnTo>
                <a:lnTo>
                  <a:pt x="4" y="56"/>
                </a:lnTo>
                <a:lnTo>
                  <a:pt x="4" y="60"/>
                </a:lnTo>
                <a:lnTo>
                  <a:pt x="4" y="60"/>
                </a:lnTo>
                <a:lnTo>
                  <a:pt x="2" y="64"/>
                </a:lnTo>
                <a:lnTo>
                  <a:pt x="2" y="64"/>
                </a:lnTo>
                <a:lnTo>
                  <a:pt x="2" y="68"/>
                </a:lnTo>
                <a:lnTo>
                  <a:pt x="2" y="70"/>
                </a:lnTo>
                <a:lnTo>
                  <a:pt x="2" y="70"/>
                </a:lnTo>
                <a:lnTo>
                  <a:pt x="2" y="70"/>
                </a:lnTo>
                <a:lnTo>
                  <a:pt x="0" y="72"/>
                </a:lnTo>
                <a:lnTo>
                  <a:pt x="0" y="72"/>
                </a:lnTo>
                <a:lnTo>
                  <a:pt x="4" y="74"/>
                </a:lnTo>
                <a:lnTo>
                  <a:pt x="6" y="74"/>
                </a:lnTo>
                <a:lnTo>
                  <a:pt x="6" y="74"/>
                </a:lnTo>
                <a:lnTo>
                  <a:pt x="6" y="74"/>
                </a:lnTo>
                <a:lnTo>
                  <a:pt x="14" y="70"/>
                </a:lnTo>
                <a:lnTo>
                  <a:pt x="14" y="70"/>
                </a:lnTo>
                <a:lnTo>
                  <a:pt x="14" y="66"/>
                </a:lnTo>
                <a:lnTo>
                  <a:pt x="14" y="66"/>
                </a:lnTo>
                <a:lnTo>
                  <a:pt x="22" y="64"/>
                </a:lnTo>
                <a:lnTo>
                  <a:pt x="30" y="64"/>
                </a:lnTo>
                <a:lnTo>
                  <a:pt x="30" y="64"/>
                </a:lnTo>
                <a:lnTo>
                  <a:pt x="30" y="60"/>
                </a:lnTo>
                <a:lnTo>
                  <a:pt x="30" y="58"/>
                </a:lnTo>
                <a:lnTo>
                  <a:pt x="30" y="58"/>
                </a:lnTo>
                <a:lnTo>
                  <a:pt x="36" y="58"/>
                </a:lnTo>
                <a:lnTo>
                  <a:pt x="38" y="56"/>
                </a:lnTo>
                <a:lnTo>
                  <a:pt x="38" y="56"/>
                </a:lnTo>
                <a:lnTo>
                  <a:pt x="40" y="52"/>
                </a:lnTo>
                <a:lnTo>
                  <a:pt x="40" y="40"/>
                </a:lnTo>
                <a:lnTo>
                  <a:pt x="40" y="24"/>
                </a:lnTo>
                <a:lnTo>
                  <a:pt x="40" y="24"/>
                </a:lnTo>
                <a:lnTo>
                  <a:pt x="38" y="20"/>
                </a:lnTo>
                <a:lnTo>
                  <a:pt x="34" y="16"/>
                </a:lnTo>
                <a:lnTo>
                  <a:pt x="34" y="16"/>
                </a:lnTo>
                <a:lnTo>
                  <a:pt x="34" y="12"/>
                </a:lnTo>
                <a:lnTo>
                  <a:pt x="34" y="12"/>
                </a:lnTo>
                <a:lnTo>
                  <a:pt x="32" y="10"/>
                </a:lnTo>
                <a:lnTo>
                  <a:pt x="30" y="10"/>
                </a:lnTo>
                <a:lnTo>
                  <a:pt x="30" y="10"/>
                </a:lnTo>
                <a:lnTo>
                  <a:pt x="30" y="6"/>
                </a:lnTo>
                <a:lnTo>
                  <a:pt x="30" y="4"/>
                </a:lnTo>
                <a:lnTo>
                  <a:pt x="30" y="4"/>
                </a:lnTo>
                <a:lnTo>
                  <a:pt x="30" y="2"/>
                </a:lnTo>
                <a:lnTo>
                  <a:pt x="30" y="2"/>
                </a:lnTo>
                <a:lnTo>
                  <a:pt x="22" y="4"/>
                </a:lnTo>
                <a:lnTo>
                  <a:pt x="22" y="4"/>
                </a:lnTo>
                <a:lnTo>
                  <a:pt x="16" y="0"/>
                </a:lnTo>
                <a:lnTo>
                  <a:pt x="12" y="2"/>
                </a:lnTo>
                <a:lnTo>
                  <a:pt x="4" y="10"/>
                </a:lnTo>
                <a:lnTo>
                  <a:pt x="6" y="1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9" name="Freeform 43">
            <a:extLst>
              <a:ext uri="{FF2B5EF4-FFF2-40B4-BE49-F238E27FC236}">
                <a16:creationId xmlns:a16="http://schemas.microsoft.com/office/drawing/2014/main" id="{5403C34D-F367-466E-905B-A90E9AAB002A}"/>
              </a:ext>
            </a:extLst>
          </p:cNvPr>
          <p:cNvSpPr>
            <a:spLocks/>
          </p:cNvSpPr>
          <p:nvPr userDrawn="1"/>
        </p:nvSpPr>
        <p:spPr bwMode="auto">
          <a:xfrm>
            <a:off x="6223087" y="4325859"/>
            <a:ext cx="362240" cy="374086"/>
          </a:xfrm>
          <a:custGeom>
            <a:avLst/>
            <a:gdLst>
              <a:gd name="T0" fmla="*/ 34 w 216"/>
              <a:gd name="T1" fmla="*/ 106 h 218"/>
              <a:gd name="T2" fmla="*/ 26 w 216"/>
              <a:gd name="T3" fmla="*/ 114 h 218"/>
              <a:gd name="T4" fmla="*/ 12 w 216"/>
              <a:gd name="T5" fmla="*/ 110 h 218"/>
              <a:gd name="T6" fmla="*/ 12 w 216"/>
              <a:gd name="T7" fmla="*/ 104 h 218"/>
              <a:gd name="T8" fmla="*/ 2 w 216"/>
              <a:gd name="T9" fmla="*/ 110 h 218"/>
              <a:gd name="T10" fmla="*/ 8 w 216"/>
              <a:gd name="T11" fmla="*/ 122 h 218"/>
              <a:gd name="T12" fmla="*/ 8 w 216"/>
              <a:gd name="T13" fmla="*/ 128 h 218"/>
              <a:gd name="T14" fmla="*/ 16 w 216"/>
              <a:gd name="T15" fmla="*/ 148 h 218"/>
              <a:gd name="T16" fmla="*/ 22 w 216"/>
              <a:gd name="T17" fmla="*/ 164 h 218"/>
              <a:gd name="T18" fmla="*/ 16 w 216"/>
              <a:gd name="T19" fmla="*/ 182 h 218"/>
              <a:gd name="T20" fmla="*/ 18 w 216"/>
              <a:gd name="T21" fmla="*/ 188 h 218"/>
              <a:gd name="T22" fmla="*/ 16 w 216"/>
              <a:gd name="T23" fmla="*/ 194 h 218"/>
              <a:gd name="T24" fmla="*/ 20 w 216"/>
              <a:gd name="T25" fmla="*/ 204 h 218"/>
              <a:gd name="T26" fmla="*/ 22 w 216"/>
              <a:gd name="T27" fmla="*/ 212 h 218"/>
              <a:gd name="T28" fmla="*/ 26 w 216"/>
              <a:gd name="T29" fmla="*/ 208 h 218"/>
              <a:gd name="T30" fmla="*/ 30 w 216"/>
              <a:gd name="T31" fmla="*/ 212 h 218"/>
              <a:gd name="T32" fmla="*/ 44 w 216"/>
              <a:gd name="T33" fmla="*/ 218 h 218"/>
              <a:gd name="T34" fmla="*/ 56 w 216"/>
              <a:gd name="T35" fmla="*/ 212 h 218"/>
              <a:gd name="T36" fmla="*/ 72 w 216"/>
              <a:gd name="T37" fmla="*/ 212 h 218"/>
              <a:gd name="T38" fmla="*/ 78 w 216"/>
              <a:gd name="T39" fmla="*/ 206 h 218"/>
              <a:gd name="T40" fmla="*/ 84 w 216"/>
              <a:gd name="T41" fmla="*/ 204 h 218"/>
              <a:gd name="T42" fmla="*/ 96 w 216"/>
              <a:gd name="T43" fmla="*/ 202 h 218"/>
              <a:gd name="T44" fmla="*/ 112 w 216"/>
              <a:gd name="T45" fmla="*/ 206 h 218"/>
              <a:gd name="T46" fmla="*/ 124 w 216"/>
              <a:gd name="T47" fmla="*/ 204 h 218"/>
              <a:gd name="T48" fmla="*/ 130 w 216"/>
              <a:gd name="T49" fmla="*/ 200 h 218"/>
              <a:gd name="T50" fmla="*/ 140 w 216"/>
              <a:gd name="T51" fmla="*/ 196 h 218"/>
              <a:gd name="T52" fmla="*/ 154 w 216"/>
              <a:gd name="T53" fmla="*/ 184 h 218"/>
              <a:gd name="T54" fmla="*/ 160 w 216"/>
              <a:gd name="T55" fmla="*/ 176 h 218"/>
              <a:gd name="T56" fmla="*/ 172 w 216"/>
              <a:gd name="T57" fmla="*/ 166 h 218"/>
              <a:gd name="T58" fmla="*/ 176 w 216"/>
              <a:gd name="T59" fmla="*/ 158 h 218"/>
              <a:gd name="T60" fmla="*/ 186 w 216"/>
              <a:gd name="T61" fmla="*/ 144 h 218"/>
              <a:gd name="T62" fmla="*/ 194 w 216"/>
              <a:gd name="T63" fmla="*/ 132 h 218"/>
              <a:gd name="T64" fmla="*/ 210 w 216"/>
              <a:gd name="T65" fmla="*/ 100 h 218"/>
              <a:gd name="T66" fmla="*/ 206 w 216"/>
              <a:gd name="T67" fmla="*/ 74 h 218"/>
              <a:gd name="T68" fmla="*/ 198 w 216"/>
              <a:gd name="T69" fmla="*/ 80 h 218"/>
              <a:gd name="T70" fmla="*/ 192 w 216"/>
              <a:gd name="T71" fmla="*/ 68 h 218"/>
              <a:gd name="T72" fmla="*/ 196 w 216"/>
              <a:gd name="T73" fmla="*/ 60 h 218"/>
              <a:gd name="T74" fmla="*/ 202 w 216"/>
              <a:gd name="T75" fmla="*/ 58 h 218"/>
              <a:gd name="T76" fmla="*/ 200 w 216"/>
              <a:gd name="T77" fmla="*/ 46 h 218"/>
              <a:gd name="T78" fmla="*/ 200 w 216"/>
              <a:gd name="T79" fmla="*/ 18 h 218"/>
              <a:gd name="T80" fmla="*/ 202 w 216"/>
              <a:gd name="T81" fmla="*/ 4 h 218"/>
              <a:gd name="T82" fmla="*/ 188 w 216"/>
              <a:gd name="T83" fmla="*/ 0 h 218"/>
              <a:gd name="T84" fmla="*/ 178 w 216"/>
              <a:gd name="T85" fmla="*/ 2 h 218"/>
              <a:gd name="T86" fmla="*/ 170 w 216"/>
              <a:gd name="T87" fmla="*/ 4 h 218"/>
              <a:gd name="T88" fmla="*/ 162 w 216"/>
              <a:gd name="T89" fmla="*/ 8 h 218"/>
              <a:gd name="T90" fmla="*/ 148 w 216"/>
              <a:gd name="T91" fmla="*/ 14 h 218"/>
              <a:gd name="T92" fmla="*/ 136 w 216"/>
              <a:gd name="T93" fmla="*/ 24 h 218"/>
              <a:gd name="T94" fmla="*/ 132 w 216"/>
              <a:gd name="T95" fmla="*/ 38 h 218"/>
              <a:gd name="T96" fmla="*/ 124 w 216"/>
              <a:gd name="T97" fmla="*/ 60 h 218"/>
              <a:gd name="T98" fmla="*/ 112 w 216"/>
              <a:gd name="T99" fmla="*/ 60 h 218"/>
              <a:gd name="T100" fmla="*/ 102 w 216"/>
              <a:gd name="T101" fmla="*/ 58 h 218"/>
              <a:gd name="T102" fmla="*/ 92 w 216"/>
              <a:gd name="T103" fmla="*/ 56 h 218"/>
              <a:gd name="T104" fmla="*/ 88 w 216"/>
              <a:gd name="T105" fmla="*/ 64 h 218"/>
              <a:gd name="T106" fmla="*/ 70 w 216"/>
              <a:gd name="T107" fmla="*/ 76 h 218"/>
              <a:gd name="T108" fmla="*/ 58 w 216"/>
              <a:gd name="T109" fmla="*/ 82 h 218"/>
              <a:gd name="T110" fmla="*/ 52 w 216"/>
              <a:gd name="T111" fmla="*/ 74 h 218"/>
              <a:gd name="T112" fmla="*/ 48 w 216"/>
              <a:gd name="T113" fmla="*/ 5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8">
                <a:moveTo>
                  <a:pt x="42" y="54"/>
                </a:moveTo>
                <a:lnTo>
                  <a:pt x="40" y="106"/>
                </a:lnTo>
                <a:lnTo>
                  <a:pt x="40" y="106"/>
                </a:lnTo>
                <a:lnTo>
                  <a:pt x="38" y="106"/>
                </a:lnTo>
                <a:lnTo>
                  <a:pt x="34" y="106"/>
                </a:lnTo>
                <a:lnTo>
                  <a:pt x="32" y="108"/>
                </a:lnTo>
                <a:lnTo>
                  <a:pt x="32" y="108"/>
                </a:lnTo>
                <a:lnTo>
                  <a:pt x="30" y="112"/>
                </a:lnTo>
                <a:lnTo>
                  <a:pt x="26" y="114"/>
                </a:lnTo>
                <a:lnTo>
                  <a:pt x="26" y="114"/>
                </a:lnTo>
                <a:lnTo>
                  <a:pt x="24" y="114"/>
                </a:lnTo>
                <a:lnTo>
                  <a:pt x="20" y="114"/>
                </a:lnTo>
                <a:lnTo>
                  <a:pt x="20" y="114"/>
                </a:lnTo>
                <a:lnTo>
                  <a:pt x="14" y="114"/>
                </a:lnTo>
                <a:lnTo>
                  <a:pt x="12" y="110"/>
                </a:lnTo>
                <a:lnTo>
                  <a:pt x="12" y="110"/>
                </a:lnTo>
                <a:lnTo>
                  <a:pt x="12" y="108"/>
                </a:lnTo>
                <a:lnTo>
                  <a:pt x="12" y="106"/>
                </a:lnTo>
                <a:lnTo>
                  <a:pt x="12" y="106"/>
                </a:lnTo>
                <a:lnTo>
                  <a:pt x="12" y="104"/>
                </a:lnTo>
                <a:lnTo>
                  <a:pt x="12" y="104"/>
                </a:lnTo>
                <a:lnTo>
                  <a:pt x="8" y="104"/>
                </a:lnTo>
                <a:lnTo>
                  <a:pt x="6" y="106"/>
                </a:lnTo>
                <a:lnTo>
                  <a:pt x="6" y="106"/>
                </a:lnTo>
                <a:lnTo>
                  <a:pt x="2" y="110"/>
                </a:lnTo>
                <a:lnTo>
                  <a:pt x="0" y="112"/>
                </a:lnTo>
                <a:lnTo>
                  <a:pt x="0" y="112"/>
                </a:lnTo>
                <a:lnTo>
                  <a:pt x="4" y="120"/>
                </a:lnTo>
                <a:lnTo>
                  <a:pt x="4" y="120"/>
                </a:lnTo>
                <a:lnTo>
                  <a:pt x="8" y="122"/>
                </a:lnTo>
                <a:lnTo>
                  <a:pt x="8" y="122"/>
                </a:lnTo>
                <a:lnTo>
                  <a:pt x="6" y="124"/>
                </a:lnTo>
                <a:lnTo>
                  <a:pt x="6" y="126"/>
                </a:lnTo>
                <a:lnTo>
                  <a:pt x="8" y="128"/>
                </a:lnTo>
                <a:lnTo>
                  <a:pt x="8" y="128"/>
                </a:lnTo>
                <a:lnTo>
                  <a:pt x="10" y="136"/>
                </a:lnTo>
                <a:lnTo>
                  <a:pt x="10" y="144"/>
                </a:lnTo>
                <a:lnTo>
                  <a:pt x="10" y="144"/>
                </a:lnTo>
                <a:lnTo>
                  <a:pt x="12" y="146"/>
                </a:lnTo>
                <a:lnTo>
                  <a:pt x="16" y="148"/>
                </a:lnTo>
                <a:lnTo>
                  <a:pt x="16" y="148"/>
                </a:lnTo>
                <a:lnTo>
                  <a:pt x="20" y="160"/>
                </a:lnTo>
                <a:lnTo>
                  <a:pt x="20" y="160"/>
                </a:lnTo>
                <a:lnTo>
                  <a:pt x="22" y="164"/>
                </a:lnTo>
                <a:lnTo>
                  <a:pt x="22" y="164"/>
                </a:lnTo>
                <a:lnTo>
                  <a:pt x="22" y="174"/>
                </a:lnTo>
                <a:lnTo>
                  <a:pt x="20" y="182"/>
                </a:lnTo>
                <a:lnTo>
                  <a:pt x="16" y="180"/>
                </a:lnTo>
                <a:lnTo>
                  <a:pt x="16" y="180"/>
                </a:lnTo>
                <a:lnTo>
                  <a:pt x="16" y="182"/>
                </a:lnTo>
                <a:lnTo>
                  <a:pt x="14" y="182"/>
                </a:lnTo>
                <a:lnTo>
                  <a:pt x="14" y="182"/>
                </a:lnTo>
                <a:lnTo>
                  <a:pt x="16" y="188"/>
                </a:lnTo>
                <a:lnTo>
                  <a:pt x="18" y="188"/>
                </a:lnTo>
                <a:lnTo>
                  <a:pt x="18" y="188"/>
                </a:lnTo>
                <a:lnTo>
                  <a:pt x="16" y="192"/>
                </a:lnTo>
                <a:lnTo>
                  <a:pt x="16" y="192"/>
                </a:lnTo>
                <a:lnTo>
                  <a:pt x="16" y="192"/>
                </a:lnTo>
                <a:lnTo>
                  <a:pt x="16" y="192"/>
                </a:lnTo>
                <a:lnTo>
                  <a:pt x="16" y="194"/>
                </a:lnTo>
                <a:lnTo>
                  <a:pt x="16" y="194"/>
                </a:lnTo>
                <a:lnTo>
                  <a:pt x="16" y="194"/>
                </a:lnTo>
                <a:lnTo>
                  <a:pt x="18" y="196"/>
                </a:lnTo>
                <a:lnTo>
                  <a:pt x="20" y="198"/>
                </a:lnTo>
                <a:lnTo>
                  <a:pt x="20" y="204"/>
                </a:lnTo>
                <a:lnTo>
                  <a:pt x="20" y="204"/>
                </a:lnTo>
                <a:lnTo>
                  <a:pt x="18" y="206"/>
                </a:lnTo>
                <a:lnTo>
                  <a:pt x="18" y="206"/>
                </a:lnTo>
                <a:lnTo>
                  <a:pt x="22" y="212"/>
                </a:lnTo>
                <a:lnTo>
                  <a:pt x="22" y="212"/>
                </a:lnTo>
                <a:lnTo>
                  <a:pt x="24" y="212"/>
                </a:lnTo>
                <a:lnTo>
                  <a:pt x="24" y="212"/>
                </a:lnTo>
                <a:lnTo>
                  <a:pt x="24" y="208"/>
                </a:lnTo>
                <a:lnTo>
                  <a:pt x="24" y="208"/>
                </a:lnTo>
                <a:lnTo>
                  <a:pt x="26" y="208"/>
                </a:lnTo>
                <a:lnTo>
                  <a:pt x="28" y="210"/>
                </a:lnTo>
                <a:lnTo>
                  <a:pt x="28" y="212"/>
                </a:lnTo>
                <a:lnTo>
                  <a:pt x="28" y="212"/>
                </a:lnTo>
                <a:lnTo>
                  <a:pt x="30" y="212"/>
                </a:lnTo>
                <a:lnTo>
                  <a:pt x="30" y="212"/>
                </a:lnTo>
                <a:lnTo>
                  <a:pt x="30" y="212"/>
                </a:lnTo>
                <a:lnTo>
                  <a:pt x="34" y="212"/>
                </a:lnTo>
                <a:lnTo>
                  <a:pt x="36" y="214"/>
                </a:lnTo>
                <a:lnTo>
                  <a:pt x="40" y="216"/>
                </a:lnTo>
                <a:lnTo>
                  <a:pt x="44" y="218"/>
                </a:lnTo>
                <a:lnTo>
                  <a:pt x="44" y="218"/>
                </a:lnTo>
                <a:lnTo>
                  <a:pt x="46" y="216"/>
                </a:lnTo>
                <a:lnTo>
                  <a:pt x="46" y="216"/>
                </a:lnTo>
                <a:lnTo>
                  <a:pt x="56" y="212"/>
                </a:lnTo>
                <a:lnTo>
                  <a:pt x="56" y="212"/>
                </a:lnTo>
                <a:lnTo>
                  <a:pt x="56" y="208"/>
                </a:lnTo>
                <a:lnTo>
                  <a:pt x="56" y="208"/>
                </a:lnTo>
                <a:lnTo>
                  <a:pt x="64" y="208"/>
                </a:lnTo>
                <a:lnTo>
                  <a:pt x="72" y="212"/>
                </a:lnTo>
                <a:lnTo>
                  <a:pt x="72" y="212"/>
                </a:lnTo>
                <a:lnTo>
                  <a:pt x="74" y="210"/>
                </a:lnTo>
                <a:lnTo>
                  <a:pt x="76" y="206"/>
                </a:lnTo>
                <a:lnTo>
                  <a:pt x="76" y="206"/>
                </a:lnTo>
                <a:lnTo>
                  <a:pt x="76" y="206"/>
                </a:lnTo>
                <a:lnTo>
                  <a:pt x="78" y="206"/>
                </a:lnTo>
                <a:lnTo>
                  <a:pt x="80" y="206"/>
                </a:lnTo>
                <a:lnTo>
                  <a:pt x="80" y="206"/>
                </a:lnTo>
                <a:lnTo>
                  <a:pt x="82" y="204"/>
                </a:lnTo>
                <a:lnTo>
                  <a:pt x="84" y="204"/>
                </a:lnTo>
                <a:lnTo>
                  <a:pt x="84" y="204"/>
                </a:lnTo>
                <a:lnTo>
                  <a:pt x="90" y="206"/>
                </a:lnTo>
                <a:lnTo>
                  <a:pt x="90" y="206"/>
                </a:lnTo>
                <a:lnTo>
                  <a:pt x="92" y="204"/>
                </a:lnTo>
                <a:lnTo>
                  <a:pt x="94" y="204"/>
                </a:lnTo>
                <a:lnTo>
                  <a:pt x="96" y="202"/>
                </a:lnTo>
                <a:lnTo>
                  <a:pt x="96" y="202"/>
                </a:lnTo>
                <a:lnTo>
                  <a:pt x="102" y="206"/>
                </a:lnTo>
                <a:lnTo>
                  <a:pt x="106" y="206"/>
                </a:lnTo>
                <a:lnTo>
                  <a:pt x="112" y="206"/>
                </a:lnTo>
                <a:lnTo>
                  <a:pt x="112" y="206"/>
                </a:lnTo>
                <a:lnTo>
                  <a:pt x="114" y="204"/>
                </a:lnTo>
                <a:lnTo>
                  <a:pt x="114" y="204"/>
                </a:lnTo>
                <a:lnTo>
                  <a:pt x="118" y="204"/>
                </a:lnTo>
                <a:lnTo>
                  <a:pt x="124" y="204"/>
                </a:lnTo>
                <a:lnTo>
                  <a:pt x="124" y="204"/>
                </a:lnTo>
                <a:lnTo>
                  <a:pt x="124" y="200"/>
                </a:lnTo>
                <a:lnTo>
                  <a:pt x="126" y="198"/>
                </a:lnTo>
                <a:lnTo>
                  <a:pt x="126" y="198"/>
                </a:lnTo>
                <a:lnTo>
                  <a:pt x="128" y="198"/>
                </a:lnTo>
                <a:lnTo>
                  <a:pt x="130" y="200"/>
                </a:lnTo>
                <a:lnTo>
                  <a:pt x="130" y="200"/>
                </a:lnTo>
                <a:lnTo>
                  <a:pt x="134" y="200"/>
                </a:lnTo>
                <a:lnTo>
                  <a:pt x="136" y="198"/>
                </a:lnTo>
                <a:lnTo>
                  <a:pt x="140" y="196"/>
                </a:lnTo>
                <a:lnTo>
                  <a:pt x="140" y="196"/>
                </a:lnTo>
                <a:lnTo>
                  <a:pt x="144" y="196"/>
                </a:lnTo>
                <a:lnTo>
                  <a:pt x="144" y="196"/>
                </a:lnTo>
                <a:lnTo>
                  <a:pt x="152" y="188"/>
                </a:lnTo>
                <a:lnTo>
                  <a:pt x="152" y="188"/>
                </a:lnTo>
                <a:lnTo>
                  <a:pt x="154" y="184"/>
                </a:lnTo>
                <a:lnTo>
                  <a:pt x="156" y="184"/>
                </a:lnTo>
                <a:lnTo>
                  <a:pt x="156" y="184"/>
                </a:lnTo>
                <a:lnTo>
                  <a:pt x="158" y="180"/>
                </a:lnTo>
                <a:lnTo>
                  <a:pt x="160" y="176"/>
                </a:lnTo>
                <a:lnTo>
                  <a:pt x="160" y="176"/>
                </a:lnTo>
                <a:lnTo>
                  <a:pt x="164" y="174"/>
                </a:lnTo>
                <a:lnTo>
                  <a:pt x="164" y="174"/>
                </a:lnTo>
                <a:lnTo>
                  <a:pt x="170" y="166"/>
                </a:lnTo>
                <a:lnTo>
                  <a:pt x="170" y="166"/>
                </a:lnTo>
                <a:lnTo>
                  <a:pt x="172" y="166"/>
                </a:lnTo>
                <a:lnTo>
                  <a:pt x="176" y="164"/>
                </a:lnTo>
                <a:lnTo>
                  <a:pt x="176" y="164"/>
                </a:lnTo>
                <a:lnTo>
                  <a:pt x="176" y="160"/>
                </a:lnTo>
                <a:lnTo>
                  <a:pt x="176" y="158"/>
                </a:lnTo>
                <a:lnTo>
                  <a:pt x="176" y="158"/>
                </a:lnTo>
                <a:lnTo>
                  <a:pt x="184" y="154"/>
                </a:lnTo>
                <a:lnTo>
                  <a:pt x="184" y="154"/>
                </a:lnTo>
                <a:lnTo>
                  <a:pt x="184" y="148"/>
                </a:lnTo>
                <a:lnTo>
                  <a:pt x="186" y="144"/>
                </a:lnTo>
                <a:lnTo>
                  <a:pt x="186" y="144"/>
                </a:lnTo>
                <a:lnTo>
                  <a:pt x="190" y="142"/>
                </a:lnTo>
                <a:lnTo>
                  <a:pt x="190" y="142"/>
                </a:lnTo>
                <a:lnTo>
                  <a:pt x="192" y="138"/>
                </a:lnTo>
                <a:lnTo>
                  <a:pt x="194" y="132"/>
                </a:lnTo>
                <a:lnTo>
                  <a:pt x="194" y="132"/>
                </a:lnTo>
                <a:lnTo>
                  <a:pt x="196" y="126"/>
                </a:lnTo>
                <a:lnTo>
                  <a:pt x="202" y="122"/>
                </a:lnTo>
                <a:lnTo>
                  <a:pt x="212" y="116"/>
                </a:lnTo>
                <a:lnTo>
                  <a:pt x="212" y="116"/>
                </a:lnTo>
                <a:lnTo>
                  <a:pt x="210" y="100"/>
                </a:lnTo>
                <a:lnTo>
                  <a:pt x="210" y="100"/>
                </a:lnTo>
                <a:lnTo>
                  <a:pt x="214" y="100"/>
                </a:lnTo>
                <a:lnTo>
                  <a:pt x="214" y="100"/>
                </a:lnTo>
                <a:lnTo>
                  <a:pt x="216" y="76"/>
                </a:lnTo>
                <a:lnTo>
                  <a:pt x="206" y="74"/>
                </a:lnTo>
                <a:lnTo>
                  <a:pt x="208" y="84"/>
                </a:lnTo>
                <a:lnTo>
                  <a:pt x="208" y="84"/>
                </a:lnTo>
                <a:lnTo>
                  <a:pt x="204" y="82"/>
                </a:lnTo>
                <a:lnTo>
                  <a:pt x="198" y="80"/>
                </a:lnTo>
                <a:lnTo>
                  <a:pt x="198" y="80"/>
                </a:lnTo>
                <a:lnTo>
                  <a:pt x="194" y="78"/>
                </a:lnTo>
                <a:lnTo>
                  <a:pt x="192" y="76"/>
                </a:lnTo>
                <a:lnTo>
                  <a:pt x="192" y="76"/>
                </a:lnTo>
                <a:lnTo>
                  <a:pt x="192" y="72"/>
                </a:lnTo>
                <a:lnTo>
                  <a:pt x="192" y="68"/>
                </a:lnTo>
                <a:lnTo>
                  <a:pt x="192" y="68"/>
                </a:lnTo>
                <a:lnTo>
                  <a:pt x="194" y="62"/>
                </a:lnTo>
                <a:lnTo>
                  <a:pt x="194" y="60"/>
                </a:lnTo>
                <a:lnTo>
                  <a:pt x="196" y="60"/>
                </a:lnTo>
                <a:lnTo>
                  <a:pt x="196" y="60"/>
                </a:lnTo>
                <a:lnTo>
                  <a:pt x="198" y="62"/>
                </a:lnTo>
                <a:lnTo>
                  <a:pt x="200" y="60"/>
                </a:lnTo>
                <a:lnTo>
                  <a:pt x="202" y="60"/>
                </a:lnTo>
                <a:lnTo>
                  <a:pt x="202" y="60"/>
                </a:lnTo>
                <a:lnTo>
                  <a:pt x="202" y="58"/>
                </a:lnTo>
                <a:lnTo>
                  <a:pt x="200" y="54"/>
                </a:lnTo>
                <a:lnTo>
                  <a:pt x="200" y="54"/>
                </a:lnTo>
                <a:lnTo>
                  <a:pt x="200" y="50"/>
                </a:lnTo>
                <a:lnTo>
                  <a:pt x="200" y="46"/>
                </a:lnTo>
                <a:lnTo>
                  <a:pt x="200" y="46"/>
                </a:lnTo>
                <a:lnTo>
                  <a:pt x="202" y="40"/>
                </a:lnTo>
                <a:lnTo>
                  <a:pt x="202" y="32"/>
                </a:lnTo>
                <a:lnTo>
                  <a:pt x="202" y="32"/>
                </a:lnTo>
                <a:lnTo>
                  <a:pt x="200" y="24"/>
                </a:lnTo>
                <a:lnTo>
                  <a:pt x="200" y="18"/>
                </a:lnTo>
                <a:lnTo>
                  <a:pt x="200" y="18"/>
                </a:lnTo>
                <a:lnTo>
                  <a:pt x="202" y="14"/>
                </a:lnTo>
                <a:lnTo>
                  <a:pt x="202" y="10"/>
                </a:lnTo>
                <a:lnTo>
                  <a:pt x="202" y="4"/>
                </a:lnTo>
                <a:lnTo>
                  <a:pt x="202" y="4"/>
                </a:lnTo>
                <a:lnTo>
                  <a:pt x="200" y="2"/>
                </a:lnTo>
                <a:lnTo>
                  <a:pt x="194" y="2"/>
                </a:lnTo>
                <a:lnTo>
                  <a:pt x="194" y="2"/>
                </a:lnTo>
                <a:lnTo>
                  <a:pt x="190" y="0"/>
                </a:lnTo>
                <a:lnTo>
                  <a:pt x="188" y="0"/>
                </a:lnTo>
                <a:lnTo>
                  <a:pt x="188" y="0"/>
                </a:lnTo>
                <a:lnTo>
                  <a:pt x="186" y="0"/>
                </a:lnTo>
                <a:lnTo>
                  <a:pt x="180" y="0"/>
                </a:lnTo>
                <a:lnTo>
                  <a:pt x="180" y="0"/>
                </a:lnTo>
                <a:lnTo>
                  <a:pt x="178" y="2"/>
                </a:lnTo>
                <a:lnTo>
                  <a:pt x="176" y="0"/>
                </a:lnTo>
                <a:lnTo>
                  <a:pt x="174" y="0"/>
                </a:lnTo>
                <a:lnTo>
                  <a:pt x="174" y="0"/>
                </a:lnTo>
                <a:lnTo>
                  <a:pt x="172" y="2"/>
                </a:lnTo>
                <a:lnTo>
                  <a:pt x="170" y="4"/>
                </a:lnTo>
                <a:lnTo>
                  <a:pt x="166" y="6"/>
                </a:lnTo>
                <a:lnTo>
                  <a:pt x="166" y="6"/>
                </a:lnTo>
                <a:lnTo>
                  <a:pt x="164" y="6"/>
                </a:lnTo>
                <a:lnTo>
                  <a:pt x="162" y="6"/>
                </a:lnTo>
                <a:lnTo>
                  <a:pt x="162" y="8"/>
                </a:lnTo>
                <a:lnTo>
                  <a:pt x="160" y="8"/>
                </a:lnTo>
                <a:lnTo>
                  <a:pt x="160" y="8"/>
                </a:lnTo>
                <a:lnTo>
                  <a:pt x="154" y="12"/>
                </a:lnTo>
                <a:lnTo>
                  <a:pt x="148" y="14"/>
                </a:lnTo>
                <a:lnTo>
                  <a:pt x="148" y="14"/>
                </a:lnTo>
                <a:lnTo>
                  <a:pt x="144" y="16"/>
                </a:lnTo>
                <a:lnTo>
                  <a:pt x="142" y="18"/>
                </a:lnTo>
                <a:lnTo>
                  <a:pt x="140" y="22"/>
                </a:lnTo>
                <a:lnTo>
                  <a:pt x="136" y="24"/>
                </a:lnTo>
                <a:lnTo>
                  <a:pt x="136" y="24"/>
                </a:lnTo>
                <a:lnTo>
                  <a:pt x="134" y="26"/>
                </a:lnTo>
                <a:lnTo>
                  <a:pt x="134" y="32"/>
                </a:lnTo>
                <a:lnTo>
                  <a:pt x="132" y="36"/>
                </a:lnTo>
                <a:lnTo>
                  <a:pt x="132" y="38"/>
                </a:lnTo>
                <a:lnTo>
                  <a:pt x="132" y="38"/>
                </a:lnTo>
                <a:lnTo>
                  <a:pt x="126" y="40"/>
                </a:lnTo>
                <a:lnTo>
                  <a:pt x="124" y="40"/>
                </a:lnTo>
                <a:lnTo>
                  <a:pt x="124" y="40"/>
                </a:lnTo>
                <a:lnTo>
                  <a:pt x="124" y="60"/>
                </a:lnTo>
                <a:lnTo>
                  <a:pt x="124" y="60"/>
                </a:lnTo>
                <a:lnTo>
                  <a:pt x="122" y="62"/>
                </a:lnTo>
                <a:lnTo>
                  <a:pt x="120" y="62"/>
                </a:lnTo>
                <a:lnTo>
                  <a:pt x="116" y="60"/>
                </a:lnTo>
                <a:lnTo>
                  <a:pt x="116" y="60"/>
                </a:lnTo>
                <a:lnTo>
                  <a:pt x="112" y="60"/>
                </a:lnTo>
                <a:lnTo>
                  <a:pt x="108" y="60"/>
                </a:lnTo>
                <a:lnTo>
                  <a:pt x="106" y="60"/>
                </a:lnTo>
                <a:lnTo>
                  <a:pt x="106" y="60"/>
                </a:lnTo>
                <a:lnTo>
                  <a:pt x="104" y="58"/>
                </a:lnTo>
                <a:lnTo>
                  <a:pt x="102" y="58"/>
                </a:lnTo>
                <a:lnTo>
                  <a:pt x="100" y="60"/>
                </a:lnTo>
                <a:lnTo>
                  <a:pt x="98" y="60"/>
                </a:lnTo>
                <a:lnTo>
                  <a:pt x="98" y="60"/>
                </a:lnTo>
                <a:lnTo>
                  <a:pt x="96" y="56"/>
                </a:lnTo>
                <a:lnTo>
                  <a:pt x="92" y="56"/>
                </a:lnTo>
                <a:lnTo>
                  <a:pt x="92" y="56"/>
                </a:lnTo>
                <a:lnTo>
                  <a:pt x="90" y="58"/>
                </a:lnTo>
                <a:lnTo>
                  <a:pt x="88" y="60"/>
                </a:lnTo>
                <a:lnTo>
                  <a:pt x="88" y="64"/>
                </a:lnTo>
                <a:lnTo>
                  <a:pt x="88" y="64"/>
                </a:lnTo>
                <a:lnTo>
                  <a:pt x="86" y="66"/>
                </a:lnTo>
                <a:lnTo>
                  <a:pt x="82" y="70"/>
                </a:lnTo>
                <a:lnTo>
                  <a:pt x="74" y="74"/>
                </a:lnTo>
                <a:lnTo>
                  <a:pt x="74" y="74"/>
                </a:lnTo>
                <a:lnTo>
                  <a:pt x="70" y="76"/>
                </a:lnTo>
                <a:lnTo>
                  <a:pt x="62" y="80"/>
                </a:lnTo>
                <a:lnTo>
                  <a:pt x="62" y="80"/>
                </a:lnTo>
                <a:lnTo>
                  <a:pt x="60" y="80"/>
                </a:lnTo>
                <a:lnTo>
                  <a:pt x="58" y="82"/>
                </a:lnTo>
                <a:lnTo>
                  <a:pt x="58" y="82"/>
                </a:lnTo>
                <a:lnTo>
                  <a:pt x="56" y="82"/>
                </a:lnTo>
                <a:lnTo>
                  <a:pt x="56" y="82"/>
                </a:lnTo>
                <a:lnTo>
                  <a:pt x="54" y="82"/>
                </a:lnTo>
                <a:lnTo>
                  <a:pt x="52" y="80"/>
                </a:lnTo>
                <a:lnTo>
                  <a:pt x="52" y="74"/>
                </a:lnTo>
                <a:lnTo>
                  <a:pt x="52" y="74"/>
                </a:lnTo>
                <a:lnTo>
                  <a:pt x="54" y="70"/>
                </a:lnTo>
                <a:lnTo>
                  <a:pt x="52" y="62"/>
                </a:lnTo>
                <a:lnTo>
                  <a:pt x="52" y="62"/>
                </a:lnTo>
                <a:lnTo>
                  <a:pt x="48" y="58"/>
                </a:lnTo>
                <a:lnTo>
                  <a:pt x="46" y="56"/>
                </a:lnTo>
                <a:lnTo>
                  <a:pt x="42" y="54"/>
                </a:lnTo>
                <a:lnTo>
                  <a:pt x="42" y="5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0" name="Freeform 44">
            <a:extLst>
              <a:ext uri="{FF2B5EF4-FFF2-40B4-BE49-F238E27FC236}">
                <a16:creationId xmlns:a16="http://schemas.microsoft.com/office/drawing/2014/main" id="{8F98B643-8443-4606-A42E-C0EC8BE665FE}"/>
              </a:ext>
            </a:extLst>
          </p:cNvPr>
          <p:cNvSpPr>
            <a:spLocks/>
          </p:cNvSpPr>
          <p:nvPr userDrawn="1"/>
        </p:nvSpPr>
        <p:spPr bwMode="auto">
          <a:xfrm>
            <a:off x="6420977" y="4542073"/>
            <a:ext cx="53665" cy="51480"/>
          </a:xfrm>
          <a:custGeom>
            <a:avLst/>
            <a:gdLst>
              <a:gd name="T0" fmla="*/ 12 w 32"/>
              <a:gd name="T1" fmla="*/ 0 h 30"/>
              <a:gd name="T2" fmla="*/ 26 w 32"/>
              <a:gd name="T3" fmla="*/ 2 h 30"/>
              <a:gd name="T4" fmla="*/ 32 w 32"/>
              <a:gd name="T5" fmla="*/ 14 h 30"/>
              <a:gd name="T6" fmla="*/ 24 w 32"/>
              <a:gd name="T7" fmla="*/ 22 h 30"/>
              <a:gd name="T8" fmla="*/ 8 w 32"/>
              <a:gd name="T9" fmla="*/ 30 h 30"/>
              <a:gd name="T10" fmla="*/ 0 w 32"/>
              <a:gd name="T11" fmla="*/ 20 h 30"/>
              <a:gd name="T12" fmla="*/ 4 w 32"/>
              <a:gd name="T13" fmla="*/ 8 h 30"/>
              <a:gd name="T14" fmla="*/ 12 w 32"/>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12" y="0"/>
                </a:moveTo>
                <a:lnTo>
                  <a:pt x="26" y="2"/>
                </a:lnTo>
                <a:lnTo>
                  <a:pt x="32" y="14"/>
                </a:lnTo>
                <a:lnTo>
                  <a:pt x="24" y="22"/>
                </a:lnTo>
                <a:lnTo>
                  <a:pt x="8" y="30"/>
                </a:lnTo>
                <a:lnTo>
                  <a:pt x="0" y="20"/>
                </a:lnTo>
                <a:lnTo>
                  <a:pt x="4" y="8"/>
                </a:lnTo>
                <a:lnTo>
                  <a:pt x="1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1" name="Freeform 45">
            <a:extLst>
              <a:ext uri="{FF2B5EF4-FFF2-40B4-BE49-F238E27FC236}">
                <a16:creationId xmlns:a16="http://schemas.microsoft.com/office/drawing/2014/main" id="{2C285D87-CA98-44F4-A654-EFBAAB6BED3A}"/>
              </a:ext>
            </a:extLst>
          </p:cNvPr>
          <p:cNvSpPr>
            <a:spLocks/>
          </p:cNvSpPr>
          <p:nvPr userDrawn="1"/>
        </p:nvSpPr>
        <p:spPr bwMode="auto">
          <a:xfrm>
            <a:off x="6786570" y="3354610"/>
            <a:ext cx="218015" cy="356926"/>
          </a:xfrm>
          <a:custGeom>
            <a:avLst/>
            <a:gdLst>
              <a:gd name="T0" fmla="*/ 14 w 130"/>
              <a:gd name="T1" fmla="*/ 202 h 208"/>
              <a:gd name="T2" fmla="*/ 14 w 130"/>
              <a:gd name="T3" fmla="*/ 200 h 208"/>
              <a:gd name="T4" fmla="*/ 18 w 130"/>
              <a:gd name="T5" fmla="*/ 196 h 208"/>
              <a:gd name="T6" fmla="*/ 24 w 130"/>
              <a:gd name="T7" fmla="*/ 188 h 208"/>
              <a:gd name="T8" fmla="*/ 26 w 130"/>
              <a:gd name="T9" fmla="*/ 184 h 208"/>
              <a:gd name="T10" fmla="*/ 38 w 130"/>
              <a:gd name="T11" fmla="*/ 172 h 208"/>
              <a:gd name="T12" fmla="*/ 54 w 130"/>
              <a:gd name="T13" fmla="*/ 164 h 208"/>
              <a:gd name="T14" fmla="*/ 54 w 130"/>
              <a:gd name="T15" fmla="*/ 160 h 208"/>
              <a:gd name="T16" fmla="*/ 68 w 130"/>
              <a:gd name="T17" fmla="*/ 148 h 208"/>
              <a:gd name="T18" fmla="*/ 68 w 130"/>
              <a:gd name="T19" fmla="*/ 144 h 208"/>
              <a:gd name="T20" fmla="*/ 72 w 130"/>
              <a:gd name="T21" fmla="*/ 144 h 208"/>
              <a:gd name="T22" fmla="*/ 78 w 130"/>
              <a:gd name="T23" fmla="*/ 134 h 208"/>
              <a:gd name="T24" fmla="*/ 80 w 130"/>
              <a:gd name="T25" fmla="*/ 130 h 208"/>
              <a:gd name="T26" fmla="*/ 88 w 130"/>
              <a:gd name="T27" fmla="*/ 126 h 208"/>
              <a:gd name="T28" fmla="*/ 92 w 130"/>
              <a:gd name="T29" fmla="*/ 112 h 208"/>
              <a:gd name="T30" fmla="*/ 96 w 130"/>
              <a:gd name="T31" fmla="*/ 106 h 208"/>
              <a:gd name="T32" fmla="*/ 98 w 130"/>
              <a:gd name="T33" fmla="*/ 98 h 208"/>
              <a:gd name="T34" fmla="*/ 102 w 130"/>
              <a:gd name="T35" fmla="*/ 88 h 208"/>
              <a:gd name="T36" fmla="*/ 106 w 130"/>
              <a:gd name="T37" fmla="*/ 78 h 208"/>
              <a:gd name="T38" fmla="*/ 110 w 130"/>
              <a:gd name="T39" fmla="*/ 68 h 208"/>
              <a:gd name="T40" fmla="*/ 112 w 130"/>
              <a:gd name="T41" fmla="*/ 62 h 208"/>
              <a:gd name="T42" fmla="*/ 120 w 130"/>
              <a:gd name="T43" fmla="*/ 48 h 208"/>
              <a:gd name="T44" fmla="*/ 122 w 130"/>
              <a:gd name="T45" fmla="*/ 42 h 208"/>
              <a:gd name="T46" fmla="*/ 126 w 130"/>
              <a:gd name="T47" fmla="*/ 26 h 208"/>
              <a:gd name="T48" fmla="*/ 130 w 130"/>
              <a:gd name="T49" fmla="*/ 2 h 208"/>
              <a:gd name="T50" fmla="*/ 124 w 130"/>
              <a:gd name="T51" fmla="*/ 0 h 208"/>
              <a:gd name="T52" fmla="*/ 122 w 130"/>
              <a:gd name="T53" fmla="*/ 2 h 208"/>
              <a:gd name="T54" fmla="*/ 100 w 130"/>
              <a:gd name="T55" fmla="*/ 8 h 208"/>
              <a:gd name="T56" fmla="*/ 90 w 130"/>
              <a:gd name="T57" fmla="*/ 10 h 208"/>
              <a:gd name="T58" fmla="*/ 80 w 130"/>
              <a:gd name="T59" fmla="*/ 12 h 208"/>
              <a:gd name="T60" fmla="*/ 78 w 130"/>
              <a:gd name="T61" fmla="*/ 16 h 208"/>
              <a:gd name="T62" fmla="*/ 68 w 130"/>
              <a:gd name="T63" fmla="*/ 20 h 208"/>
              <a:gd name="T64" fmla="*/ 62 w 130"/>
              <a:gd name="T65" fmla="*/ 16 h 208"/>
              <a:gd name="T66" fmla="*/ 50 w 130"/>
              <a:gd name="T67" fmla="*/ 18 h 208"/>
              <a:gd name="T68" fmla="*/ 38 w 130"/>
              <a:gd name="T69" fmla="*/ 18 h 208"/>
              <a:gd name="T70" fmla="*/ 30 w 130"/>
              <a:gd name="T71" fmla="*/ 14 h 208"/>
              <a:gd name="T72" fmla="*/ 14 w 130"/>
              <a:gd name="T73" fmla="*/ 20 h 208"/>
              <a:gd name="T74" fmla="*/ 20 w 130"/>
              <a:gd name="T75" fmla="*/ 26 h 208"/>
              <a:gd name="T76" fmla="*/ 24 w 130"/>
              <a:gd name="T77" fmla="*/ 34 h 208"/>
              <a:gd name="T78" fmla="*/ 34 w 130"/>
              <a:gd name="T79" fmla="*/ 42 h 208"/>
              <a:gd name="T80" fmla="*/ 52 w 130"/>
              <a:gd name="T81" fmla="*/ 112 h 208"/>
              <a:gd name="T82" fmla="*/ 18 w 130"/>
              <a:gd name="T83" fmla="*/ 116 h 208"/>
              <a:gd name="T84" fmla="*/ 0 w 130"/>
              <a:gd name="T85" fmla="*/ 142 h 208"/>
              <a:gd name="T86" fmla="*/ 12 w 130"/>
              <a:gd name="T8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8">
                <a:moveTo>
                  <a:pt x="12" y="208"/>
                </a:moveTo>
                <a:lnTo>
                  <a:pt x="12" y="208"/>
                </a:lnTo>
                <a:lnTo>
                  <a:pt x="14" y="202"/>
                </a:lnTo>
                <a:lnTo>
                  <a:pt x="14" y="202"/>
                </a:lnTo>
                <a:lnTo>
                  <a:pt x="14" y="202"/>
                </a:lnTo>
                <a:lnTo>
                  <a:pt x="14" y="200"/>
                </a:lnTo>
                <a:lnTo>
                  <a:pt x="14" y="200"/>
                </a:lnTo>
                <a:lnTo>
                  <a:pt x="18" y="196"/>
                </a:lnTo>
                <a:lnTo>
                  <a:pt x="18" y="196"/>
                </a:lnTo>
                <a:lnTo>
                  <a:pt x="18" y="192"/>
                </a:lnTo>
                <a:lnTo>
                  <a:pt x="18" y="192"/>
                </a:lnTo>
                <a:lnTo>
                  <a:pt x="24" y="188"/>
                </a:lnTo>
                <a:lnTo>
                  <a:pt x="24" y="188"/>
                </a:lnTo>
                <a:lnTo>
                  <a:pt x="26" y="184"/>
                </a:lnTo>
                <a:lnTo>
                  <a:pt x="26" y="184"/>
                </a:lnTo>
                <a:lnTo>
                  <a:pt x="32" y="180"/>
                </a:lnTo>
                <a:lnTo>
                  <a:pt x="32" y="180"/>
                </a:lnTo>
                <a:lnTo>
                  <a:pt x="38" y="172"/>
                </a:lnTo>
                <a:lnTo>
                  <a:pt x="38" y="172"/>
                </a:lnTo>
                <a:lnTo>
                  <a:pt x="46" y="168"/>
                </a:lnTo>
                <a:lnTo>
                  <a:pt x="54" y="164"/>
                </a:lnTo>
                <a:lnTo>
                  <a:pt x="54" y="164"/>
                </a:lnTo>
                <a:lnTo>
                  <a:pt x="54" y="160"/>
                </a:lnTo>
                <a:lnTo>
                  <a:pt x="54" y="160"/>
                </a:lnTo>
                <a:lnTo>
                  <a:pt x="62" y="154"/>
                </a:lnTo>
                <a:lnTo>
                  <a:pt x="64" y="150"/>
                </a:lnTo>
                <a:lnTo>
                  <a:pt x="68" y="148"/>
                </a:lnTo>
                <a:lnTo>
                  <a:pt x="68" y="148"/>
                </a:lnTo>
                <a:lnTo>
                  <a:pt x="68" y="146"/>
                </a:lnTo>
                <a:lnTo>
                  <a:pt x="68" y="144"/>
                </a:lnTo>
                <a:lnTo>
                  <a:pt x="68" y="144"/>
                </a:lnTo>
                <a:lnTo>
                  <a:pt x="72" y="144"/>
                </a:lnTo>
                <a:lnTo>
                  <a:pt x="72" y="144"/>
                </a:lnTo>
                <a:lnTo>
                  <a:pt x="78" y="138"/>
                </a:lnTo>
                <a:lnTo>
                  <a:pt x="78" y="138"/>
                </a:lnTo>
                <a:lnTo>
                  <a:pt x="78" y="134"/>
                </a:lnTo>
                <a:lnTo>
                  <a:pt x="78" y="130"/>
                </a:lnTo>
                <a:lnTo>
                  <a:pt x="80" y="130"/>
                </a:lnTo>
                <a:lnTo>
                  <a:pt x="80" y="130"/>
                </a:lnTo>
                <a:lnTo>
                  <a:pt x="84" y="128"/>
                </a:lnTo>
                <a:lnTo>
                  <a:pt x="88" y="126"/>
                </a:lnTo>
                <a:lnTo>
                  <a:pt x="88" y="126"/>
                </a:lnTo>
                <a:lnTo>
                  <a:pt x="88" y="120"/>
                </a:lnTo>
                <a:lnTo>
                  <a:pt x="92" y="112"/>
                </a:lnTo>
                <a:lnTo>
                  <a:pt x="92" y="112"/>
                </a:lnTo>
                <a:lnTo>
                  <a:pt x="96" y="110"/>
                </a:lnTo>
                <a:lnTo>
                  <a:pt x="96" y="110"/>
                </a:lnTo>
                <a:lnTo>
                  <a:pt x="96" y="106"/>
                </a:lnTo>
                <a:lnTo>
                  <a:pt x="96" y="102"/>
                </a:lnTo>
                <a:lnTo>
                  <a:pt x="96" y="102"/>
                </a:lnTo>
                <a:lnTo>
                  <a:pt x="98" y="98"/>
                </a:lnTo>
                <a:lnTo>
                  <a:pt x="102" y="94"/>
                </a:lnTo>
                <a:lnTo>
                  <a:pt x="102" y="94"/>
                </a:lnTo>
                <a:lnTo>
                  <a:pt x="102" y="88"/>
                </a:lnTo>
                <a:lnTo>
                  <a:pt x="102" y="88"/>
                </a:lnTo>
                <a:lnTo>
                  <a:pt x="106" y="78"/>
                </a:lnTo>
                <a:lnTo>
                  <a:pt x="106" y="78"/>
                </a:lnTo>
                <a:lnTo>
                  <a:pt x="108" y="68"/>
                </a:lnTo>
                <a:lnTo>
                  <a:pt x="110" y="68"/>
                </a:lnTo>
                <a:lnTo>
                  <a:pt x="110" y="68"/>
                </a:lnTo>
                <a:lnTo>
                  <a:pt x="110" y="64"/>
                </a:lnTo>
                <a:lnTo>
                  <a:pt x="112" y="62"/>
                </a:lnTo>
                <a:lnTo>
                  <a:pt x="112" y="62"/>
                </a:lnTo>
                <a:lnTo>
                  <a:pt x="120" y="52"/>
                </a:lnTo>
                <a:lnTo>
                  <a:pt x="120" y="52"/>
                </a:lnTo>
                <a:lnTo>
                  <a:pt x="120" y="48"/>
                </a:lnTo>
                <a:lnTo>
                  <a:pt x="120" y="44"/>
                </a:lnTo>
                <a:lnTo>
                  <a:pt x="122" y="42"/>
                </a:lnTo>
                <a:lnTo>
                  <a:pt x="122" y="42"/>
                </a:lnTo>
                <a:lnTo>
                  <a:pt x="122" y="38"/>
                </a:lnTo>
                <a:lnTo>
                  <a:pt x="122" y="38"/>
                </a:lnTo>
                <a:lnTo>
                  <a:pt x="126" y="26"/>
                </a:lnTo>
                <a:lnTo>
                  <a:pt x="126" y="26"/>
                </a:lnTo>
                <a:lnTo>
                  <a:pt x="128" y="14"/>
                </a:lnTo>
                <a:lnTo>
                  <a:pt x="130" y="2"/>
                </a:lnTo>
                <a:lnTo>
                  <a:pt x="130" y="2"/>
                </a:lnTo>
                <a:lnTo>
                  <a:pt x="126" y="0"/>
                </a:lnTo>
                <a:lnTo>
                  <a:pt x="124" y="0"/>
                </a:lnTo>
                <a:lnTo>
                  <a:pt x="124" y="0"/>
                </a:lnTo>
                <a:lnTo>
                  <a:pt x="122" y="2"/>
                </a:lnTo>
                <a:lnTo>
                  <a:pt x="122" y="2"/>
                </a:lnTo>
                <a:lnTo>
                  <a:pt x="108" y="8"/>
                </a:lnTo>
                <a:lnTo>
                  <a:pt x="108" y="8"/>
                </a:lnTo>
                <a:lnTo>
                  <a:pt x="100" y="8"/>
                </a:lnTo>
                <a:lnTo>
                  <a:pt x="94" y="8"/>
                </a:lnTo>
                <a:lnTo>
                  <a:pt x="94" y="8"/>
                </a:lnTo>
                <a:lnTo>
                  <a:pt x="90" y="10"/>
                </a:lnTo>
                <a:lnTo>
                  <a:pt x="90" y="10"/>
                </a:lnTo>
                <a:lnTo>
                  <a:pt x="84" y="12"/>
                </a:lnTo>
                <a:lnTo>
                  <a:pt x="80" y="12"/>
                </a:lnTo>
                <a:lnTo>
                  <a:pt x="80" y="12"/>
                </a:lnTo>
                <a:lnTo>
                  <a:pt x="78" y="16"/>
                </a:lnTo>
                <a:lnTo>
                  <a:pt x="78" y="16"/>
                </a:lnTo>
                <a:lnTo>
                  <a:pt x="70" y="18"/>
                </a:lnTo>
                <a:lnTo>
                  <a:pt x="68" y="20"/>
                </a:lnTo>
                <a:lnTo>
                  <a:pt x="68" y="20"/>
                </a:lnTo>
                <a:lnTo>
                  <a:pt x="66" y="20"/>
                </a:lnTo>
                <a:lnTo>
                  <a:pt x="64" y="18"/>
                </a:lnTo>
                <a:lnTo>
                  <a:pt x="62" y="16"/>
                </a:lnTo>
                <a:lnTo>
                  <a:pt x="62" y="16"/>
                </a:lnTo>
                <a:lnTo>
                  <a:pt x="56" y="16"/>
                </a:lnTo>
                <a:lnTo>
                  <a:pt x="50" y="18"/>
                </a:lnTo>
                <a:lnTo>
                  <a:pt x="38" y="20"/>
                </a:lnTo>
                <a:lnTo>
                  <a:pt x="38" y="20"/>
                </a:lnTo>
                <a:lnTo>
                  <a:pt x="38" y="18"/>
                </a:lnTo>
                <a:lnTo>
                  <a:pt x="38" y="18"/>
                </a:lnTo>
                <a:lnTo>
                  <a:pt x="34" y="16"/>
                </a:lnTo>
                <a:lnTo>
                  <a:pt x="30" y="14"/>
                </a:lnTo>
                <a:lnTo>
                  <a:pt x="24" y="6"/>
                </a:lnTo>
                <a:lnTo>
                  <a:pt x="18" y="14"/>
                </a:lnTo>
                <a:lnTo>
                  <a:pt x="14" y="20"/>
                </a:lnTo>
                <a:lnTo>
                  <a:pt x="14" y="20"/>
                </a:lnTo>
                <a:lnTo>
                  <a:pt x="20" y="26"/>
                </a:lnTo>
                <a:lnTo>
                  <a:pt x="20" y="26"/>
                </a:lnTo>
                <a:lnTo>
                  <a:pt x="22" y="30"/>
                </a:lnTo>
                <a:lnTo>
                  <a:pt x="24" y="34"/>
                </a:lnTo>
                <a:lnTo>
                  <a:pt x="24" y="34"/>
                </a:lnTo>
                <a:lnTo>
                  <a:pt x="28" y="38"/>
                </a:lnTo>
                <a:lnTo>
                  <a:pt x="34" y="42"/>
                </a:lnTo>
                <a:lnTo>
                  <a:pt x="34" y="42"/>
                </a:lnTo>
                <a:lnTo>
                  <a:pt x="70" y="58"/>
                </a:lnTo>
                <a:lnTo>
                  <a:pt x="88" y="58"/>
                </a:lnTo>
                <a:lnTo>
                  <a:pt x="52" y="112"/>
                </a:lnTo>
                <a:lnTo>
                  <a:pt x="36" y="112"/>
                </a:lnTo>
                <a:lnTo>
                  <a:pt x="30" y="116"/>
                </a:lnTo>
                <a:lnTo>
                  <a:pt x="18" y="116"/>
                </a:lnTo>
                <a:lnTo>
                  <a:pt x="14" y="120"/>
                </a:lnTo>
                <a:lnTo>
                  <a:pt x="6" y="136"/>
                </a:lnTo>
                <a:lnTo>
                  <a:pt x="0" y="142"/>
                </a:lnTo>
                <a:lnTo>
                  <a:pt x="0" y="198"/>
                </a:lnTo>
                <a:lnTo>
                  <a:pt x="10" y="208"/>
                </a:lnTo>
                <a:lnTo>
                  <a:pt x="12" y="2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2" name="Freeform 46">
            <a:extLst>
              <a:ext uri="{FF2B5EF4-FFF2-40B4-BE49-F238E27FC236}">
                <a16:creationId xmlns:a16="http://schemas.microsoft.com/office/drawing/2014/main" id="{B9585CD8-3C41-4E3C-94AA-46BC1ECFF165}"/>
              </a:ext>
            </a:extLst>
          </p:cNvPr>
          <p:cNvSpPr>
            <a:spLocks noEditPoints="1"/>
          </p:cNvSpPr>
          <p:nvPr userDrawn="1"/>
        </p:nvSpPr>
        <p:spPr bwMode="auto">
          <a:xfrm>
            <a:off x="9349082" y="3893430"/>
            <a:ext cx="130809" cy="120119"/>
          </a:xfrm>
          <a:custGeom>
            <a:avLst/>
            <a:gdLst>
              <a:gd name="T0" fmla="*/ 66 w 78"/>
              <a:gd name="T1" fmla="*/ 60 h 70"/>
              <a:gd name="T2" fmla="*/ 66 w 78"/>
              <a:gd name="T3" fmla="*/ 64 h 70"/>
              <a:gd name="T4" fmla="*/ 70 w 78"/>
              <a:gd name="T5" fmla="*/ 66 h 70"/>
              <a:gd name="T6" fmla="*/ 78 w 78"/>
              <a:gd name="T7" fmla="*/ 70 h 70"/>
              <a:gd name="T8" fmla="*/ 78 w 78"/>
              <a:gd name="T9" fmla="*/ 68 h 70"/>
              <a:gd name="T10" fmla="*/ 76 w 78"/>
              <a:gd name="T11" fmla="*/ 68 h 70"/>
              <a:gd name="T12" fmla="*/ 66 w 78"/>
              <a:gd name="T13" fmla="*/ 60 h 70"/>
              <a:gd name="T14" fmla="*/ 42 w 78"/>
              <a:gd name="T15" fmla="*/ 44 h 70"/>
              <a:gd name="T16" fmla="*/ 42 w 78"/>
              <a:gd name="T17" fmla="*/ 46 h 70"/>
              <a:gd name="T18" fmla="*/ 42 w 78"/>
              <a:gd name="T19" fmla="*/ 50 h 70"/>
              <a:gd name="T20" fmla="*/ 50 w 78"/>
              <a:gd name="T21" fmla="*/ 52 h 70"/>
              <a:gd name="T22" fmla="*/ 58 w 78"/>
              <a:gd name="T23" fmla="*/ 52 h 70"/>
              <a:gd name="T24" fmla="*/ 56 w 78"/>
              <a:gd name="T25" fmla="*/ 48 h 70"/>
              <a:gd name="T26" fmla="*/ 42 w 78"/>
              <a:gd name="T27" fmla="*/ 44 h 70"/>
              <a:gd name="T28" fmla="*/ 54 w 78"/>
              <a:gd name="T29" fmla="*/ 30 h 70"/>
              <a:gd name="T30" fmla="*/ 58 w 78"/>
              <a:gd name="T31" fmla="*/ 40 h 70"/>
              <a:gd name="T32" fmla="*/ 62 w 78"/>
              <a:gd name="T33" fmla="*/ 44 h 70"/>
              <a:gd name="T34" fmla="*/ 62 w 78"/>
              <a:gd name="T35" fmla="*/ 46 h 70"/>
              <a:gd name="T36" fmla="*/ 66 w 78"/>
              <a:gd name="T37" fmla="*/ 46 h 70"/>
              <a:gd name="T38" fmla="*/ 56 w 78"/>
              <a:gd name="T39" fmla="*/ 30 h 70"/>
              <a:gd name="T40" fmla="*/ 12 w 78"/>
              <a:gd name="T41" fmla="*/ 20 h 70"/>
              <a:gd name="T42" fmla="*/ 10 w 78"/>
              <a:gd name="T43" fmla="*/ 26 h 70"/>
              <a:gd name="T44" fmla="*/ 14 w 78"/>
              <a:gd name="T45" fmla="*/ 30 h 70"/>
              <a:gd name="T46" fmla="*/ 16 w 78"/>
              <a:gd name="T47" fmla="*/ 30 h 70"/>
              <a:gd name="T48" fmla="*/ 18 w 78"/>
              <a:gd name="T49" fmla="*/ 30 h 70"/>
              <a:gd name="T50" fmla="*/ 16 w 78"/>
              <a:gd name="T51" fmla="*/ 22 h 70"/>
              <a:gd name="T52" fmla="*/ 12 w 78"/>
              <a:gd name="T53" fmla="*/ 20 h 70"/>
              <a:gd name="T54" fmla="*/ 28 w 78"/>
              <a:gd name="T55" fmla="*/ 12 h 70"/>
              <a:gd name="T56" fmla="*/ 26 w 78"/>
              <a:gd name="T57" fmla="*/ 16 h 70"/>
              <a:gd name="T58" fmla="*/ 42 w 78"/>
              <a:gd name="T59" fmla="*/ 28 h 70"/>
              <a:gd name="T60" fmla="*/ 42 w 78"/>
              <a:gd name="T61" fmla="*/ 26 h 70"/>
              <a:gd name="T62" fmla="*/ 38 w 78"/>
              <a:gd name="T63" fmla="*/ 22 h 70"/>
              <a:gd name="T64" fmla="*/ 36 w 78"/>
              <a:gd name="T65" fmla="*/ 16 h 70"/>
              <a:gd name="T66" fmla="*/ 28 w 78"/>
              <a:gd name="T67" fmla="*/ 12 h 70"/>
              <a:gd name="T68" fmla="*/ 0 w 78"/>
              <a:gd name="T69" fmla="*/ 0 h 70"/>
              <a:gd name="T70" fmla="*/ 2 w 78"/>
              <a:gd name="T71" fmla="*/ 4 h 70"/>
              <a:gd name="T72" fmla="*/ 6 w 78"/>
              <a:gd name="T73" fmla="*/ 10 h 70"/>
              <a:gd name="T74" fmla="*/ 12 w 78"/>
              <a:gd name="T75" fmla="*/ 10 h 70"/>
              <a:gd name="T76" fmla="*/ 10 w 78"/>
              <a:gd name="T77" fmla="*/ 8 h 70"/>
              <a:gd name="T78" fmla="*/ 0 w 78"/>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 h="70">
                <a:moveTo>
                  <a:pt x="66" y="60"/>
                </a:moveTo>
                <a:lnTo>
                  <a:pt x="66" y="60"/>
                </a:lnTo>
                <a:lnTo>
                  <a:pt x="66" y="62"/>
                </a:lnTo>
                <a:lnTo>
                  <a:pt x="66" y="64"/>
                </a:lnTo>
                <a:lnTo>
                  <a:pt x="66" y="64"/>
                </a:lnTo>
                <a:lnTo>
                  <a:pt x="70" y="66"/>
                </a:lnTo>
                <a:lnTo>
                  <a:pt x="74" y="68"/>
                </a:lnTo>
                <a:lnTo>
                  <a:pt x="78" y="70"/>
                </a:lnTo>
                <a:lnTo>
                  <a:pt x="78" y="68"/>
                </a:lnTo>
                <a:lnTo>
                  <a:pt x="78" y="68"/>
                </a:lnTo>
                <a:lnTo>
                  <a:pt x="76" y="68"/>
                </a:lnTo>
                <a:lnTo>
                  <a:pt x="76" y="68"/>
                </a:lnTo>
                <a:lnTo>
                  <a:pt x="72" y="64"/>
                </a:lnTo>
                <a:lnTo>
                  <a:pt x="66" y="60"/>
                </a:lnTo>
                <a:lnTo>
                  <a:pt x="66" y="60"/>
                </a:lnTo>
                <a:close/>
                <a:moveTo>
                  <a:pt x="42" y="44"/>
                </a:moveTo>
                <a:lnTo>
                  <a:pt x="42" y="44"/>
                </a:lnTo>
                <a:lnTo>
                  <a:pt x="42" y="46"/>
                </a:lnTo>
                <a:lnTo>
                  <a:pt x="42" y="50"/>
                </a:lnTo>
                <a:lnTo>
                  <a:pt x="42" y="50"/>
                </a:lnTo>
                <a:lnTo>
                  <a:pt x="46" y="52"/>
                </a:lnTo>
                <a:lnTo>
                  <a:pt x="50" y="52"/>
                </a:lnTo>
                <a:lnTo>
                  <a:pt x="58" y="52"/>
                </a:lnTo>
                <a:lnTo>
                  <a:pt x="58" y="52"/>
                </a:lnTo>
                <a:lnTo>
                  <a:pt x="56" y="48"/>
                </a:lnTo>
                <a:lnTo>
                  <a:pt x="56" y="48"/>
                </a:lnTo>
                <a:lnTo>
                  <a:pt x="42" y="44"/>
                </a:lnTo>
                <a:lnTo>
                  <a:pt x="42" y="44"/>
                </a:lnTo>
                <a:close/>
                <a:moveTo>
                  <a:pt x="54" y="30"/>
                </a:moveTo>
                <a:lnTo>
                  <a:pt x="54" y="30"/>
                </a:lnTo>
                <a:lnTo>
                  <a:pt x="56" y="36"/>
                </a:lnTo>
                <a:lnTo>
                  <a:pt x="58" y="40"/>
                </a:lnTo>
                <a:lnTo>
                  <a:pt x="58" y="40"/>
                </a:lnTo>
                <a:lnTo>
                  <a:pt x="62" y="44"/>
                </a:lnTo>
                <a:lnTo>
                  <a:pt x="62" y="46"/>
                </a:lnTo>
                <a:lnTo>
                  <a:pt x="62" y="46"/>
                </a:lnTo>
                <a:lnTo>
                  <a:pt x="66" y="46"/>
                </a:lnTo>
                <a:lnTo>
                  <a:pt x="66" y="46"/>
                </a:lnTo>
                <a:lnTo>
                  <a:pt x="62" y="38"/>
                </a:lnTo>
                <a:lnTo>
                  <a:pt x="56" y="30"/>
                </a:lnTo>
                <a:lnTo>
                  <a:pt x="54" y="30"/>
                </a:lnTo>
                <a:close/>
                <a:moveTo>
                  <a:pt x="12" y="20"/>
                </a:moveTo>
                <a:lnTo>
                  <a:pt x="12" y="20"/>
                </a:lnTo>
                <a:lnTo>
                  <a:pt x="10" y="26"/>
                </a:lnTo>
                <a:lnTo>
                  <a:pt x="14" y="30"/>
                </a:lnTo>
                <a:lnTo>
                  <a:pt x="14" y="30"/>
                </a:lnTo>
                <a:lnTo>
                  <a:pt x="14" y="30"/>
                </a:lnTo>
                <a:lnTo>
                  <a:pt x="16" y="30"/>
                </a:lnTo>
                <a:lnTo>
                  <a:pt x="18" y="30"/>
                </a:lnTo>
                <a:lnTo>
                  <a:pt x="18" y="30"/>
                </a:lnTo>
                <a:lnTo>
                  <a:pt x="18" y="26"/>
                </a:lnTo>
                <a:lnTo>
                  <a:pt x="16" y="22"/>
                </a:lnTo>
                <a:lnTo>
                  <a:pt x="16" y="22"/>
                </a:lnTo>
                <a:lnTo>
                  <a:pt x="12" y="20"/>
                </a:lnTo>
                <a:lnTo>
                  <a:pt x="12" y="20"/>
                </a:lnTo>
                <a:close/>
                <a:moveTo>
                  <a:pt x="28" y="12"/>
                </a:moveTo>
                <a:lnTo>
                  <a:pt x="28" y="12"/>
                </a:lnTo>
                <a:lnTo>
                  <a:pt x="26" y="16"/>
                </a:lnTo>
                <a:lnTo>
                  <a:pt x="26" y="16"/>
                </a:lnTo>
                <a:lnTo>
                  <a:pt x="42" y="28"/>
                </a:lnTo>
                <a:lnTo>
                  <a:pt x="42" y="28"/>
                </a:lnTo>
                <a:lnTo>
                  <a:pt x="42" y="26"/>
                </a:lnTo>
                <a:lnTo>
                  <a:pt x="42" y="26"/>
                </a:lnTo>
                <a:lnTo>
                  <a:pt x="38" y="22"/>
                </a:lnTo>
                <a:lnTo>
                  <a:pt x="38" y="22"/>
                </a:lnTo>
                <a:lnTo>
                  <a:pt x="36" y="16"/>
                </a:lnTo>
                <a:lnTo>
                  <a:pt x="36" y="16"/>
                </a:lnTo>
                <a:lnTo>
                  <a:pt x="28" y="12"/>
                </a:lnTo>
                <a:lnTo>
                  <a:pt x="28" y="12"/>
                </a:lnTo>
                <a:close/>
                <a:moveTo>
                  <a:pt x="0" y="0"/>
                </a:moveTo>
                <a:lnTo>
                  <a:pt x="0" y="0"/>
                </a:lnTo>
                <a:lnTo>
                  <a:pt x="2" y="4"/>
                </a:lnTo>
                <a:lnTo>
                  <a:pt x="4" y="8"/>
                </a:lnTo>
                <a:lnTo>
                  <a:pt x="6" y="10"/>
                </a:lnTo>
                <a:lnTo>
                  <a:pt x="12" y="10"/>
                </a:lnTo>
                <a:lnTo>
                  <a:pt x="12" y="10"/>
                </a:lnTo>
                <a:lnTo>
                  <a:pt x="10" y="8"/>
                </a:lnTo>
                <a:lnTo>
                  <a:pt x="10" y="8"/>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3" name="Freeform 47">
            <a:extLst>
              <a:ext uri="{FF2B5EF4-FFF2-40B4-BE49-F238E27FC236}">
                <a16:creationId xmlns:a16="http://schemas.microsoft.com/office/drawing/2014/main" id="{85F7D4A7-6378-4302-B949-66565FC8B828}"/>
              </a:ext>
            </a:extLst>
          </p:cNvPr>
          <p:cNvSpPr>
            <a:spLocks/>
          </p:cNvSpPr>
          <p:nvPr userDrawn="1"/>
        </p:nvSpPr>
        <p:spPr bwMode="auto">
          <a:xfrm>
            <a:off x="6149297" y="2263242"/>
            <a:ext cx="77144" cy="75504"/>
          </a:xfrm>
          <a:custGeom>
            <a:avLst/>
            <a:gdLst>
              <a:gd name="T0" fmla="*/ 6 w 46"/>
              <a:gd name="T1" fmla="*/ 34 h 44"/>
              <a:gd name="T2" fmla="*/ 6 w 46"/>
              <a:gd name="T3" fmla="*/ 38 h 44"/>
              <a:gd name="T4" fmla="*/ 4 w 46"/>
              <a:gd name="T5" fmla="*/ 38 h 44"/>
              <a:gd name="T6" fmla="*/ 2 w 46"/>
              <a:gd name="T7" fmla="*/ 42 h 44"/>
              <a:gd name="T8" fmla="*/ 4 w 46"/>
              <a:gd name="T9" fmla="*/ 44 h 44"/>
              <a:gd name="T10" fmla="*/ 12 w 46"/>
              <a:gd name="T11" fmla="*/ 42 h 44"/>
              <a:gd name="T12" fmla="*/ 20 w 46"/>
              <a:gd name="T13" fmla="*/ 38 h 44"/>
              <a:gd name="T14" fmla="*/ 22 w 46"/>
              <a:gd name="T15" fmla="*/ 34 h 44"/>
              <a:gd name="T16" fmla="*/ 20 w 46"/>
              <a:gd name="T17" fmla="*/ 30 h 44"/>
              <a:gd name="T18" fmla="*/ 22 w 46"/>
              <a:gd name="T19" fmla="*/ 30 h 44"/>
              <a:gd name="T20" fmla="*/ 26 w 46"/>
              <a:gd name="T21" fmla="*/ 32 h 44"/>
              <a:gd name="T22" fmla="*/ 28 w 46"/>
              <a:gd name="T23" fmla="*/ 32 h 44"/>
              <a:gd name="T24" fmla="*/ 32 w 46"/>
              <a:gd name="T25" fmla="*/ 20 h 44"/>
              <a:gd name="T26" fmla="*/ 34 w 46"/>
              <a:gd name="T27" fmla="*/ 18 h 44"/>
              <a:gd name="T28" fmla="*/ 36 w 46"/>
              <a:gd name="T29" fmla="*/ 18 h 44"/>
              <a:gd name="T30" fmla="*/ 42 w 46"/>
              <a:gd name="T31" fmla="*/ 14 h 44"/>
              <a:gd name="T32" fmla="*/ 44 w 46"/>
              <a:gd name="T33" fmla="*/ 12 h 44"/>
              <a:gd name="T34" fmla="*/ 46 w 46"/>
              <a:gd name="T35" fmla="*/ 10 h 44"/>
              <a:gd name="T36" fmla="*/ 46 w 46"/>
              <a:gd name="T37" fmla="*/ 6 h 44"/>
              <a:gd name="T38" fmla="*/ 44 w 46"/>
              <a:gd name="T39" fmla="*/ 2 h 44"/>
              <a:gd name="T40" fmla="*/ 44 w 46"/>
              <a:gd name="T41" fmla="*/ 0 h 44"/>
              <a:gd name="T42" fmla="*/ 38 w 46"/>
              <a:gd name="T43" fmla="*/ 4 h 44"/>
              <a:gd name="T44" fmla="*/ 30 w 46"/>
              <a:gd name="T45" fmla="*/ 2 h 44"/>
              <a:gd name="T46" fmla="*/ 26 w 46"/>
              <a:gd name="T47" fmla="*/ 4 h 44"/>
              <a:gd name="T48" fmla="*/ 22 w 46"/>
              <a:gd name="T49" fmla="*/ 6 h 44"/>
              <a:gd name="T50" fmla="*/ 14 w 46"/>
              <a:gd name="T51" fmla="*/ 8 h 44"/>
              <a:gd name="T52" fmla="*/ 8 w 46"/>
              <a:gd name="T53" fmla="*/ 8 h 44"/>
              <a:gd name="T54" fmla="*/ 8 w 46"/>
              <a:gd name="T55" fmla="*/ 10 h 44"/>
              <a:gd name="T56" fmla="*/ 6 w 46"/>
              <a:gd name="T57" fmla="*/ 12 h 44"/>
              <a:gd name="T58" fmla="*/ 2 w 46"/>
              <a:gd name="T59" fmla="*/ 12 h 44"/>
              <a:gd name="T60" fmla="*/ 0 w 46"/>
              <a:gd name="T61" fmla="*/ 20 h 44"/>
              <a:gd name="T62" fmla="*/ 2 w 46"/>
              <a:gd name="T63" fmla="*/ 22 h 44"/>
              <a:gd name="T64" fmla="*/ 4 w 46"/>
              <a:gd name="T65" fmla="*/ 22 h 44"/>
              <a:gd name="T66" fmla="*/ 6 w 46"/>
              <a:gd name="T67" fmla="*/ 26 h 44"/>
              <a:gd name="T68" fmla="*/ 4 w 46"/>
              <a:gd name="T69" fmla="*/ 32 h 44"/>
              <a:gd name="T70" fmla="*/ 6 w 46"/>
              <a:gd name="T71"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44">
                <a:moveTo>
                  <a:pt x="6" y="34"/>
                </a:moveTo>
                <a:lnTo>
                  <a:pt x="6" y="34"/>
                </a:lnTo>
                <a:lnTo>
                  <a:pt x="6" y="36"/>
                </a:lnTo>
                <a:lnTo>
                  <a:pt x="6" y="38"/>
                </a:lnTo>
                <a:lnTo>
                  <a:pt x="4" y="38"/>
                </a:lnTo>
                <a:lnTo>
                  <a:pt x="4" y="38"/>
                </a:lnTo>
                <a:lnTo>
                  <a:pt x="4" y="42"/>
                </a:lnTo>
                <a:lnTo>
                  <a:pt x="2" y="42"/>
                </a:lnTo>
                <a:lnTo>
                  <a:pt x="2" y="42"/>
                </a:lnTo>
                <a:lnTo>
                  <a:pt x="4" y="44"/>
                </a:lnTo>
                <a:lnTo>
                  <a:pt x="4" y="44"/>
                </a:lnTo>
                <a:lnTo>
                  <a:pt x="12" y="42"/>
                </a:lnTo>
                <a:lnTo>
                  <a:pt x="16" y="40"/>
                </a:lnTo>
                <a:lnTo>
                  <a:pt x="20" y="38"/>
                </a:lnTo>
                <a:lnTo>
                  <a:pt x="20" y="38"/>
                </a:lnTo>
                <a:lnTo>
                  <a:pt x="22" y="34"/>
                </a:lnTo>
                <a:lnTo>
                  <a:pt x="20" y="30"/>
                </a:lnTo>
                <a:lnTo>
                  <a:pt x="20" y="30"/>
                </a:lnTo>
                <a:lnTo>
                  <a:pt x="22" y="28"/>
                </a:lnTo>
                <a:lnTo>
                  <a:pt x="22" y="30"/>
                </a:lnTo>
                <a:lnTo>
                  <a:pt x="24" y="32"/>
                </a:lnTo>
                <a:lnTo>
                  <a:pt x="26" y="32"/>
                </a:lnTo>
                <a:lnTo>
                  <a:pt x="26" y="32"/>
                </a:lnTo>
                <a:lnTo>
                  <a:pt x="28" y="32"/>
                </a:lnTo>
                <a:lnTo>
                  <a:pt x="30" y="28"/>
                </a:lnTo>
                <a:lnTo>
                  <a:pt x="32" y="20"/>
                </a:lnTo>
                <a:lnTo>
                  <a:pt x="32" y="20"/>
                </a:lnTo>
                <a:lnTo>
                  <a:pt x="34" y="18"/>
                </a:lnTo>
                <a:lnTo>
                  <a:pt x="36" y="18"/>
                </a:lnTo>
                <a:lnTo>
                  <a:pt x="36" y="18"/>
                </a:lnTo>
                <a:lnTo>
                  <a:pt x="40" y="18"/>
                </a:lnTo>
                <a:lnTo>
                  <a:pt x="42" y="14"/>
                </a:lnTo>
                <a:lnTo>
                  <a:pt x="42" y="14"/>
                </a:lnTo>
                <a:lnTo>
                  <a:pt x="44" y="12"/>
                </a:lnTo>
                <a:lnTo>
                  <a:pt x="46" y="10"/>
                </a:lnTo>
                <a:lnTo>
                  <a:pt x="46" y="10"/>
                </a:lnTo>
                <a:lnTo>
                  <a:pt x="46" y="10"/>
                </a:lnTo>
                <a:lnTo>
                  <a:pt x="46" y="6"/>
                </a:lnTo>
                <a:lnTo>
                  <a:pt x="46" y="6"/>
                </a:lnTo>
                <a:lnTo>
                  <a:pt x="44" y="2"/>
                </a:lnTo>
                <a:lnTo>
                  <a:pt x="44" y="0"/>
                </a:lnTo>
                <a:lnTo>
                  <a:pt x="44" y="0"/>
                </a:lnTo>
                <a:lnTo>
                  <a:pt x="38" y="4"/>
                </a:lnTo>
                <a:lnTo>
                  <a:pt x="38" y="4"/>
                </a:lnTo>
                <a:lnTo>
                  <a:pt x="34" y="4"/>
                </a:lnTo>
                <a:lnTo>
                  <a:pt x="30" y="2"/>
                </a:lnTo>
                <a:lnTo>
                  <a:pt x="30" y="2"/>
                </a:lnTo>
                <a:lnTo>
                  <a:pt x="26" y="4"/>
                </a:lnTo>
                <a:lnTo>
                  <a:pt x="22" y="6"/>
                </a:lnTo>
                <a:lnTo>
                  <a:pt x="22" y="6"/>
                </a:lnTo>
                <a:lnTo>
                  <a:pt x="20" y="10"/>
                </a:lnTo>
                <a:lnTo>
                  <a:pt x="14" y="8"/>
                </a:lnTo>
                <a:lnTo>
                  <a:pt x="14" y="8"/>
                </a:lnTo>
                <a:lnTo>
                  <a:pt x="8" y="8"/>
                </a:lnTo>
                <a:lnTo>
                  <a:pt x="8" y="10"/>
                </a:lnTo>
                <a:lnTo>
                  <a:pt x="8" y="10"/>
                </a:lnTo>
                <a:lnTo>
                  <a:pt x="6" y="12"/>
                </a:lnTo>
                <a:lnTo>
                  <a:pt x="6" y="12"/>
                </a:lnTo>
                <a:lnTo>
                  <a:pt x="2" y="12"/>
                </a:lnTo>
                <a:lnTo>
                  <a:pt x="2" y="12"/>
                </a:lnTo>
                <a:lnTo>
                  <a:pt x="0" y="16"/>
                </a:lnTo>
                <a:lnTo>
                  <a:pt x="0" y="20"/>
                </a:lnTo>
                <a:lnTo>
                  <a:pt x="2" y="22"/>
                </a:lnTo>
                <a:lnTo>
                  <a:pt x="2" y="22"/>
                </a:lnTo>
                <a:lnTo>
                  <a:pt x="4" y="22"/>
                </a:lnTo>
                <a:lnTo>
                  <a:pt x="4" y="22"/>
                </a:lnTo>
                <a:lnTo>
                  <a:pt x="6" y="26"/>
                </a:lnTo>
                <a:lnTo>
                  <a:pt x="6" y="26"/>
                </a:lnTo>
                <a:lnTo>
                  <a:pt x="4" y="30"/>
                </a:lnTo>
                <a:lnTo>
                  <a:pt x="4" y="32"/>
                </a:lnTo>
                <a:lnTo>
                  <a:pt x="6" y="32"/>
                </a:lnTo>
                <a:lnTo>
                  <a:pt x="6" y="3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4" name="Freeform 48">
            <a:extLst>
              <a:ext uri="{FF2B5EF4-FFF2-40B4-BE49-F238E27FC236}">
                <a16:creationId xmlns:a16="http://schemas.microsoft.com/office/drawing/2014/main" id="{DEB8F15F-E231-4CBE-B2F0-9171D8DD14CF}"/>
              </a:ext>
            </a:extLst>
          </p:cNvPr>
          <p:cNvSpPr>
            <a:spLocks/>
          </p:cNvSpPr>
          <p:nvPr userDrawn="1"/>
        </p:nvSpPr>
        <p:spPr bwMode="auto">
          <a:xfrm>
            <a:off x="6229794" y="2174011"/>
            <a:ext cx="160996" cy="68639"/>
          </a:xfrm>
          <a:custGeom>
            <a:avLst/>
            <a:gdLst>
              <a:gd name="T0" fmla="*/ 92 w 96"/>
              <a:gd name="T1" fmla="*/ 26 h 40"/>
              <a:gd name="T2" fmla="*/ 90 w 96"/>
              <a:gd name="T3" fmla="*/ 32 h 40"/>
              <a:gd name="T4" fmla="*/ 84 w 96"/>
              <a:gd name="T5" fmla="*/ 30 h 40"/>
              <a:gd name="T6" fmla="*/ 82 w 96"/>
              <a:gd name="T7" fmla="*/ 28 h 40"/>
              <a:gd name="T8" fmla="*/ 74 w 96"/>
              <a:gd name="T9" fmla="*/ 30 h 40"/>
              <a:gd name="T10" fmla="*/ 68 w 96"/>
              <a:gd name="T11" fmla="*/ 30 h 40"/>
              <a:gd name="T12" fmla="*/ 62 w 96"/>
              <a:gd name="T13" fmla="*/ 30 h 40"/>
              <a:gd name="T14" fmla="*/ 56 w 96"/>
              <a:gd name="T15" fmla="*/ 34 h 40"/>
              <a:gd name="T16" fmla="*/ 54 w 96"/>
              <a:gd name="T17" fmla="*/ 36 h 40"/>
              <a:gd name="T18" fmla="*/ 50 w 96"/>
              <a:gd name="T19" fmla="*/ 34 h 40"/>
              <a:gd name="T20" fmla="*/ 50 w 96"/>
              <a:gd name="T21" fmla="*/ 32 h 40"/>
              <a:gd name="T22" fmla="*/ 40 w 96"/>
              <a:gd name="T23" fmla="*/ 34 h 40"/>
              <a:gd name="T24" fmla="*/ 34 w 96"/>
              <a:gd name="T25" fmla="*/ 36 h 40"/>
              <a:gd name="T26" fmla="*/ 34 w 96"/>
              <a:gd name="T27" fmla="*/ 40 h 40"/>
              <a:gd name="T28" fmla="*/ 34 w 96"/>
              <a:gd name="T29" fmla="*/ 40 h 40"/>
              <a:gd name="T30" fmla="*/ 28 w 96"/>
              <a:gd name="T31" fmla="*/ 40 h 40"/>
              <a:gd name="T32" fmla="*/ 16 w 96"/>
              <a:gd name="T33" fmla="*/ 38 h 40"/>
              <a:gd name="T34" fmla="*/ 10 w 96"/>
              <a:gd name="T35" fmla="*/ 36 h 40"/>
              <a:gd name="T36" fmla="*/ 4 w 96"/>
              <a:gd name="T37" fmla="*/ 28 h 40"/>
              <a:gd name="T38" fmla="*/ 0 w 96"/>
              <a:gd name="T39" fmla="*/ 26 h 40"/>
              <a:gd name="T40" fmla="*/ 4 w 96"/>
              <a:gd name="T41" fmla="*/ 20 h 40"/>
              <a:gd name="T42" fmla="*/ 4 w 96"/>
              <a:gd name="T43" fmla="*/ 18 h 40"/>
              <a:gd name="T44" fmla="*/ 10 w 96"/>
              <a:gd name="T45" fmla="*/ 14 h 40"/>
              <a:gd name="T46" fmla="*/ 10 w 96"/>
              <a:gd name="T47" fmla="*/ 14 h 40"/>
              <a:gd name="T48" fmla="*/ 12 w 96"/>
              <a:gd name="T49" fmla="*/ 10 h 40"/>
              <a:gd name="T50" fmla="*/ 12 w 96"/>
              <a:gd name="T51" fmla="*/ 8 h 40"/>
              <a:gd name="T52" fmla="*/ 20 w 96"/>
              <a:gd name="T53" fmla="*/ 6 h 40"/>
              <a:gd name="T54" fmla="*/ 26 w 96"/>
              <a:gd name="T55" fmla="*/ 6 h 40"/>
              <a:gd name="T56" fmla="*/ 34 w 96"/>
              <a:gd name="T57" fmla="*/ 6 h 40"/>
              <a:gd name="T58" fmla="*/ 40 w 96"/>
              <a:gd name="T59" fmla="*/ 10 h 40"/>
              <a:gd name="T60" fmla="*/ 46 w 96"/>
              <a:gd name="T61" fmla="*/ 12 h 40"/>
              <a:gd name="T62" fmla="*/ 50 w 96"/>
              <a:gd name="T63" fmla="*/ 10 h 40"/>
              <a:gd name="T64" fmla="*/ 52 w 96"/>
              <a:gd name="T65" fmla="*/ 8 h 40"/>
              <a:gd name="T66" fmla="*/ 58 w 96"/>
              <a:gd name="T67" fmla="*/ 6 h 40"/>
              <a:gd name="T68" fmla="*/ 62 w 96"/>
              <a:gd name="T69" fmla="*/ 4 h 40"/>
              <a:gd name="T70" fmla="*/ 68 w 96"/>
              <a:gd name="T71" fmla="*/ 0 h 40"/>
              <a:gd name="T72" fmla="*/ 72 w 96"/>
              <a:gd name="T73" fmla="*/ 0 h 40"/>
              <a:gd name="T74" fmla="*/ 80 w 96"/>
              <a:gd name="T75" fmla="*/ 6 h 40"/>
              <a:gd name="T76" fmla="*/ 82 w 96"/>
              <a:gd name="T77" fmla="*/ 6 h 40"/>
              <a:gd name="T78" fmla="*/ 88 w 96"/>
              <a:gd name="T79" fmla="*/ 12 h 40"/>
              <a:gd name="T80" fmla="*/ 90 w 96"/>
              <a:gd name="T81" fmla="*/ 14 h 40"/>
              <a:gd name="T82" fmla="*/ 90 w 96"/>
              <a:gd name="T83" fmla="*/ 18 h 40"/>
              <a:gd name="T84" fmla="*/ 96 w 96"/>
              <a:gd name="T85"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40">
                <a:moveTo>
                  <a:pt x="96" y="24"/>
                </a:moveTo>
                <a:lnTo>
                  <a:pt x="92" y="26"/>
                </a:lnTo>
                <a:lnTo>
                  <a:pt x="90" y="32"/>
                </a:lnTo>
                <a:lnTo>
                  <a:pt x="90" y="32"/>
                </a:lnTo>
                <a:lnTo>
                  <a:pt x="88" y="32"/>
                </a:lnTo>
                <a:lnTo>
                  <a:pt x="84" y="30"/>
                </a:lnTo>
                <a:lnTo>
                  <a:pt x="84" y="30"/>
                </a:lnTo>
                <a:lnTo>
                  <a:pt x="82" y="28"/>
                </a:lnTo>
                <a:lnTo>
                  <a:pt x="80" y="28"/>
                </a:lnTo>
                <a:lnTo>
                  <a:pt x="74" y="30"/>
                </a:lnTo>
                <a:lnTo>
                  <a:pt x="74" y="30"/>
                </a:lnTo>
                <a:lnTo>
                  <a:pt x="68" y="30"/>
                </a:lnTo>
                <a:lnTo>
                  <a:pt x="62" y="30"/>
                </a:lnTo>
                <a:lnTo>
                  <a:pt x="62" y="30"/>
                </a:lnTo>
                <a:lnTo>
                  <a:pt x="58" y="34"/>
                </a:lnTo>
                <a:lnTo>
                  <a:pt x="56" y="34"/>
                </a:lnTo>
                <a:lnTo>
                  <a:pt x="56" y="34"/>
                </a:lnTo>
                <a:lnTo>
                  <a:pt x="54" y="36"/>
                </a:lnTo>
                <a:lnTo>
                  <a:pt x="52" y="34"/>
                </a:lnTo>
                <a:lnTo>
                  <a:pt x="50" y="34"/>
                </a:lnTo>
                <a:lnTo>
                  <a:pt x="50" y="34"/>
                </a:lnTo>
                <a:lnTo>
                  <a:pt x="50" y="32"/>
                </a:lnTo>
                <a:lnTo>
                  <a:pt x="48" y="32"/>
                </a:lnTo>
                <a:lnTo>
                  <a:pt x="40" y="34"/>
                </a:lnTo>
                <a:lnTo>
                  <a:pt x="40" y="34"/>
                </a:lnTo>
                <a:lnTo>
                  <a:pt x="34" y="36"/>
                </a:lnTo>
                <a:lnTo>
                  <a:pt x="34" y="36"/>
                </a:lnTo>
                <a:lnTo>
                  <a:pt x="34" y="40"/>
                </a:lnTo>
                <a:lnTo>
                  <a:pt x="34" y="40"/>
                </a:lnTo>
                <a:lnTo>
                  <a:pt x="34" y="40"/>
                </a:lnTo>
                <a:lnTo>
                  <a:pt x="28" y="40"/>
                </a:lnTo>
                <a:lnTo>
                  <a:pt x="28" y="40"/>
                </a:lnTo>
                <a:lnTo>
                  <a:pt x="20" y="38"/>
                </a:lnTo>
                <a:lnTo>
                  <a:pt x="16" y="38"/>
                </a:lnTo>
                <a:lnTo>
                  <a:pt x="16" y="38"/>
                </a:lnTo>
                <a:lnTo>
                  <a:pt x="10" y="36"/>
                </a:lnTo>
                <a:lnTo>
                  <a:pt x="6" y="34"/>
                </a:lnTo>
                <a:lnTo>
                  <a:pt x="4" y="28"/>
                </a:lnTo>
                <a:lnTo>
                  <a:pt x="4" y="28"/>
                </a:lnTo>
                <a:lnTo>
                  <a:pt x="0" y="26"/>
                </a:lnTo>
                <a:lnTo>
                  <a:pt x="0" y="24"/>
                </a:lnTo>
                <a:lnTo>
                  <a:pt x="4" y="20"/>
                </a:lnTo>
                <a:lnTo>
                  <a:pt x="4" y="20"/>
                </a:lnTo>
                <a:lnTo>
                  <a:pt x="4" y="18"/>
                </a:lnTo>
                <a:lnTo>
                  <a:pt x="6" y="16"/>
                </a:lnTo>
                <a:lnTo>
                  <a:pt x="10" y="14"/>
                </a:lnTo>
                <a:lnTo>
                  <a:pt x="10" y="14"/>
                </a:lnTo>
                <a:lnTo>
                  <a:pt x="10" y="14"/>
                </a:lnTo>
                <a:lnTo>
                  <a:pt x="12" y="12"/>
                </a:lnTo>
                <a:lnTo>
                  <a:pt x="12" y="10"/>
                </a:lnTo>
                <a:lnTo>
                  <a:pt x="12" y="8"/>
                </a:lnTo>
                <a:lnTo>
                  <a:pt x="12" y="8"/>
                </a:lnTo>
                <a:lnTo>
                  <a:pt x="20" y="6"/>
                </a:lnTo>
                <a:lnTo>
                  <a:pt x="20" y="6"/>
                </a:lnTo>
                <a:lnTo>
                  <a:pt x="26" y="6"/>
                </a:lnTo>
                <a:lnTo>
                  <a:pt x="26" y="6"/>
                </a:lnTo>
                <a:lnTo>
                  <a:pt x="30" y="4"/>
                </a:lnTo>
                <a:lnTo>
                  <a:pt x="34" y="6"/>
                </a:lnTo>
                <a:lnTo>
                  <a:pt x="34" y="6"/>
                </a:lnTo>
                <a:lnTo>
                  <a:pt x="40" y="10"/>
                </a:lnTo>
                <a:lnTo>
                  <a:pt x="40" y="10"/>
                </a:lnTo>
                <a:lnTo>
                  <a:pt x="46" y="12"/>
                </a:lnTo>
                <a:lnTo>
                  <a:pt x="48" y="12"/>
                </a:lnTo>
                <a:lnTo>
                  <a:pt x="50" y="10"/>
                </a:lnTo>
                <a:lnTo>
                  <a:pt x="50" y="10"/>
                </a:lnTo>
                <a:lnTo>
                  <a:pt x="52" y="8"/>
                </a:lnTo>
                <a:lnTo>
                  <a:pt x="54" y="8"/>
                </a:lnTo>
                <a:lnTo>
                  <a:pt x="58" y="6"/>
                </a:lnTo>
                <a:lnTo>
                  <a:pt x="58" y="6"/>
                </a:lnTo>
                <a:lnTo>
                  <a:pt x="62" y="4"/>
                </a:lnTo>
                <a:lnTo>
                  <a:pt x="66" y="2"/>
                </a:lnTo>
                <a:lnTo>
                  <a:pt x="68" y="0"/>
                </a:lnTo>
                <a:lnTo>
                  <a:pt x="72" y="0"/>
                </a:lnTo>
                <a:lnTo>
                  <a:pt x="72" y="0"/>
                </a:lnTo>
                <a:lnTo>
                  <a:pt x="76" y="4"/>
                </a:lnTo>
                <a:lnTo>
                  <a:pt x="80" y="6"/>
                </a:lnTo>
                <a:lnTo>
                  <a:pt x="80" y="6"/>
                </a:lnTo>
                <a:lnTo>
                  <a:pt x="82" y="6"/>
                </a:lnTo>
                <a:lnTo>
                  <a:pt x="84" y="8"/>
                </a:lnTo>
                <a:lnTo>
                  <a:pt x="88" y="12"/>
                </a:lnTo>
                <a:lnTo>
                  <a:pt x="88" y="12"/>
                </a:lnTo>
                <a:lnTo>
                  <a:pt x="90" y="14"/>
                </a:lnTo>
                <a:lnTo>
                  <a:pt x="90" y="18"/>
                </a:lnTo>
                <a:lnTo>
                  <a:pt x="90" y="18"/>
                </a:lnTo>
                <a:lnTo>
                  <a:pt x="94" y="22"/>
                </a:lnTo>
                <a:lnTo>
                  <a:pt x="96" y="24"/>
                </a:lnTo>
                <a:lnTo>
                  <a:pt x="96" y="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5" name="Freeform 49">
            <a:extLst>
              <a:ext uri="{FF2B5EF4-FFF2-40B4-BE49-F238E27FC236}">
                <a16:creationId xmlns:a16="http://schemas.microsoft.com/office/drawing/2014/main" id="{62CAFBE2-17F3-4ABE-B59A-C2AB7F37D3BF}"/>
              </a:ext>
            </a:extLst>
          </p:cNvPr>
          <p:cNvSpPr>
            <a:spLocks/>
          </p:cNvSpPr>
          <p:nvPr userDrawn="1"/>
        </p:nvSpPr>
        <p:spPr bwMode="auto">
          <a:xfrm>
            <a:off x="5547240" y="3392362"/>
            <a:ext cx="77144" cy="99528"/>
          </a:xfrm>
          <a:custGeom>
            <a:avLst/>
            <a:gdLst>
              <a:gd name="T0" fmla="*/ 2 w 46"/>
              <a:gd name="T1" fmla="*/ 18 h 58"/>
              <a:gd name="T2" fmla="*/ 2 w 46"/>
              <a:gd name="T3" fmla="*/ 26 h 58"/>
              <a:gd name="T4" fmla="*/ 6 w 46"/>
              <a:gd name="T5" fmla="*/ 34 h 58"/>
              <a:gd name="T6" fmla="*/ 2 w 46"/>
              <a:gd name="T7" fmla="*/ 34 h 58"/>
              <a:gd name="T8" fmla="*/ 4 w 46"/>
              <a:gd name="T9" fmla="*/ 36 h 58"/>
              <a:gd name="T10" fmla="*/ 8 w 46"/>
              <a:gd name="T11" fmla="*/ 38 h 58"/>
              <a:gd name="T12" fmla="*/ 8 w 46"/>
              <a:gd name="T13" fmla="*/ 48 h 58"/>
              <a:gd name="T14" fmla="*/ 10 w 46"/>
              <a:gd name="T15" fmla="*/ 48 h 58"/>
              <a:gd name="T16" fmla="*/ 10 w 46"/>
              <a:gd name="T17" fmla="*/ 46 h 58"/>
              <a:gd name="T18" fmla="*/ 12 w 46"/>
              <a:gd name="T19" fmla="*/ 46 h 58"/>
              <a:gd name="T20" fmla="*/ 16 w 46"/>
              <a:gd name="T21" fmla="*/ 54 h 58"/>
              <a:gd name="T22" fmla="*/ 18 w 46"/>
              <a:gd name="T23" fmla="*/ 56 h 58"/>
              <a:gd name="T24" fmla="*/ 26 w 46"/>
              <a:gd name="T25" fmla="*/ 58 h 58"/>
              <a:gd name="T26" fmla="*/ 30 w 46"/>
              <a:gd name="T27" fmla="*/ 48 h 58"/>
              <a:gd name="T28" fmla="*/ 38 w 46"/>
              <a:gd name="T29" fmla="*/ 40 h 58"/>
              <a:gd name="T30" fmla="*/ 38 w 46"/>
              <a:gd name="T31" fmla="*/ 36 h 58"/>
              <a:gd name="T32" fmla="*/ 42 w 46"/>
              <a:gd name="T33" fmla="*/ 34 h 58"/>
              <a:gd name="T34" fmla="*/ 44 w 46"/>
              <a:gd name="T35" fmla="*/ 32 h 58"/>
              <a:gd name="T36" fmla="*/ 40 w 46"/>
              <a:gd name="T37" fmla="*/ 30 h 58"/>
              <a:gd name="T38" fmla="*/ 40 w 46"/>
              <a:gd name="T39" fmla="*/ 26 h 58"/>
              <a:gd name="T40" fmla="*/ 42 w 46"/>
              <a:gd name="T41" fmla="*/ 22 h 58"/>
              <a:gd name="T42" fmla="*/ 38 w 46"/>
              <a:gd name="T43" fmla="*/ 16 h 58"/>
              <a:gd name="T44" fmla="*/ 36 w 46"/>
              <a:gd name="T45" fmla="*/ 12 h 58"/>
              <a:gd name="T46" fmla="*/ 34 w 46"/>
              <a:gd name="T47" fmla="*/ 10 h 58"/>
              <a:gd name="T48" fmla="*/ 34 w 46"/>
              <a:gd name="T49" fmla="*/ 4 h 58"/>
              <a:gd name="T50" fmla="*/ 30 w 46"/>
              <a:gd name="T51" fmla="*/ 2 h 58"/>
              <a:gd name="T52" fmla="*/ 26 w 46"/>
              <a:gd name="T53" fmla="*/ 2 h 58"/>
              <a:gd name="T54" fmla="*/ 22 w 46"/>
              <a:gd name="T55" fmla="*/ 2 h 58"/>
              <a:gd name="T56" fmla="*/ 14 w 46"/>
              <a:gd name="T57" fmla="*/ 0 h 58"/>
              <a:gd name="T58" fmla="*/ 12 w 46"/>
              <a:gd name="T59" fmla="*/ 4 h 58"/>
              <a:gd name="T60" fmla="*/ 10 w 46"/>
              <a:gd name="T61" fmla="*/ 12 h 58"/>
              <a:gd name="T62" fmla="*/ 8 w 46"/>
              <a:gd name="T63" fmla="*/ 14 h 58"/>
              <a:gd name="T64" fmla="*/ 6 w 46"/>
              <a:gd name="T65" fmla="*/ 18 h 58"/>
              <a:gd name="T66" fmla="*/ 4 w 46"/>
              <a:gd name="T67" fmla="*/ 20 h 58"/>
              <a:gd name="T68" fmla="*/ 2 w 46"/>
              <a:gd name="T69" fmla="*/ 1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58">
                <a:moveTo>
                  <a:pt x="2" y="18"/>
                </a:moveTo>
                <a:lnTo>
                  <a:pt x="2" y="18"/>
                </a:lnTo>
                <a:lnTo>
                  <a:pt x="0" y="22"/>
                </a:lnTo>
                <a:lnTo>
                  <a:pt x="2" y="26"/>
                </a:lnTo>
                <a:lnTo>
                  <a:pt x="6" y="34"/>
                </a:lnTo>
                <a:lnTo>
                  <a:pt x="6" y="34"/>
                </a:lnTo>
                <a:lnTo>
                  <a:pt x="4" y="34"/>
                </a:lnTo>
                <a:lnTo>
                  <a:pt x="2" y="34"/>
                </a:lnTo>
                <a:lnTo>
                  <a:pt x="4" y="36"/>
                </a:lnTo>
                <a:lnTo>
                  <a:pt x="4" y="36"/>
                </a:lnTo>
                <a:lnTo>
                  <a:pt x="8" y="38"/>
                </a:lnTo>
                <a:lnTo>
                  <a:pt x="8" y="38"/>
                </a:lnTo>
                <a:lnTo>
                  <a:pt x="8" y="44"/>
                </a:lnTo>
                <a:lnTo>
                  <a:pt x="8" y="48"/>
                </a:lnTo>
                <a:lnTo>
                  <a:pt x="8" y="48"/>
                </a:lnTo>
                <a:lnTo>
                  <a:pt x="10" y="48"/>
                </a:lnTo>
                <a:lnTo>
                  <a:pt x="10" y="48"/>
                </a:lnTo>
                <a:lnTo>
                  <a:pt x="10" y="46"/>
                </a:lnTo>
                <a:lnTo>
                  <a:pt x="12" y="46"/>
                </a:lnTo>
                <a:lnTo>
                  <a:pt x="12" y="46"/>
                </a:lnTo>
                <a:lnTo>
                  <a:pt x="14" y="52"/>
                </a:lnTo>
                <a:lnTo>
                  <a:pt x="16" y="54"/>
                </a:lnTo>
                <a:lnTo>
                  <a:pt x="18" y="56"/>
                </a:lnTo>
                <a:lnTo>
                  <a:pt x="18" y="56"/>
                </a:lnTo>
                <a:lnTo>
                  <a:pt x="26" y="58"/>
                </a:lnTo>
                <a:lnTo>
                  <a:pt x="26" y="58"/>
                </a:lnTo>
                <a:lnTo>
                  <a:pt x="28" y="54"/>
                </a:lnTo>
                <a:lnTo>
                  <a:pt x="30" y="48"/>
                </a:lnTo>
                <a:lnTo>
                  <a:pt x="30" y="48"/>
                </a:lnTo>
                <a:lnTo>
                  <a:pt x="38" y="40"/>
                </a:lnTo>
                <a:lnTo>
                  <a:pt x="38" y="40"/>
                </a:lnTo>
                <a:lnTo>
                  <a:pt x="38" y="36"/>
                </a:lnTo>
                <a:lnTo>
                  <a:pt x="42" y="34"/>
                </a:lnTo>
                <a:lnTo>
                  <a:pt x="42" y="34"/>
                </a:lnTo>
                <a:lnTo>
                  <a:pt x="44" y="34"/>
                </a:lnTo>
                <a:lnTo>
                  <a:pt x="44" y="32"/>
                </a:lnTo>
                <a:lnTo>
                  <a:pt x="46" y="30"/>
                </a:lnTo>
                <a:lnTo>
                  <a:pt x="40" y="30"/>
                </a:lnTo>
                <a:lnTo>
                  <a:pt x="40" y="30"/>
                </a:lnTo>
                <a:lnTo>
                  <a:pt x="40" y="26"/>
                </a:lnTo>
                <a:lnTo>
                  <a:pt x="42" y="22"/>
                </a:lnTo>
                <a:lnTo>
                  <a:pt x="42" y="22"/>
                </a:lnTo>
                <a:lnTo>
                  <a:pt x="38" y="16"/>
                </a:lnTo>
                <a:lnTo>
                  <a:pt x="38" y="16"/>
                </a:lnTo>
                <a:lnTo>
                  <a:pt x="38" y="14"/>
                </a:lnTo>
                <a:lnTo>
                  <a:pt x="36" y="12"/>
                </a:lnTo>
                <a:lnTo>
                  <a:pt x="34" y="12"/>
                </a:lnTo>
                <a:lnTo>
                  <a:pt x="34" y="10"/>
                </a:lnTo>
                <a:lnTo>
                  <a:pt x="34" y="10"/>
                </a:lnTo>
                <a:lnTo>
                  <a:pt x="34" y="4"/>
                </a:lnTo>
                <a:lnTo>
                  <a:pt x="30" y="2"/>
                </a:lnTo>
                <a:lnTo>
                  <a:pt x="30" y="2"/>
                </a:lnTo>
                <a:lnTo>
                  <a:pt x="28" y="2"/>
                </a:lnTo>
                <a:lnTo>
                  <a:pt x="26" y="2"/>
                </a:lnTo>
                <a:lnTo>
                  <a:pt x="22" y="2"/>
                </a:lnTo>
                <a:lnTo>
                  <a:pt x="22" y="2"/>
                </a:lnTo>
                <a:lnTo>
                  <a:pt x="16" y="0"/>
                </a:lnTo>
                <a:lnTo>
                  <a:pt x="14" y="0"/>
                </a:lnTo>
                <a:lnTo>
                  <a:pt x="12" y="4"/>
                </a:lnTo>
                <a:lnTo>
                  <a:pt x="12" y="4"/>
                </a:lnTo>
                <a:lnTo>
                  <a:pt x="12" y="10"/>
                </a:lnTo>
                <a:lnTo>
                  <a:pt x="10" y="12"/>
                </a:lnTo>
                <a:lnTo>
                  <a:pt x="8" y="14"/>
                </a:lnTo>
                <a:lnTo>
                  <a:pt x="8" y="14"/>
                </a:lnTo>
                <a:lnTo>
                  <a:pt x="6" y="16"/>
                </a:lnTo>
                <a:lnTo>
                  <a:pt x="6" y="18"/>
                </a:lnTo>
                <a:lnTo>
                  <a:pt x="4" y="20"/>
                </a:lnTo>
                <a:lnTo>
                  <a:pt x="4" y="20"/>
                </a:lnTo>
                <a:lnTo>
                  <a:pt x="2" y="18"/>
                </a:lnTo>
                <a:lnTo>
                  <a:pt x="2"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6" name="Freeform 50">
            <a:extLst>
              <a:ext uri="{FF2B5EF4-FFF2-40B4-BE49-F238E27FC236}">
                <a16:creationId xmlns:a16="http://schemas.microsoft.com/office/drawing/2014/main" id="{2A94A1DA-C3AA-405D-AC1D-E14D5DE782A9}"/>
              </a:ext>
            </a:extLst>
          </p:cNvPr>
          <p:cNvSpPr>
            <a:spLocks/>
          </p:cNvSpPr>
          <p:nvPr userDrawn="1"/>
        </p:nvSpPr>
        <p:spPr bwMode="auto">
          <a:xfrm>
            <a:off x="5460035" y="3196739"/>
            <a:ext cx="130809" cy="133847"/>
          </a:xfrm>
          <a:custGeom>
            <a:avLst/>
            <a:gdLst>
              <a:gd name="T0" fmla="*/ 14 w 78"/>
              <a:gd name="T1" fmla="*/ 8 h 78"/>
              <a:gd name="T2" fmla="*/ 12 w 78"/>
              <a:gd name="T3" fmla="*/ 16 h 78"/>
              <a:gd name="T4" fmla="*/ 12 w 78"/>
              <a:gd name="T5" fmla="*/ 26 h 78"/>
              <a:gd name="T6" fmla="*/ 8 w 78"/>
              <a:gd name="T7" fmla="*/ 34 h 78"/>
              <a:gd name="T8" fmla="*/ 4 w 78"/>
              <a:gd name="T9" fmla="*/ 34 h 78"/>
              <a:gd name="T10" fmla="*/ 4 w 78"/>
              <a:gd name="T11" fmla="*/ 38 h 78"/>
              <a:gd name="T12" fmla="*/ 4 w 78"/>
              <a:gd name="T13" fmla="*/ 40 h 78"/>
              <a:gd name="T14" fmla="*/ 0 w 78"/>
              <a:gd name="T15" fmla="*/ 40 h 78"/>
              <a:gd name="T16" fmla="*/ 4 w 78"/>
              <a:gd name="T17" fmla="*/ 44 h 78"/>
              <a:gd name="T18" fmla="*/ 6 w 78"/>
              <a:gd name="T19" fmla="*/ 56 h 78"/>
              <a:gd name="T20" fmla="*/ 10 w 78"/>
              <a:gd name="T21" fmla="*/ 58 h 78"/>
              <a:gd name="T22" fmla="*/ 12 w 78"/>
              <a:gd name="T23" fmla="*/ 56 h 78"/>
              <a:gd name="T24" fmla="*/ 16 w 78"/>
              <a:gd name="T25" fmla="*/ 56 h 78"/>
              <a:gd name="T26" fmla="*/ 22 w 78"/>
              <a:gd name="T27" fmla="*/ 56 h 78"/>
              <a:gd name="T28" fmla="*/ 24 w 78"/>
              <a:gd name="T29" fmla="*/ 54 h 78"/>
              <a:gd name="T30" fmla="*/ 26 w 78"/>
              <a:gd name="T31" fmla="*/ 54 h 78"/>
              <a:gd name="T32" fmla="*/ 32 w 78"/>
              <a:gd name="T33" fmla="*/ 56 h 78"/>
              <a:gd name="T34" fmla="*/ 38 w 78"/>
              <a:gd name="T35" fmla="*/ 54 h 78"/>
              <a:gd name="T36" fmla="*/ 48 w 78"/>
              <a:gd name="T37" fmla="*/ 54 h 78"/>
              <a:gd name="T38" fmla="*/ 52 w 78"/>
              <a:gd name="T39" fmla="*/ 54 h 78"/>
              <a:gd name="T40" fmla="*/ 54 w 78"/>
              <a:gd name="T41" fmla="*/ 56 h 78"/>
              <a:gd name="T42" fmla="*/ 48 w 78"/>
              <a:gd name="T43" fmla="*/ 62 h 78"/>
              <a:gd name="T44" fmla="*/ 26 w 78"/>
              <a:gd name="T45" fmla="*/ 64 h 78"/>
              <a:gd name="T46" fmla="*/ 24 w 78"/>
              <a:gd name="T47" fmla="*/ 64 h 78"/>
              <a:gd name="T48" fmla="*/ 22 w 78"/>
              <a:gd name="T49" fmla="*/ 66 h 78"/>
              <a:gd name="T50" fmla="*/ 10 w 78"/>
              <a:gd name="T51" fmla="*/ 68 h 78"/>
              <a:gd name="T52" fmla="*/ 10 w 78"/>
              <a:gd name="T53" fmla="*/ 70 h 78"/>
              <a:gd name="T54" fmla="*/ 12 w 78"/>
              <a:gd name="T55" fmla="*/ 70 h 78"/>
              <a:gd name="T56" fmla="*/ 10 w 78"/>
              <a:gd name="T57" fmla="*/ 74 h 78"/>
              <a:gd name="T58" fmla="*/ 20 w 78"/>
              <a:gd name="T59" fmla="*/ 76 h 78"/>
              <a:gd name="T60" fmla="*/ 26 w 78"/>
              <a:gd name="T61" fmla="*/ 72 h 78"/>
              <a:gd name="T62" fmla="*/ 48 w 78"/>
              <a:gd name="T63" fmla="*/ 72 h 78"/>
              <a:gd name="T64" fmla="*/ 52 w 78"/>
              <a:gd name="T65" fmla="*/ 74 h 78"/>
              <a:gd name="T66" fmla="*/ 58 w 78"/>
              <a:gd name="T67" fmla="*/ 74 h 78"/>
              <a:gd name="T68" fmla="*/ 66 w 78"/>
              <a:gd name="T69" fmla="*/ 76 h 78"/>
              <a:gd name="T70" fmla="*/ 68 w 78"/>
              <a:gd name="T71" fmla="*/ 76 h 78"/>
              <a:gd name="T72" fmla="*/ 78 w 78"/>
              <a:gd name="T73" fmla="*/ 74 h 78"/>
              <a:gd name="T74" fmla="*/ 76 w 78"/>
              <a:gd name="T75" fmla="*/ 64 h 78"/>
              <a:gd name="T76" fmla="*/ 76 w 78"/>
              <a:gd name="T77" fmla="*/ 62 h 78"/>
              <a:gd name="T78" fmla="*/ 72 w 78"/>
              <a:gd name="T79" fmla="*/ 58 h 78"/>
              <a:gd name="T80" fmla="*/ 70 w 78"/>
              <a:gd name="T81" fmla="*/ 54 h 78"/>
              <a:gd name="T82" fmla="*/ 72 w 78"/>
              <a:gd name="T83" fmla="*/ 48 h 78"/>
              <a:gd name="T84" fmla="*/ 72 w 78"/>
              <a:gd name="T85" fmla="*/ 42 h 78"/>
              <a:gd name="T86" fmla="*/ 72 w 78"/>
              <a:gd name="T87" fmla="*/ 40 h 78"/>
              <a:gd name="T88" fmla="*/ 72 w 78"/>
              <a:gd name="T89" fmla="*/ 34 h 78"/>
              <a:gd name="T90" fmla="*/ 68 w 78"/>
              <a:gd name="T91" fmla="*/ 28 h 78"/>
              <a:gd name="T92" fmla="*/ 68 w 78"/>
              <a:gd name="T93" fmla="*/ 28 h 78"/>
              <a:gd name="T94" fmla="*/ 62 w 78"/>
              <a:gd name="T95" fmla="*/ 28 h 78"/>
              <a:gd name="T96" fmla="*/ 60 w 78"/>
              <a:gd name="T97" fmla="*/ 26 h 78"/>
              <a:gd name="T98" fmla="*/ 60 w 78"/>
              <a:gd name="T99" fmla="*/ 18 h 78"/>
              <a:gd name="T100" fmla="*/ 58 w 78"/>
              <a:gd name="T101" fmla="*/ 16 h 78"/>
              <a:gd name="T102" fmla="*/ 52 w 78"/>
              <a:gd name="T103" fmla="*/ 16 h 78"/>
              <a:gd name="T104" fmla="*/ 52 w 78"/>
              <a:gd name="T105" fmla="*/ 14 h 78"/>
              <a:gd name="T106" fmla="*/ 48 w 78"/>
              <a:gd name="T107" fmla="*/ 6 h 78"/>
              <a:gd name="T108" fmla="*/ 44 w 78"/>
              <a:gd name="T109" fmla="*/ 2 h 78"/>
              <a:gd name="T110" fmla="*/ 40 w 78"/>
              <a:gd name="T111" fmla="*/ 2 h 78"/>
              <a:gd name="T112" fmla="*/ 30 w 78"/>
              <a:gd name="T113" fmla="*/ 2 h 78"/>
              <a:gd name="T114" fmla="*/ 26 w 78"/>
              <a:gd name="T115" fmla="*/ 0 h 78"/>
              <a:gd name="T116" fmla="*/ 24 w 78"/>
              <a:gd name="T117" fmla="*/ 2 h 78"/>
              <a:gd name="T118" fmla="*/ 22 w 78"/>
              <a:gd name="T119" fmla="*/ 4 h 78"/>
              <a:gd name="T120" fmla="*/ 18 w 78"/>
              <a:gd name="T121"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78">
                <a:moveTo>
                  <a:pt x="14" y="8"/>
                </a:moveTo>
                <a:lnTo>
                  <a:pt x="14" y="8"/>
                </a:lnTo>
                <a:lnTo>
                  <a:pt x="12" y="16"/>
                </a:lnTo>
                <a:lnTo>
                  <a:pt x="12" y="16"/>
                </a:lnTo>
                <a:lnTo>
                  <a:pt x="12" y="22"/>
                </a:lnTo>
                <a:lnTo>
                  <a:pt x="12" y="26"/>
                </a:lnTo>
                <a:lnTo>
                  <a:pt x="8" y="34"/>
                </a:lnTo>
                <a:lnTo>
                  <a:pt x="8" y="34"/>
                </a:lnTo>
                <a:lnTo>
                  <a:pt x="6" y="34"/>
                </a:lnTo>
                <a:lnTo>
                  <a:pt x="4" y="34"/>
                </a:lnTo>
                <a:lnTo>
                  <a:pt x="4" y="34"/>
                </a:lnTo>
                <a:lnTo>
                  <a:pt x="4" y="38"/>
                </a:lnTo>
                <a:lnTo>
                  <a:pt x="4" y="40"/>
                </a:lnTo>
                <a:lnTo>
                  <a:pt x="4" y="40"/>
                </a:lnTo>
                <a:lnTo>
                  <a:pt x="2" y="40"/>
                </a:lnTo>
                <a:lnTo>
                  <a:pt x="0" y="40"/>
                </a:lnTo>
                <a:lnTo>
                  <a:pt x="4" y="44"/>
                </a:lnTo>
                <a:lnTo>
                  <a:pt x="4" y="44"/>
                </a:lnTo>
                <a:lnTo>
                  <a:pt x="6" y="50"/>
                </a:lnTo>
                <a:lnTo>
                  <a:pt x="6" y="56"/>
                </a:lnTo>
                <a:lnTo>
                  <a:pt x="6" y="56"/>
                </a:lnTo>
                <a:lnTo>
                  <a:pt x="10" y="58"/>
                </a:lnTo>
                <a:lnTo>
                  <a:pt x="10" y="58"/>
                </a:lnTo>
                <a:lnTo>
                  <a:pt x="12" y="56"/>
                </a:lnTo>
                <a:lnTo>
                  <a:pt x="16" y="56"/>
                </a:lnTo>
                <a:lnTo>
                  <a:pt x="16" y="56"/>
                </a:lnTo>
                <a:lnTo>
                  <a:pt x="18" y="56"/>
                </a:lnTo>
                <a:lnTo>
                  <a:pt x="22" y="56"/>
                </a:lnTo>
                <a:lnTo>
                  <a:pt x="22" y="56"/>
                </a:lnTo>
                <a:lnTo>
                  <a:pt x="24" y="54"/>
                </a:lnTo>
                <a:lnTo>
                  <a:pt x="26" y="54"/>
                </a:lnTo>
                <a:lnTo>
                  <a:pt x="26" y="54"/>
                </a:lnTo>
                <a:lnTo>
                  <a:pt x="30" y="56"/>
                </a:lnTo>
                <a:lnTo>
                  <a:pt x="32" y="56"/>
                </a:lnTo>
                <a:lnTo>
                  <a:pt x="38" y="54"/>
                </a:lnTo>
                <a:lnTo>
                  <a:pt x="38" y="54"/>
                </a:lnTo>
                <a:lnTo>
                  <a:pt x="48" y="54"/>
                </a:lnTo>
                <a:lnTo>
                  <a:pt x="48" y="54"/>
                </a:lnTo>
                <a:lnTo>
                  <a:pt x="52" y="54"/>
                </a:lnTo>
                <a:lnTo>
                  <a:pt x="52" y="54"/>
                </a:lnTo>
                <a:lnTo>
                  <a:pt x="54" y="56"/>
                </a:lnTo>
                <a:lnTo>
                  <a:pt x="54" y="56"/>
                </a:lnTo>
                <a:lnTo>
                  <a:pt x="52" y="62"/>
                </a:lnTo>
                <a:lnTo>
                  <a:pt x="48" y="62"/>
                </a:lnTo>
                <a:lnTo>
                  <a:pt x="48" y="62"/>
                </a:lnTo>
                <a:lnTo>
                  <a:pt x="26" y="64"/>
                </a:lnTo>
                <a:lnTo>
                  <a:pt x="26" y="64"/>
                </a:lnTo>
                <a:lnTo>
                  <a:pt x="24" y="64"/>
                </a:lnTo>
                <a:lnTo>
                  <a:pt x="22" y="64"/>
                </a:lnTo>
                <a:lnTo>
                  <a:pt x="22" y="66"/>
                </a:lnTo>
                <a:lnTo>
                  <a:pt x="10" y="68"/>
                </a:lnTo>
                <a:lnTo>
                  <a:pt x="10" y="68"/>
                </a:lnTo>
                <a:lnTo>
                  <a:pt x="10" y="70"/>
                </a:lnTo>
                <a:lnTo>
                  <a:pt x="10" y="70"/>
                </a:lnTo>
                <a:lnTo>
                  <a:pt x="12" y="70"/>
                </a:lnTo>
                <a:lnTo>
                  <a:pt x="12" y="70"/>
                </a:lnTo>
                <a:lnTo>
                  <a:pt x="10" y="72"/>
                </a:lnTo>
                <a:lnTo>
                  <a:pt x="10" y="74"/>
                </a:lnTo>
                <a:lnTo>
                  <a:pt x="14" y="78"/>
                </a:lnTo>
                <a:lnTo>
                  <a:pt x="20" y="76"/>
                </a:lnTo>
                <a:lnTo>
                  <a:pt x="26" y="72"/>
                </a:lnTo>
                <a:lnTo>
                  <a:pt x="26" y="72"/>
                </a:lnTo>
                <a:lnTo>
                  <a:pt x="36" y="72"/>
                </a:lnTo>
                <a:lnTo>
                  <a:pt x="48" y="72"/>
                </a:lnTo>
                <a:lnTo>
                  <a:pt x="48" y="72"/>
                </a:lnTo>
                <a:lnTo>
                  <a:pt x="52" y="74"/>
                </a:lnTo>
                <a:lnTo>
                  <a:pt x="58" y="74"/>
                </a:lnTo>
                <a:lnTo>
                  <a:pt x="58" y="74"/>
                </a:lnTo>
                <a:lnTo>
                  <a:pt x="62" y="74"/>
                </a:lnTo>
                <a:lnTo>
                  <a:pt x="66" y="76"/>
                </a:lnTo>
                <a:lnTo>
                  <a:pt x="66" y="76"/>
                </a:lnTo>
                <a:lnTo>
                  <a:pt x="68" y="76"/>
                </a:lnTo>
                <a:lnTo>
                  <a:pt x="72" y="76"/>
                </a:lnTo>
                <a:lnTo>
                  <a:pt x="78" y="74"/>
                </a:lnTo>
                <a:lnTo>
                  <a:pt x="78" y="74"/>
                </a:lnTo>
                <a:lnTo>
                  <a:pt x="76" y="64"/>
                </a:lnTo>
                <a:lnTo>
                  <a:pt x="76" y="64"/>
                </a:lnTo>
                <a:lnTo>
                  <a:pt x="76" y="62"/>
                </a:lnTo>
                <a:lnTo>
                  <a:pt x="72" y="58"/>
                </a:lnTo>
                <a:lnTo>
                  <a:pt x="72" y="58"/>
                </a:lnTo>
                <a:lnTo>
                  <a:pt x="70" y="56"/>
                </a:lnTo>
                <a:lnTo>
                  <a:pt x="70" y="54"/>
                </a:lnTo>
                <a:lnTo>
                  <a:pt x="70" y="54"/>
                </a:lnTo>
                <a:lnTo>
                  <a:pt x="72" y="48"/>
                </a:lnTo>
                <a:lnTo>
                  <a:pt x="72" y="44"/>
                </a:lnTo>
                <a:lnTo>
                  <a:pt x="72" y="42"/>
                </a:lnTo>
                <a:lnTo>
                  <a:pt x="72" y="42"/>
                </a:lnTo>
                <a:lnTo>
                  <a:pt x="72" y="40"/>
                </a:lnTo>
                <a:lnTo>
                  <a:pt x="70" y="38"/>
                </a:lnTo>
                <a:lnTo>
                  <a:pt x="72" y="34"/>
                </a:lnTo>
                <a:lnTo>
                  <a:pt x="72" y="34"/>
                </a:lnTo>
                <a:lnTo>
                  <a:pt x="68" y="28"/>
                </a:lnTo>
                <a:lnTo>
                  <a:pt x="68" y="28"/>
                </a:lnTo>
                <a:lnTo>
                  <a:pt x="68" y="28"/>
                </a:lnTo>
                <a:lnTo>
                  <a:pt x="64" y="28"/>
                </a:lnTo>
                <a:lnTo>
                  <a:pt x="62" y="28"/>
                </a:lnTo>
                <a:lnTo>
                  <a:pt x="60" y="26"/>
                </a:lnTo>
                <a:lnTo>
                  <a:pt x="60" y="26"/>
                </a:lnTo>
                <a:lnTo>
                  <a:pt x="60" y="20"/>
                </a:lnTo>
                <a:lnTo>
                  <a:pt x="60" y="18"/>
                </a:lnTo>
                <a:lnTo>
                  <a:pt x="58" y="16"/>
                </a:lnTo>
                <a:lnTo>
                  <a:pt x="58" y="16"/>
                </a:lnTo>
                <a:lnTo>
                  <a:pt x="54" y="16"/>
                </a:lnTo>
                <a:lnTo>
                  <a:pt x="52" y="16"/>
                </a:lnTo>
                <a:lnTo>
                  <a:pt x="52" y="14"/>
                </a:lnTo>
                <a:lnTo>
                  <a:pt x="52" y="14"/>
                </a:lnTo>
                <a:lnTo>
                  <a:pt x="50" y="8"/>
                </a:lnTo>
                <a:lnTo>
                  <a:pt x="48" y="6"/>
                </a:lnTo>
                <a:lnTo>
                  <a:pt x="48" y="6"/>
                </a:lnTo>
                <a:lnTo>
                  <a:pt x="44" y="2"/>
                </a:lnTo>
                <a:lnTo>
                  <a:pt x="44" y="2"/>
                </a:lnTo>
                <a:lnTo>
                  <a:pt x="40" y="2"/>
                </a:lnTo>
                <a:lnTo>
                  <a:pt x="40" y="2"/>
                </a:lnTo>
                <a:lnTo>
                  <a:pt x="30" y="2"/>
                </a:lnTo>
                <a:lnTo>
                  <a:pt x="30" y="2"/>
                </a:lnTo>
                <a:lnTo>
                  <a:pt x="26" y="0"/>
                </a:lnTo>
                <a:lnTo>
                  <a:pt x="24" y="0"/>
                </a:lnTo>
                <a:lnTo>
                  <a:pt x="24" y="2"/>
                </a:lnTo>
                <a:lnTo>
                  <a:pt x="24" y="2"/>
                </a:lnTo>
                <a:lnTo>
                  <a:pt x="22" y="4"/>
                </a:lnTo>
                <a:lnTo>
                  <a:pt x="20" y="4"/>
                </a:lnTo>
                <a:lnTo>
                  <a:pt x="18" y="6"/>
                </a:lnTo>
                <a:lnTo>
                  <a:pt x="14"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7" name="Freeform 51">
            <a:extLst>
              <a:ext uri="{FF2B5EF4-FFF2-40B4-BE49-F238E27FC236}">
                <a16:creationId xmlns:a16="http://schemas.microsoft.com/office/drawing/2014/main" id="{35889EC5-AE4A-47EB-80B8-1DEB848AF98C}"/>
              </a:ext>
            </a:extLst>
          </p:cNvPr>
          <p:cNvSpPr>
            <a:spLocks/>
          </p:cNvSpPr>
          <p:nvPr userDrawn="1"/>
        </p:nvSpPr>
        <p:spPr bwMode="auto">
          <a:xfrm>
            <a:off x="6635637" y="2760878"/>
            <a:ext cx="472924" cy="466748"/>
          </a:xfrm>
          <a:custGeom>
            <a:avLst/>
            <a:gdLst>
              <a:gd name="T0" fmla="*/ 108 w 282"/>
              <a:gd name="T1" fmla="*/ 258 h 272"/>
              <a:gd name="T2" fmla="*/ 110 w 282"/>
              <a:gd name="T3" fmla="*/ 254 h 272"/>
              <a:gd name="T4" fmla="*/ 112 w 282"/>
              <a:gd name="T5" fmla="*/ 250 h 272"/>
              <a:gd name="T6" fmla="*/ 114 w 282"/>
              <a:gd name="T7" fmla="*/ 246 h 272"/>
              <a:gd name="T8" fmla="*/ 118 w 282"/>
              <a:gd name="T9" fmla="*/ 244 h 272"/>
              <a:gd name="T10" fmla="*/ 122 w 282"/>
              <a:gd name="T11" fmla="*/ 244 h 272"/>
              <a:gd name="T12" fmla="*/ 122 w 282"/>
              <a:gd name="T13" fmla="*/ 248 h 272"/>
              <a:gd name="T14" fmla="*/ 130 w 282"/>
              <a:gd name="T15" fmla="*/ 248 h 272"/>
              <a:gd name="T16" fmla="*/ 156 w 282"/>
              <a:gd name="T17" fmla="*/ 272 h 272"/>
              <a:gd name="T18" fmla="*/ 182 w 282"/>
              <a:gd name="T19" fmla="*/ 240 h 272"/>
              <a:gd name="T20" fmla="*/ 272 w 282"/>
              <a:gd name="T21" fmla="*/ 204 h 272"/>
              <a:gd name="T22" fmla="*/ 278 w 282"/>
              <a:gd name="T23" fmla="*/ 184 h 272"/>
              <a:gd name="T24" fmla="*/ 272 w 282"/>
              <a:gd name="T25" fmla="*/ 154 h 272"/>
              <a:gd name="T26" fmla="*/ 268 w 282"/>
              <a:gd name="T27" fmla="*/ 154 h 272"/>
              <a:gd name="T28" fmla="*/ 216 w 282"/>
              <a:gd name="T29" fmla="*/ 124 h 272"/>
              <a:gd name="T30" fmla="*/ 210 w 282"/>
              <a:gd name="T31" fmla="*/ 114 h 272"/>
              <a:gd name="T32" fmla="*/ 206 w 282"/>
              <a:gd name="T33" fmla="*/ 112 h 272"/>
              <a:gd name="T34" fmla="*/ 206 w 282"/>
              <a:gd name="T35" fmla="*/ 100 h 272"/>
              <a:gd name="T36" fmla="*/ 206 w 282"/>
              <a:gd name="T37" fmla="*/ 90 h 272"/>
              <a:gd name="T38" fmla="*/ 200 w 282"/>
              <a:gd name="T39" fmla="*/ 88 h 272"/>
              <a:gd name="T40" fmla="*/ 196 w 282"/>
              <a:gd name="T41" fmla="*/ 84 h 272"/>
              <a:gd name="T42" fmla="*/ 194 w 282"/>
              <a:gd name="T43" fmla="*/ 78 h 272"/>
              <a:gd name="T44" fmla="*/ 190 w 282"/>
              <a:gd name="T45" fmla="*/ 74 h 272"/>
              <a:gd name="T46" fmla="*/ 190 w 282"/>
              <a:gd name="T47" fmla="*/ 70 h 272"/>
              <a:gd name="T48" fmla="*/ 186 w 282"/>
              <a:gd name="T49" fmla="*/ 66 h 272"/>
              <a:gd name="T50" fmla="*/ 182 w 282"/>
              <a:gd name="T51" fmla="*/ 56 h 272"/>
              <a:gd name="T52" fmla="*/ 168 w 282"/>
              <a:gd name="T53" fmla="*/ 52 h 272"/>
              <a:gd name="T54" fmla="*/ 124 w 282"/>
              <a:gd name="T55" fmla="*/ 40 h 272"/>
              <a:gd name="T56" fmla="*/ 102 w 282"/>
              <a:gd name="T57" fmla="*/ 26 h 272"/>
              <a:gd name="T58" fmla="*/ 64 w 282"/>
              <a:gd name="T59" fmla="*/ 2 h 272"/>
              <a:gd name="T60" fmla="*/ 46 w 282"/>
              <a:gd name="T61" fmla="*/ 24 h 272"/>
              <a:gd name="T62" fmla="*/ 38 w 282"/>
              <a:gd name="T63" fmla="*/ 30 h 272"/>
              <a:gd name="T64" fmla="*/ 32 w 282"/>
              <a:gd name="T65" fmla="*/ 36 h 272"/>
              <a:gd name="T66" fmla="*/ 28 w 282"/>
              <a:gd name="T67" fmla="*/ 40 h 272"/>
              <a:gd name="T68" fmla="*/ 4 w 282"/>
              <a:gd name="T69" fmla="*/ 48 h 272"/>
              <a:gd name="T70" fmla="*/ 2 w 282"/>
              <a:gd name="T71" fmla="*/ 56 h 272"/>
              <a:gd name="T72" fmla="*/ 0 w 282"/>
              <a:gd name="T73" fmla="*/ 60 h 272"/>
              <a:gd name="T74" fmla="*/ 0 w 282"/>
              <a:gd name="T75" fmla="*/ 64 h 272"/>
              <a:gd name="T76" fmla="*/ 8 w 282"/>
              <a:gd name="T77" fmla="*/ 66 h 272"/>
              <a:gd name="T78" fmla="*/ 12 w 282"/>
              <a:gd name="T79" fmla="*/ 72 h 272"/>
              <a:gd name="T80" fmla="*/ 20 w 282"/>
              <a:gd name="T81" fmla="*/ 86 h 272"/>
              <a:gd name="T82" fmla="*/ 22 w 282"/>
              <a:gd name="T83" fmla="*/ 92 h 272"/>
              <a:gd name="T84" fmla="*/ 26 w 282"/>
              <a:gd name="T85" fmla="*/ 94 h 272"/>
              <a:gd name="T86" fmla="*/ 30 w 282"/>
              <a:gd name="T87" fmla="*/ 100 h 272"/>
              <a:gd name="T88" fmla="*/ 34 w 282"/>
              <a:gd name="T89" fmla="*/ 104 h 272"/>
              <a:gd name="T90" fmla="*/ 36 w 282"/>
              <a:gd name="T91" fmla="*/ 114 h 272"/>
              <a:gd name="T92" fmla="*/ 42 w 282"/>
              <a:gd name="T93" fmla="*/ 124 h 272"/>
              <a:gd name="T94" fmla="*/ 54 w 282"/>
              <a:gd name="T95" fmla="*/ 140 h 272"/>
              <a:gd name="T96" fmla="*/ 58 w 282"/>
              <a:gd name="T97" fmla="*/ 164 h 272"/>
              <a:gd name="T98" fmla="*/ 54 w 282"/>
              <a:gd name="T99" fmla="*/ 168 h 272"/>
              <a:gd name="T100" fmla="*/ 54 w 282"/>
              <a:gd name="T101" fmla="*/ 174 h 272"/>
              <a:gd name="T102" fmla="*/ 58 w 282"/>
              <a:gd name="T103" fmla="*/ 182 h 272"/>
              <a:gd name="T104" fmla="*/ 64 w 282"/>
              <a:gd name="T105" fmla="*/ 196 h 272"/>
              <a:gd name="T106" fmla="*/ 64 w 282"/>
              <a:gd name="T107" fmla="*/ 200 h 272"/>
              <a:gd name="T108" fmla="*/ 68 w 282"/>
              <a:gd name="T109" fmla="*/ 204 h 272"/>
              <a:gd name="T110" fmla="*/ 72 w 282"/>
              <a:gd name="T111" fmla="*/ 208 h 272"/>
              <a:gd name="T112" fmla="*/ 82 w 282"/>
              <a:gd name="T113" fmla="*/ 214 h 272"/>
              <a:gd name="T114" fmla="*/ 86 w 282"/>
              <a:gd name="T115" fmla="*/ 220 h 272"/>
              <a:gd name="T116" fmla="*/ 88 w 282"/>
              <a:gd name="T117" fmla="*/ 228 h 272"/>
              <a:gd name="T118" fmla="*/ 90 w 282"/>
              <a:gd name="T119" fmla="*/ 236 h 272"/>
              <a:gd name="T120" fmla="*/ 98 w 282"/>
              <a:gd name="T121" fmla="*/ 244 h 272"/>
              <a:gd name="T122" fmla="*/ 100 w 282"/>
              <a:gd name="T123" fmla="*/ 25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72">
                <a:moveTo>
                  <a:pt x="106" y="258"/>
                </a:moveTo>
                <a:lnTo>
                  <a:pt x="106" y="258"/>
                </a:lnTo>
                <a:lnTo>
                  <a:pt x="108" y="258"/>
                </a:lnTo>
                <a:lnTo>
                  <a:pt x="110" y="254"/>
                </a:lnTo>
                <a:lnTo>
                  <a:pt x="110" y="254"/>
                </a:lnTo>
                <a:lnTo>
                  <a:pt x="110" y="254"/>
                </a:lnTo>
                <a:lnTo>
                  <a:pt x="112" y="252"/>
                </a:lnTo>
                <a:lnTo>
                  <a:pt x="112" y="252"/>
                </a:lnTo>
                <a:lnTo>
                  <a:pt x="112" y="250"/>
                </a:lnTo>
                <a:lnTo>
                  <a:pt x="112" y="250"/>
                </a:lnTo>
                <a:lnTo>
                  <a:pt x="114" y="248"/>
                </a:lnTo>
                <a:lnTo>
                  <a:pt x="114" y="246"/>
                </a:lnTo>
                <a:lnTo>
                  <a:pt x="114" y="246"/>
                </a:lnTo>
                <a:lnTo>
                  <a:pt x="116" y="244"/>
                </a:lnTo>
                <a:lnTo>
                  <a:pt x="118" y="244"/>
                </a:lnTo>
                <a:lnTo>
                  <a:pt x="118" y="244"/>
                </a:lnTo>
                <a:lnTo>
                  <a:pt x="120" y="244"/>
                </a:lnTo>
                <a:lnTo>
                  <a:pt x="122" y="244"/>
                </a:lnTo>
                <a:lnTo>
                  <a:pt x="122" y="246"/>
                </a:lnTo>
                <a:lnTo>
                  <a:pt x="122" y="248"/>
                </a:lnTo>
                <a:lnTo>
                  <a:pt x="122" y="248"/>
                </a:lnTo>
                <a:lnTo>
                  <a:pt x="126" y="248"/>
                </a:lnTo>
                <a:lnTo>
                  <a:pt x="130" y="248"/>
                </a:lnTo>
                <a:lnTo>
                  <a:pt x="130" y="248"/>
                </a:lnTo>
                <a:lnTo>
                  <a:pt x="144" y="250"/>
                </a:lnTo>
                <a:lnTo>
                  <a:pt x="154" y="254"/>
                </a:lnTo>
                <a:lnTo>
                  <a:pt x="156" y="272"/>
                </a:lnTo>
                <a:lnTo>
                  <a:pt x="156" y="272"/>
                </a:lnTo>
                <a:lnTo>
                  <a:pt x="164" y="262"/>
                </a:lnTo>
                <a:lnTo>
                  <a:pt x="182" y="240"/>
                </a:lnTo>
                <a:lnTo>
                  <a:pt x="228" y="224"/>
                </a:lnTo>
                <a:lnTo>
                  <a:pt x="228" y="224"/>
                </a:lnTo>
                <a:lnTo>
                  <a:pt x="272" y="204"/>
                </a:lnTo>
                <a:lnTo>
                  <a:pt x="272" y="204"/>
                </a:lnTo>
                <a:lnTo>
                  <a:pt x="276" y="198"/>
                </a:lnTo>
                <a:lnTo>
                  <a:pt x="278" y="184"/>
                </a:lnTo>
                <a:lnTo>
                  <a:pt x="282" y="164"/>
                </a:lnTo>
                <a:lnTo>
                  <a:pt x="272" y="154"/>
                </a:lnTo>
                <a:lnTo>
                  <a:pt x="272" y="154"/>
                </a:lnTo>
                <a:lnTo>
                  <a:pt x="272" y="154"/>
                </a:lnTo>
                <a:lnTo>
                  <a:pt x="268" y="154"/>
                </a:lnTo>
                <a:lnTo>
                  <a:pt x="268" y="154"/>
                </a:lnTo>
                <a:lnTo>
                  <a:pt x="224" y="146"/>
                </a:lnTo>
                <a:lnTo>
                  <a:pt x="224" y="132"/>
                </a:lnTo>
                <a:lnTo>
                  <a:pt x="216" y="124"/>
                </a:lnTo>
                <a:lnTo>
                  <a:pt x="216" y="118"/>
                </a:lnTo>
                <a:lnTo>
                  <a:pt x="210" y="114"/>
                </a:lnTo>
                <a:lnTo>
                  <a:pt x="210" y="114"/>
                </a:lnTo>
                <a:lnTo>
                  <a:pt x="208" y="114"/>
                </a:lnTo>
                <a:lnTo>
                  <a:pt x="208" y="114"/>
                </a:lnTo>
                <a:lnTo>
                  <a:pt x="206" y="112"/>
                </a:lnTo>
                <a:lnTo>
                  <a:pt x="206" y="110"/>
                </a:lnTo>
                <a:lnTo>
                  <a:pt x="206" y="110"/>
                </a:lnTo>
                <a:lnTo>
                  <a:pt x="206" y="100"/>
                </a:lnTo>
                <a:lnTo>
                  <a:pt x="206" y="100"/>
                </a:lnTo>
                <a:lnTo>
                  <a:pt x="206" y="96"/>
                </a:lnTo>
                <a:lnTo>
                  <a:pt x="206" y="90"/>
                </a:lnTo>
                <a:lnTo>
                  <a:pt x="204" y="90"/>
                </a:lnTo>
                <a:lnTo>
                  <a:pt x="204" y="90"/>
                </a:lnTo>
                <a:lnTo>
                  <a:pt x="200" y="88"/>
                </a:lnTo>
                <a:lnTo>
                  <a:pt x="198" y="84"/>
                </a:lnTo>
                <a:lnTo>
                  <a:pt x="198" y="84"/>
                </a:lnTo>
                <a:lnTo>
                  <a:pt x="196" y="84"/>
                </a:lnTo>
                <a:lnTo>
                  <a:pt x="194" y="82"/>
                </a:lnTo>
                <a:lnTo>
                  <a:pt x="194" y="82"/>
                </a:lnTo>
                <a:lnTo>
                  <a:pt x="194" y="78"/>
                </a:lnTo>
                <a:lnTo>
                  <a:pt x="194" y="74"/>
                </a:lnTo>
                <a:lnTo>
                  <a:pt x="194" y="74"/>
                </a:lnTo>
                <a:lnTo>
                  <a:pt x="190" y="74"/>
                </a:lnTo>
                <a:lnTo>
                  <a:pt x="190" y="74"/>
                </a:lnTo>
                <a:lnTo>
                  <a:pt x="190" y="70"/>
                </a:lnTo>
                <a:lnTo>
                  <a:pt x="190" y="70"/>
                </a:lnTo>
                <a:lnTo>
                  <a:pt x="186" y="70"/>
                </a:lnTo>
                <a:lnTo>
                  <a:pt x="186" y="70"/>
                </a:lnTo>
                <a:lnTo>
                  <a:pt x="186" y="66"/>
                </a:lnTo>
                <a:lnTo>
                  <a:pt x="186" y="66"/>
                </a:lnTo>
                <a:lnTo>
                  <a:pt x="182" y="56"/>
                </a:lnTo>
                <a:lnTo>
                  <a:pt x="182" y="56"/>
                </a:lnTo>
                <a:lnTo>
                  <a:pt x="182" y="52"/>
                </a:lnTo>
                <a:lnTo>
                  <a:pt x="180" y="52"/>
                </a:lnTo>
                <a:lnTo>
                  <a:pt x="168" y="52"/>
                </a:lnTo>
                <a:lnTo>
                  <a:pt x="166" y="46"/>
                </a:lnTo>
                <a:lnTo>
                  <a:pt x="148" y="42"/>
                </a:lnTo>
                <a:lnTo>
                  <a:pt x="124" y="40"/>
                </a:lnTo>
                <a:lnTo>
                  <a:pt x="114" y="34"/>
                </a:lnTo>
                <a:lnTo>
                  <a:pt x="112" y="26"/>
                </a:lnTo>
                <a:lnTo>
                  <a:pt x="102" y="26"/>
                </a:lnTo>
                <a:lnTo>
                  <a:pt x="102" y="20"/>
                </a:lnTo>
                <a:lnTo>
                  <a:pt x="64" y="0"/>
                </a:lnTo>
                <a:lnTo>
                  <a:pt x="64" y="2"/>
                </a:lnTo>
                <a:lnTo>
                  <a:pt x="36" y="10"/>
                </a:lnTo>
                <a:lnTo>
                  <a:pt x="46" y="24"/>
                </a:lnTo>
                <a:lnTo>
                  <a:pt x="46" y="24"/>
                </a:lnTo>
                <a:lnTo>
                  <a:pt x="42" y="26"/>
                </a:lnTo>
                <a:lnTo>
                  <a:pt x="40" y="28"/>
                </a:lnTo>
                <a:lnTo>
                  <a:pt x="38" y="30"/>
                </a:lnTo>
                <a:lnTo>
                  <a:pt x="38" y="30"/>
                </a:lnTo>
                <a:lnTo>
                  <a:pt x="36" y="32"/>
                </a:lnTo>
                <a:lnTo>
                  <a:pt x="32" y="36"/>
                </a:lnTo>
                <a:lnTo>
                  <a:pt x="32" y="36"/>
                </a:lnTo>
                <a:lnTo>
                  <a:pt x="30" y="40"/>
                </a:lnTo>
                <a:lnTo>
                  <a:pt x="28" y="40"/>
                </a:lnTo>
                <a:lnTo>
                  <a:pt x="18" y="48"/>
                </a:lnTo>
                <a:lnTo>
                  <a:pt x="4" y="48"/>
                </a:lnTo>
                <a:lnTo>
                  <a:pt x="4" y="48"/>
                </a:lnTo>
                <a:lnTo>
                  <a:pt x="0" y="56"/>
                </a:lnTo>
                <a:lnTo>
                  <a:pt x="2" y="56"/>
                </a:lnTo>
                <a:lnTo>
                  <a:pt x="2" y="56"/>
                </a:lnTo>
                <a:lnTo>
                  <a:pt x="2" y="60"/>
                </a:lnTo>
                <a:lnTo>
                  <a:pt x="2" y="60"/>
                </a:lnTo>
                <a:lnTo>
                  <a:pt x="0" y="60"/>
                </a:lnTo>
                <a:lnTo>
                  <a:pt x="0" y="62"/>
                </a:lnTo>
                <a:lnTo>
                  <a:pt x="0" y="64"/>
                </a:lnTo>
                <a:lnTo>
                  <a:pt x="0" y="64"/>
                </a:lnTo>
                <a:lnTo>
                  <a:pt x="6" y="66"/>
                </a:lnTo>
                <a:lnTo>
                  <a:pt x="6" y="66"/>
                </a:lnTo>
                <a:lnTo>
                  <a:pt x="8" y="66"/>
                </a:lnTo>
                <a:lnTo>
                  <a:pt x="10" y="68"/>
                </a:lnTo>
                <a:lnTo>
                  <a:pt x="12" y="72"/>
                </a:lnTo>
                <a:lnTo>
                  <a:pt x="12" y="72"/>
                </a:lnTo>
                <a:lnTo>
                  <a:pt x="16" y="84"/>
                </a:lnTo>
                <a:lnTo>
                  <a:pt x="16" y="84"/>
                </a:lnTo>
                <a:lnTo>
                  <a:pt x="20" y="86"/>
                </a:lnTo>
                <a:lnTo>
                  <a:pt x="22" y="88"/>
                </a:lnTo>
                <a:lnTo>
                  <a:pt x="22" y="88"/>
                </a:lnTo>
                <a:lnTo>
                  <a:pt x="22" y="92"/>
                </a:lnTo>
                <a:lnTo>
                  <a:pt x="22" y="92"/>
                </a:lnTo>
                <a:lnTo>
                  <a:pt x="26" y="94"/>
                </a:lnTo>
                <a:lnTo>
                  <a:pt x="26" y="94"/>
                </a:lnTo>
                <a:lnTo>
                  <a:pt x="26" y="98"/>
                </a:lnTo>
                <a:lnTo>
                  <a:pt x="26" y="98"/>
                </a:lnTo>
                <a:lnTo>
                  <a:pt x="30" y="100"/>
                </a:lnTo>
                <a:lnTo>
                  <a:pt x="32" y="102"/>
                </a:lnTo>
                <a:lnTo>
                  <a:pt x="32" y="104"/>
                </a:lnTo>
                <a:lnTo>
                  <a:pt x="34" y="104"/>
                </a:lnTo>
                <a:lnTo>
                  <a:pt x="34" y="104"/>
                </a:lnTo>
                <a:lnTo>
                  <a:pt x="36" y="108"/>
                </a:lnTo>
                <a:lnTo>
                  <a:pt x="36" y="114"/>
                </a:lnTo>
                <a:lnTo>
                  <a:pt x="38" y="120"/>
                </a:lnTo>
                <a:lnTo>
                  <a:pt x="40" y="124"/>
                </a:lnTo>
                <a:lnTo>
                  <a:pt x="42" y="124"/>
                </a:lnTo>
                <a:lnTo>
                  <a:pt x="42" y="124"/>
                </a:lnTo>
                <a:lnTo>
                  <a:pt x="48" y="132"/>
                </a:lnTo>
                <a:lnTo>
                  <a:pt x="54" y="140"/>
                </a:lnTo>
                <a:lnTo>
                  <a:pt x="54" y="140"/>
                </a:lnTo>
                <a:lnTo>
                  <a:pt x="56" y="152"/>
                </a:lnTo>
                <a:lnTo>
                  <a:pt x="58" y="164"/>
                </a:lnTo>
                <a:lnTo>
                  <a:pt x="58" y="164"/>
                </a:lnTo>
                <a:lnTo>
                  <a:pt x="54" y="168"/>
                </a:lnTo>
                <a:lnTo>
                  <a:pt x="54" y="168"/>
                </a:lnTo>
                <a:lnTo>
                  <a:pt x="54" y="170"/>
                </a:lnTo>
                <a:lnTo>
                  <a:pt x="54" y="174"/>
                </a:lnTo>
                <a:lnTo>
                  <a:pt x="54" y="174"/>
                </a:lnTo>
                <a:lnTo>
                  <a:pt x="58" y="174"/>
                </a:lnTo>
                <a:lnTo>
                  <a:pt x="58" y="174"/>
                </a:lnTo>
                <a:lnTo>
                  <a:pt x="58" y="182"/>
                </a:lnTo>
                <a:lnTo>
                  <a:pt x="60" y="192"/>
                </a:lnTo>
                <a:lnTo>
                  <a:pt x="60" y="192"/>
                </a:lnTo>
                <a:lnTo>
                  <a:pt x="64" y="196"/>
                </a:lnTo>
                <a:lnTo>
                  <a:pt x="64" y="196"/>
                </a:lnTo>
                <a:lnTo>
                  <a:pt x="64" y="200"/>
                </a:lnTo>
                <a:lnTo>
                  <a:pt x="64" y="200"/>
                </a:lnTo>
                <a:lnTo>
                  <a:pt x="66" y="202"/>
                </a:lnTo>
                <a:lnTo>
                  <a:pt x="66" y="202"/>
                </a:lnTo>
                <a:lnTo>
                  <a:pt x="68" y="204"/>
                </a:lnTo>
                <a:lnTo>
                  <a:pt x="70" y="208"/>
                </a:lnTo>
                <a:lnTo>
                  <a:pt x="70" y="208"/>
                </a:lnTo>
                <a:lnTo>
                  <a:pt x="72" y="208"/>
                </a:lnTo>
                <a:lnTo>
                  <a:pt x="74" y="206"/>
                </a:lnTo>
                <a:lnTo>
                  <a:pt x="74" y="206"/>
                </a:lnTo>
                <a:lnTo>
                  <a:pt x="82" y="214"/>
                </a:lnTo>
                <a:lnTo>
                  <a:pt x="82" y="214"/>
                </a:lnTo>
                <a:lnTo>
                  <a:pt x="86" y="220"/>
                </a:lnTo>
                <a:lnTo>
                  <a:pt x="86" y="220"/>
                </a:lnTo>
                <a:lnTo>
                  <a:pt x="86" y="224"/>
                </a:lnTo>
                <a:lnTo>
                  <a:pt x="86" y="224"/>
                </a:lnTo>
                <a:lnTo>
                  <a:pt x="88" y="228"/>
                </a:lnTo>
                <a:lnTo>
                  <a:pt x="90" y="232"/>
                </a:lnTo>
                <a:lnTo>
                  <a:pt x="90" y="232"/>
                </a:lnTo>
                <a:lnTo>
                  <a:pt x="90" y="236"/>
                </a:lnTo>
                <a:lnTo>
                  <a:pt x="90" y="240"/>
                </a:lnTo>
                <a:lnTo>
                  <a:pt x="90" y="240"/>
                </a:lnTo>
                <a:lnTo>
                  <a:pt x="98" y="244"/>
                </a:lnTo>
                <a:lnTo>
                  <a:pt x="98" y="244"/>
                </a:lnTo>
                <a:lnTo>
                  <a:pt x="100" y="252"/>
                </a:lnTo>
                <a:lnTo>
                  <a:pt x="100" y="252"/>
                </a:lnTo>
                <a:lnTo>
                  <a:pt x="106" y="258"/>
                </a:lnTo>
                <a:lnTo>
                  <a:pt x="106" y="2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8" name="Freeform 52">
            <a:extLst>
              <a:ext uri="{FF2B5EF4-FFF2-40B4-BE49-F238E27FC236}">
                <a16:creationId xmlns:a16="http://schemas.microsoft.com/office/drawing/2014/main" id="{C1A22CFF-DA9F-4765-BE9D-2FE26C04A041}"/>
              </a:ext>
            </a:extLst>
          </p:cNvPr>
          <p:cNvSpPr>
            <a:spLocks/>
          </p:cNvSpPr>
          <p:nvPr userDrawn="1"/>
        </p:nvSpPr>
        <p:spPr bwMode="auto">
          <a:xfrm>
            <a:off x="6498120" y="3738991"/>
            <a:ext cx="53665" cy="44615"/>
          </a:xfrm>
          <a:custGeom>
            <a:avLst/>
            <a:gdLst>
              <a:gd name="T0" fmla="*/ 2 w 32"/>
              <a:gd name="T1" fmla="*/ 12 h 26"/>
              <a:gd name="T2" fmla="*/ 2 w 32"/>
              <a:gd name="T3" fmla="*/ 12 h 26"/>
              <a:gd name="T4" fmla="*/ 2 w 32"/>
              <a:gd name="T5" fmla="*/ 12 h 26"/>
              <a:gd name="T6" fmla="*/ 2 w 32"/>
              <a:gd name="T7" fmla="*/ 12 h 26"/>
              <a:gd name="T8" fmla="*/ 0 w 32"/>
              <a:gd name="T9" fmla="*/ 14 h 26"/>
              <a:gd name="T10" fmla="*/ 0 w 32"/>
              <a:gd name="T11" fmla="*/ 16 h 26"/>
              <a:gd name="T12" fmla="*/ 0 w 32"/>
              <a:gd name="T13" fmla="*/ 16 h 26"/>
              <a:gd name="T14" fmla="*/ 0 w 32"/>
              <a:gd name="T15" fmla="*/ 18 h 26"/>
              <a:gd name="T16" fmla="*/ 2 w 32"/>
              <a:gd name="T17" fmla="*/ 20 h 26"/>
              <a:gd name="T18" fmla="*/ 6 w 32"/>
              <a:gd name="T19" fmla="*/ 22 h 26"/>
              <a:gd name="T20" fmla="*/ 6 w 32"/>
              <a:gd name="T21" fmla="*/ 22 h 26"/>
              <a:gd name="T22" fmla="*/ 8 w 32"/>
              <a:gd name="T23" fmla="*/ 20 h 26"/>
              <a:gd name="T24" fmla="*/ 10 w 32"/>
              <a:gd name="T25" fmla="*/ 18 h 26"/>
              <a:gd name="T26" fmla="*/ 12 w 32"/>
              <a:gd name="T27" fmla="*/ 20 h 26"/>
              <a:gd name="T28" fmla="*/ 12 w 32"/>
              <a:gd name="T29" fmla="*/ 20 h 26"/>
              <a:gd name="T30" fmla="*/ 14 w 32"/>
              <a:gd name="T31" fmla="*/ 26 h 26"/>
              <a:gd name="T32" fmla="*/ 14 w 32"/>
              <a:gd name="T33" fmla="*/ 26 h 26"/>
              <a:gd name="T34" fmla="*/ 18 w 32"/>
              <a:gd name="T35" fmla="*/ 24 h 26"/>
              <a:gd name="T36" fmla="*/ 18 w 32"/>
              <a:gd name="T37" fmla="*/ 24 h 26"/>
              <a:gd name="T38" fmla="*/ 20 w 32"/>
              <a:gd name="T39" fmla="*/ 22 h 26"/>
              <a:gd name="T40" fmla="*/ 20 w 32"/>
              <a:gd name="T41" fmla="*/ 20 h 26"/>
              <a:gd name="T42" fmla="*/ 20 w 32"/>
              <a:gd name="T43" fmla="*/ 18 h 26"/>
              <a:gd name="T44" fmla="*/ 22 w 32"/>
              <a:gd name="T45" fmla="*/ 18 h 26"/>
              <a:gd name="T46" fmla="*/ 22 w 32"/>
              <a:gd name="T47" fmla="*/ 18 h 26"/>
              <a:gd name="T48" fmla="*/ 28 w 32"/>
              <a:gd name="T49" fmla="*/ 20 h 26"/>
              <a:gd name="T50" fmla="*/ 30 w 32"/>
              <a:gd name="T51" fmla="*/ 20 h 26"/>
              <a:gd name="T52" fmla="*/ 30 w 32"/>
              <a:gd name="T53" fmla="*/ 20 h 26"/>
              <a:gd name="T54" fmla="*/ 32 w 32"/>
              <a:gd name="T55" fmla="*/ 20 h 26"/>
              <a:gd name="T56" fmla="*/ 32 w 32"/>
              <a:gd name="T57" fmla="*/ 16 h 26"/>
              <a:gd name="T58" fmla="*/ 32 w 32"/>
              <a:gd name="T59" fmla="*/ 16 h 26"/>
              <a:gd name="T60" fmla="*/ 32 w 32"/>
              <a:gd name="T61" fmla="*/ 8 h 26"/>
              <a:gd name="T62" fmla="*/ 28 w 32"/>
              <a:gd name="T63" fmla="*/ 0 h 26"/>
              <a:gd name="T64" fmla="*/ 28 w 32"/>
              <a:gd name="T65" fmla="*/ 0 h 26"/>
              <a:gd name="T66" fmla="*/ 26 w 32"/>
              <a:gd name="T67" fmla="*/ 2 h 26"/>
              <a:gd name="T68" fmla="*/ 22 w 32"/>
              <a:gd name="T69" fmla="*/ 4 h 26"/>
              <a:gd name="T70" fmla="*/ 22 w 32"/>
              <a:gd name="T71" fmla="*/ 4 h 26"/>
              <a:gd name="T72" fmla="*/ 18 w 32"/>
              <a:gd name="T73" fmla="*/ 6 h 26"/>
              <a:gd name="T74" fmla="*/ 14 w 32"/>
              <a:gd name="T75" fmla="*/ 4 h 26"/>
              <a:gd name="T76" fmla="*/ 14 w 32"/>
              <a:gd name="T77" fmla="*/ 4 h 26"/>
              <a:gd name="T78" fmla="*/ 6 w 32"/>
              <a:gd name="T79" fmla="*/ 0 h 26"/>
              <a:gd name="T80" fmla="*/ 6 w 32"/>
              <a:gd name="T81" fmla="*/ 0 h 26"/>
              <a:gd name="T82" fmla="*/ 6 w 32"/>
              <a:gd name="T83" fmla="*/ 2 h 26"/>
              <a:gd name="T84" fmla="*/ 6 w 32"/>
              <a:gd name="T85" fmla="*/ 2 h 26"/>
              <a:gd name="T86" fmla="*/ 8 w 32"/>
              <a:gd name="T87" fmla="*/ 4 h 26"/>
              <a:gd name="T88" fmla="*/ 6 w 32"/>
              <a:gd name="T89" fmla="*/ 12 h 26"/>
              <a:gd name="T90" fmla="*/ 6 w 32"/>
              <a:gd name="T91" fmla="*/ 12 h 26"/>
              <a:gd name="T92" fmla="*/ 2 w 32"/>
              <a:gd name="T93" fmla="*/ 12 h 26"/>
              <a:gd name="T94" fmla="*/ 2 w 32"/>
              <a:gd name="T95"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26">
                <a:moveTo>
                  <a:pt x="2" y="12"/>
                </a:moveTo>
                <a:lnTo>
                  <a:pt x="2" y="12"/>
                </a:lnTo>
                <a:lnTo>
                  <a:pt x="2" y="12"/>
                </a:lnTo>
                <a:lnTo>
                  <a:pt x="2" y="12"/>
                </a:lnTo>
                <a:lnTo>
                  <a:pt x="0" y="14"/>
                </a:lnTo>
                <a:lnTo>
                  <a:pt x="0" y="16"/>
                </a:lnTo>
                <a:lnTo>
                  <a:pt x="0" y="16"/>
                </a:lnTo>
                <a:lnTo>
                  <a:pt x="0" y="18"/>
                </a:lnTo>
                <a:lnTo>
                  <a:pt x="2" y="20"/>
                </a:lnTo>
                <a:lnTo>
                  <a:pt x="6" y="22"/>
                </a:lnTo>
                <a:lnTo>
                  <a:pt x="6" y="22"/>
                </a:lnTo>
                <a:lnTo>
                  <a:pt x="8" y="20"/>
                </a:lnTo>
                <a:lnTo>
                  <a:pt x="10" y="18"/>
                </a:lnTo>
                <a:lnTo>
                  <a:pt x="12" y="20"/>
                </a:lnTo>
                <a:lnTo>
                  <a:pt x="12" y="20"/>
                </a:lnTo>
                <a:lnTo>
                  <a:pt x="14" y="26"/>
                </a:lnTo>
                <a:lnTo>
                  <a:pt x="14" y="26"/>
                </a:lnTo>
                <a:lnTo>
                  <a:pt x="18" y="24"/>
                </a:lnTo>
                <a:lnTo>
                  <a:pt x="18" y="24"/>
                </a:lnTo>
                <a:lnTo>
                  <a:pt x="20" y="22"/>
                </a:lnTo>
                <a:lnTo>
                  <a:pt x="20" y="20"/>
                </a:lnTo>
                <a:lnTo>
                  <a:pt x="20" y="18"/>
                </a:lnTo>
                <a:lnTo>
                  <a:pt x="22" y="18"/>
                </a:lnTo>
                <a:lnTo>
                  <a:pt x="22" y="18"/>
                </a:lnTo>
                <a:lnTo>
                  <a:pt x="28" y="20"/>
                </a:lnTo>
                <a:lnTo>
                  <a:pt x="30" y="20"/>
                </a:lnTo>
                <a:lnTo>
                  <a:pt x="30" y="20"/>
                </a:lnTo>
                <a:lnTo>
                  <a:pt x="32" y="20"/>
                </a:lnTo>
                <a:lnTo>
                  <a:pt x="32" y="16"/>
                </a:lnTo>
                <a:lnTo>
                  <a:pt x="32" y="16"/>
                </a:lnTo>
                <a:lnTo>
                  <a:pt x="32" y="8"/>
                </a:lnTo>
                <a:lnTo>
                  <a:pt x="28" y="0"/>
                </a:lnTo>
                <a:lnTo>
                  <a:pt x="28" y="0"/>
                </a:lnTo>
                <a:lnTo>
                  <a:pt x="26" y="2"/>
                </a:lnTo>
                <a:lnTo>
                  <a:pt x="22" y="4"/>
                </a:lnTo>
                <a:lnTo>
                  <a:pt x="22" y="4"/>
                </a:lnTo>
                <a:lnTo>
                  <a:pt x="18" y="6"/>
                </a:lnTo>
                <a:lnTo>
                  <a:pt x="14" y="4"/>
                </a:lnTo>
                <a:lnTo>
                  <a:pt x="14" y="4"/>
                </a:lnTo>
                <a:lnTo>
                  <a:pt x="6" y="0"/>
                </a:lnTo>
                <a:lnTo>
                  <a:pt x="6" y="0"/>
                </a:lnTo>
                <a:lnTo>
                  <a:pt x="6" y="2"/>
                </a:lnTo>
                <a:lnTo>
                  <a:pt x="6" y="2"/>
                </a:lnTo>
                <a:lnTo>
                  <a:pt x="8" y="4"/>
                </a:lnTo>
                <a:lnTo>
                  <a:pt x="6" y="12"/>
                </a:lnTo>
                <a:lnTo>
                  <a:pt x="6" y="12"/>
                </a:lnTo>
                <a:lnTo>
                  <a:pt x="2" y="12"/>
                </a:lnTo>
                <a:lnTo>
                  <a:pt x="2"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9" name="Line 53">
            <a:extLst>
              <a:ext uri="{FF2B5EF4-FFF2-40B4-BE49-F238E27FC236}">
                <a16:creationId xmlns:a16="http://schemas.microsoft.com/office/drawing/2014/main" id="{FF96DC93-51DF-4872-A07A-B6649DBAC0B4}"/>
              </a:ext>
            </a:extLst>
          </p:cNvPr>
          <p:cNvSpPr>
            <a:spLocks noChangeShapeType="1"/>
          </p:cNvSpPr>
          <p:nvPr userDrawn="1"/>
        </p:nvSpPr>
        <p:spPr bwMode="auto">
          <a:xfrm>
            <a:off x="8718516"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0" name="Line 54">
            <a:extLst>
              <a:ext uri="{FF2B5EF4-FFF2-40B4-BE49-F238E27FC236}">
                <a16:creationId xmlns:a16="http://schemas.microsoft.com/office/drawing/2014/main" id="{292E326F-AB85-42B8-89A2-63DC092A4098}"/>
              </a:ext>
            </a:extLst>
          </p:cNvPr>
          <p:cNvSpPr>
            <a:spLocks noChangeShapeType="1"/>
          </p:cNvSpPr>
          <p:nvPr userDrawn="1"/>
        </p:nvSpPr>
        <p:spPr bwMode="auto">
          <a:xfrm>
            <a:off x="8718516"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1" name="Line 55">
            <a:extLst>
              <a:ext uri="{FF2B5EF4-FFF2-40B4-BE49-F238E27FC236}">
                <a16:creationId xmlns:a16="http://schemas.microsoft.com/office/drawing/2014/main" id="{258B1A02-FF91-436E-B5ED-34865D4DBA85}"/>
              </a:ext>
            </a:extLst>
          </p:cNvPr>
          <p:cNvSpPr>
            <a:spLocks noChangeShapeType="1"/>
          </p:cNvSpPr>
          <p:nvPr userDrawn="1"/>
        </p:nvSpPr>
        <p:spPr bwMode="auto">
          <a:xfrm>
            <a:off x="8728579"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2" name="Line 56">
            <a:extLst>
              <a:ext uri="{FF2B5EF4-FFF2-40B4-BE49-F238E27FC236}">
                <a16:creationId xmlns:a16="http://schemas.microsoft.com/office/drawing/2014/main" id="{03755F4C-6157-4C7F-B618-7A88AF3523C9}"/>
              </a:ext>
            </a:extLst>
          </p:cNvPr>
          <p:cNvSpPr>
            <a:spLocks noChangeShapeType="1"/>
          </p:cNvSpPr>
          <p:nvPr userDrawn="1"/>
        </p:nvSpPr>
        <p:spPr bwMode="auto">
          <a:xfrm>
            <a:off x="8728579"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3" name="Line 57">
            <a:extLst>
              <a:ext uri="{FF2B5EF4-FFF2-40B4-BE49-F238E27FC236}">
                <a16:creationId xmlns:a16="http://schemas.microsoft.com/office/drawing/2014/main" id="{EFBFBEE6-9C64-4887-A62A-C30F80B16850}"/>
              </a:ext>
            </a:extLst>
          </p:cNvPr>
          <p:cNvSpPr>
            <a:spLocks noChangeShapeType="1"/>
          </p:cNvSpPr>
          <p:nvPr userDrawn="1"/>
        </p:nvSpPr>
        <p:spPr bwMode="auto">
          <a:xfrm>
            <a:off x="8721870"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4" name="Line 58">
            <a:extLst>
              <a:ext uri="{FF2B5EF4-FFF2-40B4-BE49-F238E27FC236}">
                <a16:creationId xmlns:a16="http://schemas.microsoft.com/office/drawing/2014/main" id="{6D922B55-84D2-4249-87BA-4D8C372E5989}"/>
              </a:ext>
            </a:extLst>
          </p:cNvPr>
          <p:cNvSpPr>
            <a:spLocks noChangeShapeType="1"/>
          </p:cNvSpPr>
          <p:nvPr userDrawn="1"/>
        </p:nvSpPr>
        <p:spPr bwMode="auto">
          <a:xfrm>
            <a:off x="8721870"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5" name="Line 59">
            <a:extLst>
              <a:ext uri="{FF2B5EF4-FFF2-40B4-BE49-F238E27FC236}">
                <a16:creationId xmlns:a16="http://schemas.microsoft.com/office/drawing/2014/main" id="{65A49789-F52C-4FBF-B21D-0FAAABD619B2}"/>
              </a:ext>
            </a:extLst>
          </p:cNvPr>
          <p:cNvSpPr>
            <a:spLocks noChangeShapeType="1"/>
          </p:cNvSpPr>
          <p:nvPr userDrawn="1"/>
        </p:nvSpPr>
        <p:spPr bwMode="auto">
          <a:xfrm>
            <a:off x="871516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6" name="Line 60">
            <a:extLst>
              <a:ext uri="{FF2B5EF4-FFF2-40B4-BE49-F238E27FC236}">
                <a16:creationId xmlns:a16="http://schemas.microsoft.com/office/drawing/2014/main" id="{06F22D2C-5D6C-4A16-B022-A9D6959EF814}"/>
              </a:ext>
            </a:extLst>
          </p:cNvPr>
          <p:cNvSpPr>
            <a:spLocks noChangeShapeType="1"/>
          </p:cNvSpPr>
          <p:nvPr userDrawn="1"/>
        </p:nvSpPr>
        <p:spPr bwMode="auto">
          <a:xfrm>
            <a:off x="871516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7" name="Line 61">
            <a:extLst>
              <a:ext uri="{FF2B5EF4-FFF2-40B4-BE49-F238E27FC236}">
                <a16:creationId xmlns:a16="http://schemas.microsoft.com/office/drawing/2014/main" id="{A8CD58FB-9786-49A3-9D9C-FCB155A61EA9}"/>
              </a:ext>
            </a:extLst>
          </p:cNvPr>
          <p:cNvSpPr>
            <a:spLocks noChangeShapeType="1"/>
          </p:cNvSpPr>
          <p:nvPr userDrawn="1"/>
        </p:nvSpPr>
        <p:spPr bwMode="auto">
          <a:xfrm>
            <a:off x="8721870"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8" name="Line 62">
            <a:extLst>
              <a:ext uri="{FF2B5EF4-FFF2-40B4-BE49-F238E27FC236}">
                <a16:creationId xmlns:a16="http://schemas.microsoft.com/office/drawing/2014/main" id="{012CBE17-A46B-4016-A26F-BF503192F1C5}"/>
              </a:ext>
            </a:extLst>
          </p:cNvPr>
          <p:cNvSpPr>
            <a:spLocks noChangeShapeType="1"/>
          </p:cNvSpPr>
          <p:nvPr userDrawn="1"/>
        </p:nvSpPr>
        <p:spPr bwMode="auto">
          <a:xfrm>
            <a:off x="8721870"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9" name="Line 63">
            <a:extLst>
              <a:ext uri="{FF2B5EF4-FFF2-40B4-BE49-F238E27FC236}">
                <a16:creationId xmlns:a16="http://schemas.microsoft.com/office/drawing/2014/main" id="{5B34735B-ED31-4B6F-A082-45727650C4D5}"/>
              </a:ext>
            </a:extLst>
          </p:cNvPr>
          <p:cNvSpPr>
            <a:spLocks noChangeShapeType="1"/>
          </p:cNvSpPr>
          <p:nvPr userDrawn="1"/>
        </p:nvSpPr>
        <p:spPr bwMode="auto">
          <a:xfrm>
            <a:off x="8725224" y="129542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0" name="Line 64">
            <a:extLst>
              <a:ext uri="{FF2B5EF4-FFF2-40B4-BE49-F238E27FC236}">
                <a16:creationId xmlns:a16="http://schemas.microsoft.com/office/drawing/2014/main" id="{7845927C-27D4-45A1-847B-4D8F8F08E002}"/>
              </a:ext>
            </a:extLst>
          </p:cNvPr>
          <p:cNvSpPr>
            <a:spLocks noChangeShapeType="1"/>
          </p:cNvSpPr>
          <p:nvPr userDrawn="1"/>
        </p:nvSpPr>
        <p:spPr bwMode="auto">
          <a:xfrm>
            <a:off x="8725224" y="129542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1" name="Line 65">
            <a:extLst>
              <a:ext uri="{FF2B5EF4-FFF2-40B4-BE49-F238E27FC236}">
                <a16:creationId xmlns:a16="http://schemas.microsoft.com/office/drawing/2014/main" id="{0926A5C5-0CA5-4AA1-89CA-B46289E23186}"/>
              </a:ext>
            </a:extLst>
          </p:cNvPr>
          <p:cNvSpPr>
            <a:spLocks noChangeShapeType="1"/>
          </p:cNvSpPr>
          <p:nvPr userDrawn="1"/>
        </p:nvSpPr>
        <p:spPr bwMode="auto">
          <a:xfrm>
            <a:off x="8711808" y="126797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2" name="Line 66">
            <a:extLst>
              <a:ext uri="{FF2B5EF4-FFF2-40B4-BE49-F238E27FC236}">
                <a16:creationId xmlns:a16="http://schemas.microsoft.com/office/drawing/2014/main" id="{C8B4F718-C18C-4635-BF03-7BFD273FA43E}"/>
              </a:ext>
            </a:extLst>
          </p:cNvPr>
          <p:cNvSpPr>
            <a:spLocks noChangeShapeType="1"/>
          </p:cNvSpPr>
          <p:nvPr userDrawn="1"/>
        </p:nvSpPr>
        <p:spPr bwMode="auto">
          <a:xfrm>
            <a:off x="8711808" y="126797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3" name="Line 67">
            <a:extLst>
              <a:ext uri="{FF2B5EF4-FFF2-40B4-BE49-F238E27FC236}">
                <a16:creationId xmlns:a16="http://schemas.microsoft.com/office/drawing/2014/main" id="{D675AED0-DBD4-4F7E-A1B9-9C482FBCD24C}"/>
              </a:ext>
            </a:extLst>
          </p:cNvPr>
          <p:cNvSpPr>
            <a:spLocks noChangeShapeType="1"/>
          </p:cNvSpPr>
          <p:nvPr userDrawn="1"/>
        </p:nvSpPr>
        <p:spPr bwMode="auto">
          <a:xfrm>
            <a:off x="8701745" y="125767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4" name="Line 68">
            <a:extLst>
              <a:ext uri="{FF2B5EF4-FFF2-40B4-BE49-F238E27FC236}">
                <a16:creationId xmlns:a16="http://schemas.microsoft.com/office/drawing/2014/main" id="{50AA9074-B0FB-4B73-8F3E-356676A3F387}"/>
              </a:ext>
            </a:extLst>
          </p:cNvPr>
          <p:cNvSpPr>
            <a:spLocks noChangeShapeType="1"/>
          </p:cNvSpPr>
          <p:nvPr userDrawn="1"/>
        </p:nvSpPr>
        <p:spPr bwMode="auto">
          <a:xfrm>
            <a:off x="8701745" y="125767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5" name="Line 69">
            <a:extLst>
              <a:ext uri="{FF2B5EF4-FFF2-40B4-BE49-F238E27FC236}">
                <a16:creationId xmlns:a16="http://schemas.microsoft.com/office/drawing/2014/main" id="{B570595E-D833-443A-805B-60EF8833DF1C}"/>
              </a:ext>
            </a:extLst>
          </p:cNvPr>
          <p:cNvSpPr>
            <a:spLocks noChangeShapeType="1"/>
          </p:cNvSpPr>
          <p:nvPr userDrawn="1"/>
        </p:nvSpPr>
        <p:spPr bwMode="auto">
          <a:xfrm>
            <a:off x="8708454" y="126453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6" name="Line 70">
            <a:extLst>
              <a:ext uri="{FF2B5EF4-FFF2-40B4-BE49-F238E27FC236}">
                <a16:creationId xmlns:a16="http://schemas.microsoft.com/office/drawing/2014/main" id="{0F80AD2F-C8D5-4C7E-A83F-B5454A511C21}"/>
              </a:ext>
            </a:extLst>
          </p:cNvPr>
          <p:cNvSpPr>
            <a:spLocks noChangeShapeType="1"/>
          </p:cNvSpPr>
          <p:nvPr userDrawn="1"/>
        </p:nvSpPr>
        <p:spPr bwMode="auto">
          <a:xfrm>
            <a:off x="8708454" y="126453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7" name="Line 71">
            <a:extLst>
              <a:ext uri="{FF2B5EF4-FFF2-40B4-BE49-F238E27FC236}">
                <a16:creationId xmlns:a16="http://schemas.microsoft.com/office/drawing/2014/main" id="{5A13FEA0-6048-4B6D-B0C1-9B2AFFCE17A5}"/>
              </a:ext>
            </a:extLst>
          </p:cNvPr>
          <p:cNvSpPr>
            <a:spLocks noChangeShapeType="1"/>
          </p:cNvSpPr>
          <p:nvPr userDrawn="1"/>
        </p:nvSpPr>
        <p:spPr bwMode="auto">
          <a:xfrm>
            <a:off x="8684975" y="130229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8" name="Line 72">
            <a:extLst>
              <a:ext uri="{FF2B5EF4-FFF2-40B4-BE49-F238E27FC236}">
                <a16:creationId xmlns:a16="http://schemas.microsoft.com/office/drawing/2014/main" id="{AB42A4B9-0BFC-437D-B888-B52CED8CB5FF}"/>
              </a:ext>
            </a:extLst>
          </p:cNvPr>
          <p:cNvSpPr>
            <a:spLocks noChangeShapeType="1"/>
          </p:cNvSpPr>
          <p:nvPr userDrawn="1"/>
        </p:nvSpPr>
        <p:spPr bwMode="auto">
          <a:xfrm>
            <a:off x="8684975" y="130229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9" name="Line 73">
            <a:extLst>
              <a:ext uri="{FF2B5EF4-FFF2-40B4-BE49-F238E27FC236}">
                <a16:creationId xmlns:a16="http://schemas.microsoft.com/office/drawing/2014/main" id="{339E3DA9-0BAF-42A5-BF93-72A30C0F23FD}"/>
              </a:ext>
            </a:extLst>
          </p:cNvPr>
          <p:cNvSpPr>
            <a:spLocks noChangeShapeType="1"/>
          </p:cNvSpPr>
          <p:nvPr userDrawn="1"/>
        </p:nvSpPr>
        <p:spPr bwMode="auto">
          <a:xfrm>
            <a:off x="868497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0" name="Line 74">
            <a:extLst>
              <a:ext uri="{FF2B5EF4-FFF2-40B4-BE49-F238E27FC236}">
                <a16:creationId xmlns:a16="http://schemas.microsoft.com/office/drawing/2014/main" id="{DC391C2E-9207-4CBF-AE5E-3884F929666C}"/>
              </a:ext>
            </a:extLst>
          </p:cNvPr>
          <p:cNvSpPr>
            <a:spLocks noChangeShapeType="1"/>
          </p:cNvSpPr>
          <p:nvPr userDrawn="1"/>
        </p:nvSpPr>
        <p:spPr bwMode="auto">
          <a:xfrm>
            <a:off x="868497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1" name="Line 75">
            <a:extLst>
              <a:ext uri="{FF2B5EF4-FFF2-40B4-BE49-F238E27FC236}">
                <a16:creationId xmlns:a16="http://schemas.microsoft.com/office/drawing/2014/main" id="{1A7481FD-FDA3-4269-A72A-45077A764181}"/>
              </a:ext>
            </a:extLst>
          </p:cNvPr>
          <p:cNvSpPr>
            <a:spLocks noChangeShapeType="1"/>
          </p:cNvSpPr>
          <p:nvPr userDrawn="1"/>
        </p:nvSpPr>
        <p:spPr bwMode="auto">
          <a:xfrm>
            <a:off x="8691683"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2" name="Line 76">
            <a:extLst>
              <a:ext uri="{FF2B5EF4-FFF2-40B4-BE49-F238E27FC236}">
                <a16:creationId xmlns:a16="http://schemas.microsoft.com/office/drawing/2014/main" id="{60E78758-4865-440F-BBF7-EBE8031A0851}"/>
              </a:ext>
            </a:extLst>
          </p:cNvPr>
          <p:cNvSpPr>
            <a:spLocks noChangeShapeType="1"/>
          </p:cNvSpPr>
          <p:nvPr userDrawn="1"/>
        </p:nvSpPr>
        <p:spPr bwMode="auto">
          <a:xfrm>
            <a:off x="8691683"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3" name="Line 77">
            <a:extLst>
              <a:ext uri="{FF2B5EF4-FFF2-40B4-BE49-F238E27FC236}">
                <a16:creationId xmlns:a16="http://schemas.microsoft.com/office/drawing/2014/main" id="{370AB2A7-BB97-4E91-8415-BFF9C6693B72}"/>
              </a:ext>
            </a:extLst>
          </p:cNvPr>
          <p:cNvSpPr>
            <a:spLocks noChangeShapeType="1"/>
          </p:cNvSpPr>
          <p:nvPr userDrawn="1"/>
        </p:nvSpPr>
        <p:spPr bwMode="auto">
          <a:xfrm>
            <a:off x="868162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4" name="Line 78">
            <a:extLst>
              <a:ext uri="{FF2B5EF4-FFF2-40B4-BE49-F238E27FC236}">
                <a16:creationId xmlns:a16="http://schemas.microsoft.com/office/drawing/2014/main" id="{204E677C-137D-4891-8B1C-6DC3DF8C13F5}"/>
              </a:ext>
            </a:extLst>
          </p:cNvPr>
          <p:cNvSpPr>
            <a:spLocks noChangeShapeType="1"/>
          </p:cNvSpPr>
          <p:nvPr userDrawn="1"/>
        </p:nvSpPr>
        <p:spPr bwMode="auto">
          <a:xfrm>
            <a:off x="868162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5" name="Line 79">
            <a:extLst>
              <a:ext uri="{FF2B5EF4-FFF2-40B4-BE49-F238E27FC236}">
                <a16:creationId xmlns:a16="http://schemas.microsoft.com/office/drawing/2014/main" id="{0BAAF8B0-4583-41EE-9B14-25F87C815358}"/>
              </a:ext>
            </a:extLst>
          </p:cNvPr>
          <p:cNvSpPr>
            <a:spLocks noChangeShapeType="1"/>
          </p:cNvSpPr>
          <p:nvPr userDrawn="1"/>
        </p:nvSpPr>
        <p:spPr bwMode="auto">
          <a:xfrm>
            <a:off x="870174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6" name="Line 80">
            <a:extLst>
              <a:ext uri="{FF2B5EF4-FFF2-40B4-BE49-F238E27FC236}">
                <a16:creationId xmlns:a16="http://schemas.microsoft.com/office/drawing/2014/main" id="{3131997B-9151-4EB2-BACD-FA9EE7482B5D}"/>
              </a:ext>
            </a:extLst>
          </p:cNvPr>
          <p:cNvSpPr>
            <a:spLocks noChangeShapeType="1"/>
          </p:cNvSpPr>
          <p:nvPr userDrawn="1"/>
        </p:nvSpPr>
        <p:spPr bwMode="auto">
          <a:xfrm>
            <a:off x="870174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7" name="Line 81">
            <a:extLst>
              <a:ext uri="{FF2B5EF4-FFF2-40B4-BE49-F238E27FC236}">
                <a16:creationId xmlns:a16="http://schemas.microsoft.com/office/drawing/2014/main" id="{2A505CD1-1460-4742-A695-EAEC02A26F06}"/>
              </a:ext>
            </a:extLst>
          </p:cNvPr>
          <p:cNvSpPr>
            <a:spLocks noChangeShapeType="1"/>
          </p:cNvSpPr>
          <p:nvPr userDrawn="1"/>
        </p:nvSpPr>
        <p:spPr bwMode="auto">
          <a:xfrm>
            <a:off x="8705100"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8" name="Line 82">
            <a:extLst>
              <a:ext uri="{FF2B5EF4-FFF2-40B4-BE49-F238E27FC236}">
                <a16:creationId xmlns:a16="http://schemas.microsoft.com/office/drawing/2014/main" id="{F75466AC-66C1-46D3-B1C1-B13D9B3F13C8}"/>
              </a:ext>
            </a:extLst>
          </p:cNvPr>
          <p:cNvSpPr>
            <a:spLocks noChangeShapeType="1"/>
          </p:cNvSpPr>
          <p:nvPr userDrawn="1"/>
        </p:nvSpPr>
        <p:spPr bwMode="auto">
          <a:xfrm>
            <a:off x="8705100"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9" name="Line 83">
            <a:extLst>
              <a:ext uri="{FF2B5EF4-FFF2-40B4-BE49-F238E27FC236}">
                <a16:creationId xmlns:a16="http://schemas.microsoft.com/office/drawing/2014/main" id="{6438E8F1-430B-45C9-AA64-376C5A07ABAC}"/>
              </a:ext>
            </a:extLst>
          </p:cNvPr>
          <p:cNvSpPr>
            <a:spLocks noChangeShapeType="1"/>
          </p:cNvSpPr>
          <p:nvPr userDrawn="1"/>
        </p:nvSpPr>
        <p:spPr bwMode="auto">
          <a:xfrm>
            <a:off x="8735287"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0" name="Line 84">
            <a:extLst>
              <a:ext uri="{FF2B5EF4-FFF2-40B4-BE49-F238E27FC236}">
                <a16:creationId xmlns:a16="http://schemas.microsoft.com/office/drawing/2014/main" id="{97DD16AA-C216-4730-AF82-74C84D30394A}"/>
              </a:ext>
            </a:extLst>
          </p:cNvPr>
          <p:cNvSpPr>
            <a:spLocks noChangeShapeType="1"/>
          </p:cNvSpPr>
          <p:nvPr userDrawn="1"/>
        </p:nvSpPr>
        <p:spPr bwMode="auto">
          <a:xfrm>
            <a:off x="8735287"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1" name="Line 85">
            <a:extLst>
              <a:ext uri="{FF2B5EF4-FFF2-40B4-BE49-F238E27FC236}">
                <a16:creationId xmlns:a16="http://schemas.microsoft.com/office/drawing/2014/main" id="{DEC05E80-EF4C-4701-9101-BB490EF7EF8E}"/>
              </a:ext>
            </a:extLst>
          </p:cNvPr>
          <p:cNvSpPr>
            <a:spLocks noChangeShapeType="1"/>
          </p:cNvSpPr>
          <p:nvPr userDrawn="1"/>
        </p:nvSpPr>
        <p:spPr bwMode="auto">
          <a:xfrm>
            <a:off x="8621248"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2" name="Line 86">
            <a:extLst>
              <a:ext uri="{FF2B5EF4-FFF2-40B4-BE49-F238E27FC236}">
                <a16:creationId xmlns:a16="http://schemas.microsoft.com/office/drawing/2014/main" id="{0B1D7B3B-938F-4301-9D2F-8F97E36CED2E}"/>
              </a:ext>
            </a:extLst>
          </p:cNvPr>
          <p:cNvSpPr>
            <a:spLocks noChangeShapeType="1"/>
          </p:cNvSpPr>
          <p:nvPr userDrawn="1"/>
        </p:nvSpPr>
        <p:spPr bwMode="auto">
          <a:xfrm>
            <a:off x="8621248"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3" name="Line 87">
            <a:extLst>
              <a:ext uri="{FF2B5EF4-FFF2-40B4-BE49-F238E27FC236}">
                <a16:creationId xmlns:a16="http://schemas.microsoft.com/office/drawing/2014/main" id="{D9A4309A-E838-47B4-BFAE-BE6EB6BA8AD8}"/>
              </a:ext>
            </a:extLst>
          </p:cNvPr>
          <p:cNvSpPr>
            <a:spLocks noChangeShapeType="1"/>
          </p:cNvSpPr>
          <p:nvPr userDrawn="1"/>
        </p:nvSpPr>
        <p:spPr bwMode="auto">
          <a:xfrm>
            <a:off x="8621248" y="127483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4" name="Line 88">
            <a:extLst>
              <a:ext uri="{FF2B5EF4-FFF2-40B4-BE49-F238E27FC236}">
                <a16:creationId xmlns:a16="http://schemas.microsoft.com/office/drawing/2014/main" id="{C3028358-12CB-4426-8653-56EE441AA33E}"/>
              </a:ext>
            </a:extLst>
          </p:cNvPr>
          <p:cNvSpPr>
            <a:spLocks noChangeShapeType="1"/>
          </p:cNvSpPr>
          <p:nvPr userDrawn="1"/>
        </p:nvSpPr>
        <p:spPr bwMode="auto">
          <a:xfrm>
            <a:off x="8621248" y="127483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5" name="Freeform 89">
            <a:extLst>
              <a:ext uri="{FF2B5EF4-FFF2-40B4-BE49-F238E27FC236}">
                <a16:creationId xmlns:a16="http://schemas.microsoft.com/office/drawing/2014/main" id="{55BF30F7-2E3E-4BE3-87EC-99D6ECD3FCD3}"/>
              </a:ext>
            </a:extLst>
          </p:cNvPr>
          <p:cNvSpPr>
            <a:spLocks/>
          </p:cNvSpPr>
          <p:nvPr userDrawn="1"/>
        </p:nvSpPr>
        <p:spPr bwMode="auto">
          <a:xfrm>
            <a:off x="8255654" y="2064188"/>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6" name="Line 90">
            <a:extLst>
              <a:ext uri="{FF2B5EF4-FFF2-40B4-BE49-F238E27FC236}">
                <a16:creationId xmlns:a16="http://schemas.microsoft.com/office/drawing/2014/main" id="{E006038E-4760-4617-9EDD-6CA97D33B834}"/>
              </a:ext>
            </a:extLst>
          </p:cNvPr>
          <p:cNvSpPr>
            <a:spLocks noChangeShapeType="1"/>
          </p:cNvSpPr>
          <p:nvPr userDrawn="1"/>
        </p:nvSpPr>
        <p:spPr bwMode="auto">
          <a:xfrm>
            <a:off x="8678267" y="128513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7" name="Line 91">
            <a:extLst>
              <a:ext uri="{FF2B5EF4-FFF2-40B4-BE49-F238E27FC236}">
                <a16:creationId xmlns:a16="http://schemas.microsoft.com/office/drawing/2014/main" id="{EAD92DD1-F03B-4B4C-A695-A063CB283B15}"/>
              </a:ext>
            </a:extLst>
          </p:cNvPr>
          <p:cNvSpPr>
            <a:spLocks noChangeShapeType="1"/>
          </p:cNvSpPr>
          <p:nvPr userDrawn="1"/>
        </p:nvSpPr>
        <p:spPr bwMode="auto">
          <a:xfrm>
            <a:off x="8678267" y="128513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8" name="Line 92">
            <a:extLst>
              <a:ext uri="{FF2B5EF4-FFF2-40B4-BE49-F238E27FC236}">
                <a16:creationId xmlns:a16="http://schemas.microsoft.com/office/drawing/2014/main" id="{B32260C5-D744-4E34-9814-B12EC7EB371A}"/>
              </a:ext>
            </a:extLst>
          </p:cNvPr>
          <p:cNvSpPr>
            <a:spLocks noChangeShapeType="1"/>
          </p:cNvSpPr>
          <p:nvPr userDrawn="1"/>
        </p:nvSpPr>
        <p:spPr bwMode="auto">
          <a:xfrm>
            <a:off x="8607832"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9" name="Line 93">
            <a:extLst>
              <a:ext uri="{FF2B5EF4-FFF2-40B4-BE49-F238E27FC236}">
                <a16:creationId xmlns:a16="http://schemas.microsoft.com/office/drawing/2014/main" id="{924C21BA-8A43-4DE6-9A64-C43B57C466C7}"/>
              </a:ext>
            </a:extLst>
          </p:cNvPr>
          <p:cNvSpPr>
            <a:spLocks noChangeShapeType="1"/>
          </p:cNvSpPr>
          <p:nvPr userDrawn="1"/>
        </p:nvSpPr>
        <p:spPr bwMode="auto">
          <a:xfrm>
            <a:off x="8607832"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0" name="Line 94">
            <a:extLst>
              <a:ext uri="{FF2B5EF4-FFF2-40B4-BE49-F238E27FC236}">
                <a16:creationId xmlns:a16="http://schemas.microsoft.com/office/drawing/2014/main" id="{360F84CA-C6BF-445A-8EC9-51B97F04008C}"/>
              </a:ext>
            </a:extLst>
          </p:cNvPr>
          <p:cNvSpPr>
            <a:spLocks noChangeShapeType="1"/>
          </p:cNvSpPr>
          <p:nvPr userDrawn="1"/>
        </p:nvSpPr>
        <p:spPr bwMode="auto">
          <a:xfrm>
            <a:off x="8148324" y="131945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1" name="Line 95">
            <a:extLst>
              <a:ext uri="{FF2B5EF4-FFF2-40B4-BE49-F238E27FC236}">
                <a16:creationId xmlns:a16="http://schemas.microsoft.com/office/drawing/2014/main" id="{1021A0EB-7DB2-48DE-91DE-E2DDB47DF514}"/>
              </a:ext>
            </a:extLst>
          </p:cNvPr>
          <p:cNvSpPr>
            <a:spLocks noChangeShapeType="1"/>
          </p:cNvSpPr>
          <p:nvPr userDrawn="1"/>
        </p:nvSpPr>
        <p:spPr bwMode="auto">
          <a:xfrm>
            <a:off x="8148324" y="131945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2" name="Line 96">
            <a:extLst>
              <a:ext uri="{FF2B5EF4-FFF2-40B4-BE49-F238E27FC236}">
                <a16:creationId xmlns:a16="http://schemas.microsoft.com/office/drawing/2014/main" id="{672B2896-DE68-43E9-A28F-4EA861DA35EE}"/>
              </a:ext>
            </a:extLst>
          </p:cNvPr>
          <p:cNvSpPr>
            <a:spLocks noChangeShapeType="1"/>
          </p:cNvSpPr>
          <p:nvPr userDrawn="1"/>
        </p:nvSpPr>
        <p:spPr bwMode="auto">
          <a:xfrm>
            <a:off x="8148324" y="132288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3" name="Line 97">
            <a:extLst>
              <a:ext uri="{FF2B5EF4-FFF2-40B4-BE49-F238E27FC236}">
                <a16:creationId xmlns:a16="http://schemas.microsoft.com/office/drawing/2014/main" id="{7FF55D24-2388-41C2-B14C-2C54A951ABCC}"/>
              </a:ext>
            </a:extLst>
          </p:cNvPr>
          <p:cNvSpPr>
            <a:spLocks noChangeShapeType="1"/>
          </p:cNvSpPr>
          <p:nvPr userDrawn="1"/>
        </p:nvSpPr>
        <p:spPr bwMode="auto">
          <a:xfrm>
            <a:off x="8148324" y="132288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4" name="Line 98">
            <a:extLst>
              <a:ext uri="{FF2B5EF4-FFF2-40B4-BE49-F238E27FC236}">
                <a16:creationId xmlns:a16="http://schemas.microsoft.com/office/drawing/2014/main" id="{0FF1AB6A-6E82-4855-81AB-676A1CA8DA03}"/>
              </a:ext>
            </a:extLst>
          </p:cNvPr>
          <p:cNvSpPr>
            <a:spLocks noChangeShapeType="1"/>
          </p:cNvSpPr>
          <p:nvPr userDrawn="1"/>
        </p:nvSpPr>
        <p:spPr bwMode="auto">
          <a:xfrm>
            <a:off x="8178511" y="129885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5" name="Line 99">
            <a:extLst>
              <a:ext uri="{FF2B5EF4-FFF2-40B4-BE49-F238E27FC236}">
                <a16:creationId xmlns:a16="http://schemas.microsoft.com/office/drawing/2014/main" id="{EB72EC18-8583-4A09-A597-9C4169415124}"/>
              </a:ext>
            </a:extLst>
          </p:cNvPr>
          <p:cNvSpPr>
            <a:spLocks noChangeShapeType="1"/>
          </p:cNvSpPr>
          <p:nvPr userDrawn="1"/>
        </p:nvSpPr>
        <p:spPr bwMode="auto">
          <a:xfrm>
            <a:off x="8178511" y="129885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6" name="Line 100">
            <a:extLst>
              <a:ext uri="{FF2B5EF4-FFF2-40B4-BE49-F238E27FC236}">
                <a16:creationId xmlns:a16="http://schemas.microsoft.com/office/drawing/2014/main" id="{C9C07AAA-A5BF-459A-9FCC-9F0BE3FA6372}"/>
              </a:ext>
            </a:extLst>
          </p:cNvPr>
          <p:cNvSpPr>
            <a:spLocks noChangeShapeType="1"/>
          </p:cNvSpPr>
          <p:nvPr userDrawn="1"/>
        </p:nvSpPr>
        <p:spPr bwMode="auto">
          <a:xfrm>
            <a:off x="8185219" y="130572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7" name="Line 101">
            <a:extLst>
              <a:ext uri="{FF2B5EF4-FFF2-40B4-BE49-F238E27FC236}">
                <a16:creationId xmlns:a16="http://schemas.microsoft.com/office/drawing/2014/main" id="{76973910-74EE-445A-8AF5-9BA11B1CFF67}"/>
              </a:ext>
            </a:extLst>
          </p:cNvPr>
          <p:cNvSpPr>
            <a:spLocks noChangeShapeType="1"/>
          </p:cNvSpPr>
          <p:nvPr userDrawn="1"/>
        </p:nvSpPr>
        <p:spPr bwMode="auto">
          <a:xfrm>
            <a:off x="8185219" y="130572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8" name="Line 102">
            <a:extLst>
              <a:ext uri="{FF2B5EF4-FFF2-40B4-BE49-F238E27FC236}">
                <a16:creationId xmlns:a16="http://schemas.microsoft.com/office/drawing/2014/main" id="{72B4552B-209A-4BBF-96C7-4DE0E1EEE281}"/>
              </a:ext>
            </a:extLst>
          </p:cNvPr>
          <p:cNvSpPr>
            <a:spLocks noChangeShapeType="1"/>
          </p:cNvSpPr>
          <p:nvPr userDrawn="1"/>
        </p:nvSpPr>
        <p:spPr bwMode="auto">
          <a:xfrm>
            <a:off x="8336152" y="125081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9" name="Line 103">
            <a:extLst>
              <a:ext uri="{FF2B5EF4-FFF2-40B4-BE49-F238E27FC236}">
                <a16:creationId xmlns:a16="http://schemas.microsoft.com/office/drawing/2014/main" id="{14BABBC3-FF14-40D6-8FA4-56D381AD24FB}"/>
              </a:ext>
            </a:extLst>
          </p:cNvPr>
          <p:cNvSpPr>
            <a:spLocks noChangeShapeType="1"/>
          </p:cNvSpPr>
          <p:nvPr userDrawn="1"/>
        </p:nvSpPr>
        <p:spPr bwMode="auto">
          <a:xfrm>
            <a:off x="8336152" y="125081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0" name="Freeform 104">
            <a:extLst>
              <a:ext uri="{FF2B5EF4-FFF2-40B4-BE49-F238E27FC236}">
                <a16:creationId xmlns:a16="http://schemas.microsoft.com/office/drawing/2014/main" id="{691C45BD-C969-41AB-99A0-B530D71D3992}"/>
              </a:ext>
            </a:extLst>
          </p:cNvPr>
          <p:cNvSpPr>
            <a:spLocks noEditPoints="1"/>
          </p:cNvSpPr>
          <p:nvPr userDrawn="1"/>
        </p:nvSpPr>
        <p:spPr bwMode="auto">
          <a:xfrm>
            <a:off x="6296876" y="1051755"/>
            <a:ext cx="3813580" cy="1420837"/>
          </a:xfrm>
          <a:custGeom>
            <a:avLst/>
            <a:gdLst>
              <a:gd name="T0" fmla="*/ 1636 w 2274"/>
              <a:gd name="T1" fmla="*/ 652 h 828"/>
              <a:gd name="T2" fmla="*/ 2270 w 2274"/>
              <a:gd name="T3" fmla="*/ 316 h 828"/>
              <a:gd name="T4" fmla="*/ 2196 w 2274"/>
              <a:gd name="T5" fmla="*/ 336 h 828"/>
              <a:gd name="T6" fmla="*/ 2106 w 2274"/>
              <a:gd name="T7" fmla="*/ 336 h 828"/>
              <a:gd name="T8" fmla="*/ 2054 w 2274"/>
              <a:gd name="T9" fmla="*/ 400 h 828"/>
              <a:gd name="T10" fmla="*/ 1960 w 2274"/>
              <a:gd name="T11" fmla="*/ 426 h 828"/>
              <a:gd name="T12" fmla="*/ 1912 w 2274"/>
              <a:gd name="T13" fmla="*/ 518 h 828"/>
              <a:gd name="T14" fmla="*/ 1830 w 2274"/>
              <a:gd name="T15" fmla="*/ 616 h 828"/>
              <a:gd name="T16" fmla="*/ 1904 w 2274"/>
              <a:gd name="T17" fmla="*/ 426 h 828"/>
              <a:gd name="T18" fmla="*/ 1896 w 2274"/>
              <a:gd name="T19" fmla="*/ 418 h 828"/>
              <a:gd name="T20" fmla="*/ 1820 w 2274"/>
              <a:gd name="T21" fmla="*/ 424 h 828"/>
              <a:gd name="T22" fmla="*/ 1760 w 2274"/>
              <a:gd name="T23" fmla="*/ 450 h 828"/>
              <a:gd name="T24" fmla="*/ 1650 w 2274"/>
              <a:gd name="T25" fmla="*/ 450 h 828"/>
              <a:gd name="T26" fmla="*/ 1556 w 2274"/>
              <a:gd name="T27" fmla="*/ 548 h 828"/>
              <a:gd name="T28" fmla="*/ 1620 w 2274"/>
              <a:gd name="T29" fmla="*/ 616 h 828"/>
              <a:gd name="T30" fmla="*/ 1554 w 2274"/>
              <a:gd name="T31" fmla="*/ 762 h 828"/>
              <a:gd name="T32" fmla="*/ 1498 w 2274"/>
              <a:gd name="T33" fmla="*/ 756 h 828"/>
              <a:gd name="T34" fmla="*/ 1342 w 2274"/>
              <a:gd name="T35" fmla="*/ 608 h 828"/>
              <a:gd name="T36" fmla="*/ 1038 w 2274"/>
              <a:gd name="T37" fmla="*/ 650 h 828"/>
              <a:gd name="T38" fmla="*/ 692 w 2274"/>
              <a:gd name="T39" fmla="*/ 570 h 828"/>
              <a:gd name="T40" fmla="*/ 492 w 2274"/>
              <a:gd name="T41" fmla="*/ 630 h 828"/>
              <a:gd name="T42" fmla="*/ 392 w 2274"/>
              <a:gd name="T43" fmla="*/ 650 h 828"/>
              <a:gd name="T44" fmla="*/ 386 w 2274"/>
              <a:gd name="T45" fmla="*/ 730 h 828"/>
              <a:gd name="T46" fmla="*/ 374 w 2274"/>
              <a:gd name="T47" fmla="*/ 816 h 828"/>
              <a:gd name="T48" fmla="*/ 254 w 2274"/>
              <a:gd name="T49" fmla="*/ 766 h 828"/>
              <a:gd name="T50" fmla="*/ 276 w 2274"/>
              <a:gd name="T51" fmla="*/ 684 h 828"/>
              <a:gd name="T52" fmla="*/ 180 w 2274"/>
              <a:gd name="T53" fmla="*/ 608 h 828"/>
              <a:gd name="T54" fmla="*/ 114 w 2274"/>
              <a:gd name="T55" fmla="*/ 510 h 828"/>
              <a:gd name="T56" fmla="*/ 118 w 2274"/>
              <a:gd name="T57" fmla="*/ 418 h 828"/>
              <a:gd name="T58" fmla="*/ 138 w 2274"/>
              <a:gd name="T59" fmla="*/ 244 h 828"/>
              <a:gd name="T60" fmla="*/ 210 w 2274"/>
              <a:gd name="T61" fmla="*/ 222 h 828"/>
              <a:gd name="T62" fmla="*/ 204 w 2274"/>
              <a:gd name="T63" fmla="*/ 280 h 828"/>
              <a:gd name="T64" fmla="*/ 212 w 2274"/>
              <a:gd name="T65" fmla="*/ 322 h 828"/>
              <a:gd name="T66" fmla="*/ 276 w 2274"/>
              <a:gd name="T67" fmla="*/ 318 h 828"/>
              <a:gd name="T68" fmla="*/ 338 w 2274"/>
              <a:gd name="T69" fmla="*/ 240 h 828"/>
              <a:gd name="T70" fmla="*/ 436 w 2274"/>
              <a:gd name="T71" fmla="*/ 244 h 828"/>
              <a:gd name="T72" fmla="*/ 512 w 2274"/>
              <a:gd name="T73" fmla="*/ 242 h 828"/>
              <a:gd name="T74" fmla="*/ 600 w 2274"/>
              <a:gd name="T75" fmla="*/ 218 h 828"/>
              <a:gd name="T76" fmla="*/ 642 w 2274"/>
              <a:gd name="T77" fmla="*/ 200 h 828"/>
              <a:gd name="T78" fmla="*/ 714 w 2274"/>
              <a:gd name="T79" fmla="*/ 198 h 828"/>
              <a:gd name="T80" fmla="*/ 704 w 2274"/>
              <a:gd name="T81" fmla="*/ 294 h 828"/>
              <a:gd name="T82" fmla="*/ 788 w 2274"/>
              <a:gd name="T83" fmla="*/ 268 h 828"/>
              <a:gd name="T84" fmla="*/ 738 w 2274"/>
              <a:gd name="T85" fmla="*/ 150 h 828"/>
              <a:gd name="T86" fmla="*/ 782 w 2274"/>
              <a:gd name="T87" fmla="*/ 164 h 828"/>
              <a:gd name="T88" fmla="*/ 880 w 2274"/>
              <a:gd name="T89" fmla="*/ 218 h 828"/>
              <a:gd name="T90" fmla="*/ 834 w 2274"/>
              <a:gd name="T91" fmla="*/ 108 h 828"/>
              <a:gd name="T92" fmla="*/ 916 w 2274"/>
              <a:gd name="T93" fmla="*/ 70 h 828"/>
              <a:gd name="T94" fmla="*/ 1036 w 2274"/>
              <a:gd name="T95" fmla="*/ 46 h 828"/>
              <a:gd name="T96" fmla="*/ 1104 w 2274"/>
              <a:gd name="T97" fmla="*/ 8 h 828"/>
              <a:gd name="T98" fmla="*/ 1212 w 2274"/>
              <a:gd name="T99" fmla="*/ 24 h 828"/>
              <a:gd name="T100" fmla="*/ 1188 w 2274"/>
              <a:gd name="T101" fmla="*/ 116 h 828"/>
              <a:gd name="T102" fmla="*/ 1208 w 2274"/>
              <a:gd name="T103" fmla="*/ 108 h 828"/>
              <a:gd name="T104" fmla="*/ 1320 w 2274"/>
              <a:gd name="T105" fmla="*/ 126 h 828"/>
              <a:gd name="T106" fmla="*/ 1406 w 2274"/>
              <a:gd name="T107" fmla="*/ 108 h 828"/>
              <a:gd name="T108" fmla="*/ 1434 w 2274"/>
              <a:gd name="T109" fmla="*/ 164 h 828"/>
              <a:gd name="T110" fmla="*/ 1506 w 2274"/>
              <a:gd name="T111" fmla="*/ 168 h 828"/>
              <a:gd name="T112" fmla="*/ 1604 w 2274"/>
              <a:gd name="T113" fmla="*/ 172 h 828"/>
              <a:gd name="T114" fmla="*/ 1690 w 2274"/>
              <a:gd name="T115" fmla="*/ 156 h 828"/>
              <a:gd name="T116" fmla="*/ 1754 w 2274"/>
              <a:gd name="T117" fmla="*/ 188 h 828"/>
              <a:gd name="T118" fmla="*/ 1890 w 2274"/>
              <a:gd name="T119" fmla="*/ 228 h 828"/>
              <a:gd name="T120" fmla="*/ 2024 w 2274"/>
              <a:gd name="T121" fmla="*/ 226 h 828"/>
              <a:gd name="T122" fmla="*/ 2158 w 2274"/>
              <a:gd name="T123" fmla="*/ 246 h 828"/>
              <a:gd name="T124" fmla="*/ 26 w 2274"/>
              <a:gd name="T125" fmla="*/ 556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4" h="828">
                <a:moveTo>
                  <a:pt x="1666" y="666"/>
                </a:moveTo>
                <a:lnTo>
                  <a:pt x="1666" y="666"/>
                </a:lnTo>
                <a:lnTo>
                  <a:pt x="1668" y="674"/>
                </a:lnTo>
                <a:lnTo>
                  <a:pt x="1668" y="674"/>
                </a:lnTo>
                <a:lnTo>
                  <a:pt x="1664" y="670"/>
                </a:lnTo>
                <a:lnTo>
                  <a:pt x="1658" y="666"/>
                </a:lnTo>
                <a:lnTo>
                  <a:pt x="1656" y="666"/>
                </a:lnTo>
                <a:lnTo>
                  <a:pt x="1652" y="666"/>
                </a:lnTo>
                <a:lnTo>
                  <a:pt x="1650" y="668"/>
                </a:lnTo>
                <a:lnTo>
                  <a:pt x="1648" y="672"/>
                </a:lnTo>
                <a:lnTo>
                  <a:pt x="1648" y="672"/>
                </a:lnTo>
                <a:lnTo>
                  <a:pt x="1648" y="678"/>
                </a:lnTo>
                <a:lnTo>
                  <a:pt x="1648" y="682"/>
                </a:lnTo>
                <a:lnTo>
                  <a:pt x="1648" y="682"/>
                </a:lnTo>
                <a:lnTo>
                  <a:pt x="1644" y="692"/>
                </a:lnTo>
                <a:lnTo>
                  <a:pt x="1642" y="702"/>
                </a:lnTo>
                <a:lnTo>
                  <a:pt x="1642" y="702"/>
                </a:lnTo>
                <a:lnTo>
                  <a:pt x="1644" y="710"/>
                </a:lnTo>
                <a:lnTo>
                  <a:pt x="1648" y="720"/>
                </a:lnTo>
                <a:lnTo>
                  <a:pt x="1652" y="722"/>
                </a:lnTo>
                <a:lnTo>
                  <a:pt x="1652" y="722"/>
                </a:lnTo>
                <a:lnTo>
                  <a:pt x="1652" y="728"/>
                </a:lnTo>
                <a:lnTo>
                  <a:pt x="1654" y="734"/>
                </a:lnTo>
                <a:lnTo>
                  <a:pt x="1650" y="736"/>
                </a:lnTo>
                <a:lnTo>
                  <a:pt x="1650" y="736"/>
                </a:lnTo>
                <a:lnTo>
                  <a:pt x="1650" y="734"/>
                </a:lnTo>
                <a:lnTo>
                  <a:pt x="1648" y="730"/>
                </a:lnTo>
                <a:lnTo>
                  <a:pt x="1648" y="730"/>
                </a:lnTo>
                <a:lnTo>
                  <a:pt x="1646" y="728"/>
                </a:lnTo>
                <a:lnTo>
                  <a:pt x="1646" y="728"/>
                </a:lnTo>
                <a:lnTo>
                  <a:pt x="1644" y="726"/>
                </a:lnTo>
                <a:lnTo>
                  <a:pt x="1644" y="726"/>
                </a:lnTo>
                <a:lnTo>
                  <a:pt x="1642" y="722"/>
                </a:lnTo>
                <a:lnTo>
                  <a:pt x="1642" y="722"/>
                </a:lnTo>
                <a:lnTo>
                  <a:pt x="1640" y="722"/>
                </a:lnTo>
                <a:lnTo>
                  <a:pt x="1640" y="722"/>
                </a:lnTo>
                <a:lnTo>
                  <a:pt x="1638" y="724"/>
                </a:lnTo>
                <a:lnTo>
                  <a:pt x="1636" y="726"/>
                </a:lnTo>
                <a:lnTo>
                  <a:pt x="1634" y="732"/>
                </a:lnTo>
                <a:lnTo>
                  <a:pt x="1634" y="732"/>
                </a:lnTo>
                <a:lnTo>
                  <a:pt x="1634" y="734"/>
                </a:lnTo>
                <a:lnTo>
                  <a:pt x="1634" y="734"/>
                </a:lnTo>
                <a:lnTo>
                  <a:pt x="1630" y="734"/>
                </a:lnTo>
                <a:lnTo>
                  <a:pt x="1630" y="734"/>
                </a:lnTo>
                <a:lnTo>
                  <a:pt x="1632" y="722"/>
                </a:lnTo>
                <a:lnTo>
                  <a:pt x="1634" y="720"/>
                </a:lnTo>
                <a:lnTo>
                  <a:pt x="1634" y="720"/>
                </a:lnTo>
                <a:lnTo>
                  <a:pt x="1634" y="716"/>
                </a:lnTo>
                <a:lnTo>
                  <a:pt x="1634" y="710"/>
                </a:lnTo>
                <a:lnTo>
                  <a:pt x="1636" y="708"/>
                </a:lnTo>
                <a:lnTo>
                  <a:pt x="1636" y="708"/>
                </a:lnTo>
                <a:lnTo>
                  <a:pt x="1636" y="696"/>
                </a:lnTo>
                <a:lnTo>
                  <a:pt x="1636" y="696"/>
                </a:lnTo>
                <a:lnTo>
                  <a:pt x="1634" y="682"/>
                </a:lnTo>
                <a:lnTo>
                  <a:pt x="1634" y="682"/>
                </a:lnTo>
                <a:lnTo>
                  <a:pt x="1636" y="680"/>
                </a:lnTo>
                <a:lnTo>
                  <a:pt x="1636" y="680"/>
                </a:lnTo>
                <a:lnTo>
                  <a:pt x="1634" y="670"/>
                </a:lnTo>
                <a:lnTo>
                  <a:pt x="1634" y="670"/>
                </a:lnTo>
                <a:lnTo>
                  <a:pt x="1636" y="660"/>
                </a:lnTo>
                <a:lnTo>
                  <a:pt x="1636" y="652"/>
                </a:lnTo>
                <a:lnTo>
                  <a:pt x="1636" y="652"/>
                </a:lnTo>
                <a:lnTo>
                  <a:pt x="1634" y="644"/>
                </a:lnTo>
                <a:lnTo>
                  <a:pt x="1634" y="644"/>
                </a:lnTo>
                <a:lnTo>
                  <a:pt x="1636" y="636"/>
                </a:lnTo>
                <a:lnTo>
                  <a:pt x="1634" y="630"/>
                </a:lnTo>
                <a:lnTo>
                  <a:pt x="1634" y="630"/>
                </a:lnTo>
                <a:lnTo>
                  <a:pt x="1632" y="622"/>
                </a:lnTo>
                <a:lnTo>
                  <a:pt x="1632" y="622"/>
                </a:lnTo>
                <a:lnTo>
                  <a:pt x="1632" y="616"/>
                </a:lnTo>
                <a:lnTo>
                  <a:pt x="1634" y="612"/>
                </a:lnTo>
                <a:lnTo>
                  <a:pt x="1634" y="612"/>
                </a:lnTo>
                <a:lnTo>
                  <a:pt x="1634" y="608"/>
                </a:lnTo>
                <a:lnTo>
                  <a:pt x="1632" y="604"/>
                </a:lnTo>
                <a:lnTo>
                  <a:pt x="1632" y="604"/>
                </a:lnTo>
                <a:lnTo>
                  <a:pt x="1636" y="602"/>
                </a:lnTo>
                <a:lnTo>
                  <a:pt x="1636" y="602"/>
                </a:lnTo>
                <a:lnTo>
                  <a:pt x="1636" y="596"/>
                </a:lnTo>
                <a:lnTo>
                  <a:pt x="1636" y="596"/>
                </a:lnTo>
                <a:lnTo>
                  <a:pt x="1644" y="592"/>
                </a:lnTo>
                <a:lnTo>
                  <a:pt x="1644" y="592"/>
                </a:lnTo>
                <a:lnTo>
                  <a:pt x="1642" y="574"/>
                </a:lnTo>
                <a:lnTo>
                  <a:pt x="1642" y="574"/>
                </a:lnTo>
                <a:lnTo>
                  <a:pt x="1646" y="574"/>
                </a:lnTo>
                <a:lnTo>
                  <a:pt x="1646" y="574"/>
                </a:lnTo>
                <a:lnTo>
                  <a:pt x="1648" y="570"/>
                </a:lnTo>
                <a:lnTo>
                  <a:pt x="1648" y="570"/>
                </a:lnTo>
                <a:lnTo>
                  <a:pt x="1652" y="576"/>
                </a:lnTo>
                <a:lnTo>
                  <a:pt x="1652" y="576"/>
                </a:lnTo>
                <a:lnTo>
                  <a:pt x="1652" y="582"/>
                </a:lnTo>
                <a:lnTo>
                  <a:pt x="1650" y="584"/>
                </a:lnTo>
                <a:lnTo>
                  <a:pt x="1650" y="588"/>
                </a:lnTo>
                <a:lnTo>
                  <a:pt x="1650" y="592"/>
                </a:lnTo>
                <a:lnTo>
                  <a:pt x="1650" y="592"/>
                </a:lnTo>
                <a:lnTo>
                  <a:pt x="1650" y="596"/>
                </a:lnTo>
                <a:lnTo>
                  <a:pt x="1654" y="600"/>
                </a:lnTo>
                <a:lnTo>
                  <a:pt x="1656" y="604"/>
                </a:lnTo>
                <a:lnTo>
                  <a:pt x="1656" y="608"/>
                </a:lnTo>
                <a:lnTo>
                  <a:pt x="1656" y="608"/>
                </a:lnTo>
                <a:lnTo>
                  <a:pt x="1652" y="618"/>
                </a:lnTo>
                <a:lnTo>
                  <a:pt x="1652" y="618"/>
                </a:lnTo>
                <a:lnTo>
                  <a:pt x="1652" y="618"/>
                </a:lnTo>
                <a:lnTo>
                  <a:pt x="1652" y="618"/>
                </a:lnTo>
                <a:lnTo>
                  <a:pt x="1654" y="620"/>
                </a:lnTo>
                <a:lnTo>
                  <a:pt x="1654" y="620"/>
                </a:lnTo>
                <a:lnTo>
                  <a:pt x="1652" y="626"/>
                </a:lnTo>
                <a:lnTo>
                  <a:pt x="1652" y="634"/>
                </a:lnTo>
                <a:lnTo>
                  <a:pt x="1652" y="634"/>
                </a:lnTo>
                <a:lnTo>
                  <a:pt x="1654" y="638"/>
                </a:lnTo>
                <a:lnTo>
                  <a:pt x="1656" y="644"/>
                </a:lnTo>
                <a:lnTo>
                  <a:pt x="1656" y="644"/>
                </a:lnTo>
                <a:lnTo>
                  <a:pt x="1654" y="648"/>
                </a:lnTo>
                <a:lnTo>
                  <a:pt x="1654" y="650"/>
                </a:lnTo>
                <a:lnTo>
                  <a:pt x="1654" y="654"/>
                </a:lnTo>
                <a:lnTo>
                  <a:pt x="1658" y="660"/>
                </a:lnTo>
                <a:lnTo>
                  <a:pt x="1658" y="660"/>
                </a:lnTo>
                <a:lnTo>
                  <a:pt x="1662" y="660"/>
                </a:lnTo>
                <a:lnTo>
                  <a:pt x="1662" y="660"/>
                </a:lnTo>
                <a:lnTo>
                  <a:pt x="1662" y="662"/>
                </a:lnTo>
                <a:lnTo>
                  <a:pt x="1664" y="666"/>
                </a:lnTo>
                <a:lnTo>
                  <a:pt x="1666" y="666"/>
                </a:lnTo>
                <a:close/>
                <a:moveTo>
                  <a:pt x="2270" y="316"/>
                </a:moveTo>
                <a:lnTo>
                  <a:pt x="2270" y="316"/>
                </a:lnTo>
                <a:lnTo>
                  <a:pt x="2270" y="316"/>
                </a:lnTo>
                <a:lnTo>
                  <a:pt x="2270" y="318"/>
                </a:lnTo>
                <a:lnTo>
                  <a:pt x="2270" y="322"/>
                </a:lnTo>
                <a:lnTo>
                  <a:pt x="2270" y="322"/>
                </a:lnTo>
                <a:lnTo>
                  <a:pt x="2266" y="322"/>
                </a:lnTo>
                <a:lnTo>
                  <a:pt x="2266" y="322"/>
                </a:lnTo>
                <a:lnTo>
                  <a:pt x="2264" y="328"/>
                </a:lnTo>
                <a:lnTo>
                  <a:pt x="2264" y="328"/>
                </a:lnTo>
                <a:lnTo>
                  <a:pt x="2260" y="328"/>
                </a:lnTo>
                <a:lnTo>
                  <a:pt x="2260" y="326"/>
                </a:lnTo>
                <a:lnTo>
                  <a:pt x="2260" y="326"/>
                </a:lnTo>
                <a:lnTo>
                  <a:pt x="2256" y="324"/>
                </a:lnTo>
                <a:lnTo>
                  <a:pt x="2256" y="324"/>
                </a:lnTo>
                <a:lnTo>
                  <a:pt x="2242" y="324"/>
                </a:lnTo>
                <a:lnTo>
                  <a:pt x="2242" y="330"/>
                </a:lnTo>
                <a:lnTo>
                  <a:pt x="2242" y="330"/>
                </a:lnTo>
                <a:lnTo>
                  <a:pt x="2248" y="328"/>
                </a:lnTo>
                <a:lnTo>
                  <a:pt x="2248" y="328"/>
                </a:lnTo>
                <a:lnTo>
                  <a:pt x="2248" y="336"/>
                </a:lnTo>
                <a:lnTo>
                  <a:pt x="2248" y="336"/>
                </a:lnTo>
                <a:lnTo>
                  <a:pt x="2240" y="338"/>
                </a:lnTo>
                <a:lnTo>
                  <a:pt x="2240" y="338"/>
                </a:lnTo>
                <a:lnTo>
                  <a:pt x="2242" y="340"/>
                </a:lnTo>
                <a:lnTo>
                  <a:pt x="2242" y="340"/>
                </a:lnTo>
                <a:lnTo>
                  <a:pt x="2242" y="342"/>
                </a:lnTo>
                <a:lnTo>
                  <a:pt x="2242" y="344"/>
                </a:lnTo>
                <a:lnTo>
                  <a:pt x="2242" y="344"/>
                </a:lnTo>
                <a:lnTo>
                  <a:pt x="2244" y="348"/>
                </a:lnTo>
                <a:lnTo>
                  <a:pt x="2244" y="348"/>
                </a:lnTo>
                <a:lnTo>
                  <a:pt x="2248" y="352"/>
                </a:lnTo>
                <a:lnTo>
                  <a:pt x="2248" y="352"/>
                </a:lnTo>
                <a:lnTo>
                  <a:pt x="2240" y="350"/>
                </a:lnTo>
                <a:lnTo>
                  <a:pt x="2240" y="352"/>
                </a:lnTo>
                <a:lnTo>
                  <a:pt x="2240" y="352"/>
                </a:lnTo>
                <a:lnTo>
                  <a:pt x="2238" y="352"/>
                </a:lnTo>
                <a:lnTo>
                  <a:pt x="2236" y="350"/>
                </a:lnTo>
                <a:lnTo>
                  <a:pt x="2234" y="350"/>
                </a:lnTo>
                <a:lnTo>
                  <a:pt x="2234" y="350"/>
                </a:lnTo>
                <a:lnTo>
                  <a:pt x="2234" y="346"/>
                </a:lnTo>
                <a:lnTo>
                  <a:pt x="2234" y="346"/>
                </a:lnTo>
                <a:lnTo>
                  <a:pt x="2232" y="346"/>
                </a:lnTo>
                <a:lnTo>
                  <a:pt x="2232" y="346"/>
                </a:lnTo>
                <a:lnTo>
                  <a:pt x="2232" y="348"/>
                </a:lnTo>
                <a:lnTo>
                  <a:pt x="2230" y="348"/>
                </a:lnTo>
                <a:lnTo>
                  <a:pt x="2230" y="348"/>
                </a:lnTo>
                <a:lnTo>
                  <a:pt x="2230" y="350"/>
                </a:lnTo>
                <a:lnTo>
                  <a:pt x="2230" y="350"/>
                </a:lnTo>
                <a:lnTo>
                  <a:pt x="2224" y="352"/>
                </a:lnTo>
                <a:lnTo>
                  <a:pt x="2224" y="352"/>
                </a:lnTo>
                <a:lnTo>
                  <a:pt x="2224" y="348"/>
                </a:lnTo>
                <a:lnTo>
                  <a:pt x="2224" y="348"/>
                </a:lnTo>
                <a:lnTo>
                  <a:pt x="2216" y="342"/>
                </a:lnTo>
                <a:lnTo>
                  <a:pt x="2208" y="340"/>
                </a:lnTo>
                <a:lnTo>
                  <a:pt x="2208" y="340"/>
                </a:lnTo>
                <a:lnTo>
                  <a:pt x="2206" y="342"/>
                </a:lnTo>
                <a:lnTo>
                  <a:pt x="2204" y="342"/>
                </a:lnTo>
                <a:lnTo>
                  <a:pt x="2204" y="342"/>
                </a:lnTo>
                <a:lnTo>
                  <a:pt x="2200" y="340"/>
                </a:lnTo>
                <a:lnTo>
                  <a:pt x="2196" y="336"/>
                </a:lnTo>
                <a:lnTo>
                  <a:pt x="2196" y="336"/>
                </a:lnTo>
                <a:lnTo>
                  <a:pt x="2198" y="332"/>
                </a:lnTo>
                <a:lnTo>
                  <a:pt x="2198" y="332"/>
                </a:lnTo>
                <a:lnTo>
                  <a:pt x="2196" y="330"/>
                </a:lnTo>
                <a:lnTo>
                  <a:pt x="2196" y="326"/>
                </a:lnTo>
                <a:lnTo>
                  <a:pt x="2192" y="320"/>
                </a:lnTo>
                <a:lnTo>
                  <a:pt x="2190" y="320"/>
                </a:lnTo>
                <a:lnTo>
                  <a:pt x="2190" y="320"/>
                </a:lnTo>
                <a:lnTo>
                  <a:pt x="2186" y="320"/>
                </a:lnTo>
                <a:lnTo>
                  <a:pt x="2180" y="320"/>
                </a:lnTo>
                <a:lnTo>
                  <a:pt x="2180" y="320"/>
                </a:lnTo>
                <a:lnTo>
                  <a:pt x="2180" y="318"/>
                </a:lnTo>
                <a:lnTo>
                  <a:pt x="2178" y="318"/>
                </a:lnTo>
                <a:lnTo>
                  <a:pt x="2178" y="318"/>
                </a:lnTo>
                <a:lnTo>
                  <a:pt x="2176" y="320"/>
                </a:lnTo>
                <a:lnTo>
                  <a:pt x="2176" y="322"/>
                </a:lnTo>
                <a:lnTo>
                  <a:pt x="2176" y="322"/>
                </a:lnTo>
                <a:lnTo>
                  <a:pt x="2170" y="324"/>
                </a:lnTo>
                <a:lnTo>
                  <a:pt x="2164" y="326"/>
                </a:lnTo>
                <a:lnTo>
                  <a:pt x="2164" y="326"/>
                </a:lnTo>
                <a:lnTo>
                  <a:pt x="2160" y="322"/>
                </a:lnTo>
                <a:lnTo>
                  <a:pt x="2160" y="322"/>
                </a:lnTo>
                <a:lnTo>
                  <a:pt x="2154" y="320"/>
                </a:lnTo>
                <a:lnTo>
                  <a:pt x="2154" y="320"/>
                </a:lnTo>
                <a:lnTo>
                  <a:pt x="2154" y="316"/>
                </a:lnTo>
                <a:lnTo>
                  <a:pt x="2158" y="312"/>
                </a:lnTo>
                <a:lnTo>
                  <a:pt x="2158" y="310"/>
                </a:lnTo>
                <a:lnTo>
                  <a:pt x="2158" y="310"/>
                </a:lnTo>
                <a:lnTo>
                  <a:pt x="2156" y="308"/>
                </a:lnTo>
                <a:lnTo>
                  <a:pt x="2154" y="306"/>
                </a:lnTo>
                <a:lnTo>
                  <a:pt x="2154" y="304"/>
                </a:lnTo>
                <a:lnTo>
                  <a:pt x="2156" y="302"/>
                </a:lnTo>
                <a:lnTo>
                  <a:pt x="2156" y="302"/>
                </a:lnTo>
                <a:lnTo>
                  <a:pt x="2150" y="300"/>
                </a:lnTo>
                <a:lnTo>
                  <a:pt x="2150" y="300"/>
                </a:lnTo>
                <a:lnTo>
                  <a:pt x="2146" y="304"/>
                </a:lnTo>
                <a:lnTo>
                  <a:pt x="2146" y="306"/>
                </a:lnTo>
                <a:lnTo>
                  <a:pt x="2146" y="306"/>
                </a:lnTo>
                <a:lnTo>
                  <a:pt x="2148" y="308"/>
                </a:lnTo>
                <a:lnTo>
                  <a:pt x="2148" y="312"/>
                </a:lnTo>
                <a:lnTo>
                  <a:pt x="2146" y="312"/>
                </a:lnTo>
                <a:lnTo>
                  <a:pt x="2146" y="312"/>
                </a:lnTo>
                <a:lnTo>
                  <a:pt x="2144" y="316"/>
                </a:lnTo>
                <a:lnTo>
                  <a:pt x="2144" y="316"/>
                </a:lnTo>
                <a:lnTo>
                  <a:pt x="2152" y="320"/>
                </a:lnTo>
                <a:lnTo>
                  <a:pt x="2152" y="320"/>
                </a:lnTo>
                <a:lnTo>
                  <a:pt x="2152" y="322"/>
                </a:lnTo>
                <a:lnTo>
                  <a:pt x="2152" y="322"/>
                </a:lnTo>
                <a:lnTo>
                  <a:pt x="2146" y="328"/>
                </a:lnTo>
                <a:lnTo>
                  <a:pt x="2146" y="328"/>
                </a:lnTo>
                <a:lnTo>
                  <a:pt x="2148" y="330"/>
                </a:lnTo>
                <a:lnTo>
                  <a:pt x="2146" y="334"/>
                </a:lnTo>
                <a:lnTo>
                  <a:pt x="2146" y="334"/>
                </a:lnTo>
                <a:lnTo>
                  <a:pt x="2140" y="338"/>
                </a:lnTo>
                <a:lnTo>
                  <a:pt x="2132" y="340"/>
                </a:lnTo>
                <a:lnTo>
                  <a:pt x="2132" y="340"/>
                </a:lnTo>
                <a:lnTo>
                  <a:pt x="2126" y="340"/>
                </a:lnTo>
                <a:lnTo>
                  <a:pt x="2120" y="338"/>
                </a:lnTo>
                <a:lnTo>
                  <a:pt x="2108" y="334"/>
                </a:lnTo>
                <a:lnTo>
                  <a:pt x="2108" y="334"/>
                </a:lnTo>
                <a:lnTo>
                  <a:pt x="2106" y="336"/>
                </a:lnTo>
                <a:lnTo>
                  <a:pt x="2106" y="336"/>
                </a:lnTo>
                <a:lnTo>
                  <a:pt x="2100" y="336"/>
                </a:lnTo>
                <a:lnTo>
                  <a:pt x="2094" y="336"/>
                </a:lnTo>
                <a:lnTo>
                  <a:pt x="2094" y="336"/>
                </a:lnTo>
                <a:lnTo>
                  <a:pt x="2092" y="338"/>
                </a:lnTo>
                <a:lnTo>
                  <a:pt x="2100" y="338"/>
                </a:lnTo>
                <a:lnTo>
                  <a:pt x="2100" y="338"/>
                </a:lnTo>
                <a:lnTo>
                  <a:pt x="2106" y="342"/>
                </a:lnTo>
                <a:lnTo>
                  <a:pt x="2110" y="338"/>
                </a:lnTo>
                <a:lnTo>
                  <a:pt x="2110" y="338"/>
                </a:lnTo>
                <a:lnTo>
                  <a:pt x="2112" y="344"/>
                </a:lnTo>
                <a:lnTo>
                  <a:pt x="2112" y="344"/>
                </a:lnTo>
                <a:lnTo>
                  <a:pt x="2108" y="344"/>
                </a:lnTo>
                <a:lnTo>
                  <a:pt x="2108" y="344"/>
                </a:lnTo>
                <a:lnTo>
                  <a:pt x="2106" y="350"/>
                </a:lnTo>
                <a:lnTo>
                  <a:pt x="2106" y="350"/>
                </a:lnTo>
                <a:lnTo>
                  <a:pt x="2112" y="348"/>
                </a:lnTo>
                <a:lnTo>
                  <a:pt x="2116" y="348"/>
                </a:lnTo>
                <a:lnTo>
                  <a:pt x="2116" y="348"/>
                </a:lnTo>
                <a:lnTo>
                  <a:pt x="2122" y="360"/>
                </a:lnTo>
                <a:lnTo>
                  <a:pt x="2122" y="360"/>
                </a:lnTo>
                <a:lnTo>
                  <a:pt x="2124" y="360"/>
                </a:lnTo>
                <a:lnTo>
                  <a:pt x="2124" y="360"/>
                </a:lnTo>
                <a:lnTo>
                  <a:pt x="2126" y="366"/>
                </a:lnTo>
                <a:lnTo>
                  <a:pt x="2128" y="368"/>
                </a:lnTo>
                <a:lnTo>
                  <a:pt x="2128" y="368"/>
                </a:lnTo>
                <a:lnTo>
                  <a:pt x="2126" y="370"/>
                </a:lnTo>
                <a:lnTo>
                  <a:pt x="2126" y="372"/>
                </a:lnTo>
                <a:lnTo>
                  <a:pt x="2126" y="372"/>
                </a:lnTo>
                <a:lnTo>
                  <a:pt x="2132" y="374"/>
                </a:lnTo>
                <a:lnTo>
                  <a:pt x="2132" y="374"/>
                </a:lnTo>
                <a:lnTo>
                  <a:pt x="2132" y="376"/>
                </a:lnTo>
                <a:lnTo>
                  <a:pt x="2132" y="376"/>
                </a:lnTo>
                <a:lnTo>
                  <a:pt x="2132" y="378"/>
                </a:lnTo>
                <a:lnTo>
                  <a:pt x="2132" y="382"/>
                </a:lnTo>
                <a:lnTo>
                  <a:pt x="2132" y="382"/>
                </a:lnTo>
                <a:lnTo>
                  <a:pt x="2134" y="384"/>
                </a:lnTo>
                <a:lnTo>
                  <a:pt x="2134" y="384"/>
                </a:lnTo>
                <a:lnTo>
                  <a:pt x="2128" y="388"/>
                </a:lnTo>
                <a:lnTo>
                  <a:pt x="2124" y="390"/>
                </a:lnTo>
                <a:lnTo>
                  <a:pt x="2120" y="388"/>
                </a:lnTo>
                <a:lnTo>
                  <a:pt x="2120" y="388"/>
                </a:lnTo>
                <a:lnTo>
                  <a:pt x="2114" y="384"/>
                </a:lnTo>
                <a:lnTo>
                  <a:pt x="2114" y="384"/>
                </a:lnTo>
                <a:lnTo>
                  <a:pt x="2104" y="386"/>
                </a:lnTo>
                <a:lnTo>
                  <a:pt x="2104" y="386"/>
                </a:lnTo>
                <a:lnTo>
                  <a:pt x="2102" y="386"/>
                </a:lnTo>
                <a:lnTo>
                  <a:pt x="2100" y="384"/>
                </a:lnTo>
                <a:lnTo>
                  <a:pt x="2098" y="386"/>
                </a:lnTo>
                <a:lnTo>
                  <a:pt x="2098" y="386"/>
                </a:lnTo>
                <a:lnTo>
                  <a:pt x="2090" y="388"/>
                </a:lnTo>
                <a:lnTo>
                  <a:pt x="2080" y="392"/>
                </a:lnTo>
                <a:lnTo>
                  <a:pt x="2080" y="392"/>
                </a:lnTo>
                <a:lnTo>
                  <a:pt x="2080" y="394"/>
                </a:lnTo>
                <a:lnTo>
                  <a:pt x="2080" y="394"/>
                </a:lnTo>
                <a:lnTo>
                  <a:pt x="2072" y="396"/>
                </a:lnTo>
                <a:lnTo>
                  <a:pt x="2066" y="398"/>
                </a:lnTo>
                <a:lnTo>
                  <a:pt x="2066" y="398"/>
                </a:lnTo>
                <a:lnTo>
                  <a:pt x="2060" y="404"/>
                </a:lnTo>
                <a:lnTo>
                  <a:pt x="2060" y="404"/>
                </a:lnTo>
                <a:lnTo>
                  <a:pt x="2054" y="400"/>
                </a:lnTo>
                <a:lnTo>
                  <a:pt x="2054" y="400"/>
                </a:lnTo>
                <a:lnTo>
                  <a:pt x="2054" y="406"/>
                </a:lnTo>
                <a:lnTo>
                  <a:pt x="2052" y="410"/>
                </a:lnTo>
                <a:lnTo>
                  <a:pt x="2048" y="410"/>
                </a:lnTo>
                <a:lnTo>
                  <a:pt x="2042" y="406"/>
                </a:lnTo>
                <a:lnTo>
                  <a:pt x="2042" y="406"/>
                </a:lnTo>
                <a:lnTo>
                  <a:pt x="2046" y="412"/>
                </a:lnTo>
                <a:lnTo>
                  <a:pt x="2046" y="412"/>
                </a:lnTo>
                <a:lnTo>
                  <a:pt x="2042" y="416"/>
                </a:lnTo>
                <a:lnTo>
                  <a:pt x="2042" y="416"/>
                </a:lnTo>
                <a:lnTo>
                  <a:pt x="2040" y="416"/>
                </a:lnTo>
                <a:lnTo>
                  <a:pt x="2038" y="416"/>
                </a:lnTo>
                <a:lnTo>
                  <a:pt x="2038" y="416"/>
                </a:lnTo>
                <a:lnTo>
                  <a:pt x="2032" y="418"/>
                </a:lnTo>
                <a:lnTo>
                  <a:pt x="2032" y="420"/>
                </a:lnTo>
                <a:lnTo>
                  <a:pt x="2032" y="420"/>
                </a:lnTo>
                <a:lnTo>
                  <a:pt x="2032" y="420"/>
                </a:lnTo>
                <a:lnTo>
                  <a:pt x="2032" y="424"/>
                </a:lnTo>
                <a:lnTo>
                  <a:pt x="2032" y="424"/>
                </a:lnTo>
                <a:lnTo>
                  <a:pt x="2028" y="424"/>
                </a:lnTo>
                <a:lnTo>
                  <a:pt x="2024" y="426"/>
                </a:lnTo>
                <a:lnTo>
                  <a:pt x="2024" y="428"/>
                </a:lnTo>
                <a:lnTo>
                  <a:pt x="2024" y="428"/>
                </a:lnTo>
                <a:lnTo>
                  <a:pt x="2020" y="432"/>
                </a:lnTo>
                <a:lnTo>
                  <a:pt x="2020" y="432"/>
                </a:lnTo>
                <a:lnTo>
                  <a:pt x="2018" y="438"/>
                </a:lnTo>
                <a:lnTo>
                  <a:pt x="2016" y="442"/>
                </a:lnTo>
                <a:lnTo>
                  <a:pt x="2016" y="442"/>
                </a:lnTo>
                <a:lnTo>
                  <a:pt x="2004" y="436"/>
                </a:lnTo>
                <a:lnTo>
                  <a:pt x="2004" y="436"/>
                </a:lnTo>
                <a:lnTo>
                  <a:pt x="2004" y="434"/>
                </a:lnTo>
                <a:lnTo>
                  <a:pt x="2004" y="430"/>
                </a:lnTo>
                <a:lnTo>
                  <a:pt x="2004" y="430"/>
                </a:lnTo>
                <a:lnTo>
                  <a:pt x="2002" y="430"/>
                </a:lnTo>
                <a:lnTo>
                  <a:pt x="1998" y="430"/>
                </a:lnTo>
                <a:lnTo>
                  <a:pt x="1998" y="430"/>
                </a:lnTo>
                <a:lnTo>
                  <a:pt x="1994" y="426"/>
                </a:lnTo>
                <a:lnTo>
                  <a:pt x="1988" y="422"/>
                </a:lnTo>
                <a:lnTo>
                  <a:pt x="1988" y="422"/>
                </a:lnTo>
                <a:lnTo>
                  <a:pt x="1984" y="422"/>
                </a:lnTo>
                <a:lnTo>
                  <a:pt x="1982" y="424"/>
                </a:lnTo>
                <a:lnTo>
                  <a:pt x="1982" y="426"/>
                </a:lnTo>
                <a:lnTo>
                  <a:pt x="1982" y="426"/>
                </a:lnTo>
                <a:lnTo>
                  <a:pt x="1978" y="426"/>
                </a:lnTo>
                <a:lnTo>
                  <a:pt x="1978" y="426"/>
                </a:lnTo>
                <a:lnTo>
                  <a:pt x="1976" y="428"/>
                </a:lnTo>
                <a:lnTo>
                  <a:pt x="1976" y="428"/>
                </a:lnTo>
                <a:lnTo>
                  <a:pt x="1976" y="428"/>
                </a:lnTo>
                <a:lnTo>
                  <a:pt x="1974" y="428"/>
                </a:lnTo>
                <a:lnTo>
                  <a:pt x="1974" y="428"/>
                </a:lnTo>
                <a:lnTo>
                  <a:pt x="1974" y="432"/>
                </a:lnTo>
                <a:lnTo>
                  <a:pt x="1966" y="442"/>
                </a:lnTo>
                <a:lnTo>
                  <a:pt x="1966" y="442"/>
                </a:lnTo>
                <a:lnTo>
                  <a:pt x="1962" y="444"/>
                </a:lnTo>
                <a:lnTo>
                  <a:pt x="1960" y="444"/>
                </a:lnTo>
                <a:lnTo>
                  <a:pt x="1958" y="442"/>
                </a:lnTo>
                <a:lnTo>
                  <a:pt x="1958" y="436"/>
                </a:lnTo>
                <a:lnTo>
                  <a:pt x="1958" y="436"/>
                </a:lnTo>
                <a:lnTo>
                  <a:pt x="1960" y="430"/>
                </a:lnTo>
                <a:lnTo>
                  <a:pt x="1962" y="426"/>
                </a:lnTo>
                <a:lnTo>
                  <a:pt x="1960" y="426"/>
                </a:lnTo>
                <a:lnTo>
                  <a:pt x="1960" y="426"/>
                </a:lnTo>
                <a:lnTo>
                  <a:pt x="1956" y="432"/>
                </a:lnTo>
                <a:lnTo>
                  <a:pt x="1956" y="432"/>
                </a:lnTo>
                <a:lnTo>
                  <a:pt x="1944" y="438"/>
                </a:lnTo>
                <a:lnTo>
                  <a:pt x="1944" y="438"/>
                </a:lnTo>
                <a:lnTo>
                  <a:pt x="1944" y="442"/>
                </a:lnTo>
                <a:lnTo>
                  <a:pt x="1944" y="442"/>
                </a:lnTo>
                <a:lnTo>
                  <a:pt x="1940" y="442"/>
                </a:lnTo>
                <a:lnTo>
                  <a:pt x="1940" y="442"/>
                </a:lnTo>
                <a:lnTo>
                  <a:pt x="1938" y="440"/>
                </a:lnTo>
                <a:lnTo>
                  <a:pt x="1938" y="440"/>
                </a:lnTo>
                <a:lnTo>
                  <a:pt x="1936" y="440"/>
                </a:lnTo>
                <a:lnTo>
                  <a:pt x="1932" y="440"/>
                </a:lnTo>
                <a:lnTo>
                  <a:pt x="1932" y="440"/>
                </a:lnTo>
                <a:lnTo>
                  <a:pt x="1930" y="438"/>
                </a:lnTo>
                <a:lnTo>
                  <a:pt x="1930" y="438"/>
                </a:lnTo>
                <a:lnTo>
                  <a:pt x="1928" y="438"/>
                </a:lnTo>
                <a:lnTo>
                  <a:pt x="1928" y="438"/>
                </a:lnTo>
                <a:lnTo>
                  <a:pt x="1926" y="444"/>
                </a:lnTo>
                <a:lnTo>
                  <a:pt x="1922" y="448"/>
                </a:lnTo>
                <a:lnTo>
                  <a:pt x="1922" y="448"/>
                </a:lnTo>
                <a:lnTo>
                  <a:pt x="1922" y="448"/>
                </a:lnTo>
                <a:lnTo>
                  <a:pt x="1922" y="450"/>
                </a:lnTo>
                <a:lnTo>
                  <a:pt x="1922" y="454"/>
                </a:lnTo>
                <a:lnTo>
                  <a:pt x="1922" y="454"/>
                </a:lnTo>
                <a:lnTo>
                  <a:pt x="1920" y="454"/>
                </a:lnTo>
                <a:lnTo>
                  <a:pt x="1920" y="454"/>
                </a:lnTo>
                <a:lnTo>
                  <a:pt x="1920" y="458"/>
                </a:lnTo>
                <a:lnTo>
                  <a:pt x="1920" y="458"/>
                </a:lnTo>
                <a:lnTo>
                  <a:pt x="1918" y="458"/>
                </a:lnTo>
                <a:lnTo>
                  <a:pt x="1916" y="458"/>
                </a:lnTo>
                <a:lnTo>
                  <a:pt x="1916" y="458"/>
                </a:lnTo>
                <a:lnTo>
                  <a:pt x="1916" y="462"/>
                </a:lnTo>
                <a:lnTo>
                  <a:pt x="1916" y="462"/>
                </a:lnTo>
                <a:lnTo>
                  <a:pt x="1912" y="464"/>
                </a:lnTo>
                <a:lnTo>
                  <a:pt x="1912" y="464"/>
                </a:lnTo>
                <a:lnTo>
                  <a:pt x="1908" y="468"/>
                </a:lnTo>
                <a:lnTo>
                  <a:pt x="1904" y="474"/>
                </a:lnTo>
                <a:lnTo>
                  <a:pt x="1904" y="478"/>
                </a:lnTo>
                <a:lnTo>
                  <a:pt x="1906" y="486"/>
                </a:lnTo>
                <a:lnTo>
                  <a:pt x="1906" y="486"/>
                </a:lnTo>
                <a:lnTo>
                  <a:pt x="1908" y="488"/>
                </a:lnTo>
                <a:lnTo>
                  <a:pt x="1908" y="486"/>
                </a:lnTo>
                <a:lnTo>
                  <a:pt x="1908" y="486"/>
                </a:lnTo>
                <a:lnTo>
                  <a:pt x="1918" y="488"/>
                </a:lnTo>
                <a:lnTo>
                  <a:pt x="1918" y="488"/>
                </a:lnTo>
                <a:lnTo>
                  <a:pt x="1918" y="492"/>
                </a:lnTo>
                <a:lnTo>
                  <a:pt x="1918" y="492"/>
                </a:lnTo>
                <a:lnTo>
                  <a:pt x="1916" y="498"/>
                </a:lnTo>
                <a:lnTo>
                  <a:pt x="1916" y="498"/>
                </a:lnTo>
                <a:lnTo>
                  <a:pt x="1912" y="500"/>
                </a:lnTo>
                <a:lnTo>
                  <a:pt x="1910" y="500"/>
                </a:lnTo>
                <a:lnTo>
                  <a:pt x="1910" y="500"/>
                </a:lnTo>
                <a:lnTo>
                  <a:pt x="1910" y="504"/>
                </a:lnTo>
                <a:lnTo>
                  <a:pt x="1910" y="508"/>
                </a:lnTo>
                <a:lnTo>
                  <a:pt x="1910" y="508"/>
                </a:lnTo>
                <a:lnTo>
                  <a:pt x="1908" y="510"/>
                </a:lnTo>
                <a:lnTo>
                  <a:pt x="1908" y="514"/>
                </a:lnTo>
                <a:lnTo>
                  <a:pt x="1908" y="514"/>
                </a:lnTo>
                <a:lnTo>
                  <a:pt x="1910" y="516"/>
                </a:lnTo>
                <a:lnTo>
                  <a:pt x="1912" y="518"/>
                </a:lnTo>
                <a:lnTo>
                  <a:pt x="1912" y="518"/>
                </a:lnTo>
                <a:lnTo>
                  <a:pt x="1912" y="522"/>
                </a:lnTo>
                <a:lnTo>
                  <a:pt x="1912" y="522"/>
                </a:lnTo>
                <a:lnTo>
                  <a:pt x="1920" y="522"/>
                </a:lnTo>
                <a:lnTo>
                  <a:pt x="1920" y="522"/>
                </a:lnTo>
                <a:lnTo>
                  <a:pt x="1920" y="528"/>
                </a:lnTo>
                <a:lnTo>
                  <a:pt x="1920" y="528"/>
                </a:lnTo>
                <a:lnTo>
                  <a:pt x="1918" y="532"/>
                </a:lnTo>
                <a:lnTo>
                  <a:pt x="1918" y="532"/>
                </a:lnTo>
                <a:lnTo>
                  <a:pt x="1914" y="530"/>
                </a:lnTo>
                <a:lnTo>
                  <a:pt x="1910" y="528"/>
                </a:lnTo>
                <a:lnTo>
                  <a:pt x="1910" y="528"/>
                </a:lnTo>
                <a:lnTo>
                  <a:pt x="1906" y="532"/>
                </a:lnTo>
                <a:lnTo>
                  <a:pt x="1906" y="532"/>
                </a:lnTo>
                <a:lnTo>
                  <a:pt x="1900" y="534"/>
                </a:lnTo>
                <a:lnTo>
                  <a:pt x="1900" y="534"/>
                </a:lnTo>
                <a:lnTo>
                  <a:pt x="1896" y="552"/>
                </a:lnTo>
                <a:lnTo>
                  <a:pt x="1896" y="552"/>
                </a:lnTo>
                <a:lnTo>
                  <a:pt x="1902" y="554"/>
                </a:lnTo>
                <a:lnTo>
                  <a:pt x="1904" y="558"/>
                </a:lnTo>
                <a:lnTo>
                  <a:pt x="1904" y="558"/>
                </a:lnTo>
                <a:lnTo>
                  <a:pt x="1904" y="562"/>
                </a:lnTo>
                <a:lnTo>
                  <a:pt x="1902" y="562"/>
                </a:lnTo>
                <a:lnTo>
                  <a:pt x="1902" y="562"/>
                </a:lnTo>
                <a:lnTo>
                  <a:pt x="1900" y="566"/>
                </a:lnTo>
                <a:lnTo>
                  <a:pt x="1898" y="568"/>
                </a:lnTo>
                <a:lnTo>
                  <a:pt x="1898" y="568"/>
                </a:lnTo>
                <a:lnTo>
                  <a:pt x="1894" y="568"/>
                </a:lnTo>
                <a:lnTo>
                  <a:pt x="1888" y="568"/>
                </a:lnTo>
                <a:lnTo>
                  <a:pt x="1884" y="568"/>
                </a:lnTo>
                <a:lnTo>
                  <a:pt x="1880" y="572"/>
                </a:lnTo>
                <a:lnTo>
                  <a:pt x="1880" y="572"/>
                </a:lnTo>
                <a:lnTo>
                  <a:pt x="1872" y="584"/>
                </a:lnTo>
                <a:lnTo>
                  <a:pt x="1872" y="584"/>
                </a:lnTo>
                <a:lnTo>
                  <a:pt x="1872" y="592"/>
                </a:lnTo>
                <a:lnTo>
                  <a:pt x="1872" y="598"/>
                </a:lnTo>
                <a:lnTo>
                  <a:pt x="1872" y="600"/>
                </a:lnTo>
                <a:lnTo>
                  <a:pt x="1872" y="600"/>
                </a:lnTo>
                <a:lnTo>
                  <a:pt x="1868" y="600"/>
                </a:lnTo>
                <a:lnTo>
                  <a:pt x="1864" y="600"/>
                </a:lnTo>
                <a:lnTo>
                  <a:pt x="1864" y="600"/>
                </a:lnTo>
                <a:lnTo>
                  <a:pt x="1862" y="602"/>
                </a:lnTo>
                <a:lnTo>
                  <a:pt x="1860" y="604"/>
                </a:lnTo>
                <a:lnTo>
                  <a:pt x="1860" y="604"/>
                </a:lnTo>
                <a:lnTo>
                  <a:pt x="1856" y="604"/>
                </a:lnTo>
                <a:lnTo>
                  <a:pt x="1856" y="604"/>
                </a:lnTo>
                <a:lnTo>
                  <a:pt x="1856" y="608"/>
                </a:lnTo>
                <a:lnTo>
                  <a:pt x="1856" y="612"/>
                </a:lnTo>
                <a:lnTo>
                  <a:pt x="1856" y="618"/>
                </a:lnTo>
                <a:lnTo>
                  <a:pt x="1856" y="622"/>
                </a:lnTo>
                <a:lnTo>
                  <a:pt x="1856" y="622"/>
                </a:lnTo>
                <a:lnTo>
                  <a:pt x="1836" y="638"/>
                </a:lnTo>
                <a:lnTo>
                  <a:pt x="1836" y="638"/>
                </a:lnTo>
                <a:lnTo>
                  <a:pt x="1834" y="638"/>
                </a:lnTo>
                <a:lnTo>
                  <a:pt x="1834" y="638"/>
                </a:lnTo>
                <a:lnTo>
                  <a:pt x="1834" y="634"/>
                </a:lnTo>
                <a:lnTo>
                  <a:pt x="1834" y="634"/>
                </a:lnTo>
                <a:lnTo>
                  <a:pt x="1830" y="630"/>
                </a:lnTo>
                <a:lnTo>
                  <a:pt x="1830" y="630"/>
                </a:lnTo>
                <a:lnTo>
                  <a:pt x="1830" y="624"/>
                </a:lnTo>
                <a:lnTo>
                  <a:pt x="1830" y="616"/>
                </a:lnTo>
                <a:lnTo>
                  <a:pt x="1830" y="616"/>
                </a:lnTo>
                <a:lnTo>
                  <a:pt x="1826" y="608"/>
                </a:lnTo>
                <a:lnTo>
                  <a:pt x="1826" y="608"/>
                </a:lnTo>
                <a:lnTo>
                  <a:pt x="1824" y="598"/>
                </a:lnTo>
                <a:lnTo>
                  <a:pt x="1824" y="598"/>
                </a:lnTo>
                <a:lnTo>
                  <a:pt x="1824" y="584"/>
                </a:lnTo>
                <a:lnTo>
                  <a:pt x="1824" y="572"/>
                </a:lnTo>
                <a:lnTo>
                  <a:pt x="1824" y="572"/>
                </a:lnTo>
                <a:lnTo>
                  <a:pt x="1822" y="566"/>
                </a:lnTo>
                <a:lnTo>
                  <a:pt x="1820" y="558"/>
                </a:lnTo>
                <a:lnTo>
                  <a:pt x="1820" y="558"/>
                </a:lnTo>
                <a:lnTo>
                  <a:pt x="1818" y="548"/>
                </a:lnTo>
                <a:lnTo>
                  <a:pt x="1818" y="536"/>
                </a:lnTo>
                <a:lnTo>
                  <a:pt x="1818" y="536"/>
                </a:lnTo>
                <a:lnTo>
                  <a:pt x="1822" y="528"/>
                </a:lnTo>
                <a:lnTo>
                  <a:pt x="1822" y="528"/>
                </a:lnTo>
                <a:lnTo>
                  <a:pt x="1822" y="522"/>
                </a:lnTo>
                <a:lnTo>
                  <a:pt x="1824" y="518"/>
                </a:lnTo>
                <a:lnTo>
                  <a:pt x="1824" y="518"/>
                </a:lnTo>
                <a:lnTo>
                  <a:pt x="1826" y="516"/>
                </a:lnTo>
                <a:lnTo>
                  <a:pt x="1826" y="516"/>
                </a:lnTo>
                <a:lnTo>
                  <a:pt x="1830" y="512"/>
                </a:lnTo>
                <a:lnTo>
                  <a:pt x="1836" y="512"/>
                </a:lnTo>
                <a:lnTo>
                  <a:pt x="1836" y="512"/>
                </a:lnTo>
                <a:lnTo>
                  <a:pt x="1838" y="494"/>
                </a:lnTo>
                <a:lnTo>
                  <a:pt x="1838" y="494"/>
                </a:lnTo>
                <a:lnTo>
                  <a:pt x="1834" y="492"/>
                </a:lnTo>
                <a:lnTo>
                  <a:pt x="1834" y="490"/>
                </a:lnTo>
                <a:lnTo>
                  <a:pt x="1834" y="490"/>
                </a:lnTo>
                <a:lnTo>
                  <a:pt x="1846" y="490"/>
                </a:lnTo>
                <a:lnTo>
                  <a:pt x="1846" y="490"/>
                </a:lnTo>
                <a:lnTo>
                  <a:pt x="1848" y="488"/>
                </a:lnTo>
                <a:lnTo>
                  <a:pt x="1852" y="484"/>
                </a:lnTo>
                <a:lnTo>
                  <a:pt x="1852" y="484"/>
                </a:lnTo>
                <a:lnTo>
                  <a:pt x="1854" y="484"/>
                </a:lnTo>
                <a:lnTo>
                  <a:pt x="1858" y="486"/>
                </a:lnTo>
                <a:lnTo>
                  <a:pt x="1858" y="486"/>
                </a:lnTo>
                <a:lnTo>
                  <a:pt x="1860" y="482"/>
                </a:lnTo>
                <a:lnTo>
                  <a:pt x="1862" y="480"/>
                </a:lnTo>
                <a:lnTo>
                  <a:pt x="1862" y="480"/>
                </a:lnTo>
                <a:lnTo>
                  <a:pt x="1868" y="474"/>
                </a:lnTo>
                <a:lnTo>
                  <a:pt x="1874" y="468"/>
                </a:lnTo>
                <a:lnTo>
                  <a:pt x="1874" y="468"/>
                </a:lnTo>
                <a:lnTo>
                  <a:pt x="1874" y="466"/>
                </a:lnTo>
                <a:lnTo>
                  <a:pt x="1874" y="466"/>
                </a:lnTo>
                <a:lnTo>
                  <a:pt x="1878" y="460"/>
                </a:lnTo>
                <a:lnTo>
                  <a:pt x="1878" y="460"/>
                </a:lnTo>
                <a:lnTo>
                  <a:pt x="1884" y="458"/>
                </a:lnTo>
                <a:lnTo>
                  <a:pt x="1884" y="458"/>
                </a:lnTo>
                <a:lnTo>
                  <a:pt x="1886" y="454"/>
                </a:lnTo>
                <a:lnTo>
                  <a:pt x="1886" y="452"/>
                </a:lnTo>
                <a:lnTo>
                  <a:pt x="1886" y="452"/>
                </a:lnTo>
                <a:lnTo>
                  <a:pt x="1892" y="450"/>
                </a:lnTo>
                <a:lnTo>
                  <a:pt x="1896" y="442"/>
                </a:lnTo>
                <a:lnTo>
                  <a:pt x="1896" y="442"/>
                </a:lnTo>
                <a:lnTo>
                  <a:pt x="1896" y="438"/>
                </a:lnTo>
                <a:lnTo>
                  <a:pt x="1896" y="438"/>
                </a:lnTo>
                <a:lnTo>
                  <a:pt x="1902" y="436"/>
                </a:lnTo>
                <a:lnTo>
                  <a:pt x="1902" y="428"/>
                </a:lnTo>
                <a:lnTo>
                  <a:pt x="1902" y="428"/>
                </a:lnTo>
                <a:lnTo>
                  <a:pt x="1904" y="426"/>
                </a:lnTo>
                <a:lnTo>
                  <a:pt x="1904" y="426"/>
                </a:lnTo>
                <a:lnTo>
                  <a:pt x="1910" y="426"/>
                </a:lnTo>
                <a:lnTo>
                  <a:pt x="1910" y="426"/>
                </a:lnTo>
                <a:lnTo>
                  <a:pt x="1914" y="422"/>
                </a:lnTo>
                <a:lnTo>
                  <a:pt x="1914" y="422"/>
                </a:lnTo>
                <a:lnTo>
                  <a:pt x="1920" y="422"/>
                </a:lnTo>
                <a:lnTo>
                  <a:pt x="1928" y="422"/>
                </a:lnTo>
                <a:lnTo>
                  <a:pt x="1928" y="422"/>
                </a:lnTo>
                <a:lnTo>
                  <a:pt x="1928" y="418"/>
                </a:lnTo>
                <a:lnTo>
                  <a:pt x="1932" y="418"/>
                </a:lnTo>
                <a:lnTo>
                  <a:pt x="1932" y="418"/>
                </a:lnTo>
                <a:lnTo>
                  <a:pt x="1930" y="412"/>
                </a:lnTo>
                <a:lnTo>
                  <a:pt x="1932" y="406"/>
                </a:lnTo>
                <a:lnTo>
                  <a:pt x="1932" y="406"/>
                </a:lnTo>
                <a:lnTo>
                  <a:pt x="1934" y="402"/>
                </a:lnTo>
                <a:lnTo>
                  <a:pt x="1934" y="402"/>
                </a:lnTo>
                <a:lnTo>
                  <a:pt x="1934" y="398"/>
                </a:lnTo>
                <a:lnTo>
                  <a:pt x="1932" y="394"/>
                </a:lnTo>
                <a:lnTo>
                  <a:pt x="1932" y="392"/>
                </a:lnTo>
                <a:lnTo>
                  <a:pt x="1932" y="392"/>
                </a:lnTo>
                <a:lnTo>
                  <a:pt x="1936" y="390"/>
                </a:lnTo>
                <a:lnTo>
                  <a:pt x="1936" y="390"/>
                </a:lnTo>
                <a:lnTo>
                  <a:pt x="1940" y="386"/>
                </a:lnTo>
                <a:lnTo>
                  <a:pt x="1946" y="388"/>
                </a:lnTo>
                <a:lnTo>
                  <a:pt x="1946" y="388"/>
                </a:lnTo>
                <a:lnTo>
                  <a:pt x="1950" y="386"/>
                </a:lnTo>
                <a:lnTo>
                  <a:pt x="1950" y="386"/>
                </a:lnTo>
                <a:lnTo>
                  <a:pt x="1944" y="382"/>
                </a:lnTo>
                <a:lnTo>
                  <a:pt x="1940" y="380"/>
                </a:lnTo>
                <a:lnTo>
                  <a:pt x="1936" y="380"/>
                </a:lnTo>
                <a:lnTo>
                  <a:pt x="1936" y="380"/>
                </a:lnTo>
                <a:lnTo>
                  <a:pt x="1930" y="382"/>
                </a:lnTo>
                <a:lnTo>
                  <a:pt x="1930" y="382"/>
                </a:lnTo>
                <a:lnTo>
                  <a:pt x="1926" y="384"/>
                </a:lnTo>
                <a:lnTo>
                  <a:pt x="1926" y="384"/>
                </a:lnTo>
                <a:lnTo>
                  <a:pt x="1926" y="388"/>
                </a:lnTo>
                <a:lnTo>
                  <a:pt x="1926" y="388"/>
                </a:lnTo>
                <a:lnTo>
                  <a:pt x="1924" y="390"/>
                </a:lnTo>
                <a:lnTo>
                  <a:pt x="1922" y="390"/>
                </a:lnTo>
                <a:lnTo>
                  <a:pt x="1922" y="390"/>
                </a:lnTo>
                <a:lnTo>
                  <a:pt x="1924" y="400"/>
                </a:lnTo>
                <a:lnTo>
                  <a:pt x="1924" y="400"/>
                </a:lnTo>
                <a:lnTo>
                  <a:pt x="1924" y="400"/>
                </a:lnTo>
                <a:lnTo>
                  <a:pt x="1926" y="400"/>
                </a:lnTo>
                <a:lnTo>
                  <a:pt x="1926" y="402"/>
                </a:lnTo>
                <a:lnTo>
                  <a:pt x="1926" y="402"/>
                </a:lnTo>
                <a:lnTo>
                  <a:pt x="1920" y="404"/>
                </a:lnTo>
                <a:lnTo>
                  <a:pt x="1918" y="404"/>
                </a:lnTo>
                <a:lnTo>
                  <a:pt x="1918" y="402"/>
                </a:lnTo>
                <a:lnTo>
                  <a:pt x="1914" y="400"/>
                </a:lnTo>
                <a:lnTo>
                  <a:pt x="1914" y="400"/>
                </a:lnTo>
                <a:lnTo>
                  <a:pt x="1910" y="402"/>
                </a:lnTo>
                <a:lnTo>
                  <a:pt x="1906" y="404"/>
                </a:lnTo>
                <a:lnTo>
                  <a:pt x="1900" y="408"/>
                </a:lnTo>
                <a:lnTo>
                  <a:pt x="1900" y="408"/>
                </a:lnTo>
                <a:lnTo>
                  <a:pt x="1900" y="412"/>
                </a:lnTo>
                <a:lnTo>
                  <a:pt x="1898" y="414"/>
                </a:lnTo>
                <a:lnTo>
                  <a:pt x="1898" y="414"/>
                </a:lnTo>
                <a:lnTo>
                  <a:pt x="1896" y="414"/>
                </a:lnTo>
                <a:lnTo>
                  <a:pt x="1896" y="414"/>
                </a:lnTo>
                <a:lnTo>
                  <a:pt x="1896" y="414"/>
                </a:lnTo>
                <a:lnTo>
                  <a:pt x="1896" y="418"/>
                </a:lnTo>
                <a:lnTo>
                  <a:pt x="1896" y="418"/>
                </a:lnTo>
                <a:lnTo>
                  <a:pt x="1890" y="420"/>
                </a:lnTo>
                <a:lnTo>
                  <a:pt x="1890" y="420"/>
                </a:lnTo>
                <a:lnTo>
                  <a:pt x="1884" y="428"/>
                </a:lnTo>
                <a:lnTo>
                  <a:pt x="1882" y="426"/>
                </a:lnTo>
                <a:lnTo>
                  <a:pt x="1882" y="426"/>
                </a:lnTo>
                <a:lnTo>
                  <a:pt x="1882" y="422"/>
                </a:lnTo>
                <a:lnTo>
                  <a:pt x="1882" y="422"/>
                </a:lnTo>
                <a:lnTo>
                  <a:pt x="1882" y="422"/>
                </a:lnTo>
                <a:lnTo>
                  <a:pt x="1884" y="422"/>
                </a:lnTo>
                <a:lnTo>
                  <a:pt x="1884" y="422"/>
                </a:lnTo>
                <a:lnTo>
                  <a:pt x="1884" y="418"/>
                </a:lnTo>
                <a:lnTo>
                  <a:pt x="1886" y="418"/>
                </a:lnTo>
                <a:lnTo>
                  <a:pt x="1886" y="418"/>
                </a:lnTo>
                <a:lnTo>
                  <a:pt x="1886" y="416"/>
                </a:lnTo>
                <a:lnTo>
                  <a:pt x="1884" y="416"/>
                </a:lnTo>
                <a:lnTo>
                  <a:pt x="1882" y="420"/>
                </a:lnTo>
                <a:lnTo>
                  <a:pt x="1882" y="420"/>
                </a:lnTo>
                <a:lnTo>
                  <a:pt x="1876" y="420"/>
                </a:lnTo>
                <a:lnTo>
                  <a:pt x="1876" y="420"/>
                </a:lnTo>
                <a:lnTo>
                  <a:pt x="1878" y="414"/>
                </a:lnTo>
                <a:lnTo>
                  <a:pt x="1880" y="408"/>
                </a:lnTo>
                <a:lnTo>
                  <a:pt x="1880" y="408"/>
                </a:lnTo>
                <a:lnTo>
                  <a:pt x="1882" y="408"/>
                </a:lnTo>
                <a:lnTo>
                  <a:pt x="1884" y="408"/>
                </a:lnTo>
                <a:lnTo>
                  <a:pt x="1884" y="408"/>
                </a:lnTo>
                <a:lnTo>
                  <a:pt x="1884" y="398"/>
                </a:lnTo>
                <a:lnTo>
                  <a:pt x="1884" y="398"/>
                </a:lnTo>
                <a:lnTo>
                  <a:pt x="1876" y="404"/>
                </a:lnTo>
                <a:lnTo>
                  <a:pt x="1876" y="404"/>
                </a:lnTo>
                <a:lnTo>
                  <a:pt x="1876" y="404"/>
                </a:lnTo>
                <a:lnTo>
                  <a:pt x="1872" y="404"/>
                </a:lnTo>
                <a:lnTo>
                  <a:pt x="1872" y="404"/>
                </a:lnTo>
                <a:lnTo>
                  <a:pt x="1870" y="402"/>
                </a:lnTo>
                <a:lnTo>
                  <a:pt x="1866" y="398"/>
                </a:lnTo>
                <a:lnTo>
                  <a:pt x="1866" y="398"/>
                </a:lnTo>
                <a:lnTo>
                  <a:pt x="1860" y="398"/>
                </a:lnTo>
                <a:lnTo>
                  <a:pt x="1856" y="400"/>
                </a:lnTo>
                <a:lnTo>
                  <a:pt x="1856" y="400"/>
                </a:lnTo>
                <a:lnTo>
                  <a:pt x="1848" y="400"/>
                </a:lnTo>
                <a:lnTo>
                  <a:pt x="1842" y="402"/>
                </a:lnTo>
                <a:lnTo>
                  <a:pt x="1842" y="402"/>
                </a:lnTo>
                <a:lnTo>
                  <a:pt x="1840" y="404"/>
                </a:lnTo>
                <a:lnTo>
                  <a:pt x="1838" y="406"/>
                </a:lnTo>
                <a:lnTo>
                  <a:pt x="1838" y="406"/>
                </a:lnTo>
                <a:lnTo>
                  <a:pt x="1836" y="404"/>
                </a:lnTo>
                <a:lnTo>
                  <a:pt x="1834" y="404"/>
                </a:lnTo>
                <a:lnTo>
                  <a:pt x="1834" y="404"/>
                </a:lnTo>
                <a:lnTo>
                  <a:pt x="1834" y="408"/>
                </a:lnTo>
                <a:lnTo>
                  <a:pt x="1832" y="412"/>
                </a:lnTo>
                <a:lnTo>
                  <a:pt x="1828" y="414"/>
                </a:lnTo>
                <a:lnTo>
                  <a:pt x="1826" y="414"/>
                </a:lnTo>
                <a:lnTo>
                  <a:pt x="1826" y="414"/>
                </a:lnTo>
                <a:lnTo>
                  <a:pt x="1826" y="414"/>
                </a:lnTo>
                <a:lnTo>
                  <a:pt x="1826" y="416"/>
                </a:lnTo>
                <a:lnTo>
                  <a:pt x="1828" y="420"/>
                </a:lnTo>
                <a:lnTo>
                  <a:pt x="1824" y="420"/>
                </a:lnTo>
                <a:lnTo>
                  <a:pt x="1824" y="420"/>
                </a:lnTo>
                <a:lnTo>
                  <a:pt x="1824" y="424"/>
                </a:lnTo>
                <a:lnTo>
                  <a:pt x="1824" y="424"/>
                </a:lnTo>
                <a:lnTo>
                  <a:pt x="1820" y="424"/>
                </a:lnTo>
                <a:lnTo>
                  <a:pt x="1818" y="424"/>
                </a:lnTo>
                <a:lnTo>
                  <a:pt x="1818" y="424"/>
                </a:lnTo>
                <a:lnTo>
                  <a:pt x="1814" y="428"/>
                </a:lnTo>
                <a:lnTo>
                  <a:pt x="1814" y="428"/>
                </a:lnTo>
                <a:lnTo>
                  <a:pt x="1808" y="430"/>
                </a:lnTo>
                <a:lnTo>
                  <a:pt x="1808" y="430"/>
                </a:lnTo>
                <a:lnTo>
                  <a:pt x="1806" y="432"/>
                </a:lnTo>
                <a:lnTo>
                  <a:pt x="1806" y="434"/>
                </a:lnTo>
                <a:lnTo>
                  <a:pt x="1804" y="440"/>
                </a:lnTo>
                <a:lnTo>
                  <a:pt x="1804" y="440"/>
                </a:lnTo>
                <a:lnTo>
                  <a:pt x="1800" y="440"/>
                </a:lnTo>
                <a:lnTo>
                  <a:pt x="1800" y="440"/>
                </a:lnTo>
                <a:lnTo>
                  <a:pt x="1800" y="442"/>
                </a:lnTo>
                <a:lnTo>
                  <a:pt x="1800" y="446"/>
                </a:lnTo>
                <a:lnTo>
                  <a:pt x="1798" y="452"/>
                </a:lnTo>
                <a:lnTo>
                  <a:pt x="1798" y="452"/>
                </a:lnTo>
                <a:lnTo>
                  <a:pt x="1800" y="452"/>
                </a:lnTo>
                <a:lnTo>
                  <a:pt x="1802" y="454"/>
                </a:lnTo>
                <a:lnTo>
                  <a:pt x="1802" y="454"/>
                </a:lnTo>
                <a:lnTo>
                  <a:pt x="1806" y="450"/>
                </a:lnTo>
                <a:lnTo>
                  <a:pt x="1806" y="450"/>
                </a:lnTo>
                <a:lnTo>
                  <a:pt x="1812" y="452"/>
                </a:lnTo>
                <a:lnTo>
                  <a:pt x="1814" y="452"/>
                </a:lnTo>
                <a:lnTo>
                  <a:pt x="1814" y="452"/>
                </a:lnTo>
                <a:lnTo>
                  <a:pt x="1814" y="458"/>
                </a:lnTo>
                <a:lnTo>
                  <a:pt x="1814" y="458"/>
                </a:lnTo>
                <a:lnTo>
                  <a:pt x="1806" y="460"/>
                </a:lnTo>
                <a:lnTo>
                  <a:pt x="1800" y="462"/>
                </a:lnTo>
                <a:lnTo>
                  <a:pt x="1800" y="462"/>
                </a:lnTo>
                <a:lnTo>
                  <a:pt x="1800" y="460"/>
                </a:lnTo>
                <a:lnTo>
                  <a:pt x="1798" y="458"/>
                </a:lnTo>
                <a:lnTo>
                  <a:pt x="1798" y="458"/>
                </a:lnTo>
                <a:lnTo>
                  <a:pt x="1796" y="458"/>
                </a:lnTo>
                <a:lnTo>
                  <a:pt x="1796" y="458"/>
                </a:lnTo>
                <a:lnTo>
                  <a:pt x="1794" y="460"/>
                </a:lnTo>
                <a:lnTo>
                  <a:pt x="1794" y="460"/>
                </a:lnTo>
                <a:lnTo>
                  <a:pt x="1790" y="462"/>
                </a:lnTo>
                <a:lnTo>
                  <a:pt x="1790" y="462"/>
                </a:lnTo>
                <a:lnTo>
                  <a:pt x="1788" y="466"/>
                </a:lnTo>
                <a:lnTo>
                  <a:pt x="1788" y="466"/>
                </a:lnTo>
                <a:lnTo>
                  <a:pt x="1780" y="462"/>
                </a:lnTo>
                <a:lnTo>
                  <a:pt x="1778" y="468"/>
                </a:lnTo>
                <a:lnTo>
                  <a:pt x="1778" y="468"/>
                </a:lnTo>
                <a:lnTo>
                  <a:pt x="1770" y="468"/>
                </a:lnTo>
                <a:lnTo>
                  <a:pt x="1766" y="468"/>
                </a:lnTo>
                <a:lnTo>
                  <a:pt x="1764" y="464"/>
                </a:lnTo>
                <a:lnTo>
                  <a:pt x="1762" y="458"/>
                </a:lnTo>
                <a:lnTo>
                  <a:pt x="1762" y="458"/>
                </a:lnTo>
                <a:lnTo>
                  <a:pt x="1770" y="458"/>
                </a:lnTo>
                <a:lnTo>
                  <a:pt x="1776" y="458"/>
                </a:lnTo>
                <a:lnTo>
                  <a:pt x="1778" y="454"/>
                </a:lnTo>
                <a:lnTo>
                  <a:pt x="1778" y="454"/>
                </a:lnTo>
                <a:lnTo>
                  <a:pt x="1774" y="452"/>
                </a:lnTo>
                <a:lnTo>
                  <a:pt x="1770" y="448"/>
                </a:lnTo>
                <a:lnTo>
                  <a:pt x="1770" y="448"/>
                </a:lnTo>
                <a:lnTo>
                  <a:pt x="1768" y="444"/>
                </a:lnTo>
                <a:lnTo>
                  <a:pt x="1768" y="444"/>
                </a:lnTo>
                <a:lnTo>
                  <a:pt x="1762" y="446"/>
                </a:lnTo>
                <a:lnTo>
                  <a:pt x="1762" y="446"/>
                </a:lnTo>
                <a:lnTo>
                  <a:pt x="1762" y="448"/>
                </a:lnTo>
                <a:lnTo>
                  <a:pt x="1760" y="450"/>
                </a:lnTo>
                <a:lnTo>
                  <a:pt x="1760" y="450"/>
                </a:lnTo>
                <a:lnTo>
                  <a:pt x="1758" y="448"/>
                </a:lnTo>
                <a:lnTo>
                  <a:pt x="1758" y="448"/>
                </a:lnTo>
                <a:lnTo>
                  <a:pt x="1758" y="448"/>
                </a:lnTo>
                <a:lnTo>
                  <a:pt x="1758" y="448"/>
                </a:lnTo>
                <a:lnTo>
                  <a:pt x="1756" y="448"/>
                </a:lnTo>
                <a:lnTo>
                  <a:pt x="1756" y="446"/>
                </a:lnTo>
                <a:lnTo>
                  <a:pt x="1756" y="446"/>
                </a:lnTo>
                <a:lnTo>
                  <a:pt x="1752" y="446"/>
                </a:lnTo>
                <a:lnTo>
                  <a:pt x="1746" y="448"/>
                </a:lnTo>
                <a:lnTo>
                  <a:pt x="1746" y="448"/>
                </a:lnTo>
                <a:lnTo>
                  <a:pt x="1740" y="444"/>
                </a:lnTo>
                <a:lnTo>
                  <a:pt x="1736" y="444"/>
                </a:lnTo>
                <a:lnTo>
                  <a:pt x="1732" y="446"/>
                </a:lnTo>
                <a:lnTo>
                  <a:pt x="1732" y="446"/>
                </a:lnTo>
                <a:lnTo>
                  <a:pt x="1732" y="448"/>
                </a:lnTo>
                <a:lnTo>
                  <a:pt x="1734" y="452"/>
                </a:lnTo>
                <a:lnTo>
                  <a:pt x="1734" y="452"/>
                </a:lnTo>
                <a:lnTo>
                  <a:pt x="1732" y="452"/>
                </a:lnTo>
                <a:lnTo>
                  <a:pt x="1732" y="454"/>
                </a:lnTo>
                <a:lnTo>
                  <a:pt x="1732" y="454"/>
                </a:lnTo>
                <a:lnTo>
                  <a:pt x="1734" y="454"/>
                </a:lnTo>
                <a:lnTo>
                  <a:pt x="1734" y="456"/>
                </a:lnTo>
                <a:lnTo>
                  <a:pt x="1732" y="458"/>
                </a:lnTo>
                <a:lnTo>
                  <a:pt x="1730" y="458"/>
                </a:lnTo>
                <a:lnTo>
                  <a:pt x="1730" y="458"/>
                </a:lnTo>
                <a:lnTo>
                  <a:pt x="1728" y="458"/>
                </a:lnTo>
                <a:lnTo>
                  <a:pt x="1728" y="456"/>
                </a:lnTo>
                <a:lnTo>
                  <a:pt x="1726" y="454"/>
                </a:lnTo>
                <a:lnTo>
                  <a:pt x="1726" y="454"/>
                </a:lnTo>
                <a:lnTo>
                  <a:pt x="1724" y="454"/>
                </a:lnTo>
                <a:lnTo>
                  <a:pt x="1722" y="454"/>
                </a:lnTo>
                <a:lnTo>
                  <a:pt x="1718" y="456"/>
                </a:lnTo>
                <a:lnTo>
                  <a:pt x="1718" y="456"/>
                </a:lnTo>
                <a:lnTo>
                  <a:pt x="1710" y="456"/>
                </a:lnTo>
                <a:lnTo>
                  <a:pt x="1704" y="452"/>
                </a:lnTo>
                <a:lnTo>
                  <a:pt x="1704" y="450"/>
                </a:lnTo>
                <a:lnTo>
                  <a:pt x="1704" y="450"/>
                </a:lnTo>
                <a:lnTo>
                  <a:pt x="1700" y="450"/>
                </a:lnTo>
                <a:lnTo>
                  <a:pt x="1698" y="456"/>
                </a:lnTo>
                <a:lnTo>
                  <a:pt x="1698" y="456"/>
                </a:lnTo>
                <a:lnTo>
                  <a:pt x="1696" y="458"/>
                </a:lnTo>
                <a:lnTo>
                  <a:pt x="1692" y="458"/>
                </a:lnTo>
                <a:lnTo>
                  <a:pt x="1692" y="456"/>
                </a:lnTo>
                <a:lnTo>
                  <a:pt x="1692" y="456"/>
                </a:lnTo>
                <a:lnTo>
                  <a:pt x="1692" y="450"/>
                </a:lnTo>
                <a:lnTo>
                  <a:pt x="1692" y="450"/>
                </a:lnTo>
                <a:lnTo>
                  <a:pt x="1684" y="448"/>
                </a:lnTo>
                <a:lnTo>
                  <a:pt x="1676" y="446"/>
                </a:lnTo>
                <a:lnTo>
                  <a:pt x="1656" y="450"/>
                </a:lnTo>
                <a:lnTo>
                  <a:pt x="1656" y="450"/>
                </a:lnTo>
                <a:lnTo>
                  <a:pt x="1658" y="446"/>
                </a:lnTo>
                <a:lnTo>
                  <a:pt x="1658" y="446"/>
                </a:lnTo>
                <a:lnTo>
                  <a:pt x="1656" y="444"/>
                </a:lnTo>
                <a:lnTo>
                  <a:pt x="1656" y="446"/>
                </a:lnTo>
                <a:lnTo>
                  <a:pt x="1656" y="446"/>
                </a:lnTo>
                <a:lnTo>
                  <a:pt x="1652" y="444"/>
                </a:lnTo>
                <a:lnTo>
                  <a:pt x="1650" y="444"/>
                </a:lnTo>
                <a:lnTo>
                  <a:pt x="1650" y="444"/>
                </a:lnTo>
                <a:lnTo>
                  <a:pt x="1650" y="450"/>
                </a:lnTo>
                <a:lnTo>
                  <a:pt x="1650" y="450"/>
                </a:lnTo>
                <a:lnTo>
                  <a:pt x="1646" y="450"/>
                </a:lnTo>
                <a:lnTo>
                  <a:pt x="1642" y="452"/>
                </a:lnTo>
                <a:lnTo>
                  <a:pt x="1642" y="452"/>
                </a:lnTo>
                <a:lnTo>
                  <a:pt x="1640" y="454"/>
                </a:lnTo>
                <a:lnTo>
                  <a:pt x="1636" y="458"/>
                </a:lnTo>
                <a:lnTo>
                  <a:pt x="1636" y="458"/>
                </a:lnTo>
                <a:lnTo>
                  <a:pt x="1634" y="456"/>
                </a:lnTo>
                <a:lnTo>
                  <a:pt x="1632" y="456"/>
                </a:lnTo>
                <a:lnTo>
                  <a:pt x="1632" y="456"/>
                </a:lnTo>
                <a:lnTo>
                  <a:pt x="1632" y="458"/>
                </a:lnTo>
                <a:lnTo>
                  <a:pt x="1632" y="462"/>
                </a:lnTo>
                <a:lnTo>
                  <a:pt x="1632" y="462"/>
                </a:lnTo>
                <a:lnTo>
                  <a:pt x="1630" y="464"/>
                </a:lnTo>
                <a:lnTo>
                  <a:pt x="1626" y="466"/>
                </a:lnTo>
                <a:lnTo>
                  <a:pt x="1626" y="466"/>
                </a:lnTo>
                <a:lnTo>
                  <a:pt x="1622" y="476"/>
                </a:lnTo>
                <a:lnTo>
                  <a:pt x="1618" y="488"/>
                </a:lnTo>
                <a:lnTo>
                  <a:pt x="1618" y="488"/>
                </a:lnTo>
                <a:lnTo>
                  <a:pt x="1610" y="490"/>
                </a:lnTo>
                <a:lnTo>
                  <a:pt x="1610" y="490"/>
                </a:lnTo>
                <a:lnTo>
                  <a:pt x="1608" y="494"/>
                </a:lnTo>
                <a:lnTo>
                  <a:pt x="1608" y="496"/>
                </a:lnTo>
                <a:lnTo>
                  <a:pt x="1608" y="496"/>
                </a:lnTo>
                <a:lnTo>
                  <a:pt x="1606" y="496"/>
                </a:lnTo>
                <a:lnTo>
                  <a:pt x="1606" y="496"/>
                </a:lnTo>
                <a:lnTo>
                  <a:pt x="1602" y="500"/>
                </a:lnTo>
                <a:lnTo>
                  <a:pt x="1602" y="500"/>
                </a:lnTo>
                <a:lnTo>
                  <a:pt x="1596" y="502"/>
                </a:lnTo>
                <a:lnTo>
                  <a:pt x="1596" y="502"/>
                </a:lnTo>
                <a:lnTo>
                  <a:pt x="1596" y="504"/>
                </a:lnTo>
                <a:lnTo>
                  <a:pt x="1594" y="504"/>
                </a:lnTo>
                <a:lnTo>
                  <a:pt x="1594" y="504"/>
                </a:lnTo>
                <a:lnTo>
                  <a:pt x="1592" y="508"/>
                </a:lnTo>
                <a:lnTo>
                  <a:pt x="1590" y="510"/>
                </a:lnTo>
                <a:lnTo>
                  <a:pt x="1590" y="510"/>
                </a:lnTo>
                <a:lnTo>
                  <a:pt x="1588" y="510"/>
                </a:lnTo>
                <a:lnTo>
                  <a:pt x="1588" y="508"/>
                </a:lnTo>
                <a:lnTo>
                  <a:pt x="1588" y="508"/>
                </a:lnTo>
                <a:lnTo>
                  <a:pt x="1586" y="510"/>
                </a:lnTo>
                <a:lnTo>
                  <a:pt x="1586" y="510"/>
                </a:lnTo>
                <a:lnTo>
                  <a:pt x="1586" y="512"/>
                </a:lnTo>
                <a:lnTo>
                  <a:pt x="1586" y="514"/>
                </a:lnTo>
                <a:lnTo>
                  <a:pt x="1586" y="514"/>
                </a:lnTo>
                <a:lnTo>
                  <a:pt x="1584" y="518"/>
                </a:lnTo>
                <a:lnTo>
                  <a:pt x="1584" y="518"/>
                </a:lnTo>
                <a:lnTo>
                  <a:pt x="1584" y="524"/>
                </a:lnTo>
                <a:lnTo>
                  <a:pt x="1584" y="524"/>
                </a:lnTo>
                <a:lnTo>
                  <a:pt x="1580" y="526"/>
                </a:lnTo>
                <a:lnTo>
                  <a:pt x="1576" y="528"/>
                </a:lnTo>
                <a:lnTo>
                  <a:pt x="1576" y="528"/>
                </a:lnTo>
                <a:lnTo>
                  <a:pt x="1576" y="530"/>
                </a:lnTo>
                <a:lnTo>
                  <a:pt x="1576" y="532"/>
                </a:lnTo>
                <a:lnTo>
                  <a:pt x="1576" y="532"/>
                </a:lnTo>
                <a:lnTo>
                  <a:pt x="1572" y="534"/>
                </a:lnTo>
                <a:lnTo>
                  <a:pt x="1572" y="534"/>
                </a:lnTo>
                <a:lnTo>
                  <a:pt x="1568" y="538"/>
                </a:lnTo>
                <a:lnTo>
                  <a:pt x="1564" y="542"/>
                </a:lnTo>
                <a:lnTo>
                  <a:pt x="1564" y="542"/>
                </a:lnTo>
                <a:lnTo>
                  <a:pt x="1560" y="544"/>
                </a:lnTo>
                <a:lnTo>
                  <a:pt x="1560" y="544"/>
                </a:lnTo>
                <a:lnTo>
                  <a:pt x="1556" y="548"/>
                </a:lnTo>
                <a:lnTo>
                  <a:pt x="1554" y="552"/>
                </a:lnTo>
                <a:lnTo>
                  <a:pt x="1554" y="552"/>
                </a:lnTo>
                <a:lnTo>
                  <a:pt x="1550" y="554"/>
                </a:lnTo>
                <a:lnTo>
                  <a:pt x="1550" y="554"/>
                </a:lnTo>
                <a:lnTo>
                  <a:pt x="1546" y="558"/>
                </a:lnTo>
                <a:lnTo>
                  <a:pt x="1544" y="566"/>
                </a:lnTo>
                <a:lnTo>
                  <a:pt x="1544" y="566"/>
                </a:lnTo>
                <a:lnTo>
                  <a:pt x="1554" y="566"/>
                </a:lnTo>
                <a:lnTo>
                  <a:pt x="1564" y="566"/>
                </a:lnTo>
                <a:lnTo>
                  <a:pt x="1564" y="566"/>
                </a:lnTo>
                <a:lnTo>
                  <a:pt x="1564" y="586"/>
                </a:lnTo>
                <a:lnTo>
                  <a:pt x="1564" y="586"/>
                </a:lnTo>
                <a:lnTo>
                  <a:pt x="1568" y="586"/>
                </a:lnTo>
                <a:lnTo>
                  <a:pt x="1568" y="586"/>
                </a:lnTo>
                <a:lnTo>
                  <a:pt x="1570" y="578"/>
                </a:lnTo>
                <a:lnTo>
                  <a:pt x="1570" y="578"/>
                </a:lnTo>
                <a:lnTo>
                  <a:pt x="1574" y="582"/>
                </a:lnTo>
                <a:lnTo>
                  <a:pt x="1576" y="584"/>
                </a:lnTo>
                <a:lnTo>
                  <a:pt x="1572" y="592"/>
                </a:lnTo>
                <a:lnTo>
                  <a:pt x="1572" y="592"/>
                </a:lnTo>
                <a:lnTo>
                  <a:pt x="1576" y="592"/>
                </a:lnTo>
                <a:lnTo>
                  <a:pt x="1576" y="592"/>
                </a:lnTo>
                <a:lnTo>
                  <a:pt x="1580" y="588"/>
                </a:lnTo>
                <a:lnTo>
                  <a:pt x="1582" y="584"/>
                </a:lnTo>
                <a:lnTo>
                  <a:pt x="1582" y="584"/>
                </a:lnTo>
                <a:lnTo>
                  <a:pt x="1588" y="586"/>
                </a:lnTo>
                <a:lnTo>
                  <a:pt x="1588" y="586"/>
                </a:lnTo>
                <a:lnTo>
                  <a:pt x="1588" y="576"/>
                </a:lnTo>
                <a:lnTo>
                  <a:pt x="1588" y="576"/>
                </a:lnTo>
                <a:lnTo>
                  <a:pt x="1594" y="578"/>
                </a:lnTo>
                <a:lnTo>
                  <a:pt x="1600" y="578"/>
                </a:lnTo>
                <a:lnTo>
                  <a:pt x="1600" y="578"/>
                </a:lnTo>
                <a:lnTo>
                  <a:pt x="1602" y="582"/>
                </a:lnTo>
                <a:lnTo>
                  <a:pt x="1602" y="582"/>
                </a:lnTo>
                <a:lnTo>
                  <a:pt x="1610" y="584"/>
                </a:lnTo>
                <a:lnTo>
                  <a:pt x="1610" y="584"/>
                </a:lnTo>
                <a:lnTo>
                  <a:pt x="1610" y="586"/>
                </a:lnTo>
                <a:lnTo>
                  <a:pt x="1610" y="590"/>
                </a:lnTo>
                <a:lnTo>
                  <a:pt x="1618" y="596"/>
                </a:lnTo>
                <a:lnTo>
                  <a:pt x="1618" y="596"/>
                </a:lnTo>
                <a:lnTo>
                  <a:pt x="1620" y="594"/>
                </a:lnTo>
                <a:lnTo>
                  <a:pt x="1620" y="594"/>
                </a:lnTo>
                <a:lnTo>
                  <a:pt x="1620" y="598"/>
                </a:lnTo>
                <a:lnTo>
                  <a:pt x="1620" y="598"/>
                </a:lnTo>
                <a:lnTo>
                  <a:pt x="1628" y="600"/>
                </a:lnTo>
                <a:lnTo>
                  <a:pt x="1628" y="600"/>
                </a:lnTo>
                <a:lnTo>
                  <a:pt x="1630" y="598"/>
                </a:lnTo>
                <a:lnTo>
                  <a:pt x="1630" y="604"/>
                </a:lnTo>
                <a:lnTo>
                  <a:pt x="1630" y="604"/>
                </a:lnTo>
                <a:lnTo>
                  <a:pt x="1624" y="602"/>
                </a:lnTo>
                <a:lnTo>
                  <a:pt x="1622" y="602"/>
                </a:lnTo>
                <a:lnTo>
                  <a:pt x="1620" y="602"/>
                </a:lnTo>
                <a:lnTo>
                  <a:pt x="1620" y="602"/>
                </a:lnTo>
                <a:lnTo>
                  <a:pt x="1618" y="610"/>
                </a:lnTo>
                <a:lnTo>
                  <a:pt x="1618" y="610"/>
                </a:lnTo>
                <a:lnTo>
                  <a:pt x="1620" y="612"/>
                </a:lnTo>
                <a:lnTo>
                  <a:pt x="1620" y="612"/>
                </a:lnTo>
                <a:lnTo>
                  <a:pt x="1620" y="616"/>
                </a:lnTo>
                <a:lnTo>
                  <a:pt x="1620" y="616"/>
                </a:lnTo>
                <a:lnTo>
                  <a:pt x="1620" y="614"/>
                </a:lnTo>
                <a:lnTo>
                  <a:pt x="1620" y="616"/>
                </a:lnTo>
                <a:lnTo>
                  <a:pt x="1620" y="618"/>
                </a:lnTo>
                <a:lnTo>
                  <a:pt x="1620" y="618"/>
                </a:lnTo>
                <a:lnTo>
                  <a:pt x="1622" y="618"/>
                </a:lnTo>
                <a:lnTo>
                  <a:pt x="1622" y="620"/>
                </a:lnTo>
                <a:lnTo>
                  <a:pt x="1622" y="620"/>
                </a:lnTo>
                <a:lnTo>
                  <a:pt x="1620" y="622"/>
                </a:lnTo>
                <a:lnTo>
                  <a:pt x="1620" y="622"/>
                </a:lnTo>
                <a:lnTo>
                  <a:pt x="1620" y="626"/>
                </a:lnTo>
                <a:lnTo>
                  <a:pt x="1620" y="626"/>
                </a:lnTo>
                <a:lnTo>
                  <a:pt x="1616" y="630"/>
                </a:lnTo>
                <a:lnTo>
                  <a:pt x="1612" y="634"/>
                </a:lnTo>
                <a:lnTo>
                  <a:pt x="1612" y="634"/>
                </a:lnTo>
                <a:lnTo>
                  <a:pt x="1614" y="640"/>
                </a:lnTo>
                <a:lnTo>
                  <a:pt x="1612" y="644"/>
                </a:lnTo>
                <a:lnTo>
                  <a:pt x="1612" y="644"/>
                </a:lnTo>
                <a:lnTo>
                  <a:pt x="1612" y="648"/>
                </a:lnTo>
                <a:lnTo>
                  <a:pt x="1614" y="648"/>
                </a:lnTo>
                <a:lnTo>
                  <a:pt x="1614" y="648"/>
                </a:lnTo>
                <a:lnTo>
                  <a:pt x="1612" y="656"/>
                </a:lnTo>
                <a:lnTo>
                  <a:pt x="1612" y="656"/>
                </a:lnTo>
                <a:lnTo>
                  <a:pt x="1614" y="658"/>
                </a:lnTo>
                <a:lnTo>
                  <a:pt x="1614" y="664"/>
                </a:lnTo>
                <a:lnTo>
                  <a:pt x="1614" y="664"/>
                </a:lnTo>
                <a:lnTo>
                  <a:pt x="1612" y="668"/>
                </a:lnTo>
                <a:lnTo>
                  <a:pt x="1610" y="672"/>
                </a:lnTo>
                <a:lnTo>
                  <a:pt x="1610" y="672"/>
                </a:lnTo>
                <a:lnTo>
                  <a:pt x="1610" y="674"/>
                </a:lnTo>
                <a:lnTo>
                  <a:pt x="1612" y="676"/>
                </a:lnTo>
                <a:lnTo>
                  <a:pt x="1612" y="676"/>
                </a:lnTo>
                <a:lnTo>
                  <a:pt x="1610" y="678"/>
                </a:lnTo>
                <a:lnTo>
                  <a:pt x="1610" y="678"/>
                </a:lnTo>
                <a:lnTo>
                  <a:pt x="1608" y="682"/>
                </a:lnTo>
                <a:lnTo>
                  <a:pt x="1608" y="686"/>
                </a:lnTo>
                <a:lnTo>
                  <a:pt x="1608" y="686"/>
                </a:lnTo>
                <a:lnTo>
                  <a:pt x="1606" y="688"/>
                </a:lnTo>
                <a:lnTo>
                  <a:pt x="1602" y="692"/>
                </a:lnTo>
                <a:lnTo>
                  <a:pt x="1596" y="696"/>
                </a:lnTo>
                <a:lnTo>
                  <a:pt x="1596" y="696"/>
                </a:lnTo>
                <a:lnTo>
                  <a:pt x="1596" y="700"/>
                </a:lnTo>
                <a:lnTo>
                  <a:pt x="1594" y="704"/>
                </a:lnTo>
                <a:lnTo>
                  <a:pt x="1594" y="704"/>
                </a:lnTo>
                <a:lnTo>
                  <a:pt x="1594" y="706"/>
                </a:lnTo>
                <a:lnTo>
                  <a:pt x="1592" y="706"/>
                </a:lnTo>
                <a:lnTo>
                  <a:pt x="1592" y="706"/>
                </a:lnTo>
                <a:lnTo>
                  <a:pt x="1588" y="712"/>
                </a:lnTo>
                <a:lnTo>
                  <a:pt x="1584" y="718"/>
                </a:lnTo>
                <a:lnTo>
                  <a:pt x="1584" y="718"/>
                </a:lnTo>
                <a:lnTo>
                  <a:pt x="1584" y="720"/>
                </a:lnTo>
                <a:lnTo>
                  <a:pt x="1586" y="722"/>
                </a:lnTo>
                <a:lnTo>
                  <a:pt x="1580" y="734"/>
                </a:lnTo>
                <a:lnTo>
                  <a:pt x="1580" y="734"/>
                </a:lnTo>
                <a:lnTo>
                  <a:pt x="1574" y="738"/>
                </a:lnTo>
                <a:lnTo>
                  <a:pt x="1574" y="738"/>
                </a:lnTo>
                <a:lnTo>
                  <a:pt x="1572" y="744"/>
                </a:lnTo>
                <a:lnTo>
                  <a:pt x="1572" y="744"/>
                </a:lnTo>
                <a:lnTo>
                  <a:pt x="1566" y="744"/>
                </a:lnTo>
                <a:lnTo>
                  <a:pt x="1558" y="754"/>
                </a:lnTo>
                <a:lnTo>
                  <a:pt x="1558" y="754"/>
                </a:lnTo>
                <a:lnTo>
                  <a:pt x="1556" y="760"/>
                </a:lnTo>
                <a:lnTo>
                  <a:pt x="1556" y="760"/>
                </a:lnTo>
                <a:lnTo>
                  <a:pt x="1554" y="762"/>
                </a:lnTo>
                <a:lnTo>
                  <a:pt x="1552" y="762"/>
                </a:lnTo>
                <a:lnTo>
                  <a:pt x="1552" y="762"/>
                </a:lnTo>
                <a:lnTo>
                  <a:pt x="1552" y="766"/>
                </a:lnTo>
                <a:lnTo>
                  <a:pt x="1552" y="766"/>
                </a:lnTo>
                <a:lnTo>
                  <a:pt x="1548" y="768"/>
                </a:lnTo>
                <a:lnTo>
                  <a:pt x="1548" y="768"/>
                </a:lnTo>
                <a:lnTo>
                  <a:pt x="1548" y="772"/>
                </a:lnTo>
                <a:lnTo>
                  <a:pt x="1546" y="778"/>
                </a:lnTo>
                <a:lnTo>
                  <a:pt x="1546" y="778"/>
                </a:lnTo>
                <a:lnTo>
                  <a:pt x="1542" y="778"/>
                </a:lnTo>
                <a:lnTo>
                  <a:pt x="1542" y="778"/>
                </a:lnTo>
                <a:lnTo>
                  <a:pt x="1540" y="782"/>
                </a:lnTo>
                <a:lnTo>
                  <a:pt x="1540" y="782"/>
                </a:lnTo>
                <a:lnTo>
                  <a:pt x="1540" y="782"/>
                </a:lnTo>
                <a:lnTo>
                  <a:pt x="1532" y="790"/>
                </a:lnTo>
                <a:lnTo>
                  <a:pt x="1526" y="798"/>
                </a:lnTo>
                <a:lnTo>
                  <a:pt x="1526" y="798"/>
                </a:lnTo>
                <a:lnTo>
                  <a:pt x="1524" y="800"/>
                </a:lnTo>
                <a:lnTo>
                  <a:pt x="1522" y="798"/>
                </a:lnTo>
                <a:lnTo>
                  <a:pt x="1518" y="796"/>
                </a:lnTo>
                <a:lnTo>
                  <a:pt x="1514" y="796"/>
                </a:lnTo>
                <a:lnTo>
                  <a:pt x="1514" y="796"/>
                </a:lnTo>
                <a:lnTo>
                  <a:pt x="1512" y="792"/>
                </a:lnTo>
                <a:lnTo>
                  <a:pt x="1510" y="792"/>
                </a:lnTo>
                <a:lnTo>
                  <a:pt x="1510" y="792"/>
                </a:lnTo>
                <a:lnTo>
                  <a:pt x="1508" y="788"/>
                </a:lnTo>
                <a:lnTo>
                  <a:pt x="1510" y="782"/>
                </a:lnTo>
                <a:lnTo>
                  <a:pt x="1510" y="782"/>
                </a:lnTo>
                <a:lnTo>
                  <a:pt x="1506" y="784"/>
                </a:lnTo>
                <a:lnTo>
                  <a:pt x="1506" y="784"/>
                </a:lnTo>
                <a:lnTo>
                  <a:pt x="1504" y="784"/>
                </a:lnTo>
                <a:lnTo>
                  <a:pt x="1502" y="784"/>
                </a:lnTo>
                <a:lnTo>
                  <a:pt x="1502" y="782"/>
                </a:lnTo>
                <a:lnTo>
                  <a:pt x="1502" y="780"/>
                </a:lnTo>
                <a:lnTo>
                  <a:pt x="1502" y="780"/>
                </a:lnTo>
                <a:lnTo>
                  <a:pt x="1498" y="780"/>
                </a:lnTo>
                <a:lnTo>
                  <a:pt x="1498" y="780"/>
                </a:lnTo>
                <a:lnTo>
                  <a:pt x="1496" y="786"/>
                </a:lnTo>
                <a:lnTo>
                  <a:pt x="1492" y="790"/>
                </a:lnTo>
                <a:lnTo>
                  <a:pt x="1492" y="790"/>
                </a:lnTo>
                <a:lnTo>
                  <a:pt x="1490" y="790"/>
                </a:lnTo>
                <a:lnTo>
                  <a:pt x="1490" y="790"/>
                </a:lnTo>
                <a:lnTo>
                  <a:pt x="1488" y="796"/>
                </a:lnTo>
                <a:lnTo>
                  <a:pt x="1488" y="796"/>
                </a:lnTo>
                <a:lnTo>
                  <a:pt x="1484" y="796"/>
                </a:lnTo>
                <a:lnTo>
                  <a:pt x="1484" y="794"/>
                </a:lnTo>
                <a:lnTo>
                  <a:pt x="1486" y="790"/>
                </a:lnTo>
                <a:lnTo>
                  <a:pt x="1486" y="784"/>
                </a:lnTo>
                <a:lnTo>
                  <a:pt x="1488" y="782"/>
                </a:lnTo>
                <a:lnTo>
                  <a:pt x="1490" y="776"/>
                </a:lnTo>
                <a:lnTo>
                  <a:pt x="1488" y="766"/>
                </a:lnTo>
                <a:lnTo>
                  <a:pt x="1490" y="760"/>
                </a:lnTo>
                <a:lnTo>
                  <a:pt x="1490" y="754"/>
                </a:lnTo>
                <a:lnTo>
                  <a:pt x="1494" y="750"/>
                </a:lnTo>
                <a:lnTo>
                  <a:pt x="1498" y="748"/>
                </a:lnTo>
                <a:lnTo>
                  <a:pt x="1498" y="748"/>
                </a:lnTo>
                <a:lnTo>
                  <a:pt x="1502" y="750"/>
                </a:lnTo>
                <a:lnTo>
                  <a:pt x="1502" y="750"/>
                </a:lnTo>
                <a:lnTo>
                  <a:pt x="1500" y="754"/>
                </a:lnTo>
                <a:lnTo>
                  <a:pt x="1498" y="756"/>
                </a:lnTo>
                <a:lnTo>
                  <a:pt x="1498" y="756"/>
                </a:lnTo>
                <a:lnTo>
                  <a:pt x="1500" y="760"/>
                </a:lnTo>
                <a:lnTo>
                  <a:pt x="1502" y="762"/>
                </a:lnTo>
                <a:lnTo>
                  <a:pt x="1502" y="762"/>
                </a:lnTo>
                <a:lnTo>
                  <a:pt x="1506" y="762"/>
                </a:lnTo>
                <a:lnTo>
                  <a:pt x="1506" y="762"/>
                </a:lnTo>
                <a:lnTo>
                  <a:pt x="1506" y="750"/>
                </a:lnTo>
                <a:lnTo>
                  <a:pt x="1506" y="750"/>
                </a:lnTo>
                <a:lnTo>
                  <a:pt x="1510" y="746"/>
                </a:lnTo>
                <a:lnTo>
                  <a:pt x="1516" y="742"/>
                </a:lnTo>
                <a:lnTo>
                  <a:pt x="1518" y="738"/>
                </a:lnTo>
                <a:lnTo>
                  <a:pt x="1522" y="736"/>
                </a:lnTo>
                <a:lnTo>
                  <a:pt x="1526" y="730"/>
                </a:lnTo>
                <a:lnTo>
                  <a:pt x="1530" y="724"/>
                </a:lnTo>
                <a:lnTo>
                  <a:pt x="1532" y="714"/>
                </a:lnTo>
                <a:lnTo>
                  <a:pt x="1532" y="708"/>
                </a:lnTo>
                <a:lnTo>
                  <a:pt x="1536" y="706"/>
                </a:lnTo>
                <a:lnTo>
                  <a:pt x="1536" y="698"/>
                </a:lnTo>
                <a:lnTo>
                  <a:pt x="1532" y="694"/>
                </a:lnTo>
                <a:lnTo>
                  <a:pt x="1532" y="690"/>
                </a:lnTo>
                <a:lnTo>
                  <a:pt x="1536" y="682"/>
                </a:lnTo>
                <a:lnTo>
                  <a:pt x="1528" y="684"/>
                </a:lnTo>
                <a:lnTo>
                  <a:pt x="1526" y="688"/>
                </a:lnTo>
                <a:lnTo>
                  <a:pt x="1520" y="690"/>
                </a:lnTo>
                <a:lnTo>
                  <a:pt x="1516" y="690"/>
                </a:lnTo>
                <a:lnTo>
                  <a:pt x="1510" y="694"/>
                </a:lnTo>
                <a:lnTo>
                  <a:pt x="1506" y="698"/>
                </a:lnTo>
                <a:lnTo>
                  <a:pt x="1500" y="700"/>
                </a:lnTo>
                <a:lnTo>
                  <a:pt x="1496" y="702"/>
                </a:lnTo>
                <a:lnTo>
                  <a:pt x="1490" y="698"/>
                </a:lnTo>
                <a:lnTo>
                  <a:pt x="1484" y="696"/>
                </a:lnTo>
                <a:lnTo>
                  <a:pt x="1482" y="690"/>
                </a:lnTo>
                <a:lnTo>
                  <a:pt x="1482" y="684"/>
                </a:lnTo>
                <a:lnTo>
                  <a:pt x="1480" y="678"/>
                </a:lnTo>
                <a:lnTo>
                  <a:pt x="1474" y="672"/>
                </a:lnTo>
                <a:lnTo>
                  <a:pt x="1472" y="666"/>
                </a:lnTo>
                <a:lnTo>
                  <a:pt x="1470" y="660"/>
                </a:lnTo>
                <a:lnTo>
                  <a:pt x="1466" y="656"/>
                </a:lnTo>
                <a:lnTo>
                  <a:pt x="1458" y="654"/>
                </a:lnTo>
                <a:lnTo>
                  <a:pt x="1452" y="652"/>
                </a:lnTo>
                <a:lnTo>
                  <a:pt x="1446" y="652"/>
                </a:lnTo>
                <a:lnTo>
                  <a:pt x="1442" y="648"/>
                </a:lnTo>
                <a:lnTo>
                  <a:pt x="1438" y="640"/>
                </a:lnTo>
                <a:lnTo>
                  <a:pt x="1432" y="630"/>
                </a:lnTo>
                <a:lnTo>
                  <a:pt x="1430" y="622"/>
                </a:lnTo>
                <a:lnTo>
                  <a:pt x="1430" y="616"/>
                </a:lnTo>
                <a:lnTo>
                  <a:pt x="1424" y="610"/>
                </a:lnTo>
                <a:lnTo>
                  <a:pt x="1422" y="604"/>
                </a:lnTo>
                <a:lnTo>
                  <a:pt x="1414" y="598"/>
                </a:lnTo>
                <a:lnTo>
                  <a:pt x="1404" y="598"/>
                </a:lnTo>
                <a:lnTo>
                  <a:pt x="1400" y="592"/>
                </a:lnTo>
                <a:lnTo>
                  <a:pt x="1394" y="588"/>
                </a:lnTo>
                <a:lnTo>
                  <a:pt x="1388" y="584"/>
                </a:lnTo>
                <a:lnTo>
                  <a:pt x="1380" y="582"/>
                </a:lnTo>
                <a:lnTo>
                  <a:pt x="1376" y="584"/>
                </a:lnTo>
                <a:lnTo>
                  <a:pt x="1370" y="586"/>
                </a:lnTo>
                <a:lnTo>
                  <a:pt x="1362" y="586"/>
                </a:lnTo>
                <a:lnTo>
                  <a:pt x="1356" y="590"/>
                </a:lnTo>
                <a:lnTo>
                  <a:pt x="1350" y="596"/>
                </a:lnTo>
                <a:lnTo>
                  <a:pt x="1346" y="602"/>
                </a:lnTo>
                <a:lnTo>
                  <a:pt x="1344" y="604"/>
                </a:lnTo>
                <a:lnTo>
                  <a:pt x="1342" y="608"/>
                </a:lnTo>
                <a:lnTo>
                  <a:pt x="1348" y="606"/>
                </a:lnTo>
                <a:lnTo>
                  <a:pt x="1348" y="614"/>
                </a:lnTo>
                <a:lnTo>
                  <a:pt x="1348" y="620"/>
                </a:lnTo>
                <a:lnTo>
                  <a:pt x="1344" y="624"/>
                </a:lnTo>
                <a:lnTo>
                  <a:pt x="1346" y="630"/>
                </a:lnTo>
                <a:lnTo>
                  <a:pt x="1340" y="638"/>
                </a:lnTo>
                <a:lnTo>
                  <a:pt x="1336" y="644"/>
                </a:lnTo>
                <a:lnTo>
                  <a:pt x="1336" y="644"/>
                </a:lnTo>
                <a:lnTo>
                  <a:pt x="1332" y="648"/>
                </a:lnTo>
                <a:lnTo>
                  <a:pt x="1330" y="650"/>
                </a:lnTo>
                <a:lnTo>
                  <a:pt x="1330" y="652"/>
                </a:lnTo>
                <a:lnTo>
                  <a:pt x="1332" y="654"/>
                </a:lnTo>
                <a:lnTo>
                  <a:pt x="1332" y="654"/>
                </a:lnTo>
                <a:lnTo>
                  <a:pt x="1330" y="656"/>
                </a:lnTo>
                <a:lnTo>
                  <a:pt x="1326" y="658"/>
                </a:lnTo>
                <a:lnTo>
                  <a:pt x="1322" y="660"/>
                </a:lnTo>
                <a:lnTo>
                  <a:pt x="1312" y="666"/>
                </a:lnTo>
                <a:lnTo>
                  <a:pt x="1306" y="662"/>
                </a:lnTo>
                <a:lnTo>
                  <a:pt x="1298" y="658"/>
                </a:lnTo>
                <a:lnTo>
                  <a:pt x="1292" y="660"/>
                </a:lnTo>
                <a:lnTo>
                  <a:pt x="1282" y="658"/>
                </a:lnTo>
                <a:lnTo>
                  <a:pt x="1276" y="658"/>
                </a:lnTo>
                <a:lnTo>
                  <a:pt x="1266" y="652"/>
                </a:lnTo>
                <a:lnTo>
                  <a:pt x="1262" y="654"/>
                </a:lnTo>
                <a:lnTo>
                  <a:pt x="1250" y="662"/>
                </a:lnTo>
                <a:lnTo>
                  <a:pt x="1238" y="664"/>
                </a:lnTo>
                <a:lnTo>
                  <a:pt x="1232" y="668"/>
                </a:lnTo>
                <a:lnTo>
                  <a:pt x="1222" y="670"/>
                </a:lnTo>
                <a:lnTo>
                  <a:pt x="1212" y="668"/>
                </a:lnTo>
                <a:lnTo>
                  <a:pt x="1206" y="666"/>
                </a:lnTo>
                <a:lnTo>
                  <a:pt x="1200" y="668"/>
                </a:lnTo>
                <a:lnTo>
                  <a:pt x="1194" y="668"/>
                </a:lnTo>
                <a:lnTo>
                  <a:pt x="1188" y="664"/>
                </a:lnTo>
                <a:lnTo>
                  <a:pt x="1182" y="664"/>
                </a:lnTo>
                <a:lnTo>
                  <a:pt x="1176" y="660"/>
                </a:lnTo>
                <a:lnTo>
                  <a:pt x="1176" y="654"/>
                </a:lnTo>
                <a:lnTo>
                  <a:pt x="1170" y="654"/>
                </a:lnTo>
                <a:lnTo>
                  <a:pt x="1158" y="650"/>
                </a:lnTo>
                <a:lnTo>
                  <a:pt x="1150" y="648"/>
                </a:lnTo>
                <a:lnTo>
                  <a:pt x="1144" y="652"/>
                </a:lnTo>
                <a:lnTo>
                  <a:pt x="1138" y="654"/>
                </a:lnTo>
                <a:lnTo>
                  <a:pt x="1132" y="654"/>
                </a:lnTo>
                <a:lnTo>
                  <a:pt x="1126" y="654"/>
                </a:lnTo>
                <a:lnTo>
                  <a:pt x="1116" y="648"/>
                </a:lnTo>
                <a:lnTo>
                  <a:pt x="1112" y="646"/>
                </a:lnTo>
                <a:lnTo>
                  <a:pt x="1108" y="636"/>
                </a:lnTo>
                <a:lnTo>
                  <a:pt x="1100" y="630"/>
                </a:lnTo>
                <a:lnTo>
                  <a:pt x="1088" y="620"/>
                </a:lnTo>
                <a:lnTo>
                  <a:pt x="1078" y="618"/>
                </a:lnTo>
                <a:lnTo>
                  <a:pt x="1074" y="614"/>
                </a:lnTo>
                <a:lnTo>
                  <a:pt x="1064" y="614"/>
                </a:lnTo>
                <a:lnTo>
                  <a:pt x="1058" y="612"/>
                </a:lnTo>
                <a:lnTo>
                  <a:pt x="1048" y="612"/>
                </a:lnTo>
                <a:lnTo>
                  <a:pt x="1046" y="616"/>
                </a:lnTo>
                <a:lnTo>
                  <a:pt x="1042" y="622"/>
                </a:lnTo>
                <a:lnTo>
                  <a:pt x="1040" y="628"/>
                </a:lnTo>
                <a:lnTo>
                  <a:pt x="1046" y="632"/>
                </a:lnTo>
                <a:lnTo>
                  <a:pt x="1050" y="638"/>
                </a:lnTo>
                <a:lnTo>
                  <a:pt x="1052" y="646"/>
                </a:lnTo>
                <a:lnTo>
                  <a:pt x="1048" y="650"/>
                </a:lnTo>
                <a:lnTo>
                  <a:pt x="1038" y="650"/>
                </a:lnTo>
                <a:lnTo>
                  <a:pt x="1026" y="650"/>
                </a:lnTo>
                <a:lnTo>
                  <a:pt x="1016" y="650"/>
                </a:lnTo>
                <a:lnTo>
                  <a:pt x="1008" y="648"/>
                </a:lnTo>
                <a:lnTo>
                  <a:pt x="1000" y="644"/>
                </a:lnTo>
                <a:lnTo>
                  <a:pt x="990" y="640"/>
                </a:lnTo>
                <a:lnTo>
                  <a:pt x="982" y="642"/>
                </a:lnTo>
                <a:lnTo>
                  <a:pt x="980" y="638"/>
                </a:lnTo>
                <a:lnTo>
                  <a:pt x="972" y="638"/>
                </a:lnTo>
                <a:lnTo>
                  <a:pt x="962" y="638"/>
                </a:lnTo>
                <a:lnTo>
                  <a:pt x="958" y="642"/>
                </a:lnTo>
                <a:lnTo>
                  <a:pt x="950" y="646"/>
                </a:lnTo>
                <a:lnTo>
                  <a:pt x="942" y="648"/>
                </a:lnTo>
                <a:lnTo>
                  <a:pt x="938" y="652"/>
                </a:lnTo>
                <a:lnTo>
                  <a:pt x="934" y="656"/>
                </a:lnTo>
                <a:lnTo>
                  <a:pt x="934" y="660"/>
                </a:lnTo>
                <a:lnTo>
                  <a:pt x="932" y="664"/>
                </a:lnTo>
                <a:lnTo>
                  <a:pt x="926" y="666"/>
                </a:lnTo>
                <a:lnTo>
                  <a:pt x="920" y="668"/>
                </a:lnTo>
                <a:lnTo>
                  <a:pt x="914" y="672"/>
                </a:lnTo>
                <a:lnTo>
                  <a:pt x="904" y="670"/>
                </a:lnTo>
                <a:lnTo>
                  <a:pt x="902" y="666"/>
                </a:lnTo>
                <a:lnTo>
                  <a:pt x="896" y="662"/>
                </a:lnTo>
                <a:lnTo>
                  <a:pt x="894" y="654"/>
                </a:lnTo>
                <a:lnTo>
                  <a:pt x="886" y="654"/>
                </a:lnTo>
                <a:lnTo>
                  <a:pt x="876" y="656"/>
                </a:lnTo>
                <a:lnTo>
                  <a:pt x="860" y="664"/>
                </a:lnTo>
                <a:lnTo>
                  <a:pt x="850" y="666"/>
                </a:lnTo>
                <a:lnTo>
                  <a:pt x="844" y="662"/>
                </a:lnTo>
                <a:lnTo>
                  <a:pt x="840" y="658"/>
                </a:lnTo>
                <a:lnTo>
                  <a:pt x="838" y="648"/>
                </a:lnTo>
                <a:lnTo>
                  <a:pt x="836" y="640"/>
                </a:lnTo>
                <a:lnTo>
                  <a:pt x="836" y="640"/>
                </a:lnTo>
                <a:lnTo>
                  <a:pt x="830" y="634"/>
                </a:lnTo>
                <a:lnTo>
                  <a:pt x="826" y="630"/>
                </a:lnTo>
                <a:lnTo>
                  <a:pt x="822" y="628"/>
                </a:lnTo>
                <a:lnTo>
                  <a:pt x="808" y="628"/>
                </a:lnTo>
                <a:lnTo>
                  <a:pt x="808" y="628"/>
                </a:lnTo>
                <a:lnTo>
                  <a:pt x="804" y="630"/>
                </a:lnTo>
                <a:lnTo>
                  <a:pt x="796" y="632"/>
                </a:lnTo>
                <a:lnTo>
                  <a:pt x="796" y="632"/>
                </a:lnTo>
                <a:lnTo>
                  <a:pt x="792" y="630"/>
                </a:lnTo>
                <a:lnTo>
                  <a:pt x="790" y="626"/>
                </a:lnTo>
                <a:lnTo>
                  <a:pt x="786" y="622"/>
                </a:lnTo>
                <a:lnTo>
                  <a:pt x="780" y="606"/>
                </a:lnTo>
                <a:lnTo>
                  <a:pt x="770" y="584"/>
                </a:lnTo>
                <a:lnTo>
                  <a:pt x="760" y="568"/>
                </a:lnTo>
                <a:lnTo>
                  <a:pt x="762" y="562"/>
                </a:lnTo>
                <a:lnTo>
                  <a:pt x="760" y="560"/>
                </a:lnTo>
                <a:lnTo>
                  <a:pt x="748" y="562"/>
                </a:lnTo>
                <a:lnTo>
                  <a:pt x="738" y="566"/>
                </a:lnTo>
                <a:lnTo>
                  <a:pt x="724" y="572"/>
                </a:lnTo>
                <a:lnTo>
                  <a:pt x="714" y="576"/>
                </a:lnTo>
                <a:lnTo>
                  <a:pt x="702" y="576"/>
                </a:lnTo>
                <a:lnTo>
                  <a:pt x="702" y="576"/>
                </a:lnTo>
                <a:lnTo>
                  <a:pt x="702" y="574"/>
                </a:lnTo>
                <a:lnTo>
                  <a:pt x="702" y="570"/>
                </a:lnTo>
                <a:lnTo>
                  <a:pt x="702" y="570"/>
                </a:lnTo>
                <a:lnTo>
                  <a:pt x="700" y="568"/>
                </a:lnTo>
                <a:lnTo>
                  <a:pt x="698" y="568"/>
                </a:lnTo>
                <a:lnTo>
                  <a:pt x="698" y="568"/>
                </a:lnTo>
                <a:lnTo>
                  <a:pt x="692" y="570"/>
                </a:lnTo>
                <a:lnTo>
                  <a:pt x="690" y="568"/>
                </a:lnTo>
                <a:lnTo>
                  <a:pt x="682" y="562"/>
                </a:lnTo>
                <a:lnTo>
                  <a:pt x="676" y="570"/>
                </a:lnTo>
                <a:lnTo>
                  <a:pt x="670" y="572"/>
                </a:lnTo>
                <a:lnTo>
                  <a:pt x="664" y="566"/>
                </a:lnTo>
                <a:lnTo>
                  <a:pt x="660" y="564"/>
                </a:lnTo>
                <a:lnTo>
                  <a:pt x="662" y="558"/>
                </a:lnTo>
                <a:lnTo>
                  <a:pt x="662" y="554"/>
                </a:lnTo>
                <a:lnTo>
                  <a:pt x="656" y="552"/>
                </a:lnTo>
                <a:lnTo>
                  <a:pt x="654" y="548"/>
                </a:lnTo>
                <a:lnTo>
                  <a:pt x="648" y="550"/>
                </a:lnTo>
                <a:lnTo>
                  <a:pt x="638" y="552"/>
                </a:lnTo>
                <a:lnTo>
                  <a:pt x="626" y="560"/>
                </a:lnTo>
                <a:lnTo>
                  <a:pt x="622" y="560"/>
                </a:lnTo>
                <a:lnTo>
                  <a:pt x="608" y="564"/>
                </a:lnTo>
                <a:lnTo>
                  <a:pt x="596" y="562"/>
                </a:lnTo>
                <a:lnTo>
                  <a:pt x="586" y="566"/>
                </a:lnTo>
                <a:lnTo>
                  <a:pt x="574" y="568"/>
                </a:lnTo>
                <a:lnTo>
                  <a:pt x="568" y="566"/>
                </a:lnTo>
                <a:lnTo>
                  <a:pt x="560" y="564"/>
                </a:lnTo>
                <a:lnTo>
                  <a:pt x="552" y="560"/>
                </a:lnTo>
                <a:lnTo>
                  <a:pt x="546" y="564"/>
                </a:lnTo>
                <a:lnTo>
                  <a:pt x="548" y="568"/>
                </a:lnTo>
                <a:lnTo>
                  <a:pt x="548" y="576"/>
                </a:lnTo>
                <a:lnTo>
                  <a:pt x="542" y="582"/>
                </a:lnTo>
                <a:lnTo>
                  <a:pt x="542" y="590"/>
                </a:lnTo>
                <a:lnTo>
                  <a:pt x="538" y="596"/>
                </a:lnTo>
                <a:lnTo>
                  <a:pt x="538" y="602"/>
                </a:lnTo>
                <a:lnTo>
                  <a:pt x="544" y="610"/>
                </a:lnTo>
                <a:lnTo>
                  <a:pt x="546" y="614"/>
                </a:lnTo>
                <a:lnTo>
                  <a:pt x="540" y="624"/>
                </a:lnTo>
                <a:lnTo>
                  <a:pt x="546" y="628"/>
                </a:lnTo>
                <a:lnTo>
                  <a:pt x="546" y="628"/>
                </a:lnTo>
                <a:lnTo>
                  <a:pt x="548" y="628"/>
                </a:lnTo>
                <a:lnTo>
                  <a:pt x="554" y="634"/>
                </a:lnTo>
                <a:lnTo>
                  <a:pt x="554" y="634"/>
                </a:lnTo>
                <a:lnTo>
                  <a:pt x="554" y="638"/>
                </a:lnTo>
                <a:lnTo>
                  <a:pt x="552" y="640"/>
                </a:lnTo>
                <a:lnTo>
                  <a:pt x="548" y="642"/>
                </a:lnTo>
                <a:lnTo>
                  <a:pt x="542" y="642"/>
                </a:lnTo>
                <a:lnTo>
                  <a:pt x="534" y="640"/>
                </a:lnTo>
                <a:lnTo>
                  <a:pt x="534" y="640"/>
                </a:lnTo>
                <a:lnTo>
                  <a:pt x="532" y="636"/>
                </a:lnTo>
                <a:lnTo>
                  <a:pt x="528" y="628"/>
                </a:lnTo>
                <a:lnTo>
                  <a:pt x="528" y="628"/>
                </a:lnTo>
                <a:lnTo>
                  <a:pt x="526" y="628"/>
                </a:lnTo>
                <a:lnTo>
                  <a:pt x="524" y="628"/>
                </a:lnTo>
                <a:lnTo>
                  <a:pt x="522" y="630"/>
                </a:lnTo>
                <a:lnTo>
                  <a:pt x="522" y="630"/>
                </a:lnTo>
                <a:lnTo>
                  <a:pt x="520" y="630"/>
                </a:lnTo>
                <a:lnTo>
                  <a:pt x="518" y="628"/>
                </a:lnTo>
                <a:lnTo>
                  <a:pt x="518" y="626"/>
                </a:lnTo>
                <a:lnTo>
                  <a:pt x="514" y="626"/>
                </a:lnTo>
                <a:lnTo>
                  <a:pt x="514" y="626"/>
                </a:lnTo>
                <a:lnTo>
                  <a:pt x="508" y="630"/>
                </a:lnTo>
                <a:lnTo>
                  <a:pt x="504" y="634"/>
                </a:lnTo>
                <a:lnTo>
                  <a:pt x="504" y="634"/>
                </a:lnTo>
                <a:lnTo>
                  <a:pt x="502" y="634"/>
                </a:lnTo>
                <a:lnTo>
                  <a:pt x="498" y="634"/>
                </a:lnTo>
                <a:lnTo>
                  <a:pt x="492" y="630"/>
                </a:lnTo>
                <a:lnTo>
                  <a:pt x="492" y="630"/>
                </a:lnTo>
                <a:lnTo>
                  <a:pt x="488" y="630"/>
                </a:lnTo>
                <a:lnTo>
                  <a:pt x="486" y="630"/>
                </a:lnTo>
                <a:lnTo>
                  <a:pt x="484" y="632"/>
                </a:lnTo>
                <a:lnTo>
                  <a:pt x="484" y="632"/>
                </a:lnTo>
                <a:lnTo>
                  <a:pt x="484" y="634"/>
                </a:lnTo>
                <a:lnTo>
                  <a:pt x="484" y="636"/>
                </a:lnTo>
                <a:lnTo>
                  <a:pt x="484" y="640"/>
                </a:lnTo>
                <a:lnTo>
                  <a:pt x="476" y="638"/>
                </a:lnTo>
                <a:lnTo>
                  <a:pt x="476" y="638"/>
                </a:lnTo>
                <a:lnTo>
                  <a:pt x="478" y="636"/>
                </a:lnTo>
                <a:lnTo>
                  <a:pt x="480" y="634"/>
                </a:lnTo>
                <a:lnTo>
                  <a:pt x="478" y="630"/>
                </a:lnTo>
                <a:lnTo>
                  <a:pt x="478" y="630"/>
                </a:lnTo>
                <a:lnTo>
                  <a:pt x="478" y="628"/>
                </a:lnTo>
                <a:lnTo>
                  <a:pt x="476" y="628"/>
                </a:lnTo>
                <a:lnTo>
                  <a:pt x="470" y="628"/>
                </a:lnTo>
                <a:lnTo>
                  <a:pt x="470" y="628"/>
                </a:lnTo>
                <a:lnTo>
                  <a:pt x="468" y="628"/>
                </a:lnTo>
                <a:lnTo>
                  <a:pt x="466" y="624"/>
                </a:lnTo>
                <a:lnTo>
                  <a:pt x="466" y="624"/>
                </a:lnTo>
                <a:lnTo>
                  <a:pt x="462" y="620"/>
                </a:lnTo>
                <a:lnTo>
                  <a:pt x="458" y="618"/>
                </a:lnTo>
                <a:lnTo>
                  <a:pt x="458" y="618"/>
                </a:lnTo>
                <a:lnTo>
                  <a:pt x="454" y="616"/>
                </a:lnTo>
                <a:lnTo>
                  <a:pt x="450" y="616"/>
                </a:lnTo>
                <a:lnTo>
                  <a:pt x="450" y="616"/>
                </a:lnTo>
                <a:lnTo>
                  <a:pt x="450" y="614"/>
                </a:lnTo>
                <a:lnTo>
                  <a:pt x="450" y="610"/>
                </a:lnTo>
                <a:lnTo>
                  <a:pt x="450" y="610"/>
                </a:lnTo>
                <a:lnTo>
                  <a:pt x="446" y="608"/>
                </a:lnTo>
                <a:lnTo>
                  <a:pt x="442" y="606"/>
                </a:lnTo>
                <a:lnTo>
                  <a:pt x="442" y="606"/>
                </a:lnTo>
                <a:lnTo>
                  <a:pt x="442" y="606"/>
                </a:lnTo>
                <a:lnTo>
                  <a:pt x="442" y="608"/>
                </a:lnTo>
                <a:lnTo>
                  <a:pt x="442" y="610"/>
                </a:lnTo>
                <a:lnTo>
                  <a:pt x="436" y="610"/>
                </a:lnTo>
                <a:lnTo>
                  <a:pt x="436" y="606"/>
                </a:lnTo>
                <a:lnTo>
                  <a:pt x="424" y="608"/>
                </a:lnTo>
                <a:lnTo>
                  <a:pt x="424" y="608"/>
                </a:lnTo>
                <a:lnTo>
                  <a:pt x="426" y="610"/>
                </a:lnTo>
                <a:lnTo>
                  <a:pt x="426" y="610"/>
                </a:lnTo>
                <a:lnTo>
                  <a:pt x="426" y="612"/>
                </a:lnTo>
                <a:lnTo>
                  <a:pt x="426" y="612"/>
                </a:lnTo>
                <a:lnTo>
                  <a:pt x="416" y="624"/>
                </a:lnTo>
                <a:lnTo>
                  <a:pt x="416" y="624"/>
                </a:lnTo>
                <a:lnTo>
                  <a:pt x="412" y="624"/>
                </a:lnTo>
                <a:lnTo>
                  <a:pt x="406" y="624"/>
                </a:lnTo>
                <a:lnTo>
                  <a:pt x="406" y="624"/>
                </a:lnTo>
                <a:lnTo>
                  <a:pt x="404" y="624"/>
                </a:lnTo>
                <a:lnTo>
                  <a:pt x="402" y="624"/>
                </a:lnTo>
                <a:lnTo>
                  <a:pt x="402" y="626"/>
                </a:lnTo>
                <a:lnTo>
                  <a:pt x="400" y="628"/>
                </a:lnTo>
                <a:lnTo>
                  <a:pt x="400" y="628"/>
                </a:lnTo>
                <a:lnTo>
                  <a:pt x="398" y="628"/>
                </a:lnTo>
                <a:lnTo>
                  <a:pt x="396" y="632"/>
                </a:lnTo>
                <a:lnTo>
                  <a:pt x="396" y="638"/>
                </a:lnTo>
                <a:lnTo>
                  <a:pt x="396" y="638"/>
                </a:lnTo>
                <a:lnTo>
                  <a:pt x="396" y="640"/>
                </a:lnTo>
                <a:lnTo>
                  <a:pt x="398" y="642"/>
                </a:lnTo>
                <a:lnTo>
                  <a:pt x="402" y="646"/>
                </a:lnTo>
                <a:lnTo>
                  <a:pt x="392" y="650"/>
                </a:lnTo>
                <a:lnTo>
                  <a:pt x="392" y="650"/>
                </a:lnTo>
                <a:lnTo>
                  <a:pt x="388" y="640"/>
                </a:lnTo>
                <a:lnTo>
                  <a:pt x="388" y="640"/>
                </a:lnTo>
                <a:lnTo>
                  <a:pt x="388" y="640"/>
                </a:lnTo>
                <a:lnTo>
                  <a:pt x="384" y="640"/>
                </a:lnTo>
                <a:lnTo>
                  <a:pt x="382" y="646"/>
                </a:lnTo>
                <a:lnTo>
                  <a:pt x="382" y="646"/>
                </a:lnTo>
                <a:lnTo>
                  <a:pt x="380" y="646"/>
                </a:lnTo>
                <a:lnTo>
                  <a:pt x="378" y="648"/>
                </a:lnTo>
                <a:lnTo>
                  <a:pt x="376" y="648"/>
                </a:lnTo>
                <a:lnTo>
                  <a:pt x="376" y="648"/>
                </a:lnTo>
                <a:lnTo>
                  <a:pt x="376" y="648"/>
                </a:lnTo>
                <a:lnTo>
                  <a:pt x="376" y="654"/>
                </a:lnTo>
                <a:lnTo>
                  <a:pt x="374" y="658"/>
                </a:lnTo>
                <a:lnTo>
                  <a:pt x="372" y="662"/>
                </a:lnTo>
                <a:lnTo>
                  <a:pt x="372" y="662"/>
                </a:lnTo>
                <a:lnTo>
                  <a:pt x="374" y="662"/>
                </a:lnTo>
                <a:lnTo>
                  <a:pt x="376" y="664"/>
                </a:lnTo>
                <a:lnTo>
                  <a:pt x="376" y="664"/>
                </a:lnTo>
                <a:lnTo>
                  <a:pt x="376" y="666"/>
                </a:lnTo>
                <a:lnTo>
                  <a:pt x="374" y="668"/>
                </a:lnTo>
                <a:lnTo>
                  <a:pt x="374" y="670"/>
                </a:lnTo>
                <a:lnTo>
                  <a:pt x="374" y="670"/>
                </a:lnTo>
                <a:lnTo>
                  <a:pt x="368" y="678"/>
                </a:lnTo>
                <a:lnTo>
                  <a:pt x="368" y="678"/>
                </a:lnTo>
                <a:lnTo>
                  <a:pt x="366" y="680"/>
                </a:lnTo>
                <a:lnTo>
                  <a:pt x="368" y="682"/>
                </a:lnTo>
                <a:lnTo>
                  <a:pt x="372" y="686"/>
                </a:lnTo>
                <a:lnTo>
                  <a:pt x="372" y="686"/>
                </a:lnTo>
                <a:lnTo>
                  <a:pt x="374" y="688"/>
                </a:lnTo>
                <a:lnTo>
                  <a:pt x="374" y="690"/>
                </a:lnTo>
                <a:lnTo>
                  <a:pt x="374" y="696"/>
                </a:lnTo>
                <a:lnTo>
                  <a:pt x="374" y="696"/>
                </a:lnTo>
                <a:lnTo>
                  <a:pt x="376" y="698"/>
                </a:lnTo>
                <a:lnTo>
                  <a:pt x="378" y="698"/>
                </a:lnTo>
                <a:lnTo>
                  <a:pt x="382" y="696"/>
                </a:lnTo>
                <a:lnTo>
                  <a:pt x="386" y="708"/>
                </a:lnTo>
                <a:lnTo>
                  <a:pt x="386" y="708"/>
                </a:lnTo>
                <a:lnTo>
                  <a:pt x="388" y="710"/>
                </a:lnTo>
                <a:lnTo>
                  <a:pt x="386" y="714"/>
                </a:lnTo>
                <a:lnTo>
                  <a:pt x="386" y="714"/>
                </a:lnTo>
                <a:lnTo>
                  <a:pt x="386" y="716"/>
                </a:lnTo>
                <a:lnTo>
                  <a:pt x="388" y="720"/>
                </a:lnTo>
                <a:lnTo>
                  <a:pt x="388" y="722"/>
                </a:lnTo>
                <a:lnTo>
                  <a:pt x="388" y="722"/>
                </a:lnTo>
                <a:lnTo>
                  <a:pt x="388" y="726"/>
                </a:lnTo>
                <a:lnTo>
                  <a:pt x="388" y="726"/>
                </a:lnTo>
                <a:lnTo>
                  <a:pt x="384" y="726"/>
                </a:lnTo>
                <a:lnTo>
                  <a:pt x="384" y="726"/>
                </a:lnTo>
                <a:lnTo>
                  <a:pt x="384" y="724"/>
                </a:lnTo>
                <a:lnTo>
                  <a:pt x="382" y="722"/>
                </a:lnTo>
                <a:lnTo>
                  <a:pt x="382" y="722"/>
                </a:lnTo>
                <a:lnTo>
                  <a:pt x="382" y="724"/>
                </a:lnTo>
                <a:lnTo>
                  <a:pt x="382" y="724"/>
                </a:lnTo>
                <a:lnTo>
                  <a:pt x="382" y="724"/>
                </a:lnTo>
                <a:lnTo>
                  <a:pt x="382" y="726"/>
                </a:lnTo>
                <a:lnTo>
                  <a:pt x="382" y="726"/>
                </a:lnTo>
                <a:lnTo>
                  <a:pt x="386" y="726"/>
                </a:lnTo>
                <a:lnTo>
                  <a:pt x="386" y="726"/>
                </a:lnTo>
                <a:lnTo>
                  <a:pt x="386" y="730"/>
                </a:lnTo>
                <a:lnTo>
                  <a:pt x="386" y="730"/>
                </a:lnTo>
                <a:lnTo>
                  <a:pt x="382" y="734"/>
                </a:lnTo>
                <a:lnTo>
                  <a:pt x="382" y="734"/>
                </a:lnTo>
                <a:lnTo>
                  <a:pt x="380" y="732"/>
                </a:lnTo>
                <a:lnTo>
                  <a:pt x="382" y="730"/>
                </a:lnTo>
                <a:lnTo>
                  <a:pt x="382" y="730"/>
                </a:lnTo>
                <a:lnTo>
                  <a:pt x="378" y="730"/>
                </a:lnTo>
                <a:lnTo>
                  <a:pt x="378" y="730"/>
                </a:lnTo>
                <a:lnTo>
                  <a:pt x="378" y="726"/>
                </a:lnTo>
                <a:lnTo>
                  <a:pt x="376" y="726"/>
                </a:lnTo>
                <a:lnTo>
                  <a:pt x="376" y="726"/>
                </a:lnTo>
                <a:lnTo>
                  <a:pt x="376" y="728"/>
                </a:lnTo>
                <a:lnTo>
                  <a:pt x="376" y="728"/>
                </a:lnTo>
                <a:lnTo>
                  <a:pt x="372" y="730"/>
                </a:lnTo>
                <a:lnTo>
                  <a:pt x="372" y="730"/>
                </a:lnTo>
                <a:lnTo>
                  <a:pt x="370" y="730"/>
                </a:lnTo>
                <a:lnTo>
                  <a:pt x="370" y="730"/>
                </a:lnTo>
                <a:lnTo>
                  <a:pt x="368" y="730"/>
                </a:lnTo>
                <a:lnTo>
                  <a:pt x="368" y="732"/>
                </a:lnTo>
                <a:lnTo>
                  <a:pt x="370" y="732"/>
                </a:lnTo>
                <a:lnTo>
                  <a:pt x="368" y="732"/>
                </a:lnTo>
                <a:lnTo>
                  <a:pt x="368" y="734"/>
                </a:lnTo>
                <a:lnTo>
                  <a:pt x="368" y="734"/>
                </a:lnTo>
                <a:lnTo>
                  <a:pt x="370" y="736"/>
                </a:lnTo>
                <a:lnTo>
                  <a:pt x="370" y="736"/>
                </a:lnTo>
                <a:lnTo>
                  <a:pt x="366" y="740"/>
                </a:lnTo>
                <a:lnTo>
                  <a:pt x="366" y="740"/>
                </a:lnTo>
                <a:lnTo>
                  <a:pt x="362" y="750"/>
                </a:lnTo>
                <a:lnTo>
                  <a:pt x="362" y="750"/>
                </a:lnTo>
                <a:lnTo>
                  <a:pt x="362" y="756"/>
                </a:lnTo>
                <a:lnTo>
                  <a:pt x="362" y="756"/>
                </a:lnTo>
                <a:lnTo>
                  <a:pt x="360" y="758"/>
                </a:lnTo>
                <a:lnTo>
                  <a:pt x="360" y="758"/>
                </a:lnTo>
                <a:lnTo>
                  <a:pt x="360" y="762"/>
                </a:lnTo>
                <a:lnTo>
                  <a:pt x="360" y="764"/>
                </a:lnTo>
                <a:lnTo>
                  <a:pt x="358" y="766"/>
                </a:lnTo>
                <a:lnTo>
                  <a:pt x="358" y="766"/>
                </a:lnTo>
                <a:lnTo>
                  <a:pt x="370" y="766"/>
                </a:lnTo>
                <a:lnTo>
                  <a:pt x="370" y="766"/>
                </a:lnTo>
                <a:lnTo>
                  <a:pt x="370" y="776"/>
                </a:lnTo>
                <a:lnTo>
                  <a:pt x="372" y="778"/>
                </a:lnTo>
                <a:lnTo>
                  <a:pt x="372" y="778"/>
                </a:lnTo>
                <a:lnTo>
                  <a:pt x="372" y="792"/>
                </a:lnTo>
                <a:lnTo>
                  <a:pt x="372" y="792"/>
                </a:lnTo>
                <a:lnTo>
                  <a:pt x="376" y="796"/>
                </a:lnTo>
                <a:lnTo>
                  <a:pt x="380" y="800"/>
                </a:lnTo>
                <a:lnTo>
                  <a:pt x="380" y="800"/>
                </a:lnTo>
                <a:lnTo>
                  <a:pt x="380" y="804"/>
                </a:lnTo>
                <a:lnTo>
                  <a:pt x="382" y="808"/>
                </a:lnTo>
                <a:lnTo>
                  <a:pt x="382" y="808"/>
                </a:lnTo>
                <a:lnTo>
                  <a:pt x="390" y="814"/>
                </a:lnTo>
                <a:lnTo>
                  <a:pt x="390" y="814"/>
                </a:lnTo>
                <a:lnTo>
                  <a:pt x="392" y="818"/>
                </a:lnTo>
                <a:lnTo>
                  <a:pt x="392" y="818"/>
                </a:lnTo>
                <a:lnTo>
                  <a:pt x="390" y="824"/>
                </a:lnTo>
                <a:lnTo>
                  <a:pt x="384" y="828"/>
                </a:lnTo>
                <a:lnTo>
                  <a:pt x="384" y="828"/>
                </a:lnTo>
                <a:lnTo>
                  <a:pt x="382" y="826"/>
                </a:lnTo>
                <a:lnTo>
                  <a:pt x="380" y="822"/>
                </a:lnTo>
                <a:lnTo>
                  <a:pt x="380" y="822"/>
                </a:lnTo>
                <a:lnTo>
                  <a:pt x="378" y="818"/>
                </a:lnTo>
                <a:lnTo>
                  <a:pt x="374" y="816"/>
                </a:lnTo>
                <a:lnTo>
                  <a:pt x="374" y="816"/>
                </a:lnTo>
                <a:lnTo>
                  <a:pt x="368" y="810"/>
                </a:lnTo>
                <a:lnTo>
                  <a:pt x="368" y="810"/>
                </a:lnTo>
                <a:lnTo>
                  <a:pt x="364" y="806"/>
                </a:lnTo>
                <a:lnTo>
                  <a:pt x="364" y="806"/>
                </a:lnTo>
                <a:lnTo>
                  <a:pt x="362" y="804"/>
                </a:lnTo>
                <a:lnTo>
                  <a:pt x="360" y="804"/>
                </a:lnTo>
                <a:lnTo>
                  <a:pt x="356" y="804"/>
                </a:lnTo>
                <a:lnTo>
                  <a:pt x="356" y="804"/>
                </a:lnTo>
                <a:lnTo>
                  <a:pt x="356" y="804"/>
                </a:lnTo>
                <a:lnTo>
                  <a:pt x="356" y="802"/>
                </a:lnTo>
                <a:lnTo>
                  <a:pt x="356" y="800"/>
                </a:lnTo>
                <a:lnTo>
                  <a:pt x="356" y="798"/>
                </a:lnTo>
                <a:lnTo>
                  <a:pt x="356" y="798"/>
                </a:lnTo>
                <a:lnTo>
                  <a:pt x="352" y="796"/>
                </a:lnTo>
                <a:lnTo>
                  <a:pt x="350" y="794"/>
                </a:lnTo>
                <a:lnTo>
                  <a:pt x="350" y="794"/>
                </a:lnTo>
                <a:lnTo>
                  <a:pt x="348" y="792"/>
                </a:lnTo>
                <a:lnTo>
                  <a:pt x="346" y="788"/>
                </a:lnTo>
                <a:lnTo>
                  <a:pt x="346" y="788"/>
                </a:lnTo>
                <a:lnTo>
                  <a:pt x="342" y="786"/>
                </a:lnTo>
                <a:lnTo>
                  <a:pt x="338" y="788"/>
                </a:lnTo>
                <a:lnTo>
                  <a:pt x="338" y="788"/>
                </a:lnTo>
                <a:lnTo>
                  <a:pt x="334" y="790"/>
                </a:lnTo>
                <a:lnTo>
                  <a:pt x="334" y="790"/>
                </a:lnTo>
                <a:lnTo>
                  <a:pt x="332" y="790"/>
                </a:lnTo>
                <a:lnTo>
                  <a:pt x="332" y="790"/>
                </a:lnTo>
                <a:lnTo>
                  <a:pt x="330" y="788"/>
                </a:lnTo>
                <a:lnTo>
                  <a:pt x="328" y="788"/>
                </a:lnTo>
                <a:lnTo>
                  <a:pt x="322" y="790"/>
                </a:lnTo>
                <a:lnTo>
                  <a:pt x="322" y="790"/>
                </a:lnTo>
                <a:lnTo>
                  <a:pt x="318" y="790"/>
                </a:lnTo>
                <a:lnTo>
                  <a:pt x="316" y="788"/>
                </a:lnTo>
                <a:lnTo>
                  <a:pt x="312" y="782"/>
                </a:lnTo>
                <a:lnTo>
                  <a:pt x="312" y="782"/>
                </a:lnTo>
                <a:lnTo>
                  <a:pt x="308" y="780"/>
                </a:lnTo>
                <a:lnTo>
                  <a:pt x="304" y="778"/>
                </a:lnTo>
                <a:lnTo>
                  <a:pt x="304" y="778"/>
                </a:lnTo>
                <a:lnTo>
                  <a:pt x="300" y="778"/>
                </a:lnTo>
                <a:lnTo>
                  <a:pt x="294" y="778"/>
                </a:lnTo>
                <a:lnTo>
                  <a:pt x="294" y="778"/>
                </a:lnTo>
                <a:lnTo>
                  <a:pt x="288" y="778"/>
                </a:lnTo>
                <a:lnTo>
                  <a:pt x="286" y="774"/>
                </a:lnTo>
                <a:lnTo>
                  <a:pt x="286" y="774"/>
                </a:lnTo>
                <a:lnTo>
                  <a:pt x="284" y="774"/>
                </a:lnTo>
                <a:lnTo>
                  <a:pt x="280" y="774"/>
                </a:lnTo>
                <a:lnTo>
                  <a:pt x="276" y="776"/>
                </a:lnTo>
                <a:lnTo>
                  <a:pt x="276" y="776"/>
                </a:lnTo>
                <a:lnTo>
                  <a:pt x="272" y="780"/>
                </a:lnTo>
                <a:lnTo>
                  <a:pt x="272" y="784"/>
                </a:lnTo>
                <a:lnTo>
                  <a:pt x="272" y="784"/>
                </a:lnTo>
                <a:lnTo>
                  <a:pt x="270" y="782"/>
                </a:lnTo>
                <a:lnTo>
                  <a:pt x="270" y="782"/>
                </a:lnTo>
                <a:lnTo>
                  <a:pt x="266" y="778"/>
                </a:lnTo>
                <a:lnTo>
                  <a:pt x="262" y="774"/>
                </a:lnTo>
                <a:lnTo>
                  <a:pt x="262" y="774"/>
                </a:lnTo>
                <a:lnTo>
                  <a:pt x="260" y="772"/>
                </a:lnTo>
                <a:lnTo>
                  <a:pt x="256" y="772"/>
                </a:lnTo>
                <a:lnTo>
                  <a:pt x="256" y="772"/>
                </a:lnTo>
                <a:lnTo>
                  <a:pt x="254" y="766"/>
                </a:lnTo>
                <a:lnTo>
                  <a:pt x="254" y="766"/>
                </a:lnTo>
                <a:lnTo>
                  <a:pt x="250" y="764"/>
                </a:lnTo>
                <a:lnTo>
                  <a:pt x="250" y="764"/>
                </a:lnTo>
                <a:lnTo>
                  <a:pt x="248" y="760"/>
                </a:lnTo>
                <a:lnTo>
                  <a:pt x="248" y="760"/>
                </a:lnTo>
                <a:lnTo>
                  <a:pt x="246" y="760"/>
                </a:lnTo>
                <a:lnTo>
                  <a:pt x="244" y="760"/>
                </a:lnTo>
                <a:lnTo>
                  <a:pt x="244" y="760"/>
                </a:lnTo>
                <a:lnTo>
                  <a:pt x="240" y="754"/>
                </a:lnTo>
                <a:lnTo>
                  <a:pt x="240" y="754"/>
                </a:lnTo>
                <a:lnTo>
                  <a:pt x="240" y="750"/>
                </a:lnTo>
                <a:lnTo>
                  <a:pt x="240" y="750"/>
                </a:lnTo>
                <a:lnTo>
                  <a:pt x="230" y="754"/>
                </a:lnTo>
                <a:lnTo>
                  <a:pt x="230" y="754"/>
                </a:lnTo>
                <a:lnTo>
                  <a:pt x="230" y="750"/>
                </a:lnTo>
                <a:lnTo>
                  <a:pt x="230" y="750"/>
                </a:lnTo>
                <a:lnTo>
                  <a:pt x="236" y="748"/>
                </a:lnTo>
                <a:lnTo>
                  <a:pt x="236" y="748"/>
                </a:lnTo>
                <a:lnTo>
                  <a:pt x="236" y="744"/>
                </a:lnTo>
                <a:lnTo>
                  <a:pt x="236" y="744"/>
                </a:lnTo>
                <a:lnTo>
                  <a:pt x="244" y="744"/>
                </a:lnTo>
                <a:lnTo>
                  <a:pt x="244" y="744"/>
                </a:lnTo>
                <a:lnTo>
                  <a:pt x="244" y="740"/>
                </a:lnTo>
                <a:lnTo>
                  <a:pt x="244" y="740"/>
                </a:lnTo>
                <a:lnTo>
                  <a:pt x="248" y="738"/>
                </a:lnTo>
                <a:lnTo>
                  <a:pt x="248" y="738"/>
                </a:lnTo>
                <a:lnTo>
                  <a:pt x="250" y="734"/>
                </a:lnTo>
                <a:lnTo>
                  <a:pt x="250" y="732"/>
                </a:lnTo>
                <a:lnTo>
                  <a:pt x="250" y="732"/>
                </a:lnTo>
                <a:lnTo>
                  <a:pt x="244" y="730"/>
                </a:lnTo>
                <a:lnTo>
                  <a:pt x="244" y="730"/>
                </a:lnTo>
                <a:lnTo>
                  <a:pt x="242" y="726"/>
                </a:lnTo>
                <a:lnTo>
                  <a:pt x="242" y="726"/>
                </a:lnTo>
                <a:lnTo>
                  <a:pt x="252" y="726"/>
                </a:lnTo>
                <a:lnTo>
                  <a:pt x="252" y="726"/>
                </a:lnTo>
                <a:lnTo>
                  <a:pt x="252" y="720"/>
                </a:lnTo>
                <a:lnTo>
                  <a:pt x="252" y="720"/>
                </a:lnTo>
                <a:lnTo>
                  <a:pt x="254" y="720"/>
                </a:lnTo>
                <a:lnTo>
                  <a:pt x="256" y="720"/>
                </a:lnTo>
                <a:lnTo>
                  <a:pt x="256" y="720"/>
                </a:lnTo>
                <a:lnTo>
                  <a:pt x="258" y="718"/>
                </a:lnTo>
                <a:lnTo>
                  <a:pt x="260" y="716"/>
                </a:lnTo>
                <a:lnTo>
                  <a:pt x="260" y="716"/>
                </a:lnTo>
                <a:lnTo>
                  <a:pt x="268" y="712"/>
                </a:lnTo>
                <a:lnTo>
                  <a:pt x="268" y="710"/>
                </a:lnTo>
                <a:lnTo>
                  <a:pt x="268" y="710"/>
                </a:lnTo>
                <a:lnTo>
                  <a:pt x="266" y="710"/>
                </a:lnTo>
                <a:lnTo>
                  <a:pt x="266" y="710"/>
                </a:lnTo>
                <a:lnTo>
                  <a:pt x="264" y="712"/>
                </a:lnTo>
                <a:lnTo>
                  <a:pt x="264" y="712"/>
                </a:lnTo>
                <a:lnTo>
                  <a:pt x="260" y="712"/>
                </a:lnTo>
                <a:lnTo>
                  <a:pt x="262" y="708"/>
                </a:lnTo>
                <a:lnTo>
                  <a:pt x="264" y="704"/>
                </a:lnTo>
                <a:lnTo>
                  <a:pt x="264" y="704"/>
                </a:lnTo>
                <a:lnTo>
                  <a:pt x="270" y="702"/>
                </a:lnTo>
                <a:lnTo>
                  <a:pt x="274" y="702"/>
                </a:lnTo>
                <a:lnTo>
                  <a:pt x="276" y="700"/>
                </a:lnTo>
                <a:lnTo>
                  <a:pt x="276" y="700"/>
                </a:lnTo>
                <a:lnTo>
                  <a:pt x="278" y="690"/>
                </a:lnTo>
                <a:lnTo>
                  <a:pt x="278" y="690"/>
                </a:lnTo>
                <a:lnTo>
                  <a:pt x="278" y="686"/>
                </a:lnTo>
                <a:lnTo>
                  <a:pt x="276" y="684"/>
                </a:lnTo>
                <a:lnTo>
                  <a:pt x="276" y="684"/>
                </a:lnTo>
                <a:lnTo>
                  <a:pt x="276" y="680"/>
                </a:lnTo>
                <a:lnTo>
                  <a:pt x="276" y="678"/>
                </a:lnTo>
                <a:lnTo>
                  <a:pt x="276" y="676"/>
                </a:lnTo>
                <a:lnTo>
                  <a:pt x="274" y="674"/>
                </a:lnTo>
                <a:lnTo>
                  <a:pt x="274" y="674"/>
                </a:lnTo>
                <a:lnTo>
                  <a:pt x="272" y="672"/>
                </a:lnTo>
                <a:lnTo>
                  <a:pt x="274" y="672"/>
                </a:lnTo>
                <a:lnTo>
                  <a:pt x="276" y="668"/>
                </a:lnTo>
                <a:lnTo>
                  <a:pt x="276" y="668"/>
                </a:lnTo>
                <a:lnTo>
                  <a:pt x="276" y="666"/>
                </a:lnTo>
                <a:lnTo>
                  <a:pt x="274" y="666"/>
                </a:lnTo>
                <a:lnTo>
                  <a:pt x="270" y="664"/>
                </a:lnTo>
                <a:lnTo>
                  <a:pt x="270" y="664"/>
                </a:lnTo>
                <a:lnTo>
                  <a:pt x="270" y="662"/>
                </a:lnTo>
                <a:lnTo>
                  <a:pt x="270" y="662"/>
                </a:lnTo>
                <a:lnTo>
                  <a:pt x="272" y="660"/>
                </a:lnTo>
                <a:lnTo>
                  <a:pt x="270" y="656"/>
                </a:lnTo>
                <a:lnTo>
                  <a:pt x="270" y="656"/>
                </a:lnTo>
                <a:lnTo>
                  <a:pt x="252" y="650"/>
                </a:lnTo>
                <a:lnTo>
                  <a:pt x="252" y="650"/>
                </a:lnTo>
                <a:lnTo>
                  <a:pt x="248" y="648"/>
                </a:lnTo>
                <a:lnTo>
                  <a:pt x="244" y="646"/>
                </a:lnTo>
                <a:lnTo>
                  <a:pt x="244" y="646"/>
                </a:lnTo>
                <a:lnTo>
                  <a:pt x="242" y="644"/>
                </a:lnTo>
                <a:lnTo>
                  <a:pt x="242" y="642"/>
                </a:lnTo>
                <a:lnTo>
                  <a:pt x="242" y="642"/>
                </a:lnTo>
                <a:lnTo>
                  <a:pt x="238" y="640"/>
                </a:lnTo>
                <a:lnTo>
                  <a:pt x="234" y="640"/>
                </a:lnTo>
                <a:lnTo>
                  <a:pt x="234" y="640"/>
                </a:lnTo>
                <a:lnTo>
                  <a:pt x="230" y="642"/>
                </a:lnTo>
                <a:lnTo>
                  <a:pt x="230" y="642"/>
                </a:lnTo>
                <a:lnTo>
                  <a:pt x="222" y="646"/>
                </a:lnTo>
                <a:lnTo>
                  <a:pt x="222" y="646"/>
                </a:lnTo>
                <a:lnTo>
                  <a:pt x="220" y="642"/>
                </a:lnTo>
                <a:lnTo>
                  <a:pt x="220" y="638"/>
                </a:lnTo>
                <a:lnTo>
                  <a:pt x="218" y="636"/>
                </a:lnTo>
                <a:lnTo>
                  <a:pt x="218" y="636"/>
                </a:lnTo>
                <a:lnTo>
                  <a:pt x="212" y="634"/>
                </a:lnTo>
                <a:lnTo>
                  <a:pt x="212" y="634"/>
                </a:lnTo>
                <a:lnTo>
                  <a:pt x="210" y="630"/>
                </a:lnTo>
                <a:lnTo>
                  <a:pt x="210" y="628"/>
                </a:lnTo>
                <a:lnTo>
                  <a:pt x="208" y="628"/>
                </a:lnTo>
                <a:lnTo>
                  <a:pt x="208" y="628"/>
                </a:lnTo>
                <a:lnTo>
                  <a:pt x="204" y="630"/>
                </a:lnTo>
                <a:lnTo>
                  <a:pt x="198" y="626"/>
                </a:lnTo>
                <a:lnTo>
                  <a:pt x="198" y="626"/>
                </a:lnTo>
                <a:lnTo>
                  <a:pt x="194" y="626"/>
                </a:lnTo>
                <a:lnTo>
                  <a:pt x="190" y="626"/>
                </a:lnTo>
                <a:lnTo>
                  <a:pt x="190" y="626"/>
                </a:lnTo>
                <a:lnTo>
                  <a:pt x="188" y="626"/>
                </a:lnTo>
                <a:lnTo>
                  <a:pt x="186" y="624"/>
                </a:lnTo>
                <a:lnTo>
                  <a:pt x="186" y="622"/>
                </a:lnTo>
                <a:lnTo>
                  <a:pt x="186" y="620"/>
                </a:lnTo>
                <a:lnTo>
                  <a:pt x="186" y="620"/>
                </a:lnTo>
                <a:lnTo>
                  <a:pt x="184" y="620"/>
                </a:lnTo>
                <a:lnTo>
                  <a:pt x="184" y="618"/>
                </a:lnTo>
                <a:lnTo>
                  <a:pt x="182" y="614"/>
                </a:lnTo>
                <a:lnTo>
                  <a:pt x="182" y="614"/>
                </a:lnTo>
                <a:lnTo>
                  <a:pt x="182" y="612"/>
                </a:lnTo>
                <a:lnTo>
                  <a:pt x="180" y="608"/>
                </a:lnTo>
                <a:lnTo>
                  <a:pt x="180" y="608"/>
                </a:lnTo>
                <a:lnTo>
                  <a:pt x="180" y="606"/>
                </a:lnTo>
                <a:lnTo>
                  <a:pt x="178" y="606"/>
                </a:lnTo>
                <a:lnTo>
                  <a:pt x="174" y="606"/>
                </a:lnTo>
                <a:lnTo>
                  <a:pt x="174" y="606"/>
                </a:lnTo>
                <a:lnTo>
                  <a:pt x="170" y="604"/>
                </a:lnTo>
                <a:lnTo>
                  <a:pt x="170" y="604"/>
                </a:lnTo>
                <a:lnTo>
                  <a:pt x="168" y="606"/>
                </a:lnTo>
                <a:lnTo>
                  <a:pt x="168" y="606"/>
                </a:lnTo>
                <a:lnTo>
                  <a:pt x="166" y="608"/>
                </a:lnTo>
                <a:lnTo>
                  <a:pt x="162" y="608"/>
                </a:lnTo>
                <a:lnTo>
                  <a:pt x="160" y="604"/>
                </a:lnTo>
                <a:lnTo>
                  <a:pt x="160" y="588"/>
                </a:lnTo>
                <a:lnTo>
                  <a:pt x="160" y="588"/>
                </a:lnTo>
                <a:lnTo>
                  <a:pt x="158" y="586"/>
                </a:lnTo>
                <a:lnTo>
                  <a:pt x="156" y="584"/>
                </a:lnTo>
                <a:lnTo>
                  <a:pt x="154" y="584"/>
                </a:lnTo>
                <a:lnTo>
                  <a:pt x="154" y="580"/>
                </a:lnTo>
                <a:lnTo>
                  <a:pt x="154" y="580"/>
                </a:lnTo>
                <a:lnTo>
                  <a:pt x="156" y="578"/>
                </a:lnTo>
                <a:lnTo>
                  <a:pt x="158" y="578"/>
                </a:lnTo>
                <a:lnTo>
                  <a:pt x="162" y="580"/>
                </a:lnTo>
                <a:lnTo>
                  <a:pt x="164" y="580"/>
                </a:lnTo>
                <a:lnTo>
                  <a:pt x="164" y="580"/>
                </a:lnTo>
                <a:lnTo>
                  <a:pt x="166" y="578"/>
                </a:lnTo>
                <a:lnTo>
                  <a:pt x="166" y="576"/>
                </a:lnTo>
                <a:lnTo>
                  <a:pt x="164" y="570"/>
                </a:lnTo>
                <a:lnTo>
                  <a:pt x="164" y="570"/>
                </a:lnTo>
                <a:lnTo>
                  <a:pt x="160" y="566"/>
                </a:lnTo>
                <a:lnTo>
                  <a:pt x="156" y="562"/>
                </a:lnTo>
                <a:lnTo>
                  <a:pt x="156" y="562"/>
                </a:lnTo>
                <a:lnTo>
                  <a:pt x="154" y="560"/>
                </a:lnTo>
                <a:lnTo>
                  <a:pt x="154" y="558"/>
                </a:lnTo>
                <a:lnTo>
                  <a:pt x="154" y="550"/>
                </a:lnTo>
                <a:lnTo>
                  <a:pt x="154" y="550"/>
                </a:lnTo>
                <a:lnTo>
                  <a:pt x="152" y="544"/>
                </a:lnTo>
                <a:lnTo>
                  <a:pt x="150" y="540"/>
                </a:lnTo>
                <a:lnTo>
                  <a:pt x="150" y="540"/>
                </a:lnTo>
                <a:lnTo>
                  <a:pt x="150" y="536"/>
                </a:lnTo>
                <a:lnTo>
                  <a:pt x="148" y="536"/>
                </a:lnTo>
                <a:lnTo>
                  <a:pt x="146" y="534"/>
                </a:lnTo>
                <a:lnTo>
                  <a:pt x="146" y="532"/>
                </a:lnTo>
                <a:lnTo>
                  <a:pt x="146" y="532"/>
                </a:lnTo>
                <a:lnTo>
                  <a:pt x="144" y="530"/>
                </a:lnTo>
                <a:lnTo>
                  <a:pt x="142" y="530"/>
                </a:lnTo>
                <a:lnTo>
                  <a:pt x="138" y="528"/>
                </a:lnTo>
                <a:lnTo>
                  <a:pt x="138" y="528"/>
                </a:lnTo>
                <a:lnTo>
                  <a:pt x="132" y="526"/>
                </a:lnTo>
                <a:lnTo>
                  <a:pt x="132" y="526"/>
                </a:lnTo>
                <a:lnTo>
                  <a:pt x="130" y="526"/>
                </a:lnTo>
                <a:lnTo>
                  <a:pt x="126" y="528"/>
                </a:lnTo>
                <a:lnTo>
                  <a:pt x="126" y="528"/>
                </a:lnTo>
                <a:lnTo>
                  <a:pt x="124" y="528"/>
                </a:lnTo>
                <a:lnTo>
                  <a:pt x="124" y="526"/>
                </a:lnTo>
                <a:lnTo>
                  <a:pt x="122" y="524"/>
                </a:lnTo>
                <a:lnTo>
                  <a:pt x="122" y="524"/>
                </a:lnTo>
                <a:lnTo>
                  <a:pt x="120" y="518"/>
                </a:lnTo>
                <a:lnTo>
                  <a:pt x="120" y="518"/>
                </a:lnTo>
                <a:lnTo>
                  <a:pt x="116" y="512"/>
                </a:lnTo>
                <a:lnTo>
                  <a:pt x="116" y="512"/>
                </a:lnTo>
                <a:lnTo>
                  <a:pt x="114" y="510"/>
                </a:lnTo>
                <a:lnTo>
                  <a:pt x="112" y="510"/>
                </a:lnTo>
                <a:lnTo>
                  <a:pt x="112" y="510"/>
                </a:lnTo>
                <a:lnTo>
                  <a:pt x="110" y="508"/>
                </a:lnTo>
                <a:lnTo>
                  <a:pt x="110" y="508"/>
                </a:lnTo>
                <a:lnTo>
                  <a:pt x="110" y="498"/>
                </a:lnTo>
                <a:lnTo>
                  <a:pt x="110" y="498"/>
                </a:lnTo>
                <a:lnTo>
                  <a:pt x="106" y="500"/>
                </a:lnTo>
                <a:lnTo>
                  <a:pt x="104" y="500"/>
                </a:lnTo>
                <a:lnTo>
                  <a:pt x="102" y="498"/>
                </a:lnTo>
                <a:lnTo>
                  <a:pt x="102" y="498"/>
                </a:lnTo>
                <a:lnTo>
                  <a:pt x="102" y="494"/>
                </a:lnTo>
                <a:lnTo>
                  <a:pt x="100" y="494"/>
                </a:lnTo>
                <a:lnTo>
                  <a:pt x="100" y="494"/>
                </a:lnTo>
                <a:lnTo>
                  <a:pt x="102" y="490"/>
                </a:lnTo>
                <a:lnTo>
                  <a:pt x="102" y="486"/>
                </a:lnTo>
                <a:lnTo>
                  <a:pt x="104" y="486"/>
                </a:lnTo>
                <a:lnTo>
                  <a:pt x="104" y="486"/>
                </a:lnTo>
                <a:lnTo>
                  <a:pt x="108" y="482"/>
                </a:lnTo>
                <a:lnTo>
                  <a:pt x="110" y="480"/>
                </a:lnTo>
                <a:lnTo>
                  <a:pt x="110" y="480"/>
                </a:lnTo>
                <a:lnTo>
                  <a:pt x="112" y="480"/>
                </a:lnTo>
                <a:lnTo>
                  <a:pt x="112" y="480"/>
                </a:lnTo>
                <a:lnTo>
                  <a:pt x="114" y="470"/>
                </a:lnTo>
                <a:lnTo>
                  <a:pt x="112" y="462"/>
                </a:lnTo>
                <a:lnTo>
                  <a:pt x="116" y="460"/>
                </a:lnTo>
                <a:lnTo>
                  <a:pt x="116" y="460"/>
                </a:lnTo>
                <a:lnTo>
                  <a:pt x="116" y="458"/>
                </a:lnTo>
                <a:lnTo>
                  <a:pt x="118" y="456"/>
                </a:lnTo>
                <a:lnTo>
                  <a:pt x="118" y="456"/>
                </a:lnTo>
                <a:lnTo>
                  <a:pt x="116" y="452"/>
                </a:lnTo>
                <a:lnTo>
                  <a:pt x="114" y="450"/>
                </a:lnTo>
                <a:lnTo>
                  <a:pt x="114" y="450"/>
                </a:lnTo>
                <a:lnTo>
                  <a:pt x="118" y="440"/>
                </a:lnTo>
                <a:lnTo>
                  <a:pt x="118" y="440"/>
                </a:lnTo>
                <a:lnTo>
                  <a:pt x="120" y="442"/>
                </a:lnTo>
                <a:lnTo>
                  <a:pt x="120" y="442"/>
                </a:lnTo>
                <a:lnTo>
                  <a:pt x="120" y="442"/>
                </a:lnTo>
                <a:lnTo>
                  <a:pt x="122" y="440"/>
                </a:lnTo>
                <a:lnTo>
                  <a:pt x="122" y="440"/>
                </a:lnTo>
                <a:lnTo>
                  <a:pt x="126" y="442"/>
                </a:lnTo>
                <a:lnTo>
                  <a:pt x="130" y="442"/>
                </a:lnTo>
                <a:lnTo>
                  <a:pt x="130" y="442"/>
                </a:lnTo>
                <a:lnTo>
                  <a:pt x="132" y="440"/>
                </a:lnTo>
                <a:lnTo>
                  <a:pt x="136" y="436"/>
                </a:lnTo>
                <a:lnTo>
                  <a:pt x="136" y="436"/>
                </a:lnTo>
                <a:lnTo>
                  <a:pt x="140" y="438"/>
                </a:lnTo>
                <a:lnTo>
                  <a:pt x="142" y="438"/>
                </a:lnTo>
                <a:lnTo>
                  <a:pt x="142" y="438"/>
                </a:lnTo>
                <a:lnTo>
                  <a:pt x="146" y="438"/>
                </a:lnTo>
                <a:lnTo>
                  <a:pt x="148" y="436"/>
                </a:lnTo>
                <a:lnTo>
                  <a:pt x="148" y="436"/>
                </a:lnTo>
                <a:lnTo>
                  <a:pt x="144" y="436"/>
                </a:lnTo>
                <a:lnTo>
                  <a:pt x="144" y="436"/>
                </a:lnTo>
                <a:lnTo>
                  <a:pt x="142" y="432"/>
                </a:lnTo>
                <a:lnTo>
                  <a:pt x="138" y="428"/>
                </a:lnTo>
                <a:lnTo>
                  <a:pt x="138" y="428"/>
                </a:lnTo>
                <a:lnTo>
                  <a:pt x="128" y="430"/>
                </a:lnTo>
                <a:lnTo>
                  <a:pt x="128" y="430"/>
                </a:lnTo>
                <a:lnTo>
                  <a:pt x="116" y="420"/>
                </a:lnTo>
                <a:lnTo>
                  <a:pt x="116" y="420"/>
                </a:lnTo>
                <a:lnTo>
                  <a:pt x="118" y="418"/>
                </a:lnTo>
                <a:lnTo>
                  <a:pt x="118" y="418"/>
                </a:lnTo>
                <a:lnTo>
                  <a:pt x="118" y="418"/>
                </a:lnTo>
                <a:lnTo>
                  <a:pt x="118" y="416"/>
                </a:lnTo>
                <a:lnTo>
                  <a:pt x="118" y="416"/>
                </a:lnTo>
                <a:lnTo>
                  <a:pt x="110" y="420"/>
                </a:lnTo>
                <a:lnTo>
                  <a:pt x="110" y="420"/>
                </a:lnTo>
                <a:lnTo>
                  <a:pt x="110" y="420"/>
                </a:lnTo>
                <a:lnTo>
                  <a:pt x="108" y="420"/>
                </a:lnTo>
                <a:lnTo>
                  <a:pt x="108" y="420"/>
                </a:lnTo>
                <a:lnTo>
                  <a:pt x="116" y="414"/>
                </a:lnTo>
                <a:lnTo>
                  <a:pt x="116" y="414"/>
                </a:lnTo>
                <a:lnTo>
                  <a:pt x="140" y="398"/>
                </a:lnTo>
                <a:lnTo>
                  <a:pt x="156" y="388"/>
                </a:lnTo>
                <a:lnTo>
                  <a:pt x="162" y="382"/>
                </a:lnTo>
                <a:lnTo>
                  <a:pt x="162" y="382"/>
                </a:lnTo>
                <a:lnTo>
                  <a:pt x="162" y="378"/>
                </a:lnTo>
                <a:lnTo>
                  <a:pt x="160" y="372"/>
                </a:lnTo>
                <a:lnTo>
                  <a:pt x="160" y="372"/>
                </a:lnTo>
                <a:lnTo>
                  <a:pt x="160" y="370"/>
                </a:lnTo>
                <a:lnTo>
                  <a:pt x="158" y="370"/>
                </a:lnTo>
                <a:lnTo>
                  <a:pt x="152" y="368"/>
                </a:lnTo>
                <a:lnTo>
                  <a:pt x="152" y="368"/>
                </a:lnTo>
                <a:lnTo>
                  <a:pt x="150" y="366"/>
                </a:lnTo>
                <a:lnTo>
                  <a:pt x="150" y="364"/>
                </a:lnTo>
                <a:lnTo>
                  <a:pt x="150" y="358"/>
                </a:lnTo>
                <a:lnTo>
                  <a:pt x="150" y="358"/>
                </a:lnTo>
                <a:lnTo>
                  <a:pt x="150" y="354"/>
                </a:lnTo>
                <a:lnTo>
                  <a:pt x="154" y="350"/>
                </a:lnTo>
                <a:lnTo>
                  <a:pt x="154" y="350"/>
                </a:lnTo>
                <a:lnTo>
                  <a:pt x="154" y="348"/>
                </a:lnTo>
                <a:lnTo>
                  <a:pt x="154" y="346"/>
                </a:lnTo>
                <a:lnTo>
                  <a:pt x="152" y="340"/>
                </a:lnTo>
                <a:lnTo>
                  <a:pt x="152" y="340"/>
                </a:lnTo>
                <a:lnTo>
                  <a:pt x="150" y="336"/>
                </a:lnTo>
                <a:lnTo>
                  <a:pt x="148" y="334"/>
                </a:lnTo>
                <a:lnTo>
                  <a:pt x="148" y="334"/>
                </a:lnTo>
                <a:lnTo>
                  <a:pt x="144" y="330"/>
                </a:lnTo>
                <a:lnTo>
                  <a:pt x="144" y="326"/>
                </a:lnTo>
                <a:lnTo>
                  <a:pt x="144" y="326"/>
                </a:lnTo>
                <a:lnTo>
                  <a:pt x="142" y="318"/>
                </a:lnTo>
                <a:lnTo>
                  <a:pt x="142" y="318"/>
                </a:lnTo>
                <a:lnTo>
                  <a:pt x="142" y="314"/>
                </a:lnTo>
                <a:lnTo>
                  <a:pt x="142" y="310"/>
                </a:lnTo>
                <a:lnTo>
                  <a:pt x="142" y="310"/>
                </a:lnTo>
                <a:lnTo>
                  <a:pt x="144" y="308"/>
                </a:lnTo>
                <a:lnTo>
                  <a:pt x="142" y="306"/>
                </a:lnTo>
                <a:lnTo>
                  <a:pt x="142" y="302"/>
                </a:lnTo>
                <a:lnTo>
                  <a:pt x="142" y="302"/>
                </a:lnTo>
                <a:lnTo>
                  <a:pt x="142" y="298"/>
                </a:lnTo>
                <a:lnTo>
                  <a:pt x="140" y="294"/>
                </a:lnTo>
                <a:lnTo>
                  <a:pt x="140" y="294"/>
                </a:lnTo>
                <a:lnTo>
                  <a:pt x="134" y="268"/>
                </a:lnTo>
                <a:lnTo>
                  <a:pt x="134" y="268"/>
                </a:lnTo>
                <a:lnTo>
                  <a:pt x="134" y="266"/>
                </a:lnTo>
                <a:lnTo>
                  <a:pt x="136" y="262"/>
                </a:lnTo>
                <a:lnTo>
                  <a:pt x="142" y="256"/>
                </a:lnTo>
                <a:lnTo>
                  <a:pt x="142" y="256"/>
                </a:lnTo>
                <a:lnTo>
                  <a:pt x="142" y="252"/>
                </a:lnTo>
                <a:lnTo>
                  <a:pt x="140" y="248"/>
                </a:lnTo>
                <a:lnTo>
                  <a:pt x="138" y="244"/>
                </a:lnTo>
                <a:lnTo>
                  <a:pt x="138" y="244"/>
                </a:lnTo>
                <a:lnTo>
                  <a:pt x="136" y="246"/>
                </a:lnTo>
                <a:lnTo>
                  <a:pt x="134" y="244"/>
                </a:lnTo>
                <a:lnTo>
                  <a:pt x="134" y="244"/>
                </a:lnTo>
                <a:lnTo>
                  <a:pt x="132" y="240"/>
                </a:lnTo>
                <a:lnTo>
                  <a:pt x="132" y="234"/>
                </a:lnTo>
                <a:lnTo>
                  <a:pt x="134" y="226"/>
                </a:lnTo>
                <a:lnTo>
                  <a:pt x="138" y="222"/>
                </a:lnTo>
                <a:lnTo>
                  <a:pt x="138" y="224"/>
                </a:lnTo>
                <a:lnTo>
                  <a:pt x="138" y="224"/>
                </a:lnTo>
                <a:lnTo>
                  <a:pt x="140" y="226"/>
                </a:lnTo>
                <a:lnTo>
                  <a:pt x="140" y="226"/>
                </a:lnTo>
                <a:lnTo>
                  <a:pt x="142" y="226"/>
                </a:lnTo>
                <a:lnTo>
                  <a:pt x="142" y="226"/>
                </a:lnTo>
                <a:lnTo>
                  <a:pt x="144" y="220"/>
                </a:lnTo>
                <a:lnTo>
                  <a:pt x="144" y="216"/>
                </a:lnTo>
                <a:lnTo>
                  <a:pt x="144" y="216"/>
                </a:lnTo>
                <a:lnTo>
                  <a:pt x="144" y="210"/>
                </a:lnTo>
                <a:lnTo>
                  <a:pt x="142" y="208"/>
                </a:lnTo>
                <a:lnTo>
                  <a:pt x="142" y="208"/>
                </a:lnTo>
                <a:lnTo>
                  <a:pt x="144" y="208"/>
                </a:lnTo>
                <a:lnTo>
                  <a:pt x="146" y="208"/>
                </a:lnTo>
                <a:lnTo>
                  <a:pt x="146" y="208"/>
                </a:lnTo>
                <a:lnTo>
                  <a:pt x="146" y="208"/>
                </a:lnTo>
                <a:lnTo>
                  <a:pt x="148" y="206"/>
                </a:lnTo>
                <a:lnTo>
                  <a:pt x="152" y="204"/>
                </a:lnTo>
                <a:lnTo>
                  <a:pt x="156" y="202"/>
                </a:lnTo>
                <a:lnTo>
                  <a:pt x="156" y="202"/>
                </a:lnTo>
                <a:lnTo>
                  <a:pt x="160" y="202"/>
                </a:lnTo>
                <a:lnTo>
                  <a:pt x="160" y="202"/>
                </a:lnTo>
                <a:lnTo>
                  <a:pt x="162" y="204"/>
                </a:lnTo>
                <a:lnTo>
                  <a:pt x="164" y="206"/>
                </a:lnTo>
                <a:lnTo>
                  <a:pt x="164" y="202"/>
                </a:lnTo>
                <a:lnTo>
                  <a:pt x="164" y="202"/>
                </a:lnTo>
                <a:lnTo>
                  <a:pt x="168" y="202"/>
                </a:lnTo>
                <a:lnTo>
                  <a:pt x="168" y="202"/>
                </a:lnTo>
                <a:lnTo>
                  <a:pt x="168" y="200"/>
                </a:lnTo>
                <a:lnTo>
                  <a:pt x="168" y="200"/>
                </a:lnTo>
                <a:lnTo>
                  <a:pt x="170" y="200"/>
                </a:lnTo>
                <a:lnTo>
                  <a:pt x="170" y="200"/>
                </a:lnTo>
                <a:lnTo>
                  <a:pt x="180" y="206"/>
                </a:lnTo>
                <a:lnTo>
                  <a:pt x="180" y="206"/>
                </a:lnTo>
                <a:lnTo>
                  <a:pt x="172" y="210"/>
                </a:lnTo>
                <a:lnTo>
                  <a:pt x="172" y="210"/>
                </a:lnTo>
                <a:lnTo>
                  <a:pt x="172" y="212"/>
                </a:lnTo>
                <a:lnTo>
                  <a:pt x="172" y="212"/>
                </a:lnTo>
                <a:lnTo>
                  <a:pt x="178" y="214"/>
                </a:lnTo>
                <a:lnTo>
                  <a:pt x="182" y="214"/>
                </a:lnTo>
                <a:lnTo>
                  <a:pt x="182" y="214"/>
                </a:lnTo>
                <a:lnTo>
                  <a:pt x="186" y="214"/>
                </a:lnTo>
                <a:lnTo>
                  <a:pt x="186" y="214"/>
                </a:lnTo>
                <a:lnTo>
                  <a:pt x="188" y="214"/>
                </a:lnTo>
                <a:lnTo>
                  <a:pt x="190" y="214"/>
                </a:lnTo>
                <a:lnTo>
                  <a:pt x="190" y="214"/>
                </a:lnTo>
                <a:lnTo>
                  <a:pt x="190" y="216"/>
                </a:lnTo>
                <a:lnTo>
                  <a:pt x="190" y="216"/>
                </a:lnTo>
                <a:lnTo>
                  <a:pt x="196" y="216"/>
                </a:lnTo>
                <a:lnTo>
                  <a:pt x="204" y="218"/>
                </a:lnTo>
                <a:lnTo>
                  <a:pt x="204" y="218"/>
                </a:lnTo>
                <a:lnTo>
                  <a:pt x="208" y="222"/>
                </a:lnTo>
                <a:lnTo>
                  <a:pt x="208" y="222"/>
                </a:lnTo>
                <a:lnTo>
                  <a:pt x="210" y="222"/>
                </a:lnTo>
                <a:lnTo>
                  <a:pt x="214" y="222"/>
                </a:lnTo>
                <a:lnTo>
                  <a:pt x="214" y="222"/>
                </a:lnTo>
                <a:lnTo>
                  <a:pt x="216" y="224"/>
                </a:lnTo>
                <a:lnTo>
                  <a:pt x="218" y="226"/>
                </a:lnTo>
                <a:lnTo>
                  <a:pt x="218" y="226"/>
                </a:lnTo>
                <a:lnTo>
                  <a:pt x="220" y="226"/>
                </a:lnTo>
                <a:lnTo>
                  <a:pt x="222" y="226"/>
                </a:lnTo>
                <a:lnTo>
                  <a:pt x="222" y="226"/>
                </a:lnTo>
                <a:lnTo>
                  <a:pt x="226" y="228"/>
                </a:lnTo>
                <a:lnTo>
                  <a:pt x="232" y="230"/>
                </a:lnTo>
                <a:lnTo>
                  <a:pt x="232" y="230"/>
                </a:lnTo>
                <a:lnTo>
                  <a:pt x="238" y="232"/>
                </a:lnTo>
                <a:lnTo>
                  <a:pt x="238" y="232"/>
                </a:lnTo>
                <a:lnTo>
                  <a:pt x="242" y="236"/>
                </a:lnTo>
                <a:lnTo>
                  <a:pt x="242" y="236"/>
                </a:lnTo>
                <a:lnTo>
                  <a:pt x="248" y="236"/>
                </a:lnTo>
                <a:lnTo>
                  <a:pt x="248" y="236"/>
                </a:lnTo>
                <a:lnTo>
                  <a:pt x="256" y="242"/>
                </a:lnTo>
                <a:lnTo>
                  <a:pt x="262" y="250"/>
                </a:lnTo>
                <a:lnTo>
                  <a:pt x="262" y="250"/>
                </a:lnTo>
                <a:lnTo>
                  <a:pt x="266" y="248"/>
                </a:lnTo>
                <a:lnTo>
                  <a:pt x="266" y="248"/>
                </a:lnTo>
                <a:lnTo>
                  <a:pt x="268" y="250"/>
                </a:lnTo>
                <a:lnTo>
                  <a:pt x="270" y="254"/>
                </a:lnTo>
                <a:lnTo>
                  <a:pt x="270" y="254"/>
                </a:lnTo>
                <a:lnTo>
                  <a:pt x="276" y="254"/>
                </a:lnTo>
                <a:lnTo>
                  <a:pt x="286" y="264"/>
                </a:lnTo>
                <a:lnTo>
                  <a:pt x="286" y="264"/>
                </a:lnTo>
                <a:lnTo>
                  <a:pt x="288" y="270"/>
                </a:lnTo>
                <a:lnTo>
                  <a:pt x="288" y="274"/>
                </a:lnTo>
                <a:lnTo>
                  <a:pt x="286" y="280"/>
                </a:lnTo>
                <a:lnTo>
                  <a:pt x="284" y="282"/>
                </a:lnTo>
                <a:lnTo>
                  <a:pt x="284" y="282"/>
                </a:lnTo>
                <a:lnTo>
                  <a:pt x="282" y="284"/>
                </a:lnTo>
                <a:lnTo>
                  <a:pt x="280" y="286"/>
                </a:lnTo>
                <a:lnTo>
                  <a:pt x="280" y="286"/>
                </a:lnTo>
                <a:lnTo>
                  <a:pt x="280" y="288"/>
                </a:lnTo>
                <a:lnTo>
                  <a:pt x="278" y="288"/>
                </a:lnTo>
                <a:lnTo>
                  <a:pt x="276" y="288"/>
                </a:lnTo>
                <a:lnTo>
                  <a:pt x="276" y="288"/>
                </a:lnTo>
                <a:lnTo>
                  <a:pt x="272" y="294"/>
                </a:lnTo>
                <a:lnTo>
                  <a:pt x="272" y="294"/>
                </a:lnTo>
                <a:lnTo>
                  <a:pt x="266" y="296"/>
                </a:lnTo>
                <a:lnTo>
                  <a:pt x="266" y="296"/>
                </a:lnTo>
                <a:lnTo>
                  <a:pt x="262" y="298"/>
                </a:lnTo>
                <a:lnTo>
                  <a:pt x="262" y="298"/>
                </a:lnTo>
                <a:lnTo>
                  <a:pt x="258" y="298"/>
                </a:lnTo>
                <a:lnTo>
                  <a:pt x="256" y="298"/>
                </a:lnTo>
                <a:lnTo>
                  <a:pt x="256" y="298"/>
                </a:lnTo>
                <a:lnTo>
                  <a:pt x="244" y="296"/>
                </a:lnTo>
                <a:lnTo>
                  <a:pt x="232" y="296"/>
                </a:lnTo>
                <a:lnTo>
                  <a:pt x="232" y="296"/>
                </a:lnTo>
                <a:lnTo>
                  <a:pt x="226" y="292"/>
                </a:lnTo>
                <a:lnTo>
                  <a:pt x="226" y="292"/>
                </a:lnTo>
                <a:lnTo>
                  <a:pt x="218" y="292"/>
                </a:lnTo>
                <a:lnTo>
                  <a:pt x="216" y="290"/>
                </a:lnTo>
                <a:lnTo>
                  <a:pt x="216" y="290"/>
                </a:lnTo>
                <a:lnTo>
                  <a:pt x="212" y="288"/>
                </a:lnTo>
                <a:lnTo>
                  <a:pt x="208" y="288"/>
                </a:lnTo>
                <a:lnTo>
                  <a:pt x="208" y="288"/>
                </a:lnTo>
                <a:lnTo>
                  <a:pt x="204" y="280"/>
                </a:lnTo>
                <a:lnTo>
                  <a:pt x="202" y="282"/>
                </a:lnTo>
                <a:lnTo>
                  <a:pt x="202" y="282"/>
                </a:lnTo>
                <a:lnTo>
                  <a:pt x="202" y="286"/>
                </a:lnTo>
                <a:lnTo>
                  <a:pt x="200" y="286"/>
                </a:lnTo>
                <a:lnTo>
                  <a:pt x="200" y="286"/>
                </a:lnTo>
                <a:lnTo>
                  <a:pt x="200" y="284"/>
                </a:lnTo>
                <a:lnTo>
                  <a:pt x="200" y="284"/>
                </a:lnTo>
                <a:lnTo>
                  <a:pt x="194" y="282"/>
                </a:lnTo>
                <a:lnTo>
                  <a:pt x="194" y="282"/>
                </a:lnTo>
                <a:lnTo>
                  <a:pt x="192" y="278"/>
                </a:lnTo>
                <a:lnTo>
                  <a:pt x="192" y="278"/>
                </a:lnTo>
                <a:lnTo>
                  <a:pt x="188" y="278"/>
                </a:lnTo>
                <a:lnTo>
                  <a:pt x="182" y="278"/>
                </a:lnTo>
                <a:lnTo>
                  <a:pt x="182" y="278"/>
                </a:lnTo>
                <a:lnTo>
                  <a:pt x="180" y="274"/>
                </a:lnTo>
                <a:lnTo>
                  <a:pt x="178" y="270"/>
                </a:lnTo>
                <a:lnTo>
                  <a:pt x="178" y="270"/>
                </a:lnTo>
                <a:lnTo>
                  <a:pt x="172" y="268"/>
                </a:lnTo>
                <a:lnTo>
                  <a:pt x="172" y="268"/>
                </a:lnTo>
                <a:lnTo>
                  <a:pt x="170" y="270"/>
                </a:lnTo>
                <a:lnTo>
                  <a:pt x="172" y="270"/>
                </a:lnTo>
                <a:lnTo>
                  <a:pt x="172" y="270"/>
                </a:lnTo>
                <a:lnTo>
                  <a:pt x="176" y="278"/>
                </a:lnTo>
                <a:lnTo>
                  <a:pt x="178" y="280"/>
                </a:lnTo>
                <a:lnTo>
                  <a:pt x="176" y="282"/>
                </a:lnTo>
                <a:lnTo>
                  <a:pt x="176" y="282"/>
                </a:lnTo>
                <a:lnTo>
                  <a:pt x="182" y="282"/>
                </a:lnTo>
                <a:lnTo>
                  <a:pt x="184" y="284"/>
                </a:lnTo>
                <a:lnTo>
                  <a:pt x="180" y="286"/>
                </a:lnTo>
                <a:lnTo>
                  <a:pt x="180" y="288"/>
                </a:lnTo>
                <a:lnTo>
                  <a:pt x="180" y="288"/>
                </a:lnTo>
                <a:lnTo>
                  <a:pt x="182" y="290"/>
                </a:lnTo>
                <a:lnTo>
                  <a:pt x="182" y="292"/>
                </a:lnTo>
                <a:lnTo>
                  <a:pt x="182" y="292"/>
                </a:lnTo>
                <a:lnTo>
                  <a:pt x="186" y="292"/>
                </a:lnTo>
                <a:lnTo>
                  <a:pt x="188" y="290"/>
                </a:lnTo>
                <a:lnTo>
                  <a:pt x="188" y="294"/>
                </a:lnTo>
                <a:lnTo>
                  <a:pt x="188" y="294"/>
                </a:lnTo>
                <a:lnTo>
                  <a:pt x="182" y="294"/>
                </a:lnTo>
                <a:lnTo>
                  <a:pt x="182" y="294"/>
                </a:lnTo>
                <a:lnTo>
                  <a:pt x="186" y="296"/>
                </a:lnTo>
                <a:lnTo>
                  <a:pt x="186" y="296"/>
                </a:lnTo>
                <a:lnTo>
                  <a:pt x="196" y="298"/>
                </a:lnTo>
                <a:lnTo>
                  <a:pt x="198" y="300"/>
                </a:lnTo>
                <a:lnTo>
                  <a:pt x="198" y="300"/>
                </a:lnTo>
                <a:lnTo>
                  <a:pt x="202" y="300"/>
                </a:lnTo>
                <a:lnTo>
                  <a:pt x="206" y="300"/>
                </a:lnTo>
                <a:lnTo>
                  <a:pt x="206" y="300"/>
                </a:lnTo>
                <a:lnTo>
                  <a:pt x="206" y="304"/>
                </a:lnTo>
                <a:lnTo>
                  <a:pt x="208" y="306"/>
                </a:lnTo>
                <a:lnTo>
                  <a:pt x="208" y="306"/>
                </a:lnTo>
                <a:lnTo>
                  <a:pt x="212" y="306"/>
                </a:lnTo>
                <a:lnTo>
                  <a:pt x="212" y="306"/>
                </a:lnTo>
                <a:lnTo>
                  <a:pt x="212" y="308"/>
                </a:lnTo>
                <a:lnTo>
                  <a:pt x="212" y="310"/>
                </a:lnTo>
                <a:lnTo>
                  <a:pt x="212" y="310"/>
                </a:lnTo>
                <a:lnTo>
                  <a:pt x="210" y="312"/>
                </a:lnTo>
                <a:lnTo>
                  <a:pt x="210" y="318"/>
                </a:lnTo>
                <a:lnTo>
                  <a:pt x="210" y="318"/>
                </a:lnTo>
                <a:lnTo>
                  <a:pt x="212" y="322"/>
                </a:lnTo>
                <a:lnTo>
                  <a:pt x="212" y="322"/>
                </a:lnTo>
                <a:lnTo>
                  <a:pt x="214" y="342"/>
                </a:lnTo>
                <a:lnTo>
                  <a:pt x="214" y="342"/>
                </a:lnTo>
                <a:lnTo>
                  <a:pt x="216" y="342"/>
                </a:lnTo>
                <a:lnTo>
                  <a:pt x="218" y="344"/>
                </a:lnTo>
                <a:lnTo>
                  <a:pt x="220" y="342"/>
                </a:lnTo>
                <a:lnTo>
                  <a:pt x="220" y="342"/>
                </a:lnTo>
                <a:lnTo>
                  <a:pt x="220" y="342"/>
                </a:lnTo>
                <a:lnTo>
                  <a:pt x="220" y="342"/>
                </a:lnTo>
                <a:lnTo>
                  <a:pt x="222" y="340"/>
                </a:lnTo>
                <a:lnTo>
                  <a:pt x="222" y="340"/>
                </a:lnTo>
                <a:lnTo>
                  <a:pt x="226" y="344"/>
                </a:lnTo>
                <a:lnTo>
                  <a:pt x="226" y="344"/>
                </a:lnTo>
                <a:lnTo>
                  <a:pt x="226" y="352"/>
                </a:lnTo>
                <a:lnTo>
                  <a:pt x="226" y="352"/>
                </a:lnTo>
                <a:lnTo>
                  <a:pt x="234" y="350"/>
                </a:lnTo>
                <a:lnTo>
                  <a:pt x="240" y="352"/>
                </a:lnTo>
                <a:lnTo>
                  <a:pt x="240" y="352"/>
                </a:lnTo>
                <a:lnTo>
                  <a:pt x="244" y="354"/>
                </a:lnTo>
                <a:lnTo>
                  <a:pt x="244" y="356"/>
                </a:lnTo>
                <a:lnTo>
                  <a:pt x="244" y="356"/>
                </a:lnTo>
                <a:lnTo>
                  <a:pt x="246" y="356"/>
                </a:lnTo>
                <a:lnTo>
                  <a:pt x="248" y="354"/>
                </a:lnTo>
                <a:lnTo>
                  <a:pt x="248" y="352"/>
                </a:lnTo>
                <a:lnTo>
                  <a:pt x="248" y="352"/>
                </a:lnTo>
                <a:lnTo>
                  <a:pt x="252" y="352"/>
                </a:lnTo>
                <a:lnTo>
                  <a:pt x="252" y="352"/>
                </a:lnTo>
                <a:lnTo>
                  <a:pt x="252" y="350"/>
                </a:lnTo>
                <a:lnTo>
                  <a:pt x="252" y="338"/>
                </a:lnTo>
                <a:lnTo>
                  <a:pt x="252" y="338"/>
                </a:lnTo>
                <a:lnTo>
                  <a:pt x="246" y="336"/>
                </a:lnTo>
                <a:lnTo>
                  <a:pt x="246" y="336"/>
                </a:lnTo>
                <a:lnTo>
                  <a:pt x="242" y="330"/>
                </a:lnTo>
                <a:lnTo>
                  <a:pt x="240" y="324"/>
                </a:lnTo>
                <a:lnTo>
                  <a:pt x="240" y="324"/>
                </a:lnTo>
                <a:lnTo>
                  <a:pt x="244" y="324"/>
                </a:lnTo>
                <a:lnTo>
                  <a:pt x="244" y="324"/>
                </a:lnTo>
                <a:lnTo>
                  <a:pt x="244" y="318"/>
                </a:lnTo>
                <a:lnTo>
                  <a:pt x="244" y="318"/>
                </a:lnTo>
                <a:lnTo>
                  <a:pt x="242" y="318"/>
                </a:lnTo>
                <a:lnTo>
                  <a:pt x="242" y="316"/>
                </a:lnTo>
                <a:lnTo>
                  <a:pt x="244" y="316"/>
                </a:lnTo>
                <a:lnTo>
                  <a:pt x="248" y="316"/>
                </a:lnTo>
                <a:lnTo>
                  <a:pt x="248" y="316"/>
                </a:lnTo>
                <a:lnTo>
                  <a:pt x="250" y="318"/>
                </a:lnTo>
                <a:lnTo>
                  <a:pt x="252" y="320"/>
                </a:lnTo>
                <a:lnTo>
                  <a:pt x="252" y="320"/>
                </a:lnTo>
                <a:lnTo>
                  <a:pt x="260" y="324"/>
                </a:lnTo>
                <a:lnTo>
                  <a:pt x="260" y="324"/>
                </a:lnTo>
                <a:lnTo>
                  <a:pt x="260" y="326"/>
                </a:lnTo>
                <a:lnTo>
                  <a:pt x="260" y="326"/>
                </a:lnTo>
                <a:lnTo>
                  <a:pt x="264" y="328"/>
                </a:lnTo>
                <a:lnTo>
                  <a:pt x="268" y="328"/>
                </a:lnTo>
                <a:lnTo>
                  <a:pt x="268" y="328"/>
                </a:lnTo>
                <a:lnTo>
                  <a:pt x="272" y="330"/>
                </a:lnTo>
                <a:lnTo>
                  <a:pt x="272" y="330"/>
                </a:lnTo>
                <a:lnTo>
                  <a:pt x="284" y="332"/>
                </a:lnTo>
                <a:lnTo>
                  <a:pt x="284" y="332"/>
                </a:lnTo>
                <a:lnTo>
                  <a:pt x="282" y="328"/>
                </a:lnTo>
                <a:lnTo>
                  <a:pt x="280" y="322"/>
                </a:lnTo>
                <a:lnTo>
                  <a:pt x="280" y="322"/>
                </a:lnTo>
                <a:lnTo>
                  <a:pt x="276" y="318"/>
                </a:lnTo>
                <a:lnTo>
                  <a:pt x="274" y="316"/>
                </a:lnTo>
                <a:lnTo>
                  <a:pt x="272" y="314"/>
                </a:lnTo>
                <a:lnTo>
                  <a:pt x="272" y="314"/>
                </a:lnTo>
                <a:lnTo>
                  <a:pt x="272" y="310"/>
                </a:lnTo>
                <a:lnTo>
                  <a:pt x="272" y="310"/>
                </a:lnTo>
                <a:lnTo>
                  <a:pt x="278" y="306"/>
                </a:lnTo>
                <a:lnTo>
                  <a:pt x="284" y="302"/>
                </a:lnTo>
                <a:lnTo>
                  <a:pt x="284" y="302"/>
                </a:lnTo>
                <a:lnTo>
                  <a:pt x="286" y="296"/>
                </a:lnTo>
                <a:lnTo>
                  <a:pt x="286" y="296"/>
                </a:lnTo>
                <a:lnTo>
                  <a:pt x="288" y="296"/>
                </a:lnTo>
                <a:lnTo>
                  <a:pt x="292" y="296"/>
                </a:lnTo>
                <a:lnTo>
                  <a:pt x="292" y="296"/>
                </a:lnTo>
                <a:lnTo>
                  <a:pt x="296" y="292"/>
                </a:lnTo>
                <a:lnTo>
                  <a:pt x="298" y="290"/>
                </a:lnTo>
                <a:lnTo>
                  <a:pt x="302" y="290"/>
                </a:lnTo>
                <a:lnTo>
                  <a:pt x="302" y="290"/>
                </a:lnTo>
                <a:lnTo>
                  <a:pt x="306" y="294"/>
                </a:lnTo>
                <a:lnTo>
                  <a:pt x="306" y="294"/>
                </a:lnTo>
                <a:lnTo>
                  <a:pt x="310" y="294"/>
                </a:lnTo>
                <a:lnTo>
                  <a:pt x="310" y="294"/>
                </a:lnTo>
                <a:lnTo>
                  <a:pt x="314" y="300"/>
                </a:lnTo>
                <a:lnTo>
                  <a:pt x="314" y="302"/>
                </a:lnTo>
                <a:lnTo>
                  <a:pt x="314" y="302"/>
                </a:lnTo>
                <a:lnTo>
                  <a:pt x="320" y="302"/>
                </a:lnTo>
                <a:lnTo>
                  <a:pt x="320" y="302"/>
                </a:lnTo>
                <a:lnTo>
                  <a:pt x="320" y="294"/>
                </a:lnTo>
                <a:lnTo>
                  <a:pt x="324" y="286"/>
                </a:lnTo>
                <a:lnTo>
                  <a:pt x="324" y="286"/>
                </a:lnTo>
                <a:lnTo>
                  <a:pt x="328" y="282"/>
                </a:lnTo>
                <a:lnTo>
                  <a:pt x="328" y="282"/>
                </a:lnTo>
                <a:lnTo>
                  <a:pt x="328" y="280"/>
                </a:lnTo>
                <a:lnTo>
                  <a:pt x="328" y="280"/>
                </a:lnTo>
                <a:lnTo>
                  <a:pt x="328" y="280"/>
                </a:lnTo>
                <a:lnTo>
                  <a:pt x="328" y="276"/>
                </a:lnTo>
                <a:lnTo>
                  <a:pt x="328" y="276"/>
                </a:lnTo>
                <a:lnTo>
                  <a:pt x="324" y="272"/>
                </a:lnTo>
                <a:lnTo>
                  <a:pt x="322" y="270"/>
                </a:lnTo>
                <a:lnTo>
                  <a:pt x="322" y="266"/>
                </a:lnTo>
                <a:lnTo>
                  <a:pt x="322" y="266"/>
                </a:lnTo>
                <a:lnTo>
                  <a:pt x="324" y="264"/>
                </a:lnTo>
                <a:lnTo>
                  <a:pt x="326" y="260"/>
                </a:lnTo>
                <a:lnTo>
                  <a:pt x="326" y="260"/>
                </a:lnTo>
                <a:lnTo>
                  <a:pt x="328" y="260"/>
                </a:lnTo>
                <a:lnTo>
                  <a:pt x="328" y="260"/>
                </a:lnTo>
                <a:lnTo>
                  <a:pt x="328" y="256"/>
                </a:lnTo>
                <a:lnTo>
                  <a:pt x="328" y="256"/>
                </a:lnTo>
                <a:lnTo>
                  <a:pt x="330" y="256"/>
                </a:lnTo>
                <a:lnTo>
                  <a:pt x="330" y="256"/>
                </a:lnTo>
                <a:lnTo>
                  <a:pt x="332" y="250"/>
                </a:lnTo>
                <a:lnTo>
                  <a:pt x="332" y="246"/>
                </a:lnTo>
                <a:lnTo>
                  <a:pt x="332" y="246"/>
                </a:lnTo>
                <a:lnTo>
                  <a:pt x="328" y="242"/>
                </a:lnTo>
                <a:lnTo>
                  <a:pt x="322" y="236"/>
                </a:lnTo>
                <a:lnTo>
                  <a:pt x="322" y="236"/>
                </a:lnTo>
                <a:lnTo>
                  <a:pt x="322" y="232"/>
                </a:lnTo>
                <a:lnTo>
                  <a:pt x="322" y="232"/>
                </a:lnTo>
                <a:lnTo>
                  <a:pt x="328" y="236"/>
                </a:lnTo>
                <a:lnTo>
                  <a:pt x="336" y="238"/>
                </a:lnTo>
                <a:lnTo>
                  <a:pt x="338" y="240"/>
                </a:lnTo>
                <a:lnTo>
                  <a:pt x="338" y="240"/>
                </a:lnTo>
                <a:lnTo>
                  <a:pt x="344" y="240"/>
                </a:lnTo>
                <a:lnTo>
                  <a:pt x="350" y="242"/>
                </a:lnTo>
                <a:lnTo>
                  <a:pt x="350" y="242"/>
                </a:lnTo>
                <a:lnTo>
                  <a:pt x="354" y="244"/>
                </a:lnTo>
                <a:lnTo>
                  <a:pt x="356" y="248"/>
                </a:lnTo>
                <a:lnTo>
                  <a:pt x="360" y="254"/>
                </a:lnTo>
                <a:lnTo>
                  <a:pt x="360" y="254"/>
                </a:lnTo>
                <a:lnTo>
                  <a:pt x="362" y="256"/>
                </a:lnTo>
                <a:lnTo>
                  <a:pt x="362" y="256"/>
                </a:lnTo>
                <a:lnTo>
                  <a:pt x="362" y="260"/>
                </a:lnTo>
                <a:lnTo>
                  <a:pt x="362" y="260"/>
                </a:lnTo>
                <a:lnTo>
                  <a:pt x="366" y="262"/>
                </a:lnTo>
                <a:lnTo>
                  <a:pt x="364" y="266"/>
                </a:lnTo>
                <a:lnTo>
                  <a:pt x="364" y="266"/>
                </a:lnTo>
                <a:lnTo>
                  <a:pt x="350" y="266"/>
                </a:lnTo>
                <a:lnTo>
                  <a:pt x="350" y="266"/>
                </a:lnTo>
                <a:lnTo>
                  <a:pt x="348" y="272"/>
                </a:lnTo>
                <a:lnTo>
                  <a:pt x="348" y="272"/>
                </a:lnTo>
                <a:lnTo>
                  <a:pt x="346" y="274"/>
                </a:lnTo>
                <a:lnTo>
                  <a:pt x="346" y="274"/>
                </a:lnTo>
                <a:lnTo>
                  <a:pt x="346" y="278"/>
                </a:lnTo>
                <a:lnTo>
                  <a:pt x="346" y="278"/>
                </a:lnTo>
                <a:lnTo>
                  <a:pt x="348" y="282"/>
                </a:lnTo>
                <a:lnTo>
                  <a:pt x="348" y="282"/>
                </a:lnTo>
                <a:lnTo>
                  <a:pt x="350" y="292"/>
                </a:lnTo>
                <a:lnTo>
                  <a:pt x="350" y="292"/>
                </a:lnTo>
                <a:lnTo>
                  <a:pt x="356" y="292"/>
                </a:lnTo>
                <a:lnTo>
                  <a:pt x="362" y="290"/>
                </a:lnTo>
                <a:lnTo>
                  <a:pt x="362" y="290"/>
                </a:lnTo>
                <a:lnTo>
                  <a:pt x="370" y="288"/>
                </a:lnTo>
                <a:lnTo>
                  <a:pt x="370" y="288"/>
                </a:lnTo>
                <a:lnTo>
                  <a:pt x="370" y="286"/>
                </a:lnTo>
                <a:lnTo>
                  <a:pt x="370" y="286"/>
                </a:lnTo>
                <a:lnTo>
                  <a:pt x="376" y="286"/>
                </a:lnTo>
                <a:lnTo>
                  <a:pt x="376" y="286"/>
                </a:lnTo>
                <a:lnTo>
                  <a:pt x="376" y="274"/>
                </a:lnTo>
                <a:lnTo>
                  <a:pt x="378" y="264"/>
                </a:lnTo>
                <a:lnTo>
                  <a:pt x="378" y="264"/>
                </a:lnTo>
                <a:lnTo>
                  <a:pt x="380" y="266"/>
                </a:lnTo>
                <a:lnTo>
                  <a:pt x="382" y="266"/>
                </a:lnTo>
                <a:lnTo>
                  <a:pt x="382" y="266"/>
                </a:lnTo>
                <a:lnTo>
                  <a:pt x="388" y="262"/>
                </a:lnTo>
                <a:lnTo>
                  <a:pt x="388" y="262"/>
                </a:lnTo>
                <a:lnTo>
                  <a:pt x="388" y="258"/>
                </a:lnTo>
                <a:lnTo>
                  <a:pt x="388" y="258"/>
                </a:lnTo>
                <a:lnTo>
                  <a:pt x="398" y="258"/>
                </a:lnTo>
                <a:lnTo>
                  <a:pt x="406" y="256"/>
                </a:lnTo>
                <a:lnTo>
                  <a:pt x="406" y="256"/>
                </a:lnTo>
                <a:lnTo>
                  <a:pt x="408" y="252"/>
                </a:lnTo>
                <a:lnTo>
                  <a:pt x="408" y="252"/>
                </a:lnTo>
                <a:lnTo>
                  <a:pt x="414" y="252"/>
                </a:lnTo>
                <a:lnTo>
                  <a:pt x="414" y="252"/>
                </a:lnTo>
                <a:lnTo>
                  <a:pt x="418" y="248"/>
                </a:lnTo>
                <a:lnTo>
                  <a:pt x="418" y="248"/>
                </a:lnTo>
                <a:lnTo>
                  <a:pt x="424" y="248"/>
                </a:lnTo>
                <a:lnTo>
                  <a:pt x="424" y="248"/>
                </a:lnTo>
                <a:lnTo>
                  <a:pt x="426" y="244"/>
                </a:lnTo>
                <a:lnTo>
                  <a:pt x="426" y="244"/>
                </a:lnTo>
                <a:lnTo>
                  <a:pt x="432" y="244"/>
                </a:lnTo>
                <a:lnTo>
                  <a:pt x="436" y="244"/>
                </a:lnTo>
                <a:lnTo>
                  <a:pt x="436" y="244"/>
                </a:lnTo>
                <a:lnTo>
                  <a:pt x="436" y="246"/>
                </a:lnTo>
                <a:lnTo>
                  <a:pt x="438" y="248"/>
                </a:lnTo>
                <a:lnTo>
                  <a:pt x="438" y="246"/>
                </a:lnTo>
                <a:lnTo>
                  <a:pt x="438" y="246"/>
                </a:lnTo>
                <a:lnTo>
                  <a:pt x="438" y="244"/>
                </a:lnTo>
                <a:lnTo>
                  <a:pt x="438" y="244"/>
                </a:lnTo>
                <a:lnTo>
                  <a:pt x="438" y="242"/>
                </a:lnTo>
                <a:lnTo>
                  <a:pt x="438" y="240"/>
                </a:lnTo>
                <a:lnTo>
                  <a:pt x="438" y="240"/>
                </a:lnTo>
                <a:lnTo>
                  <a:pt x="446" y="236"/>
                </a:lnTo>
                <a:lnTo>
                  <a:pt x="446" y="236"/>
                </a:lnTo>
                <a:lnTo>
                  <a:pt x="448" y="234"/>
                </a:lnTo>
                <a:lnTo>
                  <a:pt x="450" y="232"/>
                </a:lnTo>
                <a:lnTo>
                  <a:pt x="450" y="232"/>
                </a:lnTo>
                <a:lnTo>
                  <a:pt x="452" y="232"/>
                </a:lnTo>
                <a:lnTo>
                  <a:pt x="452" y="232"/>
                </a:lnTo>
                <a:lnTo>
                  <a:pt x="452" y="234"/>
                </a:lnTo>
                <a:lnTo>
                  <a:pt x="452" y="234"/>
                </a:lnTo>
                <a:lnTo>
                  <a:pt x="452" y="234"/>
                </a:lnTo>
                <a:lnTo>
                  <a:pt x="452" y="236"/>
                </a:lnTo>
                <a:lnTo>
                  <a:pt x="452" y="236"/>
                </a:lnTo>
                <a:lnTo>
                  <a:pt x="450" y="238"/>
                </a:lnTo>
                <a:lnTo>
                  <a:pt x="452" y="238"/>
                </a:lnTo>
                <a:lnTo>
                  <a:pt x="456" y="238"/>
                </a:lnTo>
                <a:lnTo>
                  <a:pt x="456" y="238"/>
                </a:lnTo>
                <a:lnTo>
                  <a:pt x="456" y="242"/>
                </a:lnTo>
                <a:lnTo>
                  <a:pt x="456" y="242"/>
                </a:lnTo>
                <a:lnTo>
                  <a:pt x="460" y="244"/>
                </a:lnTo>
                <a:lnTo>
                  <a:pt x="460" y="244"/>
                </a:lnTo>
                <a:lnTo>
                  <a:pt x="460" y="248"/>
                </a:lnTo>
                <a:lnTo>
                  <a:pt x="460" y="248"/>
                </a:lnTo>
                <a:lnTo>
                  <a:pt x="452" y="248"/>
                </a:lnTo>
                <a:lnTo>
                  <a:pt x="452" y="248"/>
                </a:lnTo>
                <a:lnTo>
                  <a:pt x="450" y="250"/>
                </a:lnTo>
                <a:lnTo>
                  <a:pt x="450" y="250"/>
                </a:lnTo>
                <a:lnTo>
                  <a:pt x="450" y="252"/>
                </a:lnTo>
                <a:lnTo>
                  <a:pt x="450" y="252"/>
                </a:lnTo>
                <a:lnTo>
                  <a:pt x="462" y="252"/>
                </a:lnTo>
                <a:lnTo>
                  <a:pt x="462" y="252"/>
                </a:lnTo>
                <a:lnTo>
                  <a:pt x="468" y="248"/>
                </a:lnTo>
                <a:lnTo>
                  <a:pt x="468" y="248"/>
                </a:lnTo>
                <a:lnTo>
                  <a:pt x="470" y="248"/>
                </a:lnTo>
                <a:lnTo>
                  <a:pt x="470" y="250"/>
                </a:lnTo>
                <a:lnTo>
                  <a:pt x="470" y="250"/>
                </a:lnTo>
                <a:lnTo>
                  <a:pt x="474" y="252"/>
                </a:lnTo>
                <a:lnTo>
                  <a:pt x="474" y="252"/>
                </a:lnTo>
                <a:lnTo>
                  <a:pt x="474" y="252"/>
                </a:lnTo>
                <a:lnTo>
                  <a:pt x="476" y="250"/>
                </a:lnTo>
                <a:lnTo>
                  <a:pt x="476" y="250"/>
                </a:lnTo>
                <a:lnTo>
                  <a:pt x="474" y="246"/>
                </a:lnTo>
                <a:lnTo>
                  <a:pt x="474" y="246"/>
                </a:lnTo>
                <a:lnTo>
                  <a:pt x="482" y="242"/>
                </a:lnTo>
                <a:lnTo>
                  <a:pt x="490" y="240"/>
                </a:lnTo>
                <a:lnTo>
                  <a:pt x="490" y="240"/>
                </a:lnTo>
                <a:lnTo>
                  <a:pt x="494" y="240"/>
                </a:lnTo>
                <a:lnTo>
                  <a:pt x="498" y="240"/>
                </a:lnTo>
                <a:lnTo>
                  <a:pt x="506" y="246"/>
                </a:lnTo>
                <a:lnTo>
                  <a:pt x="506" y="246"/>
                </a:lnTo>
                <a:lnTo>
                  <a:pt x="510" y="246"/>
                </a:lnTo>
                <a:lnTo>
                  <a:pt x="510" y="246"/>
                </a:lnTo>
                <a:lnTo>
                  <a:pt x="512" y="242"/>
                </a:lnTo>
                <a:lnTo>
                  <a:pt x="512" y="242"/>
                </a:lnTo>
                <a:lnTo>
                  <a:pt x="510" y="240"/>
                </a:lnTo>
                <a:lnTo>
                  <a:pt x="510" y="240"/>
                </a:lnTo>
                <a:lnTo>
                  <a:pt x="510" y="240"/>
                </a:lnTo>
                <a:lnTo>
                  <a:pt x="510" y="238"/>
                </a:lnTo>
                <a:lnTo>
                  <a:pt x="510" y="238"/>
                </a:lnTo>
                <a:lnTo>
                  <a:pt x="512" y="238"/>
                </a:lnTo>
                <a:lnTo>
                  <a:pt x="512" y="238"/>
                </a:lnTo>
                <a:lnTo>
                  <a:pt x="512" y="240"/>
                </a:lnTo>
                <a:lnTo>
                  <a:pt x="512" y="240"/>
                </a:lnTo>
                <a:lnTo>
                  <a:pt x="514" y="240"/>
                </a:lnTo>
                <a:lnTo>
                  <a:pt x="518" y="238"/>
                </a:lnTo>
                <a:lnTo>
                  <a:pt x="524" y="234"/>
                </a:lnTo>
                <a:lnTo>
                  <a:pt x="524" y="234"/>
                </a:lnTo>
                <a:lnTo>
                  <a:pt x="530" y="234"/>
                </a:lnTo>
                <a:lnTo>
                  <a:pt x="530" y="234"/>
                </a:lnTo>
                <a:lnTo>
                  <a:pt x="528" y="248"/>
                </a:lnTo>
                <a:lnTo>
                  <a:pt x="528" y="248"/>
                </a:lnTo>
                <a:lnTo>
                  <a:pt x="536" y="254"/>
                </a:lnTo>
                <a:lnTo>
                  <a:pt x="536" y="254"/>
                </a:lnTo>
                <a:lnTo>
                  <a:pt x="538" y="244"/>
                </a:lnTo>
                <a:lnTo>
                  <a:pt x="538" y="244"/>
                </a:lnTo>
                <a:lnTo>
                  <a:pt x="542" y="242"/>
                </a:lnTo>
                <a:lnTo>
                  <a:pt x="542" y="242"/>
                </a:lnTo>
                <a:lnTo>
                  <a:pt x="544" y="244"/>
                </a:lnTo>
                <a:lnTo>
                  <a:pt x="546" y="244"/>
                </a:lnTo>
                <a:lnTo>
                  <a:pt x="550" y="244"/>
                </a:lnTo>
                <a:lnTo>
                  <a:pt x="550" y="244"/>
                </a:lnTo>
                <a:lnTo>
                  <a:pt x="552" y="242"/>
                </a:lnTo>
                <a:lnTo>
                  <a:pt x="552" y="242"/>
                </a:lnTo>
                <a:lnTo>
                  <a:pt x="552" y="232"/>
                </a:lnTo>
                <a:lnTo>
                  <a:pt x="552" y="226"/>
                </a:lnTo>
                <a:lnTo>
                  <a:pt x="550" y="222"/>
                </a:lnTo>
                <a:lnTo>
                  <a:pt x="550" y="222"/>
                </a:lnTo>
                <a:lnTo>
                  <a:pt x="548" y="220"/>
                </a:lnTo>
                <a:lnTo>
                  <a:pt x="548" y="220"/>
                </a:lnTo>
                <a:lnTo>
                  <a:pt x="548" y="218"/>
                </a:lnTo>
                <a:lnTo>
                  <a:pt x="548" y="218"/>
                </a:lnTo>
                <a:lnTo>
                  <a:pt x="554" y="216"/>
                </a:lnTo>
                <a:lnTo>
                  <a:pt x="554" y="216"/>
                </a:lnTo>
                <a:lnTo>
                  <a:pt x="556" y="212"/>
                </a:lnTo>
                <a:lnTo>
                  <a:pt x="556" y="212"/>
                </a:lnTo>
                <a:lnTo>
                  <a:pt x="562" y="212"/>
                </a:lnTo>
                <a:lnTo>
                  <a:pt x="566" y="214"/>
                </a:lnTo>
                <a:lnTo>
                  <a:pt x="566" y="214"/>
                </a:lnTo>
                <a:lnTo>
                  <a:pt x="572" y="214"/>
                </a:lnTo>
                <a:lnTo>
                  <a:pt x="576" y="212"/>
                </a:lnTo>
                <a:lnTo>
                  <a:pt x="576" y="210"/>
                </a:lnTo>
                <a:lnTo>
                  <a:pt x="578" y="210"/>
                </a:lnTo>
                <a:lnTo>
                  <a:pt x="578" y="210"/>
                </a:lnTo>
                <a:lnTo>
                  <a:pt x="582" y="210"/>
                </a:lnTo>
                <a:lnTo>
                  <a:pt x="584" y="210"/>
                </a:lnTo>
                <a:lnTo>
                  <a:pt x="586" y="214"/>
                </a:lnTo>
                <a:lnTo>
                  <a:pt x="586" y="214"/>
                </a:lnTo>
                <a:lnTo>
                  <a:pt x="588" y="214"/>
                </a:lnTo>
                <a:lnTo>
                  <a:pt x="590" y="214"/>
                </a:lnTo>
                <a:lnTo>
                  <a:pt x="590" y="214"/>
                </a:lnTo>
                <a:lnTo>
                  <a:pt x="590" y="216"/>
                </a:lnTo>
                <a:lnTo>
                  <a:pt x="592" y="218"/>
                </a:lnTo>
                <a:lnTo>
                  <a:pt x="592" y="218"/>
                </a:lnTo>
                <a:lnTo>
                  <a:pt x="600" y="218"/>
                </a:lnTo>
                <a:lnTo>
                  <a:pt x="606" y="220"/>
                </a:lnTo>
                <a:lnTo>
                  <a:pt x="606" y="220"/>
                </a:lnTo>
                <a:lnTo>
                  <a:pt x="604" y="232"/>
                </a:lnTo>
                <a:lnTo>
                  <a:pt x="606" y="232"/>
                </a:lnTo>
                <a:lnTo>
                  <a:pt x="610" y="224"/>
                </a:lnTo>
                <a:lnTo>
                  <a:pt x="610" y="224"/>
                </a:lnTo>
                <a:lnTo>
                  <a:pt x="622" y="228"/>
                </a:lnTo>
                <a:lnTo>
                  <a:pt x="622" y="228"/>
                </a:lnTo>
                <a:lnTo>
                  <a:pt x="620" y="230"/>
                </a:lnTo>
                <a:lnTo>
                  <a:pt x="620" y="230"/>
                </a:lnTo>
                <a:lnTo>
                  <a:pt x="620" y="232"/>
                </a:lnTo>
                <a:lnTo>
                  <a:pt x="620" y="232"/>
                </a:lnTo>
                <a:lnTo>
                  <a:pt x="626" y="234"/>
                </a:lnTo>
                <a:lnTo>
                  <a:pt x="632" y="236"/>
                </a:lnTo>
                <a:lnTo>
                  <a:pt x="638" y="244"/>
                </a:lnTo>
                <a:lnTo>
                  <a:pt x="638" y="244"/>
                </a:lnTo>
                <a:lnTo>
                  <a:pt x="640" y="248"/>
                </a:lnTo>
                <a:lnTo>
                  <a:pt x="640" y="248"/>
                </a:lnTo>
                <a:lnTo>
                  <a:pt x="642" y="248"/>
                </a:lnTo>
                <a:lnTo>
                  <a:pt x="644" y="248"/>
                </a:lnTo>
                <a:lnTo>
                  <a:pt x="644" y="248"/>
                </a:lnTo>
                <a:lnTo>
                  <a:pt x="646" y="254"/>
                </a:lnTo>
                <a:lnTo>
                  <a:pt x="646" y="254"/>
                </a:lnTo>
                <a:lnTo>
                  <a:pt x="648" y="254"/>
                </a:lnTo>
                <a:lnTo>
                  <a:pt x="652" y="252"/>
                </a:lnTo>
                <a:lnTo>
                  <a:pt x="652" y="252"/>
                </a:lnTo>
                <a:lnTo>
                  <a:pt x="654" y="244"/>
                </a:lnTo>
                <a:lnTo>
                  <a:pt x="656" y="236"/>
                </a:lnTo>
                <a:lnTo>
                  <a:pt x="654" y="236"/>
                </a:lnTo>
                <a:lnTo>
                  <a:pt x="654" y="236"/>
                </a:lnTo>
                <a:lnTo>
                  <a:pt x="652" y="238"/>
                </a:lnTo>
                <a:lnTo>
                  <a:pt x="652" y="238"/>
                </a:lnTo>
                <a:lnTo>
                  <a:pt x="652" y="238"/>
                </a:lnTo>
                <a:lnTo>
                  <a:pt x="648" y="230"/>
                </a:lnTo>
                <a:lnTo>
                  <a:pt x="648" y="230"/>
                </a:lnTo>
                <a:lnTo>
                  <a:pt x="648" y="230"/>
                </a:lnTo>
                <a:lnTo>
                  <a:pt x="648" y="228"/>
                </a:lnTo>
                <a:lnTo>
                  <a:pt x="648" y="228"/>
                </a:lnTo>
                <a:lnTo>
                  <a:pt x="648" y="226"/>
                </a:lnTo>
                <a:lnTo>
                  <a:pt x="648" y="224"/>
                </a:lnTo>
                <a:lnTo>
                  <a:pt x="652" y="222"/>
                </a:lnTo>
                <a:lnTo>
                  <a:pt x="652" y="222"/>
                </a:lnTo>
                <a:lnTo>
                  <a:pt x="652" y="218"/>
                </a:lnTo>
                <a:lnTo>
                  <a:pt x="652" y="218"/>
                </a:lnTo>
                <a:lnTo>
                  <a:pt x="648" y="218"/>
                </a:lnTo>
                <a:lnTo>
                  <a:pt x="648" y="218"/>
                </a:lnTo>
                <a:lnTo>
                  <a:pt x="648" y="218"/>
                </a:lnTo>
                <a:lnTo>
                  <a:pt x="648" y="218"/>
                </a:lnTo>
                <a:lnTo>
                  <a:pt x="648" y="218"/>
                </a:lnTo>
                <a:lnTo>
                  <a:pt x="646" y="220"/>
                </a:lnTo>
                <a:lnTo>
                  <a:pt x="646" y="220"/>
                </a:lnTo>
                <a:lnTo>
                  <a:pt x="642" y="216"/>
                </a:lnTo>
                <a:lnTo>
                  <a:pt x="638" y="214"/>
                </a:lnTo>
                <a:lnTo>
                  <a:pt x="638" y="214"/>
                </a:lnTo>
                <a:lnTo>
                  <a:pt x="636" y="214"/>
                </a:lnTo>
                <a:lnTo>
                  <a:pt x="634" y="216"/>
                </a:lnTo>
                <a:lnTo>
                  <a:pt x="634" y="216"/>
                </a:lnTo>
                <a:lnTo>
                  <a:pt x="636" y="206"/>
                </a:lnTo>
                <a:lnTo>
                  <a:pt x="638" y="204"/>
                </a:lnTo>
                <a:lnTo>
                  <a:pt x="642" y="200"/>
                </a:lnTo>
                <a:lnTo>
                  <a:pt x="642" y="200"/>
                </a:lnTo>
                <a:lnTo>
                  <a:pt x="642" y="196"/>
                </a:lnTo>
                <a:lnTo>
                  <a:pt x="640" y="190"/>
                </a:lnTo>
                <a:lnTo>
                  <a:pt x="640" y="190"/>
                </a:lnTo>
                <a:lnTo>
                  <a:pt x="636" y="182"/>
                </a:lnTo>
                <a:lnTo>
                  <a:pt x="636" y="182"/>
                </a:lnTo>
                <a:lnTo>
                  <a:pt x="636" y="176"/>
                </a:lnTo>
                <a:lnTo>
                  <a:pt x="636" y="172"/>
                </a:lnTo>
                <a:lnTo>
                  <a:pt x="636" y="172"/>
                </a:lnTo>
                <a:lnTo>
                  <a:pt x="646" y="166"/>
                </a:lnTo>
                <a:lnTo>
                  <a:pt x="646" y="166"/>
                </a:lnTo>
                <a:lnTo>
                  <a:pt x="648" y="164"/>
                </a:lnTo>
                <a:lnTo>
                  <a:pt x="650" y="158"/>
                </a:lnTo>
                <a:lnTo>
                  <a:pt x="650" y="158"/>
                </a:lnTo>
                <a:lnTo>
                  <a:pt x="656" y="152"/>
                </a:lnTo>
                <a:lnTo>
                  <a:pt x="662" y="146"/>
                </a:lnTo>
                <a:lnTo>
                  <a:pt x="662" y="146"/>
                </a:lnTo>
                <a:lnTo>
                  <a:pt x="664" y="138"/>
                </a:lnTo>
                <a:lnTo>
                  <a:pt x="668" y="132"/>
                </a:lnTo>
                <a:lnTo>
                  <a:pt x="668" y="132"/>
                </a:lnTo>
                <a:lnTo>
                  <a:pt x="672" y="130"/>
                </a:lnTo>
                <a:lnTo>
                  <a:pt x="674" y="128"/>
                </a:lnTo>
                <a:lnTo>
                  <a:pt x="676" y="124"/>
                </a:lnTo>
                <a:lnTo>
                  <a:pt x="676" y="124"/>
                </a:lnTo>
                <a:lnTo>
                  <a:pt x="678" y="126"/>
                </a:lnTo>
                <a:lnTo>
                  <a:pt x="678" y="126"/>
                </a:lnTo>
                <a:lnTo>
                  <a:pt x="678" y="126"/>
                </a:lnTo>
                <a:lnTo>
                  <a:pt x="694" y="126"/>
                </a:lnTo>
                <a:lnTo>
                  <a:pt x="694" y="126"/>
                </a:lnTo>
                <a:lnTo>
                  <a:pt x="700" y="124"/>
                </a:lnTo>
                <a:lnTo>
                  <a:pt x="700" y="124"/>
                </a:lnTo>
                <a:lnTo>
                  <a:pt x="706" y="128"/>
                </a:lnTo>
                <a:lnTo>
                  <a:pt x="706" y="128"/>
                </a:lnTo>
                <a:lnTo>
                  <a:pt x="710" y="128"/>
                </a:lnTo>
                <a:lnTo>
                  <a:pt x="710" y="128"/>
                </a:lnTo>
                <a:lnTo>
                  <a:pt x="710" y="134"/>
                </a:lnTo>
                <a:lnTo>
                  <a:pt x="710" y="134"/>
                </a:lnTo>
                <a:lnTo>
                  <a:pt x="714" y="138"/>
                </a:lnTo>
                <a:lnTo>
                  <a:pt x="714" y="138"/>
                </a:lnTo>
                <a:lnTo>
                  <a:pt x="714" y="140"/>
                </a:lnTo>
                <a:lnTo>
                  <a:pt x="712" y="140"/>
                </a:lnTo>
                <a:lnTo>
                  <a:pt x="712" y="140"/>
                </a:lnTo>
                <a:lnTo>
                  <a:pt x="712" y="144"/>
                </a:lnTo>
                <a:lnTo>
                  <a:pt x="714" y="146"/>
                </a:lnTo>
                <a:lnTo>
                  <a:pt x="714" y="146"/>
                </a:lnTo>
                <a:lnTo>
                  <a:pt x="710" y="150"/>
                </a:lnTo>
                <a:lnTo>
                  <a:pt x="710" y="150"/>
                </a:lnTo>
                <a:lnTo>
                  <a:pt x="710" y="158"/>
                </a:lnTo>
                <a:lnTo>
                  <a:pt x="710" y="162"/>
                </a:lnTo>
                <a:lnTo>
                  <a:pt x="708" y="166"/>
                </a:lnTo>
                <a:lnTo>
                  <a:pt x="708" y="166"/>
                </a:lnTo>
                <a:lnTo>
                  <a:pt x="704" y="172"/>
                </a:lnTo>
                <a:lnTo>
                  <a:pt x="702" y="174"/>
                </a:lnTo>
                <a:lnTo>
                  <a:pt x="702" y="180"/>
                </a:lnTo>
                <a:lnTo>
                  <a:pt x="702" y="180"/>
                </a:lnTo>
                <a:lnTo>
                  <a:pt x="702" y="182"/>
                </a:lnTo>
                <a:lnTo>
                  <a:pt x="704" y="186"/>
                </a:lnTo>
                <a:lnTo>
                  <a:pt x="712" y="188"/>
                </a:lnTo>
                <a:lnTo>
                  <a:pt x="712" y="188"/>
                </a:lnTo>
                <a:lnTo>
                  <a:pt x="710" y="196"/>
                </a:lnTo>
                <a:lnTo>
                  <a:pt x="710" y="196"/>
                </a:lnTo>
                <a:lnTo>
                  <a:pt x="714" y="198"/>
                </a:lnTo>
                <a:lnTo>
                  <a:pt x="714" y="198"/>
                </a:lnTo>
                <a:lnTo>
                  <a:pt x="714" y="206"/>
                </a:lnTo>
                <a:lnTo>
                  <a:pt x="714" y="206"/>
                </a:lnTo>
                <a:lnTo>
                  <a:pt x="708" y="214"/>
                </a:lnTo>
                <a:lnTo>
                  <a:pt x="708" y="214"/>
                </a:lnTo>
                <a:lnTo>
                  <a:pt x="708" y="216"/>
                </a:lnTo>
                <a:lnTo>
                  <a:pt x="710" y="218"/>
                </a:lnTo>
                <a:lnTo>
                  <a:pt x="708" y="222"/>
                </a:lnTo>
                <a:lnTo>
                  <a:pt x="708" y="222"/>
                </a:lnTo>
                <a:lnTo>
                  <a:pt x="708" y="226"/>
                </a:lnTo>
                <a:lnTo>
                  <a:pt x="712" y="228"/>
                </a:lnTo>
                <a:lnTo>
                  <a:pt x="712" y="228"/>
                </a:lnTo>
                <a:lnTo>
                  <a:pt x="716" y="236"/>
                </a:lnTo>
                <a:lnTo>
                  <a:pt x="722" y="242"/>
                </a:lnTo>
                <a:lnTo>
                  <a:pt x="722" y="242"/>
                </a:lnTo>
                <a:lnTo>
                  <a:pt x="718" y="254"/>
                </a:lnTo>
                <a:lnTo>
                  <a:pt x="718" y="260"/>
                </a:lnTo>
                <a:lnTo>
                  <a:pt x="722" y="266"/>
                </a:lnTo>
                <a:lnTo>
                  <a:pt x="722" y="266"/>
                </a:lnTo>
                <a:lnTo>
                  <a:pt x="716" y="268"/>
                </a:lnTo>
                <a:lnTo>
                  <a:pt x="716" y="268"/>
                </a:lnTo>
                <a:lnTo>
                  <a:pt x="716" y="274"/>
                </a:lnTo>
                <a:lnTo>
                  <a:pt x="716" y="274"/>
                </a:lnTo>
                <a:lnTo>
                  <a:pt x="712" y="276"/>
                </a:lnTo>
                <a:lnTo>
                  <a:pt x="712" y="280"/>
                </a:lnTo>
                <a:lnTo>
                  <a:pt x="712" y="280"/>
                </a:lnTo>
                <a:lnTo>
                  <a:pt x="708" y="284"/>
                </a:lnTo>
                <a:lnTo>
                  <a:pt x="708" y="284"/>
                </a:lnTo>
                <a:lnTo>
                  <a:pt x="700" y="280"/>
                </a:lnTo>
                <a:lnTo>
                  <a:pt x="700" y="280"/>
                </a:lnTo>
                <a:lnTo>
                  <a:pt x="696" y="286"/>
                </a:lnTo>
                <a:lnTo>
                  <a:pt x="696" y="286"/>
                </a:lnTo>
                <a:lnTo>
                  <a:pt x="692" y="288"/>
                </a:lnTo>
                <a:lnTo>
                  <a:pt x="684" y="288"/>
                </a:lnTo>
                <a:lnTo>
                  <a:pt x="670" y="288"/>
                </a:lnTo>
                <a:lnTo>
                  <a:pt x="670" y="288"/>
                </a:lnTo>
                <a:lnTo>
                  <a:pt x="670" y="292"/>
                </a:lnTo>
                <a:lnTo>
                  <a:pt x="670" y="292"/>
                </a:lnTo>
                <a:lnTo>
                  <a:pt x="678" y="296"/>
                </a:lnTo>
                <a:lnTo>
                  <a:pt x="682" y="300"/>
                </a:lnTo>
                <a:lnTo>
                  <a:pt x="688" y="300"/>
                </a:lnTo>
                <a:lnTo>
                  <a:pt x="690" y="298"/>
                </a:lnTo>
                <a:lnTo>
                  <a:pt x="690" y="298"/>
                </a:lnTo>
                <a:lnTo>
                  <a:pt x="696" y="298"/>
                </a:lnTo>
                <a:lnTo>
                  <a:pt x="702" y="298"/>
                </a:lnTo>
                <a:lnTo>
                  <a:pt x="702" y="298"/>
                </a:lnTo>
                <a:lnTo>
                  <a:pt x="702" y="302"/>
                </a:lnTo>
                <a:lnTo>
                  <a:pt x="702" y="302"/>
                </a:lnTo>
                <a:lnTo>
                  <a:pt x="706" y="304"/>
                </a:lnTo>
                <a:lnTo>
                  <a:pt x="706" y="304"/>
                </a:lnTo>
                <a:lnTo>
                  <a:pt x="708" y="312"/>
                </a:lnTo>
                <a:lnTo>
                  <a:pt x="708" y="312"/>
                </a:lnTo>
                <a:lnTo>
                  <a:pt x="710" y="312"/>
                </a:lnTo>
                <a:lnTo>
                  <a:pt x="714" y="312"/>
                </a:lnTo>
                <a:lnTo>
                  <a:pt x="714" y="312"/>
                </a:lnTo>
                <a:lnTo>
                  <a:pt x="714" y="312"/>
                </a:lnTo>
                <a:lnTo>
                  <a:pt x="716" y="314"/>
                </a:lnTo>
                <a:lnTo>
                  <a:pt x="716" y="314"/>
                </a:lnTo>
                <a:lnTo>
                  <a:pt x="712" y="296"/>
                </a:lnTo>
                <a:lnTo>
                  <a:pt x="712" y="296"/>
                </a:lnTo>
                <a:lnTo>
                  <a:pt x="704" y="294"/>
                </a:lnTo>
                <a:lnTo>
                  <a:pt x="704" y="294"/>
                </a:lnTo>
                <a:lnTo>
                  <a:pt x="706" y="290"/>
                </a:lnTo>
                <a:lnTo>
                  <a:pt x="706" y="290"/>
                </a:lnTo>
                <a:lnTo>
                  <a:pt x="716" y="288"/>
                </a:lnTo>
                <a:lnTo>
                  <a:pt x="716" y="288"/>
                </a:lnTo>
                <a:lnTo>
                  <a:pt x="722" y="286"/>
                </a:lnTo>
                <a:lnTo>
                  <a:pt x="726" y="286"/>
                </a:lnTo>
                <a:lnTo>
                  <a:pt x="734" y="274"/>
                </a:lnTo>
                <a:lnTo>
                  <a:pt x="734" y="274"/>
                </a:lnTo>
                <a:lnTo>
                  <a:pt x="734" y="270"/>
                </a:lnTo>
                <a:lnTo>
                  <a:pt x="734" y="270"/>
                </a:lnTo>
                <a:lnTo>
                  <a:pt x="734" y="268"/>
                </a:lnTo>
                <a:lnTo>
                  <a:pt x="734" y="268"/>
                </a:lnTo>
                <a:lnTo>
                  <a:pt x="736" y="262"/>
                </a:lnTo>
                <a:lnTo>
                  <a:pt x="736" y="262"/>
                </a:lnTo>
                <a:lnTo>
                  <a:pt x="738" y="258"/>
                </a:lnTo>
                <a:lnTo>
                  <a:pt x="738" y="252"/>
                </a:lnTo>
                <a:lnTo>
                  <a:pt x="738" y="252"/>
                </a:lnTo>
                <a:lnTo>
                  <a:pt x="734" y="248"/>
                </a:lnTo>
                <a:lnTo>
                  <a:pt x="734" y="248"/>
                </a:lnTo>
                <a:lnTo>
                  <a:pt x="736" y="244"/>
                </a:lnTo>
                <a:lnTo>
                  <a:pt x="736" y="244"/>
                </a:lnTo>
                <a:lnTo>
                  <a:pt x="738" y="240"/>
                </a:lnTo>
                <a:lnTo>
                  <a:pt x="738" y="236"/>
                </a:lnTo>
                <a:lnTo>
                  <a:pt x="738" y="236"/>
                </a:lnTo>
                <a:lnTo>
                  <a:pt x="742" y="236"/>
                </a:lnTo>
                <a:lnTo>
                  <a:pt x="746" y="234"/>
                </a:lnTo>
                <a:lnTo>
                  <a:pt x="756" y="232"/>
                </a:lnTo>
                <a:lnTo>
                  <a:pt x="756" y="232"/>
                </a:lnTo>
                <a:lnTo>
                  <a:pt x="758" y="228"/>
                </a:lnTo>
                <a:lnTo>
                  <a:pt x="758" y="228"/>
                </a:lnTo>
                <a:lnTo>
                  <a:pt x="766" y="228"/>
                </a:lnTo>
                <a:lnTo>
                  <a:pt x="766" y="228"/>
                </a:lnTo>
                <a:lnTo>
                  <a:pt x="770" y="240"/>
                </a:lnTo>
                <a:lnTo>
                  <a:pt x="770" y="240"/>
                </a:lnTo>
                <a:lnTo>
                  <a:pt x="772" y="244"/>
                </a:lnTo>
                <a:lnTo>
                  <a:pt x="772" y="244"/>
                </a:lnTo>
                <a:lnTo>
                  <a:pt x="774" y="250"/>
                </a:lnTo>
                <a:lnTo>
                  <a:pt x="774" y="256"/>
                </a:lnTo>
                <a:lnTo>
                  <a:pt x="770" y="270"/>
                </a:lnTo>
                <a:lnTo>
                  <a:pt x="770" y="270"/>
                </a:lnTo>
                <a:lnTo>
                  <a:pt x="776" y="276"/>
                </a:lnTo>
                <a:lnTo>
                  <a:pt x="776" y="276"/>
                </a:lnTo>
                <a:lnTo>
                  <a:pt x="782" y="280"/>
                </a:lnTo>
                <a:lnTo>
                  <a:pt x="782" y="280"/>
                </a:lnTo>
                <a:lnTo>
                  <a:pt x="784" y="278"/>
                </a:lnTo>
                <a:lnTo>
                  <a:pt x="782" y="278"/>
                </a:lnTo>
                <a:lnTo>
                  <a:pt x="782" y="278"/>
                </a:lnTo>
                <a:lnTo>
                  <a:pt x="782" y="272"/>
                </a:lnTo>
                <a:lnTo>
                  <a:pt x="782" y="272"/>
                </a:lnTo>
                <a:lnTo>
                  <a:pt x="788" y="270"/>
                </a:lnTo>
                <a:lnTo>
                  <a:pt x="788" y="270"/>
                </a:lnTo>
                <a:lnTo>
                  <a:pt x="790" y="274"/>
                </a:lnTo>
                <a:lnTo>
                  <a:pt x="790" y="274"/>
                </a:lnTo>
                <a:lnTo>
                  <a:pt x="798" y="276"/>
                </a:lnTo>
                <a:lnTo>
                  <a:pt x="806" y="276"/>
                </a:lnTo>
                <a:lnTo>
                  <a:pt x="806" y="276"/>
                </a:lnTo>
                <a:lnTo>
                  <a:pt x="804" y="272"/>
                </a:lnTo>
                <a:lnTo>
                  <a:pt x="804" y="272"/>
                </a:lnTo>
                <a:lnTo>
                  <a:pt x="796" y="270"/>
                </a:lnTo>
                <a:lnTo>
                  <a:pt x="788" y="268"/>
                </a:lnTo>
                <a:lnTo>
                  <a:pt x="788" y="268"/>
                </a:lnTo>
                <a:lnTo>
                  <a:pt x="784" y="264"/>
                </a:lnTo>
                <a:lnTo>
                  <a:pt x="784" y="264"/>
                </a:lnTo>
                <a:lnTo>
                  <a:pt x="780" y="264"/>
                </a:lnTo>
                <a:lnTo>
                  <a:pt x="780" y="264"/>
                </a:lnTo>
                <a:lnTo>
                  <a:pt x="780" y="258"/>
                </a:lnTo>
                <a:lnTo>
                  <a:pt x="780" y="256"/>
                </a:lnTo>
                <a:lnTo>
                  <a:pt x="788" y="252"/>
                </a:lnTo>
                <a:lnTo>
                  <a:pt x="788" y="252"/>
                </a:lnTo>
                <a:lnTo>
                  <a:pt x="786" y="248"/>
                </a:lnTo>
                <a:lnTo>
                  <a:pt x="786" y="248"/>
                </a:lnTo>
                <a:lnTo>
                  <a:pt x="784" y="244"/>
                </a:lnTo>
                <a:lnTo>
                  <a:pt x="784" y="242"/>
                </a:lnTo>
                <a:lnTo>
                  <a:pt x="784" y="242"/>
                </a:lnTo>
                <a:lnTo>
                  <a:pt x="780" y="240"/>
                </a:lnTo>
                <a:lnTo>
                  <a:pt x="780" y="240"/>
                </a:lnTo>
                <a:lnTo>
                  <a:pt x="778" y="234"/>
                </a:lnTo>
                <a:lnTo>
                  <a:pt x="776" y="228"/>
                </a:lnTo>
                <a:lnTo>
                  <a:pt x="776" y="228"/>
                </a:lnTo>
                <a:lnTo>
                  <a:pt x="766" y="224"/>
                </a:lnTo>
                <a:lnTo>
                  <a:pt x="752" y="222"/>
                </a:lnTo>
                <a:lnTo>
                  <a:pt x="752" y="222"/>
                </a:lnTo>
                <a:lnTo>
                  <a:pt x="748" y="224"/>
                </a:lnTo>
                <a:lnTo>
                  <a:pt x="744" y="226"/>
                </a:lnTo>
                <a:lnTo>
                  <a:pt x="744" y="226"/>
                </a:lnTo>
                <a:lnTo>
                  <a:pt x="736" y="226"/>
                </a:lnTo>
                <a:lnTo>
                  <a:pt x="736" y="226"/>
                </a:lnTo>
                <a:lnTo>
                  <a:pt x="734" y="226"/>
                </a:lnTo>
                <a:lnTo>
                  <a:pt x="734" y="228"/>
                </a:lnTo>
                <a:lnTo>
                  <a:pt x="734" y="228"/>
                </a:lnTo>
                <a:lnTo>
                  <a:pt x="732" y="228"/>
                </a:lnTo>
                <a:lnTo>
                  <a:pt x="730" y="228"/>
                </a:lnTo>
                <a:lnTo>
                  <a:pt x="730" y="228"/>
                </a:lnTo>
                <a:lnTo>
                  <a:pt x="730" y="220"/>
                </a:lnTo>
                <a:lnTo>
                  <a:pt x="728" y="218"/>
                </a:lnTo>
                <a:lnTo>
                  <a:pt x="728" y="218"/>
                </a:lnTo>
                <a:lnTo>
                  <a:pt x="726" y="210"/>
                </a:lnTo>
                <a:lnTo>
                  <a:pt x="726" y="210"/>
                </a:lnTo>
                <a:lnTo>
                  <a:pt x="728" y="206"/>
                </a:lnTo>
                <a:lnTo>
                  <a:pt x="730" y="202"/>
                </a:lnTo>
                <a:lnTo>
                  <a:pt x="730" y="202"/>
                </a:lnTo>
                <a:lnTo>
                  <a:pt x="730" y="196"/>
                </a:lnTo>
                <a:lnTo>
                  <a:pt x="726" y="190"/>
                </a:lnTo>
                <a:lnTo>
                  <a:pt x="726" y="190"/>
                </a:lnTo>
                <a:lnTo>
                  <a:pt x="722" y="186"/>
                </a:lnTo>
                <a:lnTo>
                  <a:pt x="722" y="186"/>
                </a:lnTo>
                <a:lnTo>
                  <a:pt x="722" y="182"/>
                </a:lnTo>
                <a:lnTo>
                  <a:pt x="722" y="182"/>
                </a:lnTo>
                <a:lnTo>
                  <a:pt x="724" y="180"/>
                </a:lnTo>
                <a:lnTo>
                  <a:pt x="726" y="176"/>
                </a:lnTo>
                <a:lnTo>
                  <a:pt x="726" y="176"/>
                </a:lnTo>
                <a:lnTo>
                  <a:pt x="726" y="174"/>
                </a:lnTo>
                <a:lnTo>
                  <a:pt x="726" y="170"/>
                </a:lnTo>
                <a:lnTo>
                  <a:pt x="726" y="170"/>
                </a:lnTo>
                <a:lnTo>
                  <a:pt x="728" y="168"/>
                </a:lnTo>
                <a:lnTo>
                  <a:pt x="730" y="168"/>
                </a:lnTo>
                <a:lnTo>
                  <a:pt x="730" y="168"/>
                </a:lnTo>
                <a:lnTo>
                  <a:pt x="734" y="164"/>
                </a:lnTo>
                <a:lnTo>
                  <a:pt x="736" y="158"/>
                </a:lnTo>
                <a:lnTo>
                  <a:pt x="736" y="158"/>
                </a:lnTo>
                <a:lnTo>
                  <a:pt x="738" y="150"/>
                </a:lnTo>
                <a:lnTo>
                  <a:pt x="738" y="144"/>
                </a:lnTo>
                <a:lnTo>
                  <a:pt x="734" y="132"/>
                </a:lnTo>
                <a:lnTo>
                  <a:pt x="734" y="132"/>
                </a:lnTo>
                <a:lnTo>
                  <a:pt x="738" y="130"/>
                </a:lnTo>
                <a:lnTo>
                  <a:pt x="738" y="130"/>
                </a:lnTo>
                <a:lnTo>
                  <a:pt x="742" y="138"/>
                </a:lnTo>
                <a:lnTo>
                  <a:pt x="742" y="138"/>
                </a:lnTo>
                <a:lnTo>
                  <a:pt x="742" y="140"/>
                </a:lnTo>
                <a:lnTo>
                  <a:pt x="740" y="142"/>
                </a:lnTo>
                <a:lnTo>
                  <a:pt x="740" y="142"/>
                </a:lnTo>
                <a:lnTo>
                  <a:pt x="740" y="144"/>
                </a:lnTo>
                <a:lnTo>
                  <a:pt x="742" y="146"/>
                </a:lnTo>
                <a:lnTo>
                  <a:pt x="744" y="150"/>
                </a:lnTo>
                <a:lnTo>
                  <a:pt x="744" y="150"/>
                </a:lnTo>
                <a:lnTo>
                  <a:pt x="742" y="154"/>
                </a:lnTo>
                <a:lnTo>
                  <a:pt x="742" y="154"/>
                </a:lnTo>
                <a:lnTo>
                  <a:pt x="740" y="158"/>
                </a:lnTo>
                <a:lnTo>
                  <a:pt x="740" y="160"/>
                </a:lnTo>
                <a:lnTo>
                  <a:pt x="742" y="160"/>
                </a:lnTo>
                <a:lnTo>
                  <a:pt x="742" y="160"/>
                </a:lnTo>
                <a:lnTo>
                  <a:pt x="742" y="166"/>
                </a:lnTo>
                <a:lnTo>
                  <a:pt x="742" y="166"/>
                </a:lnTo>
                <a:lnTo>
                  <a:pt x="746" y="172"/>
                </a:lnTo>
                <a:lnTo>
                  <a:pt x="748" y="176"/>
                </a:lnTo>
                <a:lnTo>
                  <a:pt x="744" y="180"/>
                </a:lnTo>
                <a:lnTo>
                  <a:pt x="744" y="180"/>
                </a:lnTo>
                <a:lnTo>
                  <a:pt x="744" y="180"/>
                </a:lnTo>
                <a:lnTo>
                  <a:pt x="748" y="184"/>
                </a:lnTo>
                <a:lnTo>
                  <a:pt x="752" y="186"/>
                </a:lnTo>
                <a:lnTo>
                  <a:pt x="752" y="186"/>
                </a:lnTo>
                <a:lnTo>
                  <a:pt x="754" y="186"/>
                </a:lnTo>
                <a:lnTo>
                  <a:pt x="756" y="184"/>
                </a:lnTo>
                <a:lnTo>
                  <a:pt x="758" y="182"/>
                </a:lnTo>
                <a:lnTo>
                  <a:pt x="758" y="182"/>
                </a:lnTo>
                <a:lnTo>
                  <a:pt x="764" y="182"/>
                </a:lnTo>
                <a:lnTo>
                  <a:pt x="766" y="184"/>
                </a:lnTo>
                <a:lnTo>
                  <a:pt x="766" y="184"/>
                </a:lnTo>
                <a:lnTo>
                  <a:pt x="778" y="182"/>
                </a:lnTo>
                <a:lnTo>
                  <a:pt x="780" y="184"/>
                </a:lnTo>
                <a:lnTo>
                  <a:pt x="780" y="184"/>
                </a:lnTo>
                <a:lnTo>
                  <a:pt x="782" y="182"/>
                </a:lnTo>
                <a:lnTo>
                  <a:pt x="782" y="182"/>
                </a:lnTo>
                <a:lnTo>
                  <a:pt x="780" y="178"/>
                </a:lnTo>
                <a:lnTo>
                  <a:pt x="780" y="178"/>
                </a:lnTo>
                <a:lnTo>
                  <a:pt x="776" y="178"/>
                </a:lnTo>
                <a:lnTo>
                  <a:pt x="776" y="178"/>
                </a:lnTo>
                <a:lnTo>
                  <a:pt x="774" y="174"/>
                </a:lnTo>
                <a:lnTo>
                  <a:pt x="774" y="174"/>
                </a:lnTo>
                <a:lnTo>
                  <a:pt x="768" y="174"/>
                </a:lnTo>
                <a:lnTo>
                  <a:pt x="768" y="174"/>
                </a:lnTo>
                <a:lnTo>
                  <a:pt x="766" y="170"/>
                </a:lnTo>
                <a:lnTo>
                  <a:pt x="766" y="170"/>
                </a:lnTo>
                <a:lnTo>
                  <a:pt x="764" y="170"/>
                </a:lnTo>
                <a:lnTo>
                  <a:pt x="760" y="168"/>
                </a:lnTo>
                <a:lnTo>
                  <a:pt x="760" y="168"/>
                </a:lnTo>
                <a:lnTo>
                  <a:pt x="764" y="158"/>
                </a:lnTo>
                <a:lnTo>
                  <a:pt x="764" y="158"/>
                </a:lnTo>
                <a:lnTo>
                  <a:pt x="774" y="160"/>
                </a:lnTo>
                <a:lnTo>
                  <a:pt x="782" y="164"/>
                </a:lnTo>
                <a:lnTo>
                  <a:pt x="782" y="164"/>
                </a:lnTo>
                <a:lnTo>
                  <a:pt x="782" y="164"/>
                </a:lnTo>
                <a:lnTo>
                  <a:pt x="784" y="164"/>
                </a:lnTo>
                <a:lnTo>
                  <a:pt x="784" y="164"/>
                </a:lnTo>
                <a:lnTo>
                  <a:pt x="788" y="162"/>
                </a:lnTo>
                <a:lnTo>
                  <a:pt x="790" y="156"/>
                </a:lnTo>
                <a:lnTo>
                  <a:pt x="790" y="156"/>
                </a:lnTo>
                <a:lnTo>
                  <a:pt x="786" y="154"/>
                </a:lnTo>
                <a:lnTo>
                  <a:pt x="786" y="154"/>
                </a:lnTo>
                <a:lnTo>
                  <a:pt x="780" y="154"/>
                </a:lnTo>
                <a:lnTo>
                  <a:pt x="780" y="154"/>
                </a:lnTo>
                <a:lnTo>
                  <a:pt x="790" y="148"/>
                </a:lnTo>
                <a:lnTo>
                  <a:pt x="794" y="146"/>
                </a:lnTo>
                <a:lnTo>
                  <a:pt x="802" y="146"/>
                </a:lnTo>
                <a:lnTo>
                  <a:pt x="802" y="146"/>
                </a:lnTo>
                <a:lnTo>
                  <a:pt x="812" y="150"/>
                </a:lnTo>
                <a:lnTo>
                  <a:pt x="812" y="150"/>
                </a:lnTo>
                <a:lnTo>
                  <a:pt x="816" y="154"/>
                </a:lnTo>
                <a:lnTo>
                  <a:pt x="816" y="154"/>
                </a:lnTo>
                <a:lnTo>
                  <a:pt x="820" y="154"/>
                </a:lnTo>
                <a:lnTo>
                  <a:pt x="820" y="154"/>
                </a:lnTo>
                <a:lnTo>
                  <a:pt x="822" y="158"/>
                </a:lnTo>
                <a:lnTo>
                  <a:pt x="826" y="162"/>
                </a:lnTo>
                <a:lnTo>
                  <a:pt x="826" y="162"/>
                </a:lnTo>
                <a:lnTo>
                  <a:pt x="832" y="162"/>
                </a:lnTo>
                <a:lnTo>
                  <a:pt x="836" y="162"/>
                </a:lnTo>
                <a:lnTo>
                  <a:pt x="842" y="162"/>
                </a:lnTo>
                <a:lnTo>
                  <a:pt x="848" y="162"/>
                </a:lnTo>
                <a:lnTo>
                  <a:pt x="848" y="162"/>
                </a:lnTo>
                <a:lnTo>
                  <a:pt x="850" y="164"/>
                </a:lnTo>
                <a:lnTo>
                  <a:pt x="850" y="166"/>
                </a:lnTo>
                <a:lnTo>
                  <a:pt x="848" y="168"/>
                </a:lnTo>
                <a:lnTo>
                  <a:pt x="844" y="174"/>
                </a:lnTo>
                <a:lnTo>
                  <a:pt x="844" y="174"/>
                </a:lnTo>
                <a:lnTo>
                  <a:pt x="840" y="178"/>
                </a:lnTo>
                <a:lnTo>
                  <a:pt x="840" y="182"/>
                </a:lnTo>
                <a:lnTo>
                  <a:pt x="840" y="192"/>
                </a:lnTo>
                <a:lnTo>
                  <a:pt x="838" y="194"/>
                </a:lnTo>
                <a:lnTo>
                  <a:pt x="838" y="194"/>
                </a:lnTo>
                <a:lnTo>
                  <a:pt x="834" y="202"/>
                </a:lnTo>
                <a:lnTo>
                  <a:pt x="830" y="210"/>
                </a:lnTo>
                <a:lnTo>
                  <a:pt x="830" y="210"/>
                </a:lnTo>
                <a:lnTo>
                  <a:pt x="834" y="208"/>
                </a:lnTo>
                <a:lnTo>
                  <a:pt x="834" y="208"/>
                </a:lnTo>
                <a:lnTo>
                  <a:pt x="840" y="202"/>
                </a:lnTo>
                <a:lnTo>
                  <a:pt x="840" y="202"/>
                </a:lnTo>
                <a:lnTo>
                  <a:pt x="842" y="202"/>
                </a:lnTo>
                <a:lnTo>
                  <a:pt x="842" y="202"/>
                </a:lnTo>
                <a:lnTo>
                  <a:pt x="842" y="206"/>
                </a:lnTo>
                <a:lnTo>
                  <a:pt x="848" y="210"/>
                </a:lnTo>
                <a:lnTo>
                  <a:pt x="848" y="210"/>
                </a:lnTo>
                <a:lnTo>
                  <a:pt x="848" y="214"/>
                </a:lnTo>
                <a:lnTo>
                  <a:pt x="848" y="214"/>
                </a:lnTo>
                <a:lnTo>
                  <a:pt x="858" y="216"/>
                </a:lnTo>
                <a:lnTo>
                  <a:pt x="868" y="218"/>
                </a:lnTo>
                <a:lnTo>
                  <a:pt x="868" y="218"/>
                </a:lnTo>
                <a:lnTo>
                  <a:pt x="870" y="216"/>
                </a:lnTo>
                <a:lnTo>
                  <a:pt x="872" y="214"/>
                </a:lnTo>
                <a:lnTo>
                  <a:pt x="874" y="214"/>
                </a:lnTo>
                <a:lnTo>
                  <a:pt x="874" y="214"/>
                </a:lnTo>
                <a:lnTo>
                  <a:pt x="876" y="216"/>
                </a:lnTo>
                <a:lnTo>
                  <a:pt x="876" y="216"/>
                </a:lnTo>
                <a:lnTo>
                  <a:pt x="880" y="218"/>
                </a:lnTo>
                <a:lnTo>
                  <a:pt x="880" y="218"/>
                </a:lnTo>
                <a:lnTo>
                  <a:pt x="880" y="224"/>
                </a:lnTo>
                <a:lnTo>
                  <a:pt x="880" y="224"/>
                </a:lnTo>
                <a:lnTo>
                  <a:pt x="884" y="224"/>
                </a:lnTo>
                <a:lnTo>
                  <a:pt x="886" y="226"/>
                </a:lnTo>
                <a:lnTo>
                  <a:pt x="886" y="226"/>
                </a:lnTo>
                <a:lnTo>
                  <a:pt x="884" y="218"/>
                </a:lnTo>
                <a:lnTo>
                  <a:pt x="884" y="216"/>
                </a:lnTo>
                <a:lnTo>
                  <a:pt x="880" y="214"/>
                </a:lnTo>
                <a:lnTo>
                  <a:pt x="880" y="214"/>
                </a:lnTo>
                <a:lnTo>
                  <a:pt x="878" y="214"/>
                </a:lnTo>
                <a:lnTo>
                  <a:pt x="876" y="214"/>
                </a:lnTo>
                <a:lnTo>
                  <a:pt x="876" y="214"/>
                </a:lnTo>
                <a:lnTo>
                  <a:pt x="874" y="210"/>
                </a:lnTo>
                <a:lnTo>
                  <a:pt x="874" y="210"/>
                </a:lnTo>
                <a:lnTo>
                  <a:pt x="872" y="210"/>
                </a:lnTo>
                <a:lnTo>
                  <a:pt x="872" y="210"/>
                </a:lnTo>
                <a:lnTo>
                  <a:pt x="868" y="212"/>
                </a:lnTo>
                <a:lnTo>
                  <a:pt x="862" y="214"/>
                </a:lnTo>
                <a:lnTo>
                  <a:pt x="862" y="214"/>
                </a:lnTo>
                <a:lnTo>
                  <a:pt x="850" y="206"/>
                </a:lnTo>
                <a:lnTo>
                  <a:pt x="848" y="200"/>
                </a:lnTo>
                <a:lnTo>
                  <a:pt x="848" y="200"/>
                </a:lnTo>
                <a:lnTo>
                  <a:pt x="858" y="198"/>
                </a:lnTo>
                <a:lnTo>
                  <a:pt x="858" y="198"/>
                </a:lnTo>
                <a:lnTo>
                  <a:pt x="858" y="190"/>
                </a:lnTo>
                <a:lnTo>
                  <a:pt x="858" y="190"/>
                </a:lnTo>
                <a:lnTo>
                  <a:pt x="854" y="184"/>
                </a:lnTo>
                <a:lnTo>
                  <a:pt x="854" y="180"/>
                </a:lnTo>
                <a:lnTo>
                  <a:pt x="854" y="178"/>
                </a:lnTo>
                <a:lnTo>
                  <a:pt x="854" y="178"/>
                </a:lnTo>
                <a:lnTo>
                  <a:pt x="856" y="172"/>
                </a:lnTo>
                <a:lnTo>
                  <a:pt x="858" y="168"/>
                </a:lnTo>
                <a:lnTo>
                  <a:pt x="858" y="168"/>
                </a:lnTo>
                <a:lnTo>
                  <a:pt x="858" y="166"/>
                </a:lnTo>
                <a:lnTo>
                  <a:pt x="858" y="162"/>
                </a:lnTo>
                <a:lnTo>
                  <a:pt x="858" y="162"/>
                </a:lnTo>
                <a:lnTo>
                  <a:pt x="846" y="158"/>
                </a:lnTo>
                <a:lnTo>
                  <a:pt x="846" y="158"/>
                </a:lnTo>
                <a:lnTo>
                  <a:pt x="846" y="154"/>
                </a:lnTo>
                <a:lnTo>
                  <a:pt x="842" y="152"/>
                </a:lnTo>
                <a:lnTo>
                  <a:pt x="842" y="152"/>
                </a:lnTo>
                <a:lnTo>
                  <a:pt x="838" y="152"/>
                </a:lnTo>
                <a:lnTo>
                  <a:pt x="834" y="152"/>
                </a:lnTo>
                <a:lnTo>
                  <a:pt x="832" y="150"/>
                </a:lnTo>
                <a:lnTo>
                  <a:pt x="832" y="150"/>
                </a:lnTo>
                <a:lnTo>
                  <a:pt x="826" y="146"/>
                </a:lnTo>
                <a:lnTo>
                  <a:pt x="822" y="144"/>
                </a:lnTo>
                <a:lnTo>
                  <a:pt x="820" y="138"/>
                </a:lnTo>
                <a:lnTo>
                  <a:pt x="822" y="130"/>
                </a:lnTo>
                <a:lnTo>
                  <a:pt x="822" y="130"/>
                </a:lnTo>
                <a:lnTo>
                  <a:pt x="824" y="122"/>
                </a:lnTo>
                <a:lnTo>
                  <a:pt x="824" y="122"/>
                </a:lnTo>
                <a:lnTo>
                  <a:pt x="824" y="120"/>
                </a:lnTo>
                <a:lnTo>
                  <a:pt x="824" y="118"/>
                </a:lnTo>
                <a:lnTo>
                  <a:pt x="824" y="118"/>
                </a:lnTo>
                <a:lnTo>
                  <a:pt x="828" y="110"/>
                </a:lnTo>
                <a:lnTo>
                  <a:pt x="828" y="110"/>
                </a:lnTo>
                <a:lnTo>
                  <a:pt x="830" y="110"/>
                </a:lnTo>
                <a:lnTo>
                  <a:pt x="832" y="110"/>
                </a:lnTo>
                <a:lnTo>
                  <a:pt x="834" y="108"/>
                </a:lnTo>
                <a:lnTo>
                  <a:pt x="834" y="108"/>
                </a:lnTo>
                <a:lnTo>
                  <a:pt x="840" y="108"/>
                </a:lnTo>
                <a:lnTo>
                  <a:pt x="844" y="108"/>
                </a:lnTo>
                <a:lnTo>
                  <a:pt x="848" y="106"/>
                </a:lnTo>
                <a:lnTo>
                  <a:pt x="848" y="106"/>
                </a:lnTo>
                <a:lnTo>
                  <a:pt x="852" y="106"/>
                </a:lnTo>
                <a:lnTo>
                  <a:pt x="858" y="108"/>
                </a:lnTo>
                <a:lnTo>
                  <a:pt x="858" y="108"/>
                </a:lnTo>
                <a:lnTo>
                  <a:pt x="862" y="104"/>
                </a:lnTo>
                <a:lnTo>
                  <a:pt x="866" y="104"/>
                </a:lnTo>
                <a:lnTo>
                  <a:pt x="870" y="104"/>
                </a:lnTo>
                <a:lnTo>
                  <a:pt x="870" y="104"/>
                </a:lnTo>
                <a:lnTo>
                  <a:pt x="874" y="106"/>
                </a:lnTo>
                <a:lnTo>
                  <a:pt x="876" y="108"/>
                </a:lnTo>
                <a:lnTo>
                  <a:pt x="878" y="108"/>
                </a:lnTo>
                <a:lnTo>
                  <a:pt x="880" y="106"/>
                </a:lnTo>
                <a:lnTo>
                  <a:pt x="880" y="106"/>
                </a:lnTo>
                <a:lnTo>
                  <a:pt x="882" y="106"/>
                </a:lnTo>
                <a:lnTo>
                  <a:pt x="886" y="106"/>
                </a:lnTo>
                <a:lnTo>
                  <a:pt x="886" y="106"/>
                </a:lnTo>
                <a:lnTo>
                  <a:pt x="890" y="104"/>
                </a:lnTo>
                <a:lnTo>
                  <a:pt x="896" y="104"/>
                </a:lnTo>
                <a:lnTo>
                  <a:pt x="896" y="104"/>
                </a:lnTo>
                <a:lnTo>
                  <a:pt x="900" y="104"/>
                </a:lnTo>
                <a:lnTo>
                  <a:pt x="902" y="106"/>
                </a:lnTo>
                <a:lnTo>
                  <a:pt x="902" y="108"/>
                </a:lnTo>
                <a:lnTo>
                  <a:pt x="900" y="112"/>
                </a:lnTo>
                <a:lnTo>
                  <a:pt x="900" y="112"/>
                </a:lnTo>
                <a:lnTo>
                  <a:pt x="900" y="112"/>
                </a:lnTo>
                <a:lnTo>
                  <a:pt x="902" y="114"/>
                </a:lnTo>
                <a:lnTo>
                  <a:pt x="908" y="114"/>
                </a:lnTo>
                <a:lnTo>
                  <a:pt x="908" y="114"/>
                </a:lnTo>
                <a:lnTo>
                  <a:pt x="908" y="114"/>
                </a:lnTo>
                <a:lnTo>
                  <a:pt x="908" y="110"/>
                </a:lnTo>
                <a:lnTo>
                  <a:pt x="906" y="104"/>
                </a:lnTo>
                <a:lnTo>
                  <a:pt x="902" y="96"/>
                </a:lnTo>
                <a:lnTo>
                  <a:pt x="902" y="96"/>
                </a:lnTo>
                <a:lnTo>
                  <a:pt x="898" y="94"/>
                </a:lnTo>
                <a:lnTo>
                  <a:pt x="894" y="92"/>
                </a:lnTo>
                <a:lnTo>
                  <a:pt x="894" y="92"/>
                </a:lnTo>
                <a:lnTo>
                  <a:pt x="894" y="88"/>
                </a:lnTo>
                <a:lnTo>
                  <a:pt x="894" y="88"/>
                </a:lnTo>
                <a:lnTo>
                  <a:pt x="900" y="88"/>
                </a:lnTo>
                <a:lnTo>
                  <a:pt x="906" y="88"/>
                </a:lnTo>
                <a:lnTo>
                  <a:pt x="906" y="86"/>
                </a:lnTo>
                <a:lnTo>
                  <a:pt x="906" y="86"/>
                </a:lnTo>
                <a:lnTo>
                  <a:pt x="904" y="84"/>
                </a:lnTo>
                <a:lnTo>
                  <a:pt x="902" y="82"/>
                </a:lnTo>
                <a:lnTo>
                  <a:pt x="902" y="82"/>
                </a:lnTo>
                <a:lnTo>
                  <a:pt x="900" y="80"/>
                </a:lnTo>
                <a:lnTo>
                  <a:pt x="896" y="80"/>
                </a:lnTo>
                <a:lnTo>
                  <a:pt x="896" y="80"/>
                </a:lnTo>
                <a:lnTo>
                  <a:pt x="898" y="76"/>
                </a:lnTo>
                <a:lnTo>
                  <a:pt x="898" y="76"/>
                </a:lnTo>
                <a:lnTo>
                  <a:pt x="908" y="82"/>
                </a:lnTo>
                <a:lnTo>
                  <a:pt x="908" y="82"/>
                </a:lnTo>
                <a:lnTo>
                  <a:pt x="910" y="74"/>
                </a:lnTo>
                <a:lnTo>
                  <a:pt x="912" y="70"/>
                </a:lnTo>
                <a:lnTo>
                  <a:pt x="912" y="70"/>
                </a:lnTo>
                <a:lnTo>
                  <a:pt x="916" y="70"/>
                </a:lnTo>
                <a:lnTo>
                  <a:pt x="916" y="70"/>
                </a:lnTo>
                <a:lnTo>
                  <a:pt x="918" y="66"/>
                </a:lnTo>
                <a:lnTo>
                  <a:pt x="918" y="66"/>
                </a:lnTo>
                <a:lnTo>
                  <a:pt x="914" y="64"/>
                </a:lnTo>
                <a:lnTo>
                  <a:pt x="914" y="64"/>
                </a:lnTo>
                <a:lnTo>
                  <a:pt x="910" y="64"/>
                </a:lnTo>
                <a:lnTo>
                  <a:pt x="910" y="64"/>
                </a:lnTo>
                <a:lnTo>
                  <a:pt x="910" y="62"/>
                </a:lnTo>
                <a:lnTo>
                  <a:pt x="910" y="62"/>
                </a:lnTo>
                <a:lnTo>
                  <a:pt x="916" y="62"/>
                </a:lnTo>
                <a:lnTo>
                  <a:pt x="922" y="62"/>
                </a:lnTo>
                <a:lnTo>
                  <a:pt x="924" y="60"/>
                </a:lnTo>
                <a:lnTo>
                  <a:pt x="924" y="60"/>
                </a:lnTo>
                <a:lnTo>
                  <a:pt x="932" y="60"/>
                </a:lnTo>
                <a:lnTo>
                  <a:pt x="932" y="58"/>
                </a:lnTo>
                <a:lnTo>
                  <a:pt x="932" y="58"/>
                </a:lnTo>
                <a:lnTo>
                  <a:pt x="938" y="58"/>
                </a:lnTo>
                <a:lnTo>
                  <a:pt x="938" y="58"/>
                </a:lnTo>
                <a:lnTo>
                  <a:pt x="942" y="54"/>
                </a:lnTo>
                <a:lnTo>
                  <a:pt x="946" y="52"/>
                </a:lnTo>
                <a:lnTo>
                  <a:pt x="946" y="52"/>
                </a:lnTo>
                <a:lnTo>
                  <a:pt x="950" y="54"/>
                </a:lnTo>
                <a:lnTo>
                  <a:pt x="952" y="54"/>
                </a:lnTo>
                <a:lnTo>
                  <a:pt x="952" y="54"/>
                </a:lnTo>
                <a:lnTo>
                  <a:pt x="960" y="52"/>
                </a:lnTo>
                <a:lnTo>
                  <a:pt x="960" y="52"/>
                </a:lnTo>
                <a:lnTo>
                  <a:pt x="964" y="52"/>
                </a:lnTo>
                <a:lnTo>
                  <a:pt x="970" y="52"/>
                </a:lnTo>
                <a:lnTo>
                  <a:pt x="970" y="52"/>
                </a:lnTo>
                <a:lnTo>
                  <a:pt x="976" y="48"/>
                </a:lnTo>
                <a:lnTo>
                  <a:pt x="976" y="48"/>
                </a:lnTo>
                <a:lnTo>
                  <a:pt x="982" y="48"/>
                </a:lnTo>
                <a:lnTo>
                  <a:pt x="988" y="48"/>
                </a:lnTo>
                <a:lnTo>
                  <a:pt x="988" y="48"/>
                </a:lnTo>
                <a:lnTo>
                  <a:pt x="992" y="46"/>
                </a:lnTo>
                <a:lnTo>
                  <a:pt x="992" y="44"/>
                </a:lnTo>
                <a:lnTo>
                  <a:pt x="992" y="42"/>
                </a:lnTo>
                <a:lnTo>
                  <a:pt x="996" y="42"/>
                </a:lnTo>
                <a:lnTo>
                  <a:pt x="996" y="42"/>
                </a:lnTo>
                <a:lnTo>
                  <a:pt x="998" y="42"/>
                </a:lnTo>
                <a:lnTo>
                  <a:pt x="1000" y="44"/>
                </a:lnTo>
                <a:lnTo>
                  <a:pt x="1000" y="44"/>
                </a:lnTo>
                <a:lnTo>
                  <a:pt x="1002" y="42"/>
                </a:lnTo>
                <a:lnTo>
                  <a:pt x="1002" y="42"/>
                </a:lnTo>
                <a:lnTo>
                  <a:pt x="1004" y="42"/>
                </a:lnTo>
                <a:lnTo>
                  <a:pt x="1004" y="42"/>
                </a:lnTo>
                <a:lnTo>
                  <a:pt x="1010" y="42"/>
                </a:lnTo>
                <a:lnTo>
                  <a:pt x="1010" y="42"/>
                </a:lnTo>
                <a:lnTo>
                  <a:pt x="1012" y="44"/>
                </a:lnTo>
                <a:lnTo>
                  <a:pt x="1014" y="44"/>
                </a:lnTo>
                <a:lnTo>
                  <a:pt x="1014" y="44"/>
                </a:lnTo>
                <a:lnTo>
                  <a:pt x="1016" y="40"/>
                </a:lnTo>
                <a:lnTo>
                  <a:pt x="1016" y="40"/>
                </a:lnTo>
                <a:lnTo>
                  <a:pt x="1024" y="44"/>
                </a:lnTo>
                <a:lnTo>
                  <a:pt x="1024" y="44"/>
                </a:lnTo>
                <a:lnTo>
                  <a:pt x="1028" y="42"/>
                </a:lnTo>
                <a:lnTo>
                  <a:pt x="1030" y="42"/>
                </a:lnTo>
                <a:lnTo>
                  <a:pt x="1034" y="42"/>
                </a:lnTo>
                <a:lnTo>
                  <a:pt x="1034" y="42"/>
                </a:lnTo>
                <a:lnTo>
                  <a:pt x="1036" y="46"/>
                </a:lnTo>
                <a:lnTo>
                  <a:pt x="1036" y="46"/>
                </a:lnTo>
                <a:lnTo>
                  <a:pt x="1036" y="46"/>
                </a:lnTo>
                <a:lnTo>
                  <a:pt x="1036" y="46"/>
                </a:lnTo>
                <a:lnTo>
                  <a:pt x="1032" y="50"/>
                </a:lnTo>
                <a:lnTo>
                  <a:pt x="1028" y="54"/>
                </a:lnTo>
                <a:lnTo>
                  <a:pt x="1028" y="56"/>
                </a:lnTo>
                <a:lnTo>
                  <a:pt x="1028" y="56"/>
                </a:lnTo>
                <a:lnTo>
                  <a:pt x="1036" y="54"/>
                </a:lnTo>
                <a:lnTo>
                  <a:pt x="1036" y="54"/>
                </a:lnTo>
                <a:lnTo>
                  <a:pt x="1038" y="50"/>
                </a:lnTo>
                <a:lnTo>
                  <a:pt x="1040" y="50"/>
                </a:lnTo>
                <a:lnTo>
                  <a:pt x="1040" y="50"/>
                </a:lnTo>
                <a:lnTo>
                  <a:pt x="1040" y="54"/>
                </a:lnTo>
                <a:lnTo>
                  <a:pt x="1042" y="54"/>
                </a:lnTo>
                <a:lnTo>
                  <a:pt x="1042" y="54"/>
                </a:lnTo>
                <a:lnTo>
                  <a:pt x="1044" y="50"/>
                </a:lnTo>
                <a:lnTo>
                  <a:pt x="1044" y="50"/>
                </a:lnTo>
                <a:lnTo>
                  <a:pt x="1048" y="50"/>
                </a:lnTo>
                <a:lnTo>
                  <a:pt x="1048" y="52"/>
                </a:lnTo>
                <a:lnTo>
                  <a:pt x="1048" y="52"/>
                </a:lnTo>
                <a:lnTo>
                  <a:pt x="1056" y="46"/>
                </a:lnTo>
                <a:lnTo>
                  <a:pt x="1056" y="46"/>
                </a:lnTo>
                <a:lnTo>
                  <a:pt x="1062" y="42"/>
                </a:lnTo>
                <a:lnTo>
                  <a:pt x="1064" y="40"/>
                </a:lnTo>
                <a:lnTo>
                  <a:pt x="1068" y="44"/>
                </a:lnTo>
                <a:lnTo>
                  <a:pt x="1068" y="44"/>
                </a:lnTo>
                <a:lnTo>
                  <a:pt x="1070" y="46"/>
                </a:lnTo>
                <a:lnTo>
                  <a:pt x="1068" y="50"/>
                </a:lnTo>
                <a:lnTo>
                  <a:pt x="1068" y="54"/>
                </a:lnTo>
                <a:lnTo>
                  <a:pt x="1070" y="56"/>
                </a:lnTo>
                <a:lnTo>
                  <a:pt x="1070" y="52"/>
                </a:lnTo>
                <a:lnTo>
                  <a:pt x="1070" y="52"/>
                </a:lnTo>
                <a:lnTo>
                  <a:pt x="1074" y="52"/>
                </a:lnTo>
                <a:lnTo>
                  <a:pt x="1074" y="52"/>
                </a:lnTo>
                <a:lnTo>
                  <a:pt x="1072" y="44"/>
                </a:lnTo>
                <a:lnTo>
                  <a:pt x="1072" y="42"/>
                </a:lnTo>
                <a:lnTo>
                  <a:pt x="1070" y="40"/>
                </a:lnTo>
                <a:lnTo>
                  <a:pt x="1070" y="40"/>
                </a:lnTo>
                <a:lnTo>
                  <a:pt x="1066" y="38"/>
                </a:lnTo>
                <a:lnTo>
                  <a:pt x="1066" y="38"/>
                </a:lnTo>
                <a:lnTo>
                  <a:pt x="1064" y="36"/>
                </a:lnTo>
                <a:lnTo>
                  <a:pt x="1064" y="36"/>
                </a:lnTo>
                <a:lnTo>
                  <a:pt x="1084" y="36"/>
                </a:lnTo>
                <a:lnTo>
                  <a:pt x="1084" y="36"/>
                </a:lnTo>
                <a:lnTo>
                  <a:pt x="1086" y="34"/>
                </a:lnTo>
                <a:lnTo>
                  <a:pt x="1090" y="32"/>
                </a:lnTo>
                <a:lnTo>
                  <a:pt x="1090" y="32"/>
                </a:lnTo>
                <a:lnTo>
                  <a:pt x="1094" y="38"/>
                </a:lnTo>
                <a:lnTo>
                  <a:pt x="1094" y="38"/>
                </a:lnTo>
                <a:lnTo>
                  <a:pt x="1098" y="38"/>
                </a:lnTo>
                <a:lnTo>
                  <a:pt x="1098" y="38"/>
                </a:lnTo>
                <a:lnTo>
                  <a:pt x="1094" y="32"/>
                </a:lnTo>
                <a:lnTo>
                  <a:pt x="1090" y="28"/>
                </a:lnTo>
                <a:lnTo>
                  <a:pt x="1090" y="28"/>
                </a:lnTo>
                <a:lnTo>
                  <a:pt x="1090" y="22"/>
                </a:lnTo>
                <a:lnTo>
                  <a:pt x="1092" y="22"/>
                </a:lnTo>
                <a:lnTo>
                  <a:pt x="1092" y="22"/>
                </a:lnTo>
                <a:lnTo>
                  <a:pt x="1102" y="14"/>
                </a:lnTo>
                <a:lnTo>
                  <a:pt x="1102" y="14"/>
                </a:lnTo>
                <a:lnTo>
                  <a:pt x="1104" y="12"/>
                </a:lnTo>
                <a:lnTo>
                  <a:pt x="1104" y="12"/>
                </a:lnTo>
                <a:lnTo>
                  <a:pt x="1104" y="10"/>
                </a:lnTo>
                <a:lnTo>
                  <a:pt x="1104" y="8"/>
                </a:lnTo>
                <a:lnTo>
                  <a:pt x="1104" y="8"/>
                </a:lnTo>
                <a:lnTo>
                  <a:pt x="1108" y="6"/>
                </a:lnTo>
                <a:lnTo>
                  <a:pt x="1112" y="6"/>
                </a:lnTo>
                <a:lnTo>
                  <a:pt x="1114" y="4"/>
                </a:lnTo>
                <a:lnTo>
                  <a:pt x="1114" y="4"/>
                </a:lnTo>
                <a:lnTo>
                  <a:pt x="1118" y="4"/>
                </a:lnTo>
                <a:lnTo>
                  <a:pt x="1120" y="6"/>
                </a:lnTo>
                <a:lnTo>
                  <a:pt x="1122" y="6"/>
                </a:lnTo>
                <a:lnTo>
                  <a:pt x="1124" y="8"/>
                </a:lnTo>
                <a:lnTo>
                  <a:pt x="1124" y="8"/>
                </a:lnTo>
                <a:lnTo>
                  <a:pt x="1126" y="6"/>
                </a:lnTo>
                <a:lnTo>
                  <a:pt x="1128" y="4"/>
                </a:lnTo>
                <a:lnTo>
                  <a:pt x="1130" y="2"/>
                </a:lnTo>
                <a:lnTo>
                  <a:pt x="1130" y="2"/>
                </a:lnTo>
                <a:lnTo>
                  <a:pt x="1132" y="0"/>
                </a:lnTo>
                <a:lnTo>
                  <a:pt x="1134" y="2"/>
                </a:lnTo>
                <a:lnTo>
                  <a:pt x="1138" y="4"/>
                </a:lnTo>
                <a:lnTo>
                  <a:pt x="1138" y="4"/>
                </a:lnTo>
                <a:lnTo>
                  <a:pt x="1142" y="2"/>
                </a:lnTo>
                <a:lnTo>
                  <a:pt x="1146" y="2"/>
                </a:lnTo>
                <a:lnTo>
                  <a:pt x="1146" y="2"/>
                </a:lnTo>
                <a:lnTo>
                  <a:pt x="1146" y="6"/>
                </a:lnTo>
                <a:lnTo>
                  <a:pt x="1146" y="8"/>
                </a:lnTo>
                <a:lnTo>
                  <a:pt x="1146" y="8"/>
                </a:lnTo>
                <a:lnTo>
                  <a:pt x="1150" y="8"/>
                </a:lnTo>
                <a:lnTo>
                  <a:pt x="1154" y="8"/>
                </a:lnTo>
                <a:lnTo>
                  <a:pt x="1154" y="8"/>
                </a:lnTo>
                <a:lnTo>
                  <a:pt x="1156" y="10"/>
                </a:lnTo>
                <a:lnTo>
                  <a:pt x="1156" y="12"/>
                </a:lnTo>
                <a:lnTo>
                  <a:pt x="1156" y="12"/>
                </a:lnTo>
                <a:lnTo>
                  <a:pt x="1152" y="12"/>
                </a:lnTo>
                <a:lnTo>
                  <a:pt x="1152" y="12"/>
                </a:lnTo>
                <a:lnTo>
                  <a:pt x="1150" y="16"/>
                </a:lnTo>
                <a:lnTo>
                  <a:pt x="1148" y="20"/>
                </a:lnTo>
                <a:lnTo>
                  <a:pt x="1148" y="20"/>
                </a:lnTo>
                <a:lnTo>
                  <a:pt x="1152" y="18"/>
                </a:lnTo>
                <a:lnTo>
                  <a:pt x="1154" y="18"/>
                </a:lnTo>
                <a:lnTo>
                  <a:pt x="1154" y="20"/>
                </a:lnTo>
                <a:lnTo>
                  <a:pt x="1154" y="20"/>
                </a:lnTo>
                <a:lnTo>
                  <a:pt x="1154" y="20"/>
                </a:lnTo>
                <a:lnTo>
                  <a:pt x="1154" y="22"/>
                </a:lnTo>
                <a:lnTo>
                  <a:pt x="1154" y="22"/>
                </a:lnTo>
                <a:lnTo>
                  <a:pt x="1154" y="22"/>
                </a:lnTo>
                <a:lnTo>
                  <a:pt x="1158" y="22"/>
                </a:lnTo>
                <a:lnTo>
                  <a:pt x="1160" y="20"/>
                </a:lnTo>
                <a:lnTo>
                  <a:pt x="1162" y="20"/>
                </a:lnTo>
                <a:lnTo>
                  <a:pt x="1166" y="20"/>
                </a:lnTo>
                <a:lnTo>
                  <a:pt x="1168" y="22"/>
                </a:lnTo>
                <a:lnTo>
                  <a:pt x="1168" y="22"/>
                </a:lnTo>
                <a:lnTo>
                  <a:pt x="1176" y="24"/>
                </a:lnTo>
                <a:lnTo>
                  <a:pt x="1176" y="24"/>
                </a:lnTo>
                <a:lnTo>
                  <a:pt x="1172" y="38"/>
                </a:lnTo>
                <a:lnTo>
                  <a:pt x="1172" y="38"/>
                </a:lnTo>
                <a:lnTo>
                  <a:pt x="1178" y="36"/>
                </a:lnTo>
                <a:lnTo>
                  <a:pt x="1184" y="32"/>
                </a:lnTo>
                <a:lnTo>
                  <a:pt x="1184" y="32"/>
                </a:lnTo>
                <a:lnTo>
                  <a:pt x="1186" y="30"/>
                </a:lnTo>
                <a:lnTo>
                  <a:pt x="1188" y="28"/>
                </a:lnTo>
                <a:lnTo>
                  <a:pt x="1188" y="28"/>
                </a:lnTo>
                <a:lnTo>
                  <a:pt x="1200" y="26"/>
                </a:lnTo>
                <a:lnTo>
                  <a:pt x="1212" y="24"/>
                </a:lnTo>
                <a:lnTo>
                  <a:pt x="1212" y="24"/>
                </a:lnTo>
                <a:lnTo>
                  <a:pt x="1214" y="26"/>
                </a:lnTo>
                <a:lnTo>
                  <a:pt x="1216" y="26"/>
                </a:lnTo>
                <a:lnTo>
                  <a:pt x="1216" y="26"/>
                </a:lnTo>
                <a:lnTo>
                  <a:pt x="1220" y="24"/>
                </a:lnTo>
                <a:lnTo>
                  <a:pt x="1220" y="24"/>
                </a:lnTo>
                <a:lnTo>
                  <a:pt x="1228" y="24"/>
                </a:lnTo>
                <a:lnTo>
                  <a:pt x="1228" y="24"/>
                </a:lnTo>
                <a:lnTo>
                  <a:pt x="1230" y="22"/>
                </a:lnTo>
                <a:lnTo>
                  <a:pt x="1232" y="22"/>
                </a:lnTo>
                <a:lnTo>
                  <a:pt x="1232" y="22"/>
                </a:lnTo>
                <a:lnTo>
                  <a:pt x="1234" y="26"/>
                </a:lnTo>
                <a:lnTo>
                  <a:pt x="1236" y="28"/>
                </a:lnTo>
                <a:lnTo>
                  <a:pt x="1236" y="34"/>
                </a:lnTo>
                <a:lnTo>
                  <a:pt x="1236" y="34"/>
                </a:lnTo>
                <a:lnTo>
                  <a:pt x="1238" y="36"/>
                </a:lnTo>
                <a:lnTo>
                  <a:pt x="1244" y="38"/>
                </a:lnTo>
                <a:lnTo>
                  <a:pt x="1252" y="40"/>
                </a:lnTo>
                <a:lnTo>
                  <a:pt x="1252" y="40"/>
                </a:lnTo>
                <a:lnTo>
                  <a:pt x="1254" y="50"/>
                </a:lnTo>
                <a:lnTo>
                  <a:pt x="1254" y="50"/>
                </a:lnTo>
                <a:lnTo>
                  <a:pt x="1258" y="50"/>
                </a:lnTo>
                <a:lnTo>
                  <a:pt x="1258" y="50"/>
                </a:lnTo>
                <a:lnTo>
                  <a:pt x="1260" y="54"/>
                </a:lnTo>
                <a:lnTo>
                  <a:pt x="1260" y="56"/>
                </a:lnTo>
                <a:lnTo>
                  <a:pt x="1258" y="64"/>
                </a:lnTo>
                <a:lnTo>
                  <a:pt x="1258" y="64"/>
                </a:lnTo>
                <a:lnTo>
                  <a:pt x="1252" y="62"/>
                </a:lnTo>
                <a:lnTo>
                  <a:pt x="1252" y="62"/>
                </a:lnTo>
                <a:lnTo>
                  <a:pt x="1252" y="60"/>
                </a:lnTo>
                <a:lnTo>
                  <a:pt x="1252" y="60"/>
                </a:lnTo>
                <a:lnTo>
                  <a:pt x="1250" y="62"/>
                </a:lnTo>
                <a:lnTo>
                  <a:pt x="1250" y="62"/>
                </a:lnTo>
                <a:lnTo>
                  <a:pt x="1250" y="64"/>
                </a:lnTo>
                <a:lnTo>
                  <a:pt x="1250" y="64"/>
                </a:lnTo>
                <a:lnTo>
                  <a:pt x="1258" y="70"/>
                </a:lnTo>
                <a:lnTo>
                  <a:pt x="1262" y="76"/>
                </a:lnTo>
                <a:lnTo>
                  <a:pt x="1260" y="78"/>
                </a:lnTo>
                <a:lnTo>
                  <a:pt x="1258" y="80"/>
                </a:lnTo>
                <a:lnTo>
                  <a:pt x="1258" y="80"/>
                </a:lnTo>
                <a:lnTo>
                  <a:pt x="1246" y="84"/>
                </a:lnTo>
                <a:lnTo>
                  <a:pt x="1232" y="88"/>
                </a:lnTo>
                <a:lnTo>
                  <a:pt x="1232" y="88"/>
                </a:lnTo>
                <a:lnTo>
                  <a:pt x="1224" y="88"/>
                </a:lnTo>
                <a:lnTo>
                  <a:pt x="1224" y="88"/>
                </a:lnTo>
                <a:lnTo>
                  <a:pt x="1220" y="92"/>
                </a:lnTo>
                <a:lnTo>
                  <a:pt x="1220" y="92"/>
                </a:lnTo>
                <a:lnTo>
                  <a:pt x="1208" y="94"/>
                </a:lnTo>
                <a:lnTo>
                  <a:pt x="1208" y="94"/>
                </a:lnTo>
                <a:lnTo>
                  <a:pt x="1204" y="94"/>
                </a:lnTo>
                <a:lnTo>
                  <a:pt x="1202" y="94"/>
                </a:lnTo>
                <a:lnTo>
                  <a:pt x="1202" y="94"/>
                </a:lnTo>
                <a:lnTo>
                  <a:pt x="1200" y="98"/>
                </a:lnTo>
                <a:lnTo>
                  <a:pt x="1200" y="98"/>
                </a:lnTo>
                <a:lnTo>
                  <a:pt x="1196" y="102"/>
                </a:lnTo>
                <a:lnTo>
                  <a:pt x="1196" y="102"/>
                </a:lnTo>
                <a:lnTo>
                  <a:pt x="1198" y="112"/>
                </a:lnTo>
                <a:lnTo>
                  <a:pt x="1198" y="112"/>
                </a:lnTo>
                <a:lnTo>
                  <a:pt x="1192" y="112"/>
                </a:lnTo>
                <a:lnTo>
                  <a:pt x="1192" y="112"/>
                </a:lnTo>
                <a:lnTo>
                  <a:pt x="1188" y="116"/>
                </a:lnTo>
                <a:lnTo>
                  <a:pt x="1186" y="122"/>
                </a:lnTo>
                <a:lnTo>
                  <a:pt x="1186" y="122"/>
                </a:lnTo>
                <a:lnTo>
                  <a:pt x="1182" y="122"/>
                </a:lnTo>
                <a:lnTo>
                  <a:pt x="1178" y="124"/>
                </a:lnTo>
                <a:lnTo>
                  <a:pt x="1178" y="124"/>
                </a:lnTo>
                <a:lnTo>
                  <a:pt x="1174" y="126"/>
                </a:lnTo>
                <a:lnTo>
                  <a:pt x="1174" y="126"/>
                </a:lnTo>
                <a:lnTo>
                  <a:pt x="1170" y="128"/>
                </a:lnTo>
                <a:lnTo>
                  <a:pt x="1166" y="128"/>
                </a:lnTo>
                <a:lnTo>
                  <a:pt x="1166" y="128"/>
                </a:lnTo>
                <a:lnTo>
                  <a:pt x="1164" y="130"/>
                </a:lnTo>
                <a:lnTo>
                  <a:pt x="1164" y="132"/>
                </a:lnTo>
                <a:lnTo>
                  <a:pt x="1162" y="136"/>
                </a:lnTo>
                <a:lnTo>
                  <a:pt x="1162" y="136"/>
                </a:lnTo>
                <a:lnTo>
                  <a:pt x="1156" y="138"/>
                </a:lnTo>
                <a:lnTo>
                  <a:pt x="1150" y="140"/>
                </a:lnTo>
                <a:lnTo>
                  <a:pt x="1138" y="142"/>
                </a:lnTo>
                <a:lnTo>
                  <a:pt x="1136" y="144"/>
                </a:lnTo>
                <a:lnTo>
                  <a:pt x="1136" y="144"/>
                </a:lnTo>
                <a:lnTo>
                  <a:pt x="1148" y="142"/>
                </a:lnTo>
                <a:lnTo>
                  <a:pt x="1162" y="142"/>
                </a:lnTo>
                <a:lnTo>
                  <a:pt x="1166" y="138"/>
                </a:lnTo>
                <a:lnTo>
                  <a:pt x="1166" y="138"/>
                </a:lnTo>
                <a:lnTo>
                  <a:pt x="1166" y="136"/>
                </a:lnTo>
                <a:lnTo>
                  <a:pt x="1168" y="134"/>
                </a:lnTo>
                <a:lnTo>
                  <a:pt x="1168" y="134"/>
                </a:lnTo>
                <a:lnTo>
                  <a:pt x="1168" y="134"/>
                </a:lnTo>
                <a:lnTo>
                  <a:pt x="1172" y="132"/>
                </a:lnTo>
                <a:lnTo>
                  <a:pt x="1176" y="134"/>
                </a:lnTo>
                <a:lnTo>
                  <a:pt x="1184" y="134"/>
                </a:lnTo>
                <a:lnTo>
                  <a:pt x="1184" y="134"/>
                </a:lnTo>
                <a:lnTo>
                  <a:pt x="1186" y="134"/>
                </a:lnTo>
                <a:lnTo>
                  <a:pt x="1186" y="132"/>
                </a:lnTo>
                <a:lnTo>
                  <a:pt x="1186" y="132"/>
                </a:lnTo>
                <a:lnTo>
                  <a:pt x="1190" y="132"/>
                </a:lnTo>
                <a:lnTo>
                  <a:pt x="1194" y="130"/>
                </a:lnTo>
                <a:lnTo>
                  <a:pt x="1194" y="130"/>
                </a:lnTo>
                <a:lnTo>
                  <a:pt x="1200" y="126"/>
                </a:lnTo>
                <a:lnTo>
                  <a:pt x="1200" y="126"/>
                </a:lnTo>
                <a:lnTo>
                  <a:pt x="1198" y="124"/>
                </a:lnTo>
                <a:lnTo>
                  <a:pt x="1198" y="122"/>
                </a:lnTo>
                <a:lnTo>
                  <a:pt x="1198" y="122"/>
                </a:lnTo>
                <a:lnTo>
                  <a:pt x="1202" y="126"/>
                </a:lnTo>
                <a:lnTo>
                  <a:pt x="1204" y="126"/>
                </a:lnTo>
                <a:lnTo>
                  <a:pt x="1208" y="126"/>
                </a:lnTo>
                <a:lnTo>
                  <a:pt x="1208" y="126"/>
                </a:lnTo>
                <a:lnTo>
                  <a:pt x="1210" y="122"/>
                </a:lnTo>
                <a:lnTo>
                  <a:pt x="1210" y="122"/>
                </a:lnTo>
                <a:lnTo>
                  <a:pt x="1204" y="122"/>
                </a:lnTo>
                <a:lnTo>
                  <a:pt x="1204" y="122"/>
                </a:lnTo>
                <a:lnTo>
                  <a:pt x="1202" y="118"/>
                </a:lnTo>
                <a:lnTo>
                  <a:pt x="1202" y="118"/>
                </a:lnTo>
                <a:lnTo>
                  <a:pt x="1202" y="116"/>
                </a:lnTo>
                <a:lnTo>
                  <a:pt x="1202" y="116"/>
                </a:lnTo>
                <a:lnTo>
                  <a:pt x="1204" y="116"/>
                </a:lnTo>
                <a:lnTo>
                  <a:pt x="1204" y="114"/>
                </a:lnTo>
                <a:lnTo>
                  <a:pt x="1204" y="114"/>
                </a:lnTo>
                <a:lnTo>
                  <a:pt x="1206" y="112"/>
                </a:lnTo>
                <a:lnTo>
                  <a:pt x="1208" y="112"/>
                </a:lnTo>
                <a:lnTo>
                  <a:pt x="1208" y="112"/>
                </a:lnTo>
                <a:lnTo>
                  <a:pt x="1208" y="108"/>
                </a:lnTo>
                <a:lnTo>
                  <a:pt x="1208" y="108"/>
                </a:lnTo>
                <a:lnTo>
                  <a:pt x="1212" y="106"/>
                </a:lnTo>
                <a:lnTo>
                  <a:pt x="1214" y="106"/>
                </a:lnTo>
                <a:lnTo>
                  <a:pt x="1214" y="108"/>
                </a:lnTo>
                <a:lnTo>
                  <a:pt x="1216" y="110"/>
                </a:lnTo>
                <a:lnTo>
                  <a:pt x="1216" y="110"/>
                </a:lnTo>
                <a:lnTo>
                  <a:pt x="1218" y="110"/>
                </a:lnTo>
                <a:lnTo>
                  <a:pt x="1218" y="108"/>
                </a:lnTo>
                <a:lnTo>
                  <a:pt x="1218" y="108"/>
                </a:lnTo>
                <a:lnTo>
                  <a:pt x="1218" y="108"/>
                </a:lnTo>
                <a:lnTo>
                  <a:pt x="1218" y="108"/>
                </a:lnTo>
                <a:lnTo>
                  <a:pt x="1220" y="104"/>
                </a:lnTo>
                <a:lnTo>
                  <a:pt x="1222" y="104"/>
                </a:lnTo>
                <a:lnTo>
                  <a:pt x="1222" y="104"/>
                </a:lnTo>
                <a:lnTo>
                  <a:pt x="1226" y="112"/>
                </a:lnTo>
                <a:lnTo>
                  <a:pt x="1228" y="116"/>
                </a:lnTo>
                <a:lnTo>
                  <a:pt x="1232" y="116"/>
                </a:lnTo>
                <a:lnTo>
                  <a:pt x="1244" y="116"/>
                </a:lnTo>
                <a:lnTo>
                  <a:pt x="1244" y="116"/>
                </a:lnTo>
                <a:lnTo>
                  <a:pt x="1244" y="108"/>
                </a:lnTo>
                <a:lnTo>
                  <a:pt x="1244" y="108"/>
                </a:lnTo>
                <a:lnTo>
                  <a:pt x="1246" y="110"/>
                </a:lnTo>
                <a:lnTo>
                  <a:pt x="1246" y="110"/>
                </a:lnTo>
                <a:lnTo>
                  <a:pt x="1250" y="112"/>
                </a:lnTo>
                <a:lnTo>
                  <a:pt x="1250" y="112"/>
                </a:lnTo>
                <a:lnTo>
                  <a:pt x="1250" y="118"/>
                </a:lnTo>
                <a:lnTo>
                  <a:pt x="1248" y="120"/>
                </a:lnTo>
                <a:lnTo>
                  <a:pt x="1248" y="120"/>
                </a:lnTo>
                <a:lnTo>
                  <a:pt x="1248" y="124"/>
                </a:lnTo>
                <a:lnTo>
                  <a:pt x="1248" y="124"/>
                </a:lnTo>
                <a:lnTo>
                  <a:pt x="1250" y="126"/>
                </a:lnTo>
                <a:lnTo>
                  <a:pt x="1250" y="126"/>
                </a:lnTo>
                <a:lnTo>
                  <a:pt x="1250" y="122"/>
                </a:lnTo>
                <a:lnTo>
                  <a:pt x="1250" y="122"/>
                </a:lnTo>
                <a:lnTo>
                  <a:pt x="1254" y="116"/>
                </a:lnTo>
                <a:lnTo>
                  <a:pt x="1258" y="114"/>
                </a:lnTo>
                <a:lnTo>
                  <a:pt x="1268" y="108"/>
                </a:lnTo>
                <a:lnTo>
                  <a:pt x="1268" y="108"/>
                </a:lnTo>
                <a:lnTo>
                  <a:pt x="1270" y="104"/>
                </a:lnTo>
                <a:lnTo>
                  <a:pt x="1272" y="104"/>
                </a:lnTo>
                <a:lnTo>
                  <a:pt x="1272" y="104"/>
                </a:lnTo>
                <a:lnTo>
                  <a:pt x="1276" y="104"/>
                </a:lnTo>
                <a:lnTo>
                  <a:pt x="1278" y="104"/>
                </a:lnTo>
                <a:lnTo>
                  <a:pt x="1284" y="108"/>
                </a:lnTo>
                <a:lnTo>
                  <a:pt x="1284" y="108"/>
                </a:lnTo>
                <a:lnTo>
                  <a:pt x="1288" y="106"/>
                </a:lnTo>
                <a:lnTo>
                  <a:pt x="1292" y="106"/>
                </a:lnTo>
                <a:lnTo>
                  <a:pt x="1294" y="110"/>
                </a:lnTo>
                <a:lnTo>
                  <a:pt x="1294" y="110"/>
                </a:lnTo>
                <a:lnTo>
                  <a:pt x="1300" y="108"/>
                </a:lnTo>
                <a:lnTo>
                  <a:pt x="1300" y="108"/>
                </a:lnTo>
                <a:lnTo>
                  <a:pt x="1310" y="108"/>
                </a:lnTo>
                <a:lnTo>
                  <a:pt x="1316" y="110"/>
                </a:lnTo>
                <a:lnTo>
                  <a:pt x="1316" y="110"/>
                </a:lnTo>
                <a:lnTo>
                  <a:pt x="1316" y="120"/>
                </a:lnTo>
                <a:lnTo>
                  <a:pt x="1314" y="120"/>
                </a:lnTo>
                <a:lnTo>
                  <a:pt x="1314" y="120"/>
                </a:lnTo>
                <a:lnTo>
                  <a:pt x="1314" y="122"/>
                </a:lnTo>
                <a:lnTo>
                  <a:pt x="1314" y="122"/>
                </a:lnTo>
                <a:lnTo>
                  <a:pt x="1320" y="126"/>
                </a:lnTo>
                <a:lnTo>
                  <a:pt x="1320" y="126"/>
                </a:lnTo>
                <a:lnTo>
                  <a:pt x="1324" y="128"/>
                </a:lnTo>
                <a:lnTo>
                  <a:pt x="1326" y="128"/>
                </a:lnTo>
                <a:lnTo>
                  <a:pt x="1328" y="130"/>
                </a:lnTo>
                <a:lnTo>
                  <a:pt x="1328" y="130"/>
                </a:lnTo>
                <a:lnTo>
                  <a:pt x="1332" y="130"/>
                </a:lnTo>
                <a:lnTo>
                  <a:pt x="1332" y="130"/>
                </a:lnTo>
                <a:lnTo>
                  <a:pt x="1338" y="134"/>
                </a:lnTo>
                <a:lnTo>
                  <a:pt x="1338" y="134"/>
                </a:lnTo>
                <a:lnTo>
                  <a:pt x="1340" y="134"/>
                </a:lnTo>
                <a:lnTo>
                  <a:pt x="1340" y="134"/>
                </a:lnTo>
                <a:lnTo>
                  <a:pt x="1340" y="132"/>
                </a:lnTo>
                <a:lnTo>
                  <a:pt x="1340" y="132"/>
                </a:lnTo>
                <a:lnTo>
                  <a:pt x="1344" y="132"/>
                </a:lnTo>
                <a:lnTo>
                  <a:pt x="1346" y="132"/>
                </a:lnTo>
                <a:lnTo>
                  <a:pt x="1350" y="134"/>
                </a:lnTo>
                <a:lnTo>
                  <a:pt x="1352" y="134"/>
                </a:lnTo>
                <a:lnTo>
                  <a:pt x="1352" y="134"/>
                </a:lnTo>
                <a:lnTo>
                  <a:pt x="1356" y="132"/>
                </a:lnTo>
                <a:lnTo>
                  <a:pt x="1356" y="132"/>
                </a:lnTo>
                <a:lnTo>
                  <a:pt x="1362" y="136"/>
                </a:lnTo>
                <a:lnTo>
                  <a:pt x="1362" y="136"/>
                </a:lnTo>
                <a:lnTo>
                  <a:pt x="1366" y="136"/>
                </a:lnTo>
                <a:lnTo>
                  <a:pt x="1368" y="134"/>
                </a:lnTo>
                <a:lnTo>
                  <a:pt x="1368" y="134"/>
                </a:lnTo>
                <a:lnTo>
                  <a:pt x="1370" y="138"/>
                </a:lnTo>
                <a:lnTo>
                  <a:pt x="1374" y="140"/>
                </a:lnTo>
                <a:lnTo>
                  <a:pt x="1374" y="140"/>
                </a:lnTo>
                <a:lnTo>
                  <a:pt x="1380" y="142"/>
                </a:lnTo>
                <a:lnTo>
                  <a:pt x="1388" y="142"/>
                </a:lnTo>
                <a:lnTo>
                  <a:pt x="1388" y="142"/>
                </a:lnTo>
                <a:lnTo>
                  <a:pt x="1386" y="140"/>
                </a:lnTo>
                <a:lnTo>
                  <a:pt x="1388" y="138"/>
                </a:lnTo>
                <a:lnTo>
                  <a:pt x="1396" y="136"/>
                </a:lnTo>
                <a:lnTo>
                  <a:pt x="1396" y="136"/>
                </a:lnTo>
                <a:lnTo>
                  <a:pt x="1394" y="134"/>
                </a:lnTo>
                <a:lnTo>
                  <a:pt x="1394" y="132"/>
                </a:lnTo>
                <a:lnTo>
                  <a:pt x="1394" y="132"/>
                </a:lnTo>
                <a:lnTo>
                  <a:pt x="1398" y="130"/>
                </a:lnTo>
                <a:lnTo>
                  <a:pt x="1398" y="130"/>
                </a:lnTo>
                <a:lnTo>
                  <a:pt x="1396" y="128"/>
                </a:lnTo>
                <a:lnTo>
                  <a:pt x="1396" y="128"/>
                </a:lnTo>
                <a:lnTo>
                  <a:pt x="1392" y="126"/>
                </a:lnTo>
                <a:lnTo>
                  <a:pt x="1392" y="126"/>
                </a:lnTo>
                <a:lnTo>
                  <a:pt x="1388" y="126"/>
                </a:lnTo>
                <a:lnTo>
                  <a:pt x="1382" y="126"/>
                </a:lnTo>
                <a:lnTo>
                  <a:pt x="1382" y="126"/>
                </a:lnTo>
                <a:lnTo>
                  <a:pt x="1382" y="122"/>
                </a:lnTo>
                <a:lnTo>
                  <a:pt x="1382" y="122"/>
                </a:lnTo>
                <a:lnTo>
                  <a:pt x="1378" y="120"/>
                </a:lnTo>
                <a:lnTo>
                  <a:pt x="1378" y="120"/>
                </a:lnTo>
                <a:lnTo>
                  <a:pt x="1378" y="114"/>
                </a:lnTo>
                <a:lnTo>
                  <a:pt x="1378" y="110"/>
                </a:lnTo>
                <a:lnTo>
                  <a:pt x="1382" y="106"/>
                </a:lnTo>
                <a:lnTo>
                  <a:pt x="1390" y="104"/>
                </a:lnTo>
                <a:lnTo>
                  <a:pt x="1390" y="104"/>
                </a:lnTo>
                <a:lnTo>
                  <a:pt x="1398" y="104"/>
                </a:lnTo>
                <a:lnTo>
                  <a:pt x="1402" y="104"/>
                </a:lnTo>
                <a:lnTo>
                  <a:pt x="1406" y="106"/>
                </a:lnTo>
                <a:lnTo>
                  <a:pt x="1406" y="106"/>
                </a:lnTo>
                <a:lnTo>
                  <a:pt x="1406" y="106"/>
                </a:lnTo>
                <a:lnTo>
                  <a:pt x="1406" y="108"/>
                </a:lnTo>
                <a:lnTo>
                  <a:pt x="1406" y="108"/>
                </a:lnTo>
                <a:lnTo>
                  <a:pt x="1412" y="108"/>
                </a:lnTo>
                <a:lnTo>
                  <a:pt x="1412" y="108"/>
                </a:lnTo>
                <a:lnTo>
                  <a:pt x="1414" y="112"/>
                </a:lnTo>
                <a:lnTo>
                  <a:pt x="1416" y="114"/>
                </a:lnTo>
                <a:lnTo>
                  <a:pt x="1416" y="114"/>
                </a:lnTo>
                <a:lnTo>
                  <a:pt x="1424" y="114"/>
                </a:lnTo>
                <a:lnTo>
                  <a:pt x="1424" y="114"/>
                </a:lnTo>
                <a:lnTo>
                  <a:pt x="1424" y="120"/>
                </a:lnTo>
                <a:lnTo>
                  <a:pt x="1424" y="120"/>
                </a:lnTo>
                <a:lnTo>
                  <a:pt x="1424" y="120"/>
                </a:lnTo>
                <a:lnTo>
                  <a:pt x="1420" y="124"/>
                </a:lnTo>
                <a:lnTo>
                  <a:pt x="1418" y="126"/>
                </a:lnTo>
                <a:lnTo>
                  <a:pt x="1416" y="128"/>
                </a:lnTo>
                <a:lnTo>
                  <a:pt x="1416" y="128"/>
                </a:lnTo>
                <a:lnTo>
                  <a:pt x="1412" y="128"/>
                </a:lnTo>
                <a:lnTo>
                  <a:pt x="1412" y="128"/>
                </a:lnTo>
                <a:lnTo>
                  <a:pt x="1408" y="130"/>
                </a:lnTo>
                <a:lnTo>
                  <a:pt x="1408" y="130"/>
                </a:lnTo>
                <a:lnTo>
                  <a:pt x="1402" y="130"/>
                </a:lnTo>
                <a:lnTo>
                  <a:pt x="1402" y="130"/>
                </a:lnTo>
                <a:lnTo>
                  <a:pt x="1402" y="134"/>
                </a:lnTo>
                <a:lnTo>
                  <a:pt x="1402" y="136"/>
                </a:lnTo>
                <a:lnTo>
                  <a:pt x="1402" y="136"/>
                </a:lnTo>
                <a:lnTo>
                  <a:pt x="1398" y="138"/>
                </a:lnTo>
                <a:lnTo>
                  <a:pt x="1396" y="138"/>
                </a:lnTo>
                <a:lnTo>
                  <a:pt x="1400" y="138"/>
                </a:lnTo>
                <a:lnTo>
                  <a:pt x="1400" y="138"/>
                </a:lnTo>
                <a:lnTo>
                  <a:pt x="1404" y="138"/>
                </a:lnTo>
                <a:lnTo>
                  <a:pt x="1404" y="138"/>
                </a:lnTo>
                <a:lnTo>
                  <a:pt x="1406" y="140"/>
                </a:lnTo>
                <a:lnTo>
                  <a:pt x="1406" y="140"/>
                </a:lnTo>
                <a:lnTo>
                  <a:pt x="1404" y="144"/>
                </a:lnTo>
                <a:lnTo>
                  <a:pt x="1404" y="144"/>
                </a:lnTo>
                <a:lnTo>
                  <a:pt x="1402" y="144"/>
                </a:lnTo>
                <a:lnTo>
                  <a:pt x="1402" y="144"/>
                </a:lnTo>
                <a:lnTo>
                  <a:pt x="1406" y="144"/>
                </a:lnTo>
                <a:lnTo>
                  <a:pt x="1406" y="144"/>
                </a:lnTo>
                <a:lnTo>
                  <a:pt x="1410" y="148"/>
                </a:lnTo>
                <a:lnTo>
                  <a:pt x="1412" y="148"/>
                </a:lnTo>
                <a:lnTo>
                  <a:pt x="1412" y="144"/>
                </a:lnTo>
                <a:lnTo>
                  <a:pt x="1412" y="144"/>
                </a:lnTo>
                <a:lnTo>
                  <a:pt x="1420" y="142"/>
                </a:lnTo>
                <a:lnTo>
                  <a:pt x="1420" y="142"/>
                </a:lnTo>
                <a:lnTo>
                  <a:pt x="1422" y="150"/>
                </a:lnTo>
                <a:lnTo>
                  <a:pt x="1422" y="150"/>
                </a:lnTo>
                <a:lnTo>
                  <a:pt x="1414" y="148"/>
                </a:lnTo>
                <a:lnTo>
                  <a:pt x="1414" y="148"/>
                </a:lnTo>
                <a:lnTo>
                  <a:pt x="1412" y="148"/>
                </a:lnTo>
                <a:lnTo>
                  <a:pt x="1414" y="150"/>
                </a:lnTo>
                <a:lnTo>
                  <a:pt x="1420" y="152"/>
                </a:lnTo>
                <a:lnTo>
                  <a:pt x="1420" y="152"/>
                </a:lnTo>
                <a:lnTo>
                  <a:pt x="1426" y="152"/>
                </a:lnTo>
                <a:lnTo>
                  <a:pt x="1426" y="152"/>
                </a:lnTo>
                <a:lnTo>
                  <a:pt x="1428" y="156"/>
                </a:lnTo>
                <a:lnTo>
                  <a:pt x="1430" y="160"/>
                </a:lnTo>
                <a:lnTo>
                  <a:pt x="1432" y="164"/>
                </a:lnTo>
                <a:lnTo>
                  <a:pt x="1434" y="166"/>
                </a:lnTo>
                <a:lnTo>
                  <a:pt x="1434" y="166"/>
                </a:lnTo>
                <a:lnTo>
                  <a:pt x="1434" y="166"/>
                </a:lnTo>
                <a:lnTo>
                  <a:pt x="1434" y="164"/>
                </a:lnTo>
                <a:lnTo>
                  <a:pt x="1434" y="164"/>
                </a:lnTo>
                <a:lnTo>
                  <a:pt x="1434" y="166"/>
                </a:lnTo>
                <a:lnTo>
                  <a:pt x="1434" y="164"/>
                </a:lnTo>
                <a:lnTo>
                  <a:pt x="1436" y="162"/>
                </a:lnTo>
                <a:lnTo>
                  <a:pt x="1436" y="162"/>
                </a:lnTo>
                <a:lnTo>
                  <a:pt x="1432" y="158"/>
                </a:lnTo>
                <a:lnTo>
                  <a:pt x="1432" y="154"/>
                </a:lnTo>
                <a:lnTo>
                  <a:pt x="1434" y="152"/>
                </a:lnTo>
                <a:lnTo>
                  <a:pt x="1434" y="152"/>
                </a:lnTo>
                <a:lnTo>
                  <a:pt x="1436" y="150"/>
                </a:lnTo>
                <a:lnTo>
                  <a:pt x="1438" y="150"/>
                </a:lnTo>
                <a:lnTo>
                  <a:pt x="1438" y="150"/>
                </a:lnTo>
                <a:lnTo>
                  <a:pt x="1446" y="158"/>
                </a:lnTo>
                <a:lnTo>
                  <a:pt x="1450" y="162"/>
                </a:lnTo>
                <a:lnTo>
                  <a:pt x="1454" y="166"/>
                </a:lnTo>
                <a:lnTo>
                  <a:pt x="1454" y="166"/>
                </a:lnTo>
                <a:lnTo>
                  <a:pt x="1458" y="166"/>
                </a:lnTo>
                <a:lnTo>
                  <a:pt x="1458" y="166"/>
                </a:lnTo>
                <a:lnTo>
                  <a:pt x="1460" y="164"/>
                </a:lnTo>
                <a:lnTo>
                  <a:pt x="1460" y="164"/>
                </a:lnTo>
                <a:lnTo>
                  <a:pt x="1458" y="164"/>
                </a:lnTo>
                <a:lnTo>
                  <a:pt x="1458" y="162"/>
                </a:lnTo>
                <a:lnTo>
                  <a:pt x="1460" y="162"/>
                </a:lnTo>
                <a:lnTo>
                  <a:pt x="1460" y="162"/>
                </a:lnTo>
                <a:lnTo>
                  <a:pt x="1464" y="168"/>
                </a:lnTo>
                <a:lnTo>
                  <a:pt x="1462" y="168"/>
                </a:lnTo>
                <a:lnTo>
                  <a:pt x="1458" y="168"/>
                </a:lnTo>
                <a:lnTo>
                  <a:pt x="1458" y="168"/>
                </a:lnTo>
                <a:lnTo>
                  <a:pt x="1456" y="174"/>
                </a:lnTo>
                <a:lnTo>
                  <a:pt x="1456" y="174"/>
                </a:lnTo>
                <a:lnTo>
                  <a:pt x="1456" y="174"/>
                </a:lnTo>
                <a:lnTo>
                  <a:pt x="1456" y="176"/>
                </a:lnTo>
                <a:lnTo>
                  <a:pt x="1456" y="176"/>
                </a:lnTo>
                <a:lnTo>
                  <a:pt x="1462" y="174"/>
                </a:lnTo>
                <a:lnTo>
                  <a:pt x="1462" y="174"/>
                </a:lnTo>
                <a:lnTo>
                  <a:pt x="1468" y="182"/>
                </a:lnTo>
                <a:lnTo>
                  <a:pt x="1468" y="182"/>
                </a:lnTo>
                <a:lnTo>
                  <a:pt x="1478" y="180"/>
                </a:lnTo>
                <a:lnTo>
                  <a:pt x="1478" y="180"/>
                </a:lnTo>
                <a:lnTo>
                  <a:pt x="1482" y="186"/>
                </a:lnTo>
                <a:lnTo>
                  <a:pt x="1486" y="188"/>
                </a:lnTo>
                <a:lnTo>
                  <a:pt x="1488" y="188"/>
                </a:lnTo>
                <a:lnTo>
                  <a:pt x="1488" y="186"/>
                </a:lnTo>
                <a:lnTo>
                  <a:pt x="1488" y="186"/>
                </a:lnTo>
                <a:lnTo>
                  <a:pt x="1492" y="186"/>
                </a:lnTo>
                <a:lnTo>
                  <a:pt x="1492" y="186"/>
                </a:lnTo>
                <a:lnTo>
                  <a:pt x="1488" y="196"/>
                </a:lnTo>
                <a:lnTo>
                  <a:pt x="1488" y="196"/>
                </a:lnTo>
                <a:lnTo>
                  <a:pt x="1490" y="196"/>
                </a:lnTo>
                <a:lnTo>
                  <a:pt x="1490" y="198"/>
                </a:lnTo>
                <a:lnTo>
                  <a:pt x="1490" y="198"/>
                </a:lnTo>
                <a:lnTo>
                  <a:pt x="1494" y="196"/>
                </a:lnTo>
                <a:lnTo>
                  <a:pt x="1494" y="196"/>
                </a:lnTo>
                <a:lnTo>
                  <a:pt x="1496" y="192"/>
                </a:lnTo>
                <a:lnTo>
                  <a:pt x="1496" y="192"/>
                </a:lnTo>
                <a:lnTo>
                  <a:pt x="1502" y="184"/>
                </a:lnTo>
                <a:lnTo>
                  <a:pt x="1504" y="174"/>
                </a:lnTo>
                <a:lnTo>
                  <a:pt x="1504" y="174"/>
                </a:lnTo>
                <a:lnTo>
                  <a:pt x="1508" y="172"/>
                </a:lnTo>
                <a:lnTo>
                  <a:pt x="1508" y="172"/>
                </a:lnTo>
                <a:lnTo>
                  <a:pt x="1506" y="168"/>
                </a:lnTo>
                <a:lnTo>
                  <a:pt x="1506" y="162"/>
                </a:lnTo>
                <a:lnTo>
                  <a:pt x="1512" y="154"/>
                </a:lnTo>
                <a:lnTo>
                  <a:pt x="1512" y="154"/>
                </a:lnTo>
                <a:lnTo>
                  <a:pt x="1514" y="156"/>
                </a:lnTo>
                <a:lnTo>
                  <a:pt x="1514" y="156"/>
                </a:lnTo>
                <a:lnTo>
                  <a:pt x="1514" y="160"/>
                </a:lnTo>
                <a:lnTo>
                  <a:pt x="1514" y="160"/>
                </a:lnTo>
                <a:lnTo>
                  <a:pt x="1514" y="162"/>
                </a:lnTo>
                <a:lnTo>
                  <a:pt x="1516" y="162"/>
                </a:lnTo>
                <a:lnTo>
                  <a:pt x="1516" y="162"/>
                </a:lnTo>
                <a:lnTo>
                  <a:pt x="1518" y="164"/>
                </a:lnTo>
                <a:lnTo>
                  <a:pt x="1518" y="164"/>
                </a:lnTo>
                <a:lnTo>
                  <a:pt x="1518" y="168"/>
                </a:lnTo>
                <a:lnTo>
                  <a:pt x="1518" y="174"/>
                </a:lnTo>
                <a:lnTo>
                  <a:pt x="1518" y="174"/>
                </a:lnTo>
                <a:lnTo>
                  <a:pt x="1522" y="170"/>
                </a:lnTo>
                <a:lnTo>
                  <a:pt x="1522" y="170"/>
                </a:lnTo>
                <a:lnTo>
                  <a:pt x="1528" y="170"/>
                </a:lnTo>
                <a:lnTo>
                  <a:pt x="1528" y="170"/>
                </a:lnTo>
                <a:lnTo>
                  <a:pt x="1536" y="164"/>
                </a:lnTo>
                <a:lnTo>
                  <a:pt x="1540" y="162"/>
                </a:lnTo>
                <a:lnTo>
                  <a:pt x="1544" y="160"/>
                </a:lnTo>
                <a:lnTo>
                  <a:pt x="1544" y="160"/>
                </a:lnTo>
                <a:lnTo>
                  <a:pt x="1548" y="164"/>
                </a:lnTo>
                <a:lnTo>
                  <a:pt x="1548" y="164"/>
                </a:lnTo>
                <a:lnTo>
                  <a:pt x="1552" y="164"/>
                </a:lnTo>
                <a:lnTo>
                  <a:pt x="1552" y="164"/>
                </a:lnTo>
                <a:lnTo>
                  <a:pt x="1552" y="164"/>
                </a:lnTo>
                <a:lnTo>
                  <a:pt x="1566" y="174"/>
                </a:lnTo>
                <a:lnTo>
                  <a:pt x="1566" y="174"/>
                </a:lnTo>
                <a:lnTo>
                  <a:pt x="1566" y="176"/>
                </a:lnTo>
                <a:lnTo>
                  <a:pt x="1566" y="176"/>
                </a:lnTo>
                <a:lnTo>
                  <a:pt x="1572" y="176"/>
                </a:lnTo>
                <a:lnTo>
                  <a:pt x="1574" y="178"/>
                </a:lnTo>
                <a:lnTo>
                  <a:pt x="1574" y="178"/>
                </a:lnTo>
                <a:lnTo>
                  <a:pt x="1580" y="178"/>
                </a:lnTo>
                <a:lnTo>
                  <a:pt x="1586" y="176"/>
                </a:lnTo>
                <a:lnTo>
                  <a:pt x="1586" y="176"/>
                </a:lnTo>
                <a:lnTo>
                  <a:pt x="1584" y="172"/>
                </a:lnTo>
                <a:lnTo>
                  <a:pt x="1584" y="172"/>
                </a:lnTo>
                <a:lnTo>
                  <a:pt x="1584" y="168"/>
                </a:lnTo>
                <a:lnTo>
                  <a:pt x="1584" y="168"/>
                </a:lnTo>
                <a:lnTo>
                  <a:pt x="1586" y="168"/>
                </a:lnTo>
                <a:lnTo>
                  <a:pt x="1586" y="166"/>
                </a:lnTo>
                <a:lnTo>
                  <a:pt x="1586" y="166"/>
                </a:lnTo>
                <a:lnTo>
                  <a:pt x="1588" y="166"/>
                </a:lnTo>
                <a:lnTo>
                  <a:pt x="1588" y="166"/>
                </a:lnTo>
                <a:lnTo>
                  <a:pt x="1590" y="166"/>
                </a:lnTo>
                <a:lnTo>
                  <a:pt x="1592" y="164"/>
                </a:lnTo>
                <a:lnTo>
                  <a:pt x="1592" y="164"/>
                </a:lnTo>
                <a:lnTo>
                  <a:pt x="1592" y="166"/>
                </a:lnTo>
                <a:lnTo>
                  <a:pt x="1594" y="168"/>
                </a:lnTo>
                <a:lnTo>
                  <a:pt x="1594" y="168"/>
                </a:lnTo>
                <a:lnTo>
                  <a:pt x="1592" y="174"/>
                </a:lnTo>
                <a:lnTo>
                  <a:pt x="1592" y="174"/>
                </a:lnTo>
                <a:lnTo>
                  <a:pt x="1596" y="172"/>
                </a:lnTo>
                <a:lnTo>
                  <a:pt x="1596" y="172"/>
                </a:lnTo>
                <a:lnTo>
                  <a:pt x="1598" y="172"/>
                </a:lnTo>
                <a:lnTo>
                  <a:pt x="1600" y="174"/>
                </a:lnTo>
                <a:lnTo>
                  <a:pt x="1600" y="174"/>
                </a:lnTo>
                <a:lnTo>
                  <a:pt x="1604" y="172"/>
                </a:lnTo>
                <a:lnTo>
                  <a:pt x="1606" y="172"/>
                </a:lnTo>
                <a:lnTo>
                  <a:pt x="1606" y="172"/>
                </a:lnTo>
                <a:lnTo>
                  <a:pt x="1606" y="166"/>
                </a:lnTo>
                <a:lnTo>
                  <a:pt x="1606" y="166"/>
                </a:lnTo>
                <a:lnTo>
                  <a:pt x="1602" y="164"/>
                </a:lnTo>
                <a:lnTo>
                  <a:pt x="1602" y="164"/>
                </a:lnTo>
                <a:lnTo>
                  <a:pt x="1602" y="156"/>
                </a:lnTo>
                <a:lnTo>
                  <a:pt x="1602" y="152"/>
                </a:lnTo>
                <a:lnTo>
                  <a:pt x="1604" y="152"/>
                </a:lnTo>
                <a:lnTo>
                  <a:pt x="1610" y="150"/>
                </a:lnTo>
                <a:lnTo>
                  <a:pt x="1618" y="152"/>
                </a:lnTo>
                <a:lnTo>
                  <a:pt x="1616" y="148"/>
                </a:lnTo>
                <a:lnTo>
                  <a:pt x="1616" y="148"/>
                </a:lnTo>
                <a:lnTo>
                  <a:pt x="1612" y="148"/>
                </a:lnTo>
                <a:lnTo>
                  <a:pt x="1612" y="148"/>
                </a:lnTo>
                <a:lnTo>
                  <a:pt x="1604" y="146"/>
                </a:lnTo>
                <a:lnTo>
                  <a:pt x="1604" y="146"/>
                </a:lnTo>
                <a:lnTo>
                  <a:pt x="1606" y="140"/>
                </a:lnTo>
                <a:lnTo>
                  <a:pt x="1606" y="140"/>
                </a:lnTo>
                <a:lnTo>
                  <a:pt x="1618" y="140"/>
                </a:lnTo>
                <a:lnTo>
                  <a:pt x="1620" y="138"/>
                </a:lnTo>
                <a:lnTo>
                  <a:pt x="1620" y="138"/>
                </a:lnTo>
                <a:lnTo>
                  <a:pt x="1620" y="136"/>
                </a:lnTo>
                <a:lnTo>
                  <a:pt x="1618" y="136"/>
                </a:lnTo>
                <a:lnTo>
                  <a:pt x="1618" y="136"/>
                </a:lnTo>
                <a:lnTo>
                  <a:pt x="1618" y="134"/>
                </a:lnTo>
                <a:lnTo>
                  <a:pt x="1618" y="134"/>
                </a:lnTo>
                <a:lnTo>
                  <a:pt x="1614" y="134"/>
                </a:lnTo>
                <a:lnTo>
                  <a:pt x="1614" y="134"/>
                </a:lnTo>
                <a:lnTo>
                  <a:pt x="1614" y="130"/>
                </a:lnTo>
                <a:lnTo>
                  <a:pt x="1614" y="130"/>
                </a:lnTo>
                <a:lnTo>
                  <a:pt x="1618" y="130"/>
                </a:lnTo>
                <a:lnTo>
                  <a:pt x="1622" y="130"/>
                </a:lnTo>
                <a:lnTo>
                  <a:pt x="1622" y="130"/>
                </a:lnTo>
                <a:lnTo>
                  <a:pt x="1626" y="134"/>
                </a:lnTo>
                <a:lnTo>
                  <a:pt x="1626" y="134"/>
                </a:lnTo>
                <a:lnTo>
                  <a:pt x="1634" y="138"/>
                </a:lnTo>
                <a:lnTo>
                  <a:pt x="1634" y="138"/>
                </a:lnTo>
                <a:lnTo>
                  <a:pt x="1642" y="138"/>
                </a:lnTo>
                <a:lnTo>
                  <a:pt x="1642" y="138"/>
                </a:lnTo>
                <a:lnTo>
                  <a:pt x="1652" y="142"/>
                </a:lnTo>
                <a:lnTo>
                  <a:pt x="1652" y="142"/>
                </a:lnTo>
                <a:lnTo>
                  <a:pt x="1656" y="140"/>
                </a:lnTo>
                <a:lnTo>
                  <a:pt x="1662" y="140"/>
                </a:lnTo>
                <a:lnTo>
                  <a:pt x="1664" y="142"/>
                </a:lnTo>
                <a:lnTo>
                  <a:pt x="1664" y="142"/>
                </a:lnTo>
                <a:lnTo>
                  <a:pt x="1680" y="146"/>
                </a:lnTo>
                <a:lnTo>
                  <a:pt x="1680" y="148"/>
                </a:lnTo>
                <a:lnTo>
                  <a:pt x="1680" y="148"/>
                </a:lnTo>
                <a:lnTo>
                  <a:pt x="1668" y="146"/>
                </a:lnTo>
                <a:lnTo>
                  <a:pt x="1666" y="148"/>
                </a:lnTo>
                <a:lnTo>
                  <a:pt x="1666" y="154"/>
                </a:lnTo>
                <a:lnTo>
                  <a:pt x="1666" y="154"/>
                </a:lnTo>
                <a:lnTo>
                  <a:pt x="1694" y="152"/>
                </a:lnTo>
                <a:lnTo>
                  <a:pt x="1694" y="152"/>
                </a:lnTo>
                <a:lnTo>
                  <a:pt x="1692" y="162"/>
                </a:lnTo>
                <a:lnTo>
                  <a:pt x="1692" y="162"/>
                </a:lnTo>
                <a:lnTo>
                  <a:pt x="1690" y="160"/>
                </a:lnTo>
                <a:lnTo>
                  <a:pt x="1690" y="158"/>
                </a:lnTo>
                <a:lnTo>
                  <a:pt x="1690" y="158"/>
                </a:lnTo>
                <a:lnTo>
                  <a:pt x="1690" y="156"/>
                </a:lnTo>
                <a:lnTo>
                  <a:pt x="1690" y="156"/>
                </a:lnTo>
                <a:lnTo>
                  <a:pt x="1688" y="154"/>
                </a:lnTo>
                <a:lnTo>
                  <a:pt x="1688" y="154"/>
                </a:lnTo>
                <a:lnTo>
                  <a:pt x="1684" y="162"/>
                </a:lnTo>
                <a:lnTo>
                  <a:pt x="1678" y="164"/>
                </a:lnTo>
                <a:lnTo>
                  <a:pt x="1678" y="164"/>
                </a:lnTo>
                <a:lnTo>
                  <a:pt x="1678" y="166"/>
                </a:lnTo>
                <a:lnTo>
                  <a:pt x="1678" y="166"/>
                </a:lnTo>
                <a:lnTo>
                  <a:pt x="1682" y="170"/>
                </a:lnTo>
                <a:lnTo>
                  <a:pt x="1682" y="170"/>
                </a:lnTo>
                <a:lnTo>
                  <a:pt x="1676" y="172"/>
                </a:lnTo>
                <a:lnTo>
                  <a:pt x="1676" y="172"/>
                </a:lnTo>
                <a:lnTo>
                  <a:pt x="1676" y="174"/>
                </a:lnTo>
                <a:lnTo>
                  <a:pt x="1678" y="176"/>
                </a:lnTo>
                <a:lnTo>
                  <a:pt x="1678" y="176"/>
                </a:lnTo>
                <a:lnTo>
                  <a:pt x="1690" y="174"/>
                </a:lnTo>
                <a:lnTo>
                  <a:pt x="1690" y="174"/>
                </a:lnTo>
                <a:lnTo>
                  <a:pt x="1692" y="170"/>
                </a:lnTo>
                <a:lnTo>
                  <a:pt x="1692" y="170"/>
                </a:lnTo>
                <a:lnTo>
                  <a:pt x="1698" y="160"/>
                </a:lnTo>
                <a:lnTo>
                  <a:pt x="1702" y="150"/>
                </a:lnTo>
                <a:lnTo>
                  <a:pt x="1702" y="150"/>
                </a:lnTo>
                <a:lnTo>
                  <a:pt x="1712" y="150"/>
                </a:lnTo>
                <a:lnTo>
                  <a:pt x="1722" y="150"/>
                </a:lnTo>
                <a:lnTo>
                  <a:pt x="1722" y="150"/>
                </a:lnTo>
                <a:lnTo>
                  <a:pt x="1724" y="152"/>
                </a:lnTo>
                <a:lnTo>
                  <a:pt x="1726" y="154"/>
                </a:lnTo>
                <a:lnTo>
                  <a:pt x="1726" y="154"/>
                </a:lnTo>
                <a:lnTo>
                  <a:pt x="1730" y="152"/>
                </a:lnTo>
                <a:lnTo>
                  <a:pt x="1732" y="152"/>
                </a:lnTo>
                <a:lnTo>
                  <a:pt x="1732" y="152"/>
                </a:lnTo>
                <a:lnTo>
                  <a:pt x="1738" y="156"/>
                </a:lnTo>
                <a:lnTo>
                  <a:pt x="1744" y="160"/>
                </a:lnTo>
                <a:lnTo>
                  <a:pt x="1744" y="160"/>
                </a:lnTo>
                <a:lnTo>
                  <a:pt x="1742" y="166"/>
                </a:lnTo>
                <a:lnTo>
                  <a:pt x="1742" y="166"/>
                </a:lnTo>
                <a:lnTo>
                  <a:pt x="1736" y="168"/>
                </a:lnTo>
                <a:lnTo>
                  <a:pt x="1736" y="168"/>
                </a:lnTo>
                <a:lnTo>
                  <a:pt x="1734" y="164"/>
                </a:lnTo>
                <a:lnTo>
                  <a:pt x="1734" y="164"/>
                </a:lnTo>
                <a:lnTo>
                  <a:pt x="1732" y="164"/>
                </a:lnTo>
                <a:lnTo>
                  <a:pt x="1732" y="164"/>
                </a:lnTo>
                <a:lnTo>
                  <a:pt x="1732" y="166"/>
                </a:lnTo>
                <a:lnTo>
                  <a:pt x="1730" y="166"/>
                </a:lnTo>
                <a:lnTo>
                  <a:pt x="1730" y="166"/>
                </a:lnTo>
                <a:lnTo>
                  <a:pt x="1730" y="172"/>
                </a:lnTo>
                <a:lnTo>
                  <a:pt x="1730" y="172"/>
                </a:lnTo>
                <a:lnTo>
                  <a:pt x="1736" y="172"/>
                </a:lnTo>
                <a:lnTo>
                  <a:pt x="1736" y="176"/>
                </a:lnTo>
                <a:lnTo>
                  <a:pt x="1736" y="176"/>
                </a:lnTo>
                <a:lnTo>
                  <a:pt x="1730" y="182"/>
                </a:lnTo>
                <a:lnTo>
                  <a:pt x="1724" y="190"/>
                </a:lnTo>
                <a:lnTo>
                  <a:pt x="1724" y="190"/>
                </a:lnTo>
                <a:lnTo>
                  <a:pt x="1732" y="188"/>
                </a:lnTo>
                <a:lnTo>
                  <a:pt x="1738" y="190"/>
                </a:lnTo>
                <a:lnTo>
                  <a:pt x="1738" y="190"/>
                </a:lnTo>
                <a:lnTo>
                  <a:pt x="1742" y="188"/>
                </a:lnTo>
                <a:lnTo>
                  <a:pt x="1742" y="188"/>
                </a:lnTo>
                <a:lnTo>
                  <a:pt x="1748" y="188"/>
                </a:lnTo>
                <a:lnTo>
                  <a:pt x="1754" y="188"/>
                </a:lnTo>
                <a:lnTo>
                  <a:pt x="1754" y="188"/>
                </a:lnTo>
                <a:lnTo>
                  <a:pt x="1762" y="188"/>
                </a:lnTo>
                <a:lnTo>
                  <a:pt x="1768" y="188"/>
                </a:lnTo>
                <a:lnTo>
                  <a:pt x="1768" y="188"/>
                </a:lnTo>
                <a:lnTo>
                  <a:pt x="1774" y="188"/>
                </a:lnTo>
                <a:lnTo>
                  <a:pt x="1778" y="186"/>
                </a:lnTo>
                <a:lnTo>
                  <a:pt x="1786" y="182"/>
                </a:lnTo>
                <a:lnTo>
                  <a:pt x="1786" y="182"/>
                </a:lnTo>
                <a:lnTo>
                  <a:pt x="1790" y="182"/>
                </a:lnTo>
                <a:lnTo>
                  <a:pt x="1792" y="184"/>
                </a:lnTo>
                <a:lnTo>
                  <a:pt x="1796" y="186"/>
                </a:lnTo>
                <a:lnTo>
                  <a:pt x="1796" y="186"/>
                </a:lnTo>
                <a:lnTo>
                  <a:pt x="1802" y="186"/>
                </a:lnTo>
                <a:lnTo>
                  <a:pt x="1804" y="184"/>
                </a:lnTo>
                <a:lnTo>
                  <a:pt x="1812" y="180"/>
                </a:lnTo>
                <a:lnTo>
                  <a:pt x="1812" y="180"/>
                </a:lnTo>
                <a:lnTo>
                  <a:pt x="1816" y="180"/>
                </a:lnTo>
                <a:lnTo>
                  <a:pt x="1820" y="182"/>
                </a:lnTo>
                <a:lnTo>
                  <a:pt x="1820" y="182"/>
                </a:lnTo>
                <a:lnTo>
                  <a:pt x="1824" y="182"/>
                </a:lnTo>
                <a:lnTo>
                  <a:pt x="1828" y="182"/>
                </a:lnTo>
                <a:lnTo>
                  <a:pt x="1830" y="184"/>
                </a:lnTo>
                <a:lnTo>
                  <a:pt x="1830" y="184"/>
                </a:lnTo>
                <a:lnTo>
                  <a:pt x="1834" y="184"/>
                </a:lnTo>
                <a:lnTo>
                  <a:pt x="1838" y="182"/>
                </a:lnTo>
                <a:lnTo>
                  <a:pt x="1838" y="182"/>
                </a:lnTo>
                <a:lnTo>
                  <a:pt x="1842" y="182"/>
                </a:lnTo>
                <a:lnTo>
                  <a:pt x="1846" y="184"/>
                </a:lnTo>
                <a:lnTo>
                  <a:pt x="1846" y="182"/>
                </a:lnTo>
                <a:lnTo>
                  <a:pt x="1846" y="182"/>
                </a:lnTo>
                <a:lnTo>
                  <a:pt x="1850" y="180"/>
                </a:lnTo>
                <a:lnTo>
                  <a:pt x="1850" y="180"/>
                </a:lnTo>
                <a:lnTo>
                  <a:pt x="1856" y="184"/>
                </a:lnTo>
                <a:lnTo>
                  <a:pt x="1856" y="184"/>
                </a:lnTo>
                <a:lnTo>
                  <a:pt x="1860" y="184"/>
                </a:lnTo>
                <a:lnTo>
                  <a:pt x="1864" y="186"/>
                </a:lnTo>
                <a:lnTo>
                  <a:pt x="1864" y="186"/>
                </a:lnTo>
                <a:lnTo>
                  <a:pt x="1866" y="188"/>
                </a:lnTo>
                <a:lnTo>
                  <a:pt x="1868" y="192"/>
                </a:lnTo>
                <a:lnTo>
                  <a:pt x="1868" y="192"/>
                </a:lnTo>
                <a:lnTo>
                  <a:pt x="1872" y="192"/>
                </a:lnTo>
                <a:lnTo>
                  <a:pt x="1872" y="192"/>
                </a:lnTo>
                <a:lnTo>
                  <a:pt x="1876" y="196"/>
                </a:lnTo>
                <a:lnTo>
                  <a:pt x="1880" y="200"/>
                </a:lnTo>
                <a:lnTo>
                  <a:pt x="1880" y="200"/>
                </a:lnTo>
                <a:lnTo>
                  <a:pt x="1876" y="202"/>
                </a:lnTo>
                <a:lnTo>
                  <a:pt x="1876" y="202"/>
                </a:lnTo>
                <a:lnTo>
                  <a:pt x="1876" y="206"/>
                </a:lnTo>
                <a:lnTo>
                  <a:pt x="1878" y="206"/>
                </a:lnTo>
                <a:lnTo>
                  <a:pt x="1878" y="206"/>
                </a:lnTo>
                <a:lnTo>
                  <a:pt x="1878" y="210"/>
                </a:lnTo>
                <a:lnTo>
                  <a:pt x="1876" y="212"/>
                </a:lnTo>
                <a:lnTo>
                  <a:pt x="1876" y="212"/>
                </a:lnTo>
                <a:lnTo>
                  <a:pt x="1880" y="214"/>
                </a:lnTo>
                <a:lnTo>
                  <a:pt x="1884" y="214"/>
                </a:lnTo>
                <a:lnTo>
                  <a:pt x="1884" y="214"/>
                </a:lnTo>
                <a:lnTo>
                  <a:pt x="1884" y="218"/>
                </a:lnTo>
                <a:lnTo>
                  <a:pt x="1884" y="218"/>
                </a:lnTo>
                <a:lnTo>
                  <a:pt x="1888" y="222"/>
                </a:lnTo>
                <a:lnTo>
                  <a:pt x="1888" y="222"/>
                </a:lnTo>
                <a:lnTo>
                  <a:pt x="1888" y="226"/>
                </a:lnTo>
                <a:lnTo>
                  <a:pt x="1890" y="228"/>
                </a:lnTo>
                <a:lnTo>
                  <a:pt x="1890" y="228"/>
                </a:lnTo>
                <a:lnTo>
                  <a:pt x="1890" y="232"/>
                </a:lnTo>
                <a:lnTo>
                  <a:pt x="1890" y="232"/>
                </a:lnTo>
                <a:lnTo>
                  <a:pt x="1892" y="230"/>
                </a:lnTo>
                <a:lnTo>
                  <a:pt x="1892" y="230"/>
                </a:lnTo>
                <a:lnTo>
                  <a:pt x="1896" y="216"/>
                </a:lnTo>
                <a:lnTo>
                  <a:pt x="1896" y="216"/>
                </a:lnTo>
                <a:lnTo>
                  <a:pt x="1902" y="214"/>
                </a:lnTo>
                <a:lnTo>
                  <a:pt x="1902" y="214"/>
                </a:lnTo>
                <a:lnTo>
                  <a:pt x="1910" y="210"/>
                </a:lnTo>
                <a:lnTo>
                  <a:pt x="1910" y="210"/>
                </a:lnTo>
                <a:lnTo>
                  <a:pt x="1912" y="210"/>
                </a:lnTo>
                <a:lnTo>
                  <a:pt x="1914" y="210"/>
                </a:lnTo>
                <a:lnTo>
                  <a:pt x="1914" y="210"/>
                </a:lnTo>
                <a:lnTo>
                  <a:pt x="1926" y="210"/>
                </a:lnTo>
                <a:lnTo>
                  <a:pt x="1936" y="210"/>
                </a:lnTo>
                <a:lnTo>
                  <a:pt x="1936" y="210"/>
                </a:lnTo>
                <a:lnTo>
                  <a:pt x="1936" y="214"/>
                </a:lnTo>
                <a:lnTo>
                  <a:pt x="1936" y="214"/>
                </a:lnTo>
                <a:lnTo>
                  <a:pt x="1940" y="214"/>
                </a:lnTo>
                <a:lnTo>
                  <a:pt x="1942" y="216"/>
                </a:lnTo>
                <a:lnTo>
                  <a:pt x="1942" y="216"/>
                </a:lnTo>
                <a:lnTo>
                  <a:pt x="1944" y="212"/>
                </a:lnTo>
                <a:lnTo>
                  <a:pt x="1944" y="212"/>
                </a:lnTo>
                <a:lnTo>
                  <a:pt x="1956" y="212"/>
                </a:lnTo>
                <a:lnTo>
                  <a:pt x="1956" y="212"/>
                </a:lnTo>
                <a:lnTo>
                  <a:pt x="1966" y="214"/>
                </a:lnTo>
                <a:lnTo>
                  <a:pt x="1966" y="214"/>
                </a:lnTo>
                <a:lnTo>
                  <a:pt x="1966" y="218"/>
                </a:lnTo>
                <a:lnTo>
                  <a:pt x="1966" y="218"/>
                </a:lnTo>
                <a:lnTo>
                  <a:pt x="1968" y="218"/>
                </a:lnTo>
                <a:lnTo>
                  <a:pt x="1972" y="216"/>
                </a:lnTo>
                <a:lnTo>
                  <a:pt x="1978" y="214"/>
                </a:lnTo>
                <a:lnTo>
                  <a:pt x="1978" y="214"/>
                </a:lnTo>
                <a:lnTo>
                  <a:pt x="1980" y="216"/>
                </a:lnTo>
                <a:lnTo>
                  <a:pt x="1982" y="216"/>
                </a:lnTo>
                <a:lnTo>
                  <a:pt x="1982" y="216"/>
                </a:lnTo>
                <a:lnTo>
                  <a:pt x="1988" y="210"/>
                </a:lnTo>
                <a:lnTo>
                  <a:pt x="1988" y="210"/>
                </a:lnTo>
                <a:lnTo>
                  <a:pt x="1988" y="216"/>
                </a:lnTo>
                <a:lnTo>
                  <a:pt x="1988" y="222"/>
                </a:lnTo>
                <a:lnTo>
                  <a:pt x="1988" y="222"/>
                </a:lnTo>
                <a:lnTo>
                  <a:pt x="1990" y="222"/>
                </a:lnTo>
                <a:lnTo>
                  <a:pt x="1994" y="224"/>
                </a:lnTo>
                <a:lnTo>
                  <a:pt x="1994" y="224"/>
                </a:lnTo>
                <a:lnTo>
                  <a:pt x="1996" y="238"/>
                </a:lnTo>
                <a:lnTo>
                  <a:pt x="1996" y="238"/>
                </a:lnTo>
                <a:lnTo>
                  <a:pt x="2006" y="236"/>
                </a:lnTo>
                <a:lnTo>
                  <a:pt x="2006" y="236"/>
                </a:lnTo>
                <a:lnTo>
                  <a:pt x="2006" y="234"/>
                </a:lnTo>
                <a:lnTo>
                  <a:pt x="2006" y="234"/>
                </a:lnTo>
                <a:lnTo>
                  <a:pt x="2010" y="236"/>
                </a:lnTo>
                <a:lnTo>
                  <a:pt x="2014" y="234"/>
                </a:lnTo>
                <a:lnTo>
                  <a:pt x="2014" y="234"/>
                </a:lnTo>
                <a:lnTo>
                  <a:pt x="2014" y="230"/>
                </a:lnTo>
                <a:lnTo>
                  <a:pt x="2014" y="230"/>
                </a:lnTo>
                <a:lnTo>
                  <a:pt x="2018" y="230"/>
                </a:lnTo>
                <a:lnTo>
                  <a:pt x="2018" y="230"/>
                </a:lnTo>
                <a:lnTo>
                  <a:pt x="2020" y="226"/>
                </a:lnTo>
                <a:lnTo>
                  <a:pt x="2020" y="226"/>
                </a:lnTo>
                <a:lnTo>
                  <a:pt x="2024" y="226"/>
                </a:lnTo>
                <a:lnTo>
                  <a:pt x="2024" y="226"/>
                </a:lnTo>
                <a:lnTo>
                  <a:pt x="2024" y="220"/>
                </a:lnTo>
                <a:lnTo>
                  <a:pt x="2024" y="214"/>
                </a:lnTo>
                <a:lnTo>
                  <a:pt x="2024" y="214"/>
                </a:lnTo>
                <a:lnTo>
                  <a:pt x="2020" y="212"/>
                </a:lnTo>
                <a:lnTo>
                  <a:pt x="2020" y="212"/>
                </a:lnTo>
                <a:lnTo>
                  <a:pt x="2018" y="212"/>
                </a:lnTo>
                <a:lnTo>
                  <a:pt x="2018" y="212"/>
                </a:lnTo>
                <a:lnTo>
                  <a:pt x="2018" y="204"/>
                </a:lnTo>
                <a:lnTo>
                  <a:pt x="2018" y="198"/>
                </a:lnTo>
                <a:lnTo>
                  <a:pt x="2018" y="198"/>
                </a:lnTo>
                <a:lnTo>
                  <a:pt x="2022" y="198"/>
                </a:lnTo>
                <a:lnTo>
                  <a:pt x="2022" y="198"/>
                </a:lnTo>
                <a:lnTo>
                  <a:pt x="2026" y="200"/>
                </a:lnTo>
                <a:lnTo>
                  <a:pt x="2026" y="200"/>
                </a:lnTo>
                <a:lnTo>
                  <a:pt x="2034" y="200"/>
                </a:lnTo>
                <a:lnTo>
                  <a:pt x="2042" y="200"/>
                </a:lnTo>
                <a:lnTo>
                  <a:pt x="2042" y="200"/>
                </a:lnTo>
                <a:lnTo>
                  <a:pt x="2046" y="202"/>
                </a:lnTo>
                <a:lnTo>
                  <a:pt x="2046" y="202"/>
                </a:lnTo>
                <a:lnTo>
                  <a:pt x="2050" y="202"/>
                </a:lnTo>
                <a:lnTo>
                  <a:pt x="2052" y="200"/>
                </a:lnTo>
                <a:lnTo>
                  <a:pt x="2052" y="200"/>
                </a:lnTo>
                <a:lnTo>
                  <a:pt x="2056" y="202"/>
                </a:lnTo>
                <a:lnTo>
                  <a:pt x="2062" y="202"/>
                </a:lnTo>
                <a:lnTo>
                  <a:pt x="2062" y="202"/>
                </a:lnTo>
                <a:lnTo>
                  <a:pt x="2068" y="204"/>
                </a:lnTo>
                <a:lnTo>
                  <a:pt x="2076" y="202"/>
                </a:lnTo>
                <a:lnTo>
                  <a:pt x="2076" y="202"/>
                </a:lnTo>
                <a:lnTo>
                  <a:pt x="2076" y="202"/>
                </a:lnTo>
                <a:lnTo>
                  <a:pt x="2078" y="200"/>
                </a:lnTo>
                <a:lnTo>
                  <a:pt x="2078" y="202"/>
                </a:lnTo>
                <a:lnTo>
                  <a:pt x="2084" y="208"/>
                </a:lnTo>
                <a:lnTo>
                  <a:pt x="2084" y="208"/>
                </a:lnTo>
                <a:lnTo>
                  <a:pt x="2090" y="208"/>
                </a:lnTo>
                <a:lnTo>
                  <a:pt x="2096" y="210"/>
                </a:lnTo>
                <a:lnTo>
                  <a:pt x="2096" y="210"/>
                </a:lnTo>
                <a:lnTo>
                  <a:pt x="2098" y="214"/>
                </a:lnTo>
                <a:lnTo>
                  <a:pt x="2102" y="218"/>
                </a:lnTo>
                <a:lnTo>
                  <a:pt x="2102" y="218"/>
                </a:lnTo>
                <a:lnTo>
                  <a:pt x="2106" y="218"/>
                </a:lnTo>
                <a:lnTo>
                  <a:pt x="2108" y="218"/>
                </a:lnTo>
                <a:lnTo>
                  <a:pt x="2112" y="216"/>
                </a:lnTo>
                <a:lnTo>
                  <a:pt x="2116" y="216"/>
                </a:lnTo>
                <a:lnTo>
                  <a:pt x="2116" y="216"/>
                </a:lnTo>
                <a:lnTo>
                  <a:pt x="2118" y="218"/>
                </a:lnTo>
                <a:lnTo>
                  <a:pt x="2122" y="220"/>
                </a:lnTo>
                <a:lnTo>
                  <a:pt x="2122" y="220"/>
                </a:lnTo>
                <a:lnTo>
                  <a:pt x="2132" y="220"/>
                </a:lnTo>
                <a:lnTo>
                  <a:pt x="2132" y="220"/>
                </a:lnTo>
                <a:lnTo>
                  <a:pt x="2136" y="224"/>
                </a:lnTo>
                <a:lnTo>
                  <a:pt x="2136" y="224"/>
                </a:lnTo>
                <a:lnTo>
                  <a:pt x="2136" y="228"/>
                </a:lnTo>
                <a:lnTo>
                  <a:pt x="2136" y="228"/>
                </a:lnTo>
                <a:lnTo>
                  <a:pt x="2140" y="230"/>
                </a:lnTo>
                <a:lnTo>
                  <a:pt x="2140" y="230"/>
                </a:lnTo>
                <a:lnTo>
                  <a:pt x="2144" y="234"/>
                </a:lnTo>
                <a:lnTo>
                  <a:pt x="2146" y="242"/>
                </a:lnTo>
                <a:lnTo>
                  <a:pt x="2146" y="242"/>
                </a:lnTo>
                <a:lnTo>
                  <a:pt x="2158" y="244"/>
                </a:lnTo>
                <a:lnTo>
                  <a:pt x="2158" y="246"/>
                </a:lnTo>
                <a:lnTo>
                  <a:pt x="2158" y="246"/>
                </a:lnTo>
                <a:lnTo>
                  <a:pt x="2162" y="246"/>
                </a:lnTo>
                <a:lnTo>
                  <a:pt x="2164" y="246"/>
                </a:lnTo>
                <a:lnTo>
                  <a:pt x="2164" y="246"/>
                </a:lnTo>
                <a:lnTo>
                  <a:pt x="2168" y="250"/>
                </a:lnTo>
                <a:lnTo>
                  <a:pt x="2168" y="250"/>
                </a:lnTo>
                <a:lnTo>
                  <a:pt x="2166" y="252"/>
                </a:lnTo>
                <a:lnTo>
                  <a:pt x="2166" y="254"/>
                </a:lnTo>
                <a:lnTo>
                  <a:pt x="2168" y="254"/>
                </a:lnTo>
                <a:lnTo>
                  <a:pt x="2168" y="254"/>
                </a:lnTo>
                <a:lnTo>
                  <a:pt x="2174" y="258"/>
                </a:lnTo>
                <a:lnTo>
                  <a:pt x="2180" y="262"/>
                </a:lnTo>
                <a:lnTo>
                  <a:pt x="2180" y="262"/>
                </a:lnTo>
                <a:lnTo>
                  <a:pt x="2184" y="262"/>
                </a:lnTo>
                <a:lnTo>
                  <a:pt x="2184" y="262"/>
                </a:lnTo>
                <a:lnTo>
                  <a:pt x="2186" y="266"/>
                </a:lnTo>
                <a:lnTo>
                  <a:pt x="2186" y="266"/>
                </a:lnTo>
                <a:lnTo>
                  <a:pt x="2194" y="268"/>
                </a:lnTo>
                <a:lnTo>
                  <a:pt x="2194" y="268"/>
                </a:lnTo>
                <a:lnTo>
                  <a:pt x="2196" y="272"/>
                </a:lnTo>
                <a:lnTo>
                  <a:pt x="2196" y="272"/>
                </a:lnTo>
                <a:lnTo>
                  <a:pt x="2200" y="274"/>
                </a:lnTo>
                <a:lnTo>
                  <a:pt x="2204" y="274"/>
                </a:lnTo>
                <a:lnTo>
                  <a:pt x="2204" y="274"/>
                </a:lnTo>
                <a:lnTo>
                  <a:pt x="2206" y="280"/>
                </a:lnTo>
                <a:lnTo>
                  <a:pt x="2206" y="280"/>
                </a:lnTo>
                <a:lnTo>
                  <a:pt x="2208" y="282"/>
                </a:lnTo>
                <a:lnTo>
                  <a:pt x="2212" y="284"/>
                </a:lnTo>
                <a:lnTo>
                  <a:pt x="2212" y="284"/>
                </a:lnTo>
                <a:lnTo>
                  <a:pt x="2212" y="290"/>
                </a:lnTo>
                <a:lnTo>
                  <a:pt x="2210" y="298"/>
                </a:lnTo>
                <a:lnTo>
                  <a:pt x="2210" y="298"/>
                </a:lnTo>
                <a:lnTo>
                  <a:pt x="2216" y="300"/>
                </a:lnTo>
                <a:lnTo>
                  <a:pt x="2216" y="300"/>
                </a:lnTo>
                <a:lnTo>
                  <a:pt x="2214" y="288"/>
                </a:lnTo>
                <a:lnTo>
                  <a:pt x="2214" y="288"/>
                </a:lnTo>
                <a:lnTo>
                  <a:pt x="2226" y="286"/>
                </a:lnTo>
                <a:lnTo>
                  <a:pt x="2238" y="286"/>
                </a:lnTo>
                <a:lnTo>
                  <a:pt x="2240" y="288"/>
                </a:lnTo>
                <a:lnTo>
                  <a:pt x="2240" y="288"/>
                </a:lnTo>
                <a:lnTo>
                  <a:pt x="2244" y="290"/>
                </a:lnTo>
                <a:lnTo>
                  <a:pt x="2246" y="290"/>
                </a:lnTo>
                <a:lnTo>
                  <a:pt x="2246" y="290"/>
                </a:lnTo>
                <a:lnTo>
                  <a:pt x="2248" y="292"/>
                </a:lnTo>
                <a:lnTo>
                  <a:pt x="2248" y="296"/>
                </a:lnTo>
                <a:lnTo>
                  <a:pt x="2248" y="296"/>
                </a:lnTo>
                <a:lnTo>
                  <a:pt x="2254" y="298"/>
                </a:lnTo>
                <a:lnTo>
                  <a:pt x="2254" y="298"/>
                </a:lnTo>
                <a:lnTo>
                  <a:pt x="2254" y="302"/>
                </a:lnTo>
                <a:lnTo>
                  <a:pt x="2254" y="302"/>
                </a:lnTo>
                <a:lnTo>
                  <a:pt x="2262" y="306"/>
                </a:lnTo>
                <a:lnTo>
                  <a:pt x="2268" y="310"/>
                </a:lnTo>
                <a:lnTo>
                  <a:pt x="2268" y="310"/>
                </a:lnTo>
                <a:lnTo>
                  <a:pt x="2270" y="312"/>
                </a:lnTo>
                <a:lnTo>
                  <a:pt x="2270" y="312"/>
                </a:lnTo>
                <a:lnTo>
                  <a:pt x="2274" y="312"/>
                </a:lnTo>
                <a:lnTo>
                  <a:pt x="2274" y="314"/>
                </a:lnTo>
                <a:lnTo>
                  <a:pt x="2274" y="314"/>
                </a:lnTo>
                <a:lnTo>
                  <a:pt x="2270" y="316"/>
                </a:lnTo>
                <a:lnTo>
                  <a:pt x="2270" y="316"/>
                </a:lnTo>
                <a:close/>
                <a:moveTo>
                  <a:pt x="26" y="556"/>
                </a:moveTo>
                <a:lnTo>
                  <a:pt x="26" y="556"/>
                </a:lnTo>
                <a:lnTo>
                  <a:pt x="16" y="546"/>
                </a:lnTo>
                <a:lnTo>
                  <a:pt x="16" y="546"/>
                </a:lnTo>
                <a:lnTo>
                  <a:pt x="12" y="548"/>
                </a:lnTo>
                <a:lnTo>
                  <a:pt x="12" y="548"/>
                </a:lnTo>
                <a:lnTo>
                  <a:pt x="14" y="544"/>
                </a:lnTo>
                <a:lnTo>
                  <a:pt x="14" y="542"/>
                </a:lnTo>
                <a:lnTo>
                  <a:pt x="12" y="542"/>
                </a:lnTo>
                <a:lnTo>
                  <a:pt x="12" y="542"/>
                </a:lnTo>
                <a:lnTo>
                  <a:pt x="12" y="542"/>
                </a:lnTo>
                <a:lnTo>
                  <a:pt x="10" y="542"/>
                </a:lnTo>
                <a:lnTo>
                  <a:pt x="12" y="542"/>
                </a:lnTo>
                <a:lnTo>
                  <a:pt x="12" y="542"/>
                </a:lnTo>
                <a:lnTo>
                  <a:pt x="8" y="546"/>
                </a:lnTo>
                <a:lnTo>
                  <a:pt x="6" y="546"/>
                </a:lnTo>
                <a:lnTo>
                  <a:pt x="6" y="546"/>
                </a:lnTo>
                <a:lnTo>
                  <a:pt x="4" y="554"/>
                </a:lnTo>
                <a:lnTo>
                  <a:pt x="4" y="554"/>
                </a:lnTo>
                <a:lnTo>
                  <a:pt x="6" y="554"/>
                </a:lnTo>
                <a:lnTo>
                  <a:pt x="6" y="554"/>
                </a:lnTo>
                <a:lnTo>
                  <a:pt x="4" y="556"/>
                </a:lnTo>
                <a:lnTo>
                  <a:pt x="4" y="556"/>
                </a:lnTo>
                <a:lnTo>
                  <a:pt x="4" y="560"/>
                </a:lnTo>
                <a:lnTo>
                  <a:pt x="4" y="560"/>
                </a:lnTo>
                <a:lnTo>
                  <a:pt x="0" y="562"/>
                </a:lnTo>
                <a:lnTo>
                  <a:pt x="0" y="562"/>
                </a:lnTo>
                <a:lnTo>
                  <a:pt x="0" y="564"/>
                </a:lnTo>
                <a:lnTo>
                  <a:pt x="0" y="564"/>
                </a:lnTo>
                <a:lnTo>
                  <a:pt x="4" y="568"/>
                </a:lnTo>
                <a:lnTo>
                  <a:pt x="14" y="572"/>
                </a:lnTo>
                <a:lnTo>
                  <a:pt x="14" y="572"/>
                </a:lnTo>
                <a:lnTo>
                  <a:pt x="26" y="574"/>
                </a:lnTo>
                <a:lnTo>
                  <a:pt x="32" y="574"/>
                </a:lnTo>
                <a:lnTo>
                  <a:pt x="32" y="574"/>
                </a:lnTo>
                <a:lnTo>
                  <a:pt x="40" y="574"/>
                </a:lnTo>
                <a:lnTo>
                  <a:pt x="46" y="572"/>
                </a:lnTo>
                <a:lnTo>
                  <a:pt x="44" y="560"/>
                </a:lnTo>
                <a:lnTo>
                  <a:pt x="44" y="560"/>
                </a:lnTo>
                <a:lnTo>
                  <a:pt x="36" y="560"/>
                </a:lnTo>
                <a:lnTo>
                  <a:pt x="30" y="558"/>
                </a:lnTo>
                <a:lnTo>
                  <a:pt x="26" y="556"/>
                </a:lnTo>
                <a:lnTo>
                  <a:pt x="26" y="5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1" name="Freeform 105">
            <a:extLst>
              <a:ext uri="{FF2B5EF4-FFF2-40B4-BE49-F238E27FC236}">
                <a16:creationId xmlns:a16="http://schemas.microsoft.com/office/drawing/2014/main" id="{849DEAB7-01C0-42BF-9F45-491FAFD7004C}"/>
              </a:ext>
            </a:extLst>
          </p:cNvPr>
          <p:cNvSpPr>
            <a:spLocks/>
          </p:cNvSpPr>
          <p:nvPr userDrawn="1"/>
        </p:nvSpPr>
        <p:spPr bwMode="auto">
          <a:xfrm>
            <a:off x="6330416" y="2225491"/>
            <a:ext cx="194536" cy="154439"/>
          </a:xfrm>
          <a:custGeom>
            <a:avLst/>
            <a:gdLst>
              <a:gd name="T0" fmla="*/ 114 w 116"/>
              <a:gd name="T1" fmla="*/ 60 h 90"/>
              <a:gd name="T2" fmla="*/ 108 w 116"/>
              <a:gd name="T3" fmla="*/ 60 h 90"/>
              <a:gd name="T4" fmla="*/ 104 w 116"/>
              <a:gd name="T5" fmla="*/ 60 h 90"/>
              <a:gd name="T6" fmla="*/ 102 w 116"/>
              <a:gd name="T7" fmla="*/ 60 h 90"/>
              <a:gd name="T8" fmla="*/ 96 w 116"/>
              <a:gd name="T9" fmla="*/ 56 h 90"/>
              <a:gd name="T10" fmla="*/ 96 w 116"/>
              <a:gd name="T11" fmla="*/ 50 h 90"/>
              <a:gd name="T12" fmla="*/ 96 w 116"/>
              <a:gd name="T13" fmla="*/ 48 h 90"/>
              <a:gd name="T14" fmla="*/ 96 w 116"/>
              <a:gd name="T15" fmla="*/ 40 h 90"/>
              <a:gd name="T16" fmla="*/ 96 w 116"/>
              <a:gd name="T17" fmla="*/ 36 h 90"/>
              <a:gd name="T18" fmla="*/ 96 w 116"/>
              <a:gd name="T19" fmla="*/ 32 h 90"/>
              <a:gd name="T20" fmla="*/ 96 w 116"/>
              <a:gd name="T21" fmla="*/ 28 h 90"/>
              <a:gd name="T22" fmla="*/ 90 w 116"/>
              <a:gd name="T23" fmla="*/ 18 h 90"/>
              <a:gd name="T24" fmla="*/ 86 w 116"/>
              <a:gd name="T25" fmla="*/ 10 h 90"/>
              <a:gd name="T26" fmla="*/ 76 w 116"/>
              <a:gd name="T27" fmla="*/ 0 h 90"/>
              <a:gd name="T28" fmla="*/ 70 w 116"/>
              <a:gd name="T29" fmla="*/ 4 h 90"/>
              <a:gd name="T30" fmla="*/ 64 w 116"/>
              <a:gd name="T31" fmla="*/ 8 h 90"/>
              <a:gd name="T32" fmla="*/ 58 w 116"/>
              <a:gd name="T33" fmla="*/ 12 h 90"/>
              <a:gd name="T34" fmla="*/ 52 w 116"/>
              <a:gd name="T35" fmla="*/ 10 h 90"/>
              <a:gd name="T36" fmla="*/ 44 w 116"/>
              <a:gd name="T37" fmla="*/ 8 h 90"/>
              <a:gd name="T38" fmla="*/ 34 w 116"/>
              <a:gd name="T39" fmla="*/ 6 h 90"/>
              <a:gd name="T40" fmla="*/ 30 w 116"/>
              <a:gd name="T41" fmla="*/ 2 h 90"/>
              <a:gd name="T42" fmla="*/ 28 w 116"/>
              <a:gd name="T43" fmla="*/ 14 h 90"/>
              <a:gd name="T44" fmla="*/ 20 w 116"/>
              <a:gd name="T45" fmla="*/ 22 h 90"/>
              <a:gd name="T46" fmla="*/ 16 w 116"/>
              <a:gd name="T47" fmla="*/ 40 h 90"/>
              <a:gd name="T48" fmla="*/ 10 w 116"/>
              <a:gd name="T49" fmla="*/ 50 h 90"/>
              <a:gd name="T50" fmla="*/ 4 w 116"/>
              <a:gd name="T51" fmla="*/ 54 h 90"/>
              <a:gd name="T52" fmla="*/ 4 w 116"/>
              <a:gd name="T53" fmla="*/ 58 h 90"/>
              <a:gd name="T54" fmla="*/ 8 w 116"/>
              <a:gd name="T55" fmla="*/ 64 h 90"/>
              <a:gd name="T56" fmla="*/ 10 w 116"/>
              <a:gd name="T57" fmla="*/ 68 h 90"/>
              <a:gd name="T58" fmla="*/ 14 w 116"/>
              <a:gd name="T59" fmla="*/ 72 h 90"/>
              <a:gd name="T60" fmla="*/ 20 w 116"/>
              <a:gd name="T61" fmla="*/ 70 h 90"/>
              <a:gd name="T62" fmla="*/ 24 w 116"/>
              <a:gd name="T63" fmla="*/ 68 h 90"/>
              <a:gd name="T64" fmla="*/ 30 w 116"/>
              <a:gd name="T65" fmla="*/ 74 h 90"/>
              <a:gd name="T66" fmla="*/ 24 w 116"/>
              <a:gd name="T67" fmla="*/ 74 h 90"/>
              <a:gd name="T68" fmla="*/ 26 w 116"/>
              <a:gd name="T69" fmla="*/ 80 h 90"/>
              <a:gd name="T70" fmla="*/ 32 w 116"/>
              <a:gd name="T71" fmla="*/ 82 h 90"/>
              <a:gd name="T72" fmla="*/ 38 w 116"/>
              <a:gd name="T73" fmla="*/ 86 h 90"/>
              <a:gd name="T74" fmla="*/ 36 w 116"/>
              <a:gd name="T75" fmla="*/ 90 h 90"/>
              <a:gd name="T76" fmla="*/ 42 w 116"/>
              <a:gd name="T77" fmla="*/ 90 h 90"/>
              <a:gd name="T78" fmla="*/ 48 w 116"/>
              <a:gd name="T79" fmla="*/ 88 h 90"/>
              <a:gd name="T80" fmla="*/ 56 w 116"/>
              <a:gd name="T81" fmla="*/ 90 h 90"/>
              <a:gd name="T82" fmla="*/ 66 w 116"/>
              <a:gd name="T83" fmla="*/ 88 h 90"/>
              <a:gd name="T84" fmla="*/ 74 w 116"/>
              <a:gd name="T85" fmla="*/ 82 h 90"/>
              <a:gd name="T86" fmla="*/ 82 w 116"/>
              <a:gd name="T87" fmla="*/ 84 h 90"/>
              <a:gd name="T88" fmla="*/ 88 w 116"/>
              <a:gd name="T89" fmla="*/ 84 h 90"/>
              <a:gd name="T90" fmla="*/ 96 w 116"/>
              <a:gd name="T91" fmla="*/ 82 h 90"/>
              <a:gd name="T92" fmla="*/ 106 w 116"/>
              <a:gd name="T93" fmla="*/ 84 h 90"/>
              <a:gd name="T94" fmla="*/ 106 w 116"/>
              <a:gd name="T95" fmla="*/ 80 h 90"/>
              <a:gd name="T96" fmla="*/ 108 w 116"/>
              <a:gd name="T97" fmla="*/ 76 h 90"/>
              <a:gd name="T98" fmla="*/ 112 w 116"/>
              <a:gd name="T99" fmla="*/ 76 h 90"/>
              <a:gd name="T100" fmla="*/ 114 w 116"/>
              <a:gd name="T101" fmla="*/ 72 h 90"/>
              <a:gd name="T102" fmla="*/ 116 w 116"/>
              <a:gd name="T103" fmla="*/ 64 h 90"/>
              <a:gd name="T104" fmla="*/ 114 w 116"/>
              <a:gd name="T105" fmla="*/ 62 h 90"/>
              <a:gd name="T106" fmla="*/ 116 w 116"/>
              <a:gd name="T107"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90">
                <a:moveTo>
                  <a:pt x="116" y="60"/>
                </a:moveTo>
                <a:lnTo>
                  <a:pt x="116" y="60"/>
                </a:lnTo>
                <a:lnTo>
                  <a:pt x="114" y="60"/>
                </a:lnTo>
                <a:lnTo>
                  <a:pt x="110" y="60"/>
                </a:lnTo>
                <a:lnTo>
                  <a:pt x="108" y="60"/>
                </a:lnTo>
                <a:lnTo>
                  <a:pt x="108" y="60"/>
                </a:lnTo>
                <a:lnTo>
                  <a:pt x="108" y="62"/>
                </a:lnTo>
                <a:lnTo>
                  <a:pt x="106" y="62"/>
                </a:lnTo>
                <a:lnTo>
                  <a:pt x="104" y="60"/>
                </a:lnTo>
                <a:lnTo>
                  <a:pt x="104" y="60"/>
                </a:lnTo>
                <a:lnTo>
                  <a:pt x="102" y="60"/>
                </a:lnTo>
                <a:lnTo>
                  <a:pt x="102" y="60"/>
                </a:lnTo>
                <a:lnTo>
                  <a:pt x="98" y="58"/>
                </a:lnTo>
                <a:lnTo>
                  <a:pt x="98" y="58"/>
                </a:lnTo>
                <a:lnTo>
                  <a:pt x="96" y="56"/>
                </a:lnTo>
                <a:lnTo>
                  <a:pt x="96" y="54"/>
                </a:lnTo>
                <a:lnTo>
                  <a:pt x="98" y="52"/>
                </a:lnTo>
                <a:lnTo>
                  <a:pt x="96" y="50"/>
                </a:lnTo>
                <a:lnTo>
                  <a:pt x="96" y="50"/>
                </a:lnTo>
                <a:lnTo>
                  <a:pt x="96" y="50"/>
                </a:lnTo>
                <a:lnTo>
                  <a:pt x="96" y="48"/>
                </a:lnTo>
                <a:lnTo>
                  <a:pt x="96" y="42"/>
                </a:lnTo>
                <a:lnTo>
                  <a:pt x="96" y="42"/>
                </a:lnTo>
                <a:lnTo>
                  <a:pt x="96" y="40"/>
                </a:lnTo>
                <a:lnTo>
                  <a:pt x="98" y="38"/>
                </a:lnTo>
                <a:lnTo>
                  <a:pt x="98" y="38"/>
                </a:lnTo>
                <a:lnTo>
                  <a:pt x="96" y="36"/>
                </a:lnTo>
                <a:lnTo>
                  <a:pt x="96" y="36"/>
                </a:lnTo>
                <a:lnTo>
                  <a:pt x="96" y="34"/>
                </a:lnTo>
                <a:lnTo>
                  <a:pt x="96" y="32"/>
                </a:lnTo>
                <a:lnTo>
                  <a:pt x="96" y="30"/>
                </a:lnTo>
                <a:lnTo>
                  <a:pt x="96" y="28"/>
                </a:lnTo>
                <a:lnTo>
                  <a:pt x="96" y="28"/>
                </a:lnTo>
                <a:lnTo>
                  <a:pt x="94" y="24"/>
                </a:lnTo>
                <a:lnTo>
                  <a:pt x="90" y="18"/>
                </a:lnTo>
                <a:lnTo>
                  <a:pt x="90" y="18"/>
                </a:lnTo>
                <a:lnTo>
                  <a:pt x="86" y="14"/>
                </a:lnTo>
                <a:lnTo>
                  <a:pt x="86" y="10"/>
                </a:lnTo>
                <a:lnTo>
                  <a:pt x="86" y="10"/>
                </a:lnTo>
                <a:lnTo>
                  <a:pt x="80" y="2"/>
                </a:lnTo>
                <a:lnTo>
                  <a:pt x="76" y="0"/>
                </a:lnTo>
                <a:lnTo>
                  <a:pt x="76" y="0"/>
                </a:lnTo>
                <a:lnTo>
                  <a:pt x="74" y="0"/>
                </a:lnTo>
                <a:lnTo>
                  <a:pt x="70" y="4"/>
                </a:lnTo>
                <a:lnTo>
                  <a:pt x="70" y="4"/>
                </a:lnTo>
                <a:lnTo>
                  <a:pt x="68" y="6"/>
                </a:lnTo>
                <a:lnTo>
                  <a:pt x="64" y="8"/>
                </a:lnTo>
                <a:lnTo>
                  <a:pt x="64" y="8"/>
                </a:lnTo>
                <a:lnTo>
                  <a:pt x="62" y="8"/>
                </a:lnTo>
                <a:lnTo>
                  <a:pt x="62" y="10"/>
                </a:lnTo>
                <a:lnTo>
                  <a:pt x="58" y="12"/>
                </a:lnTo>
                <a:lnTo>
                  <a:pt x="58" y="12"/>
                </a:lnTo>
                <a:lnTo>
                  <a:pt x="54" y="14"/>
                </a:lnTo>
                <a:lnTo>
                  <a:pt x="52" y="10"/>
                </a:lnTo>
                <a:lnTo>
                  <a:pt x="52" y="10"/>
                </a:lnTo>
                <a:lnTo>
                  <a:pt x="48" y="8"/>
                </a:lnTo>
                <a:lnTo>
                  <a:pt x="44" y="8"/>
                </a:lnTo>
                <a:lnTo>
                  <a:pt x="44" y="8"/>
                </a:lnTo>
                <a:lnTo>
                  <a:pt x="38" y="8"/>
                </a:lnTo>
                <a:lnTo>
                  <a:pt x="34" y="6"/>
                </a:lnTo>
                <a:lnTo>
                  <a:pt x="34" y="6"/>
                </a:lnTo>
                <a:lnTo>
                  <a:pt x="32" y="2"/>
                </a:lnTo>
                <a:lnTo>
                  <a:pt x="30" y="2"/>
                </a:lnTo>
                <a:lnTo>
                  <a:pt x="30" y="2"/>
                </a:lnTo>
                <a:lnTo>
                  <a:pt x="28" y="14"/>
                </a:lnTo>
                <a:lnTo>
                  <a:pt x="28" y="14"/>
                </a:lnTo>
                <a:lnTo>
                  <a:pt x="26" y="18"/>
                </a:lnTo>
                <a:lnTo>
                  <a:pt x="20" y="22"/>
                </a:lnTo>
                <a:lnTo>
                  <a:pt x="20" y="22"/>
                </a:lnTo>
                <a:lnTo>
                  <a:pt x="18" y="26"/>
                </a:lnTo>
                <a:lnTo>
                  <a:pt x="16" y="32"/>
                </a:lnTo>
                <a:lnTo>
                  <a:pt x="16" y="40"/>
                </a:lnTo>
                <a:lnTo>
                  <a:pt x="14" y="46"/>
                </a:lnTo>
                <a:lnTo>
                  <a:pt x="14" y="46"/>
                </a:lnTo>
                <a:lnTo>
                  <a:pt x="10" y="50"/>
                </a:lnTo>
                <a:lnTo>
                  <a:pt x="8" y="52"/>
                </a:lnTo>
                <a:lnTo>
                  <a:pt x="4" y="54"/>
                </a:lnTo>
                <a:lnTo>
                  <a:pt x="4" y="54"/>
                </a:lnTo>
                <a:lnTo>
                  <a:pt x="0" y="54"/>
                </a:lnTo>
                <a:lnTo>
                  <a:pt x="0" y="54"/>
                </a:lnTo>
                <a:lnTo>
                  <a:pt x="4" y="58"/>
                </a:lnTo>
                <a:lnTo>
                  <a:pt x="6" y="60"/>
                </a:lnTo>
                <a:lnTo>
                  <a:pt x="8" y="64"/>
                </a:lnTo>
                <a:lnTo>
                  <a:pt x="8" y="64"/>
                </a:lnTo>
                <a:lnTo>
                  <a:pt x="6" y="68"/>
                </a:lnTo>
                <a:lnTo>
                  <a:pt x="10" y="68"/>
                </a:lnTo>
                <a:lnTo>
                  <a:pt x="10" y="68"/>
                </a:lnTo>
                <a:lnTo>
                  <a:pt x="12" y="68"/>
                </a:lnTo>
                <a:lnTo>
                  <a:pt x="14" y="72"/>
                </a:lnTo>
                <a:lnTo>
                  <a:pt x="14" y="72"/>
                </a:lnTo>
                <a:lnTo>
                  <a:pt x="16" y="74"/>
                </a:lnTo>
                <a:lnTo>
                  <a:pt x="18" y="72"/>
                </a:lnTo>
                <a:lnTo>
                  <a:pt x="20" y="70"/>
                </a:lnTo>
                <a:lnTo>
                  <a:pt x="20" y="70"/>
                </a:lnTo>
                <a:lnTo>
                  <a:pt x="20" y="68"/>
                </a:lnTo>
                <a:lnTo>
                  <a:pt x="24" y="68"/>
                </a:lnTo>
                <a:lnTo>
                  <a:pt x="28" y="72"/>
                </a:lnTo>
                <a:lnTo>
                  <a:pt x="28" y="72"/>
                </a:lnTo>
                <a:lnTo>
                  <a:pt x="30" y="74"/>
                </a:lnTo>
                <a:lnTo>
                  <a:pt x="28" y="74"/>
                </a:lnTo>
                <a:lnTo>
                  <a:pt x="28" y="74"/>
                </a:lnTo>
                <a:lnTo>
                  <a:pt x="24" y="74"/>
                </a:lnTo>
                <a:lnTo>
                  <a:pt x="24" y="76"/>
                </a:lnTo>
                <a:lnTo>
                  <a:pt x="26" y="80"/>
                </a:lnTo>
                <a:lnTo>
                  <a:pt x="26" y="80"/>
                </a:lnTo>
                <a:lnTo>
                  <a:pt x="30" y="82"/>
                </a:lnTo>
                <a:lnTo>
                  <a:pt x="32" y="82"/>
                </a:lnTo>
                <a:lnTo>
                  <a:pt x="32" y="82"/>
                </a:lnTo>
                <a:lnTo>
                  <a:pt x="36" y="84"/>
                </a:lnTo>
                <a:lnTo>
                  <a:pt x="38" y="84"/>
                </a:lnTo>
                <a:lnTo>
                  <a:pt x="38" y="86"/>
                </a:lnTo>
                <a:lnTo>
                  <a:pt x="38" y="86"/>
                </a:lnTo>
                <a:lnTo>
                  <a:pt x="36" y="88"/>
                </a:lnTo>
                <a:lnTo>
                  <a:pt x="36" y="90"/>
                </a:lnTo>
                <a:lnTo>
                  <a:pt x="38" y="90"/>
                </a:lnTo>
                <a:lnTo>
                  <a:pt x="42" y="90"/>
                </a:lnTo>
                <a:lnTo>
                  <a:pt x="42" y="90"/>
                </a:lnTo>
                <a:lnTo>
                  <a:pt x="46" y="90"/>
                </a:lnTo>
                <a:lnTo>
                  <a:pt x="46" y="90"/>
                </a:lnTo>
                <a:lnTo>
                  <a:pt x="48" y="88"/>
                </a:lnTo>
                <a:lnTo>
                  <a:pt x="50" y="90"/>
                </a:lnTo>
                <a:lnTo>
                  <a:pt x="50" y="90"/>
                </a:lnTo>
                <a:lnTo>
                  <a:pt x="56" y="90"/>
                </a:lnTo>
                <a:lnTo>
                  <a:pt x="62" y="90"/>
                </a:lnTo>
                <a:lnTo>
                  <a:pt x="62" y="90"/>
                </a:lnTo>
                <a:lnTo>
                  <a:pt x="66" y="88"/>
                </a:lnTo>
                <a:lnTo>
                  <a:pt x="70" y="86"/>
                </a:lnTo>
                <a:lnTo>
                  <a:pt x="70" y="86"/>
                </a:lnTo>
                <a:lnTo>
                  <a:pt x="74" y="82"/>
                </a:lnTo>
                <a:lnTo>
                  <a:pt x="78" y="82"/>
                </a:lnTo>
                <a:lnTo>
                  <a:pt x="78" y="82"/>
                </a:lnTo>
                <a:lnTo>
                  <a:pt x="82" y="84"/>
                </a:lnTo>
                <a:lnTo>
                  <a:pt x="84" y="86"/>
                </a:lnTo>
                <a:lnTo>
                  <a:pt x="88" y="84"/>
                </a:lnTo>
                <a:lnTo>
                  <a:pt x="88" y="84"/>
                </a:lnTo>
                <a:lnTo>
                  <a:pt x="92" y="82"/>
                </a:lnTo>
                <a:lnTo>
                  <a:pt x="96" y="82"/>
                </a:lnTo>
                <a:lnTo>
                  <a:pt x="96" y="82"/>
                </a:lnTo>
                <a:lnTo>
                  <a:pt x="102" y="86"/>
                </a:lnTo>
                <a:lnTo>
                  <a:pt x="106" y="84"/>
                </a:lnTo>
                <a:lnTo>
                  <a:pt x="106" y="84"/>
                </a:lnTo>
                <a:lnTo>
                  <a:pt x="106" y="82"/>
                </a:lnTo>
                <a:lnTo>
                  <a:pt x="106" y="80"/>
                </a:lnTo>
                <a:lnTo>
                  <a:pt x="106" y="80"/>
                </a:lnTo>
                <a:lnTo>
                  <a:pt x="106" y="78"/>
                </a:lnTo>
                <a:lnTo>
                  <a:pt x="108" y="76"/>
                </a:lnTo>
                <a:lnTo>
                  <a:pt x="108" y="76"/>
                </a:lnTo>
                <a:lnTo>
                  <a:pt x="112" y="78"/>
                </a:lnTo>
                <a:lnTo>
                  <a:pt x="112" y="78"/>
                </a:lnTo>
                <a:lnTo>
                  <a:pt x="112" y="76"/>
                </a:lnTo>
                <a:lnTo>
                  <a:pt x="114" y="76"/>
                </a:lnTo>
                <a:lnTo>
                  <a:pt x="114" y="76"/>
                </a:lnTo>
                <a:lnTo>
                  <a:pt x="114" y="72"/>
                </a:lnTo>
                <a:lnTo>
                  <a:pt x="114" y="66"/>
                </a:lnTo>
                <a:lnTo>
                  <a:pt x="114" y="66"/>
                </a:lnTo>
                <a:lnTo>
                  <a:pt x="116" y="64"/>
                </a:lnTo>
                <a:lnTo>
                  <a:pt x="114" y="64"/>
                </a:lnTo>
                <a:lnTo>
                  <a:pt x="114" y="64"/>
                </a:lnTo>
                <a:lnTo>
                  <a:pt x="114" y="62"/>
                </a:lnTo>
                <a:lnTo>
                  <a:pt x="114" y="62"/>
                </a:lnTo>
                <a:lnTo>
                  <a:pt x="116" y="62"/>
                </a:lnTo>
                <a:lnTo>
                  <a:pt x="116" y="62"/>
                </a:lnTo>
                <a:lnTo>
                  <a:pt x="116" y="60"/>
                </a:lnTo>
                <a:lnTo>
                  <a:pt x="116" y="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2" name="Freeform 106">
            <a:extLst>
              <a:ext uri="{FF2B5EF4-FFF2-40B4-BE49-F238E27FC236}">
                <a16:creationId xmlns:a16="http://schemas.microsoft.com/office/drawing/2014/main" id="{6E14D833-AC2E-4620-9FBF-65C9D3678C1E}"/>
              </a:ext>
            </a:extLst>
          </p:cNvPr>
          <p:cNvSpPr>
            <a:spLocks/>
          </p:cNvSpPr>
          <p:nvPr userDrawn="1"/>
        </p:nvSpPr>
        <p:spPr bwMode="auto">
          <a:xfrm>
            <a:off x="6987815" y="2935909"/>
            <a:ext cx="20125" cy="30888"/>
          </a:xfrm>
          <a:custGeom>
            <a:avLst/>
            <a:gdLst>
              <a:gd name="T0" fmla="*/ 0 w 12"/>
              <a:gd name="T1" fmla="*/ 12 h 18"/>
              <a:gd name="T2" fmla="*/ 0 w 12"/>
              <a:gd name="T3" fmla="*/ 12 h 18"/>
              <a:gd name="T4" fmla="*/ 0 w 12"/>
              <a:gd name="T5" fmla="*/ 10 h 18"/>
              <a:gd name="T6" fmla="*/ 0 w 12"/>
              <a:gd name="T7" fmla="*/ 10 h 18"/>
              <a:gd name="T8" fmla="*/ 6 w 12"/>
              <a:gd name="T9" fmla="*/ 6 h 18"/>
              <a:gd name="T10" fmla="*/ 8 w 12"/>
              <a:gd name="T11" fmla="*/ 0 h 18"/>
              <a:gd name="T12" fmla="*/ 8 w 12"/>
              <a:gd name="T13" fmla="*/ 0 h 18"/>
              <a:gd name="T14" fmla="*/ 10 w 12"/>
              <a:gd name="T15" fmla="*/ 0 h 18"/>
              <a:gd name="T16" fmla="*/ 10 w 12"/>
              <a:gd name="T17" fmla="*/ 0 h 18"/>
              <a:gd name="T18" fmla="*/ 12 w 12"/>
              <a:gd name="T19" fmla="*/ 8 h 18"/>
              <a:gd name="T20" fmla="*/ 12 w 12"/>
              <a:gd name="T21" fmla="*/ 18 h 18"/>
              <a:gd name="T22" fmla="*/ 6 w 12"/>
              <a:gd name="T23" fmla="*/ 16 h 18"/>
              <a:gd name="T24" fmla="*/ 0 w 12"/>
              <a:gd name="T25"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8">
                <a:moveTo>
                  <a:pt x="0" y="12"/>
                </a:moveTo>
                <a:lnTo>
                  <a:pt x="0" y="12"/>
                </a:lnTo>
                <a:lnTo>
                  <a:pt x="0" y="10"/>
                </a:lnTo>
                <a:lnTo>
                  <a:pt x="0" y="10"/>
                </a:lnTo>
                <a:lnTo>
                  <a:pt x="6" y="6"/>
                </a:lnTo>
                <a:lnTo>
                  <a:pt x="8" y="0"/>
                </a:lnTo>
                <a:lnTo>
                  <a:pt x="8" y="0"/>
                </a:lnTo>
                <a:lnTo>
                  <a:pt x="10" y="0"/>
                </a:lnTo>
                <a:lnTo>
                  <a:pt x="10" y="0"/>
                </a:lnTo>
                <a:lnTo>
                  <a:pt x="12" y="8"/>
                </a:lnTo>
                <a:lnTo>
                  <a:pt x="12" y="18"/>
                </a:lnTo>
                <a:lnTo>
                  <a:pt x="6" y="16"/>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3" name="Freeform 107">
            <a:extLst>
              <a:ext uri="{FF2B5EF4-FFF2-40B4-BE49-F238E27FC236}">
                <a16:creationId xmlns:a16="http://schemas.microsoft.com/office/drawing/2014/main" id="{C1483C01-4338-4579-8067-9C2A6B15A35C}"/>
              </a:ext>
            </a:extLst>
          </p:cNvPr>
          <p:cNvSpPr>
            <a:spLocks/>
          </p:cNvSpPr>
          <p:nvPr userDrawn="1"/>
        </p:nvSpPr>
        <p:spPr bwMode="auto">
          <a:xfrm>
            <a:off x="4356545" y="3148692"/>
            <a:ext cx="30187" cy="17160"/>
          </a:xfrm>
          <a:custGeom>
            <a:avLst/>
            <a:gdLst>
              <a:gd name="T0" fmla="*/ 0 w 18"/>
              <a:gd name="T1" fmla="*/ 0 h 10"/>
              <a:gd name="T2" fmla="*/ 0 w 18"/>
              <a:gd name="T3" fmla="*/ 0 h 10"/>
              <a:gd name="T4" fmla="*/ 0 w 18"/>
              <a:gd name="T5" fmla="*/ 4 h 10"/>
              <a:gd name="T6" fmla="*/ 0 w 18"/>
              <a:gd name="T7" fmla="*/ 4 h 10"/>
              <a:gd name="T8" fmla="*/ 2 w 18"/>
              <a:gd name="T9" fmla="*/ 8 h 10"/>
              <a:gd name="T10" fmla="*/ 2 w 18"/>
              <a:gd name="T11" fmla="*/ 8 h 10"/>
              <a:gd name="T12" fmla="*/ 8 w 18"/>
              <a:gd name="T13" fmla="*/ 10 h 10"/>
              <a:gd name="T14" fmla="*/ 10 w 18"/>
              <a:gd name="T15" fmla="*/ 8 h 10"/>
              <a:gd name="T16" fmla="*/ 16 w 18"/>
              <a:gd name="T17" fmla="*/ 4 h 10"/>
              <a:gd name="T18" fmla="*/ 16 w 18"/>
              <a:gd name="T19" fmla="*/ 4 h 10"/>
              <a:gd name="T20" fmla="*/ 18 w 18"/>
              <a:gd name="T21" fmla="*/ 2 h 10"/>
              <a:gd name="T22" fmla="*/ 18 w 18"/>
              <a:gd name="T23" fmla="*/ 2 h 10"/>
              <a:gd name="T24" fmla="*/ 14 w 18"/>
              <a:gd name="T25" fmla="*/ 0 h 10"/>
              <a:gd name="T26" fmla="*/ 0 w 18"/>
              <a:gd name="T27" fmla="*/ 0 h 10"/>
              <a:gd name="T28" fmla="*/ 0 w 18"/>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0">
                <a:moveTo>
                  <a:pt x="0" y="0"/>
                </a:moveTo>
                <a:lnTo>
                  <a:pt x="0" y="0"/>
                </a:lnTo>
                <a:lnTo>
                  <a:pt x="0" y="4"/>
                </a:lnTo>
                <a:lnTo>
                  <a:pt x="0" y="4"/>
                </a:lnTo>
                <a:lnTo>
                  <a:pt x="2" y="8"/>
                </a:lnTo>
                <a:lnTo>
                  <a:pt x="2" y="8"/>
                </a:lnTo>
                <a:lnTo>
                  <a:pt x="8" y="10"/>
                </a:lnTo>
                <a:lnTo>
                  <a:pt x="10" y="8"/>
                </a:lnTo>
                <a:lnTo>
                  <a:pt x="16" y="4"/>
                </a:lnTo>
                <a:lnTo>
                  <a:pt x="16" y="4"/>
                </a:lnTo>
                <a:lnTo>
                  <a:pt x="18" y="2"/>
                </a:lnTo>
                <a:lnTo>
                  <a:pt x="18" y="2"/>
                </a:lnTo>
                <a:lnTo>
                  <a:pt x="14"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4" name="Freeform 108">
            <a:extLst>
              <a:ext uri="{FF2B5EF4-FFF2-40B4-BE49-F238E27FC236}">
                <a16:creationId xmlns:a16="http://schemas.microsoft.com/office/drawing/2014/main" id="{70118262-D16E-4A17-B79B-91F97388FD62}"/>
              </a:ext>
            </a:extLst>
          </p:cNvPr>
          <p:cNvSpPr>
            <a:spLocks/>
          </p:cNvSpPr>
          <p:nvPr userDrawn="1"/>
        </p:nvSpPr>
        <p:spPr bwMode="auto">
          <a:xfrm>
            <a:off x="5641155" y="2434841"/>
            <a:ext cx="63727" cy="161303"/>
          </a:xfrm>
          <a:custGeom>
            <a:avLst/>
            <a:gdLst>
              <a:gd name="T0" fmla="*/ 30 w 38"/>
              <a:gd name="T1" fmla="*/ 90 h 94"/>
              <a:gd name="T2" fmla="*/ 32 w 38"/>
              <a:gd name="T3" fmla="*/ 82 h 94"/>
              <a:gd name="T4" fmla="*/ 34 w 38"/>
              <a:gd name="T5" fmla="*/ 80 h 94"/>
              <a:gd name="T6" fmla="*/ 30 w 38"/>
              <a:gd name="T7" fmla="*/ 80 h 94"/>
              <a:gd name="T8" fmla="*/ 28 w 38"/>
              <a:gd name="T9" fmla="*/ 78 h 94"/>
              <a:gd name="T10" fmla="*/ 28 w 38"/>
              <a:gd name="T11" fmla="*/ 72 h 94"/>
              <a:gd name="T12" fmla="*/ 30 w 38"/>
              <a:gd name="T13" fmla="*/ 68 h 94"/>
              <a:gd name="T14" fmla="*/ 30 w 38"/>
              <a:gd name="T15" fmla="*/ 62 h 94"/>
              <a:gd name="T16" fmla="*/ 28 w 38"/>
              <a:gd name="T17" fmla="*/ 58 h 94"/>
              <a:gd name="T18" fmla="*/ 32 w 38"/>
              <a:gd name="T19" fmla="*/ 52 h 94"/>
              <a:gd name="T20" fmla="*/ 32 w 38"/>
              <a:gd name="T21" fmla="*/ 48 h 94"/>
              <a:gd name="T22" fmla="*/ 32 w 38"/>
              <a:gd name="T23" fmla="*/ 42 h 94"/>
              <a:gd name="T24" fmla="*/ 34 w 38"/>
              <a:gd name="T25" fmla="*/ 34 h 94"/>
              <a:gd name="T26" fmla="*/ 36 w 38"/>
              <a:gd name="T27" fmla="*/ 32 h 94"/>
              <a:gd name="T28" fmla="*/ 32 w 38"/>
              <a:gd name="T29" fmla="*/ 20 h 94"/>
              <a:gd name="T30" fmla="*/ 30 w 38"/>
              <a:gd name="T31" fmla="*/ 18 h 94"/>
              <a:gd name="T32" fmla="*/ 36 w 38"/>
              <a:gd name="T33" fmla="*/ 12 h 94"/>
              <a:gd name="T34" fmla="*/ 38 w 38"/>
              <a:gd name="T35" fmla="*/ 6 h 94"/>
              <a:gd name="T36" fmla="*/ 34 w 38"/>
              <a:gd name="T37" fmla="*/ 6 h 94"/>
              <a:gd name="T38" fmla="*/ 30 w 38"/>
              <a:gd name="T39" fmla="*/ 4 h 94"/>
              <a:gd name="T40" fmla="*/ 20 w 38"/>
              <a:gd name="T41" fmla="*/ 4 h 94"/>
              <a:gd name="T42" fmla="*/ 18 w 38"/>
              <a:gd name="T43" fmla="*/ 4 h 94"/>
              <a:gd name="T44" fmla="*/ 18 w 38"/>
              <a:gd name="T45" fmla="*/ 2 h 94"/>
              <a:gd name="T46" fmla="*/ 16 w 38"/>
              <a:gd name="T47" fmla="*/ 0 h 94"/>
              <a:gd name="T48" fmla="*/ 10 w 38"/>
              <a:gd name="T49" fmla="*/ 4 h 94"/>
              <a:gd name="T50" fmla="*/ 12 w 38"/>
              <a:gd name="T51" fmla="*/ 16 h 94"/>
              <a:gd name="T52" fmla="*/ 12 w 38"/>
              <a:gd name="T53" fmla="*/ 30 h 94"/>
              <a:gd name="T54" fmla="*/ 8 w 38"/>
              <a:gd name="T55" fmla="*/ 34 h 94"/>
              <a:gd name="T56" fmla="*/ 8 w 38"/>
              <a:gd name="T57" fmla="*/ 36 h 94"/>
              <a:gd name="T58" fmla="*/ 8 w 38"/>
              <a:gd name="T59" fmla="*/ 38 h 94"/>
              <a:gd name="T60" fmla="*/ 6 w 38"/>
              <a:gd name="T61" fmla="*/ 42 h 94"/>
              <a:gd name="T62" fmla="*/ 6 w 38"/>
              <a:gd name="T63" fmla="*/ 46 h 94"/>
              <a:gd name="T64" fmla="*/ 2 w 38"/>
              <a:gd name="T65" fmla="*/ 48 h 94"/>
              <a:gd name="T66" fmla="*/ 2 w 38"/>
              <a:gd name="T67" fmla="*/ 54 h 94"/>
              <a:gd name="T68" fmla="*/ 0 w 38"/>
              <a:gd name="T69" fmla="*/ 56 h 94"/>
              <a:gd name="T70" fmla="*/ 2 w 38"/>
              <a:gd name="T71" fmla="*/ 58 h 94"/>
              <a:gd name="T72" fmla="*/ 4 w 38"/>
              <a:gd name="T73" fmla="*/ 62 h 94"/>
              <a:gd name="T74" fmla="*/ 6 w 38"/>
              <a:gd name="T75" fmla="*/ 58 h 94"/>
              <a:gd name="T76" fmla="*/ 6 w 38"/>
              <a:gd name="T77" fmla="*/ 62 h 94"/>
              <a:gd name="T78" fmla="*/ 4 w 38"/>
              <a:gd name="T79" fmla="*/ 64 h 94"/>
              <a:gd name="T80" fmla="*/ 4 w 38"/>
              <a:gd name="T81" fmla="*/ 66 h 94"/>
              <a:gd name="T82" fmla="*/ 6 w 38"/>
              <a:gd name="T83" fmla="*/ 66 h 94"/>
              <a:gd name="T84" fmla="*/ 6 w 38"/>
              <a:gd name="T85" fmla="*/ 72 h 94"/>
              <a:gd name="T86" fmla="*/ 8 w 38"/>
              <a:gd name="T87" fmla="*/ 76 h 94"/>
              <a:gd name="T88" fmla="*/ 8 w 38"/>
              <a:gd name="T89" fmla="*/ 78 h 94"/>
              <a:gd name="T90" fmla="*/ 6 w 38"/>
              <a:gd name="T91" fmla="*/ 92 h 94"/>
              <a:gd name="T92" fmla="*/ 18 w 38"/>
              <a:gd name="T93" fmla="*/ 92 h 94"/>
              <a:gd name="T94" fmla="*/ 18 w 38"/>
              <a:gd name="T95" fmla="*/ 94 h 94"/>
              <a:gd name="T96" fmla="*/ 22 w 38"/>
              <a:gd name="T97" fmla="*/ 94 h 94"/>
              <a:gd name="T98" fmla="*/ 30 w 38"/>
              <a:gd name="T9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 h="94">
                <a:moveTo>
                  <a:pt x="30" y="90"/>
                </a:moveTo>
                <a:lnTo>
                  <a:pt x="30" y="90"/>
                </a:lnTo>
                <a:lnTo>
                  <a:pt x="30" y="88"/>
                </a:lnTo>
                <a:lnTo>
                  <a:pt x="32" y="82"/>
                </a:lnTo>
                <a:lnTo>
                  <a:pt x="32" y="82"/>
                </a:lnTo>
                <a:lnTo>
                  <a:pt x="34" y="80"/>
                </a:lnTo>
                <a:lnTo>
                  <a:pt x="32" y="80"/>
                </a:lnTo>
                <a:lnTo>
                  <a:pt x="30" y="80"/>
                </a:lnTo>
                <a:lnTo>
                  <a:pt x="28" y="78"/>
                </a:lnTo>
                <a:lnTo>
                  <a:pt x="28" y="78"/>
                </a:lnTo>
                <a:lnTo>
                  <a:pt x="28" y="74"/>
                </a:lnTo>
                <a:lnTo>
                  <a:pt x="28" y="72"/>
                </a:lnTo>
                <a:lnTo>
                  <a:pt x="30" y="68"/>
                </a:lnTo>
                <a:lnTo>
                  <a:pt x="30" y="68"/>
                </a:lnTo>
                <a:lnTo>
                  <a:pt x="32" y="64"/>
                </a:lnTo>
                <a:lnTo>
                  <a:pt x="30" y="62"/>
                </a:lnTo>
                <a:lnTo>
                  <a:pt x="30" y="62"/>
                </a:lnTo>
                <a:lnTo>
                  <a:pt x="28" y="58"/>
                </a:lnTo>
                <a:lnTo>
                  <a:pt x="28" y="56"/>
                </a:lnTo>
                <a:lnTo>
                  <a:pt x="32" y="52"/>
                </a:lnTo>
                <a:lnTo>
                  <a:pt x="32" y="52"/>
                </a:lnTo>
                <a:lnTo>
                  <a:pt x="32" y="48"/>
                </a:lnTo>
                <a:lnTo>
                  <a:pt x="32" y="42"/>
                </a:lnTo>
                <a:lnTo>
                  <a:pt x="32" y="42"/>
                </a:lnTo>
                <a:lnTo>
                  <a:pt x="30" y="38"/>
                </a:lnTo>
                <a:lnTo>
                  <a:pt x="34" y="34"/>
                </a:lnTo>
                <a:lnTo>
                  <a:pt x="34" y="34"/>
                </a:lnTo>
                <a:lnTo>
                  <a:pt x="36" y="32"/>
                </a:lnTo>
                <a:lnTo>
                  <a:pt x="36" y="28"/>
                </a:lnTo>
                <a:lnTo>
                  <a:pt x="32" y="20"/>
                </a:lnTo>
                <a:lnTo>
                  <a:pt x="32" y="20"/>
                </a:lnTo>
                <a:lnTo>
                  <a:pt x="30" y="18"/>
                </a:lnTo>
                <a:lnTo>
                  <a:pt x="32" y="16"/>
                </a:lnTo>
                <a:lnTo>
                  <a:pt x="36" y="12"/>
                </a:lnTo>
                <a:lnTo>
                  <a:pt x="36" y="12"/>
                </a:lnTo>
                <a:lnTo>
                  <a:pt x="38" y="6"/>
                </a:lnTo>
                <a:lnTo>
                  <a:pt x="34" y="6"/>
                </a:lnTo>
                <a:lnTo>
                  <a:pt x="34" y="6"/>
                </a:lnTo>
                <a:lnTo>
                  <a:pt x="34" y="4"/>
                </a:lnTo>
                <a:lnTo>
                  <a:pt x="30" y="4"/>
                </a:lnTo>
                <a:lnTo>
                  <a:pt x="30" y="4"/>
                </a:lnTo>
                <a:lnTo>
                  <a:pt x="20" y="4"/>
                </a:lnTo>
                <a:lnTo>
                  <a:pt x="20" y="4"/>
                </a:lnTo>
                <a:lnTo>
                  <a:pt x="18" y="4"/>
                </a:lnTo>
                <a:lnTo>
                  <a:pt x="18" y="4"/>
                </a:lnTo>
                <a:lnTo>
                  <a:pt x="18" y="2"/>
                </a:lnTo>
                <a:lnTo>
                  <a:pt x="18" y="2"/>
                </a:lnTo>
                <a:lnTo>
                  <a:pt x="16" y="0"/>
                </a:lnTo>
                <a:lnTo>
                  <a:pt x="12" y="2"/>
                </a:lnTo>
                <a:lnTo>
                  <a:pt x="10" y="4"/>
                </a:lnTo>
                <a:lnTo>
                  <a:pt x="10" y="4"/>
                </a:lnTo>
                <a:lnTo>
                  <a:pt x="12" y="16"/>
                </a:lnTo>
                <a:lnTo>
                  <a:pt x="12" y="24"/>
                </a:lnTo>
                <a:lnTo>
                  <a:pt x="12" y="30"/>
                </a:lnTo>
                <a:lnTo>
                  <a:pt x="12" y="30"/>
                </a:lnTo>
                <a:lnTo>
                  <a:pt x="8" y="34"/>
                </a:lnTo>
                <a:lnTo>
                  <a:pt x="8" y="34"/>
                </a:lnTo>
                <a:lnTo>
                  <a:pt x="8" y="36"/>
                </a:lnTo>
                <a:lnTo>
                  <a:pt x="8" y="38"/>
                </a:lnTo>
                <a:lnTo>
                  <a:pt x="8" y="38"/>
                </a:lnTo>
                <a:lnTo>
                  <a:pt x="6" y="42"/>
                </a:lnTo>
                <a:lnTo>
                  <a:pt x="6" y="42"/>
                </a:lnTo>
                <a:lnTo>
                  <a:pt x="6" y="46"/>
                </a:lnTo>
                <a:lnTo>
                  <a:pt x="6" y="46"/>
                </a:lnTo>
                <a:lnTo>
                  <a:pt x="2" y="48"/>
                </a:lnTo>
                <a:lnTo>
                  <a:pt x="2" y="48"/>
                </a:lnTo>
                <a:lnTo>
                  <a:pt x="2" y="52"/>
                </a:lnTo>
                <a:lnTo>
                  <a:pt x="2" y="54"/>
                </a:lnTo>
                <a:lnTo>
                  <a:pt x="0" y="56"/>
                </a:lnTo>
                <a:lnTo>
                  <a:pt x="0" y="56"/>
                </a:lnTo>
                <a:lnTo>
                  <a:pt x="0" y="56"/>
                </a:lnTo>
                <a:lnTo>
                  <a:pt x="2" y="58"/>
                </a:lnTo>
                <a:lnTo>
                  <a:pt x="4" y="62"/>
                </a:lnTo>
                <a:lnTo>
                  <a:pt x="4" y="62"/>
                </a:lnTo>
                <a:lnTo>
                  <a:pt x="4" y="60"/>
                </a:lnTo>
                <a:lnTo>
                  <a:pt x="6" y="58"/>
                </a:lnTo>
                <a:lnTo>
                  <a:pt x="6" y="58"/>
                </a:lnTo>
                <a:lnTo>
                  <a:pt x="6" y="62"/>
                </a:lnTo>
                <a:lnTo>
                  <a:pt x="6" y="62"/>
                </a:lnTo>
                <a:lnTo>
                  <a:pt x="4" y="64"/>
                </a:lnTo>
                <a:lnTo>
                  <a:pt x="4" y="64"/>
                </a:lnTo>
                <a:lnTo>
                  <a:pt x="4" y="66"/>
                </a:lnTo>
                <a:lnTo>
                  <a:pt x="4" y="66"/>
                </a:lnTo>
                <a:lnTo>
                  <a:pt x="6" y="66"/>
                </a:lnTo>
                <a:lnTo>
                  <a:pt x="6" y="66"/>
                </a:lnTo>
                <a:lnTo>
                  <a:pt x="6" y="72"/>
                </a:lnTo>
                <a:lnTo>
                  <a:pt x="8" y="74"/>
                </a:lnTo>
                <a:lnTo>
                  <a:pt x="8" y="76"/>
                </a:lnTo>
                <a:lnTo>
                  <a:pt x="8" y="78"/>
                </a:lnTo>
                <a:lnTo>
                  <a:pt x="8" y="78"/>
                </a:lnTo>
                <a:lnTo>
                  <a:pt x="6" y="92"/>
                </a:lnTo>
                <a:lnTo>
                  <a:pt x="6" y="92"/>
                </a:lnTo>
                <a:lnTo>
                  <a:pt x="10" y="90"/>
                </a:lnTo>
                <a:lnTo>
                  <a:pt x="18" y="92"/>
                </a:lnTo>
                <a:lnTo>
                  <a:pt x="18" y="92"/>
                </a:lnTo>
                <a:lnTo>
                  <a:pt x="18" y="94"/>
                </a:lnTo>
                <a:lnTo>
                  <a:pt x="22" y="94"/>
                </a:lnTo>
                <a:lnTo>
                  <a:pt x="22" y="94"/>
                </a:lnTo>
                <a:lnTo>
                  <a:pt x="26" y="92"/>
                </a:lnTo>
                <a:lnTo>
                  <a:pt x="30" y="90"/>
                </a:lnTo>
                <a:lnTo>
                  <a:pt x="30" y="9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5" name="Freeform 109">
            <a:extLst>
              <a:ext uri="{FF2B5EF4-FFF2-40B4-BE49-F238E27FC236}">
                <a16:creationId xmlns:a16="http://schemas.microsoft.com/office/drawing/2014/main" id="{F82B87C1-B878-4A9D-946E-7F534920A260}"/>
              </a:ext>
            </a:extLst>
          </p:cNvPr>
          <p:cNvSpPr>
            <a:spLocks/>
          </p:cNvSpPr>
          <p:nvPr userDrawn="1"/>
        </p:nvSpPr>
        <p:spPr bwMode="auto">
          <a:xfrm>
            <a:off x="6172775" y="2005844"/>
            <a:ext cx="241493" cy="209350"/>
          </a:xfrm>
          <a:custGeom>
            <a:avLst/>
            <a:gdLst>
              <a:gd name="T0" fmla="*/ 72 w 144"/>
              <a:gd name="T1" fmla="*/ 8 h 122"/>
              <a:gd name="T2" fmla="*/ 72 w 144"/>
              <a:gd name="T3" fmla="*/ 6 h 122"/>
              <a:gd name="T4" fmla="*/ 66 w 144"/>
              <a:gd name="T5" fmla="*/ 8 h 122"/>
              <a:gd name="T6" fmla="*/ 60 w 144"/>
              <a:gd name="T7" fmla="*/ 8 h 122"/>
              <a:gd name="T8" fmla="*/ 58 w 144"/>
              <a:gd name="T9" fmla="*/ 4 h 122"/>
              <a:gd name="T10" fmla="*/ 60 w 144"/>
              <a:gd name="T11" fmla="*/ 6 h 122"/>
              <a:gd name="T12" fmla="*/ 62 w 144"/>
              <a:gd name="T13" fmla="*/ 2 h 122"/>
              <a:gd name="T14" fmla="*/ 58 w 144"/>
              <a:gd name="T15" fmla="*/ 0 h 122"/>
              <a:gd name="T16" fmla="*/ 40 w 144"/>
              <a:gd name="T17" fmla="*/ 8 h 122"/>
              <a:gd name="T18" fmla="*/ 34 w 144"/>
              <a:gd name="T19" fmla="*/ 8 h 122"/>
              <a:gd name="T20" fmla="*/ 28 w 144"/>
              <a:gd name="T21" fmla="*/ 12 h 122"/>
              <a:gd name="T22" fmla="*/ 22 w 144"/>
              <a:gd name="T23" fmla="*/ 14 h 122"/>
              <a:gd name="T24" fmla="*/ 8 w 144"/>
              <a:gd name="T25" fmla="*/ 16 h 122"/>
              <a:gd name="T26" fmla="*/ 2 w 144"/>
              <a:gd name="T27" fmla="*/ 22 h 122"/>
              <a:gd name="T28" fmla="*/ 0 w 144"/>
              <a:gd name="T29" fmla="*/ 34 h 122"/>
              <a:gd name="T30" fmla="*/ 4 w 144"/>
              <a:gd name="T31" fmla="*/ 40 h 122"/>
              <a:gd name="T32" fmla="*/ 4 w 144"/>
              <a:gd name="T33" fmla="*/ 54 h 122"/>
              <a:gd name="T34" fmla="*/ 6 w 144"/>
              <a:gd name="T35" fmla="*/ 76 h 122"/>
              <a:gd name="T36" fmla="*/ 18 w 144"/>
              <a:gd name="T37" fmla="*/ 78 h 122"/>
              <a:gd name="T38" fmla="*/ 20 w 144"/>
              <a:gd name="T39" fmla="*/ 82 h 122"/>
              <a:gd name="T40" fmla="*/ 24 w 144"/>
              <a:gd name="T41" fmla="*/ 82 h 122"/>
              <a:gd name="T42" fmla="*/ 32 w 144"/>
              <a:gd name="T43" fmla="*/ 88 h 122"/>
              <a:gd name="T44" fmla="*/ 42 w 144"/>
              <a:gd name="T45" fmla="*/ 90 h 122"/>
              <a:gd name="T46" fmla="*/ 46 w 144"/>
              <a:gd name="T47" fmla="*/ 92 h 122"/>
              <a:gd name="T48" fmla="*/ 48 w 144"/>
              <a:gd name="T49" fmla="*/ 96 h 122"/>
              <a:gd name="T50" fmla="*/ 54 w 144"/>
              <a:gd name="T51" fmla="*/ 104 h 122"/>
              <a:gd name="T52" fmla="*/ 60 w 144"/>
              <a:gd name="T53" fmla="*/ 104 h 122"/>
              <a:gd name="T54" fmla="*/ 68 w 144"/>
              <a:gd name="T55" fmla="*/ 104 h 122"/>
              <a:gd name="T56" fmla="*/ 80 w 144"/>
              <a:gd name="T57" fmla="*/ 110 h 122"/>
              <a:gd name="T58" fmla="*/ 84 w 144"/>
              <a:gd name="T59" fmla="*/ 108 h 122"/>
              <a:gd name="T60" fmla="*/ 92 w 144"/>
              <a:gd name="T61" fmla="*/ 104 h 122"/>
              <a:gd name="T62" fmla="*/ 100 w 144"/>
              <a:gd name="T63" fmla="*/ 100 h 122"/>
              <a:gd name="T64" fmla="*/ 106 w 144"/>
              <a:gd name="T65" fmla="*/ 98 h 122"/>
              <a:gd name="T66" fmla="*/ 114 w 144"/>
              <a:gd name="T67" fmla="*/ 104 h 122"/>
              <a:gd name="T68" fmla="*/ 122 w 144"/>
              <a:gd name="T69" fmla="*/ 110 h 122"/>
              <a:gd name="T70" fmla="*/ 124 w 144"/>
              <a:gd name="T71" fmla="*/ 116 h 122"/>
              <a:gd name="T72" fmla="*/ 130 w 144"/>
              <a:gd name="T73" fmla="*/ 122 h 122"/>
              <a:gd name="T74" fmla="*/ 138 w 144"/>
              <a:gd name="T75" fmla="*/ 118 h 122"/>
              <a:gd name="T76" fmla="*/ 136 w 144"/>
              <a:gd name="T77" fmla="*/ 112 h 122"/>
              <a:gd name="T78" fmla="*/ 136 w 144"/>
              <a:gd name="T79" fmla="*/ 106 h 122"/>
              <a:gd name="T80" fmla="*/ 144 w 144"/>
              <a:gd name="T81" fmla="*/ 90 h 122"/>
              <a:gd name="T82" fmla="*/ 140 w 144"/>
              <a:gd name="T83" fmla="*/ 82 h 122"/>
              <a:gd name="T84" fmla="*/ 140 w 144"/>
              <a:gd name="T85" fmla="*/ 76 h 122"/>
              <a:gd name="T86" fmla="*/ 142 w 144"/>
              <a:gd name="T87" fmla="*/ 68 h 122"/>
              <a:gd name="T88" fmla="*/ 142 w 144"/>
              <a:gd name="T89" fmla="*/ 66 h 122"/>
              <a:gd name="T90" fmla="*/ 140 w 144"/>
              <a:gd name="T91" fmla="*/ 58 h 122"/>
              <a:gd name="T92" fmla="*/ 140 w 144"/>
              <a:gd name="T93" fmla="*/ 46 h 122"/>
              <a:gd name="T94" fmla="*/ 144 w 144"/>
              <a:gd name="T95" fmla="*/ 36 h 122"/>
              <a:gd name="T96" fmla="*/ 142 w 144"/>
              <a:gd name="T97" fmla="*/ 30 h 122"/>
              <a:gd name="T98" fmla="*/ 140 w 144"/>
              <a:gd name="T99" fmla="*/ 22 h 122"/>
              <a:gd name="T100" fmla="*/ 138 w 144"/>
              <a:gd name="T101" fmla="*/ 18 h 122"/>
              <a:gd name="T102" fmla="*/ 120 w 144"/>
              <a:gd name="T103" fmla="*/ 16 h 122"/>
              <a:gd name="T104" fmla="*/ 106 w 144"/>
              <a:gd name="T105" fmla="*/ 18 h 122"/>
              <a:gd name="T106" fmla="*/ 88 w 144"/>
              <a:gd name="T107" fmla="*/ 16 h 122"/>
              <a:gd name="T108" fmla="*/ 74 w 144"/>
              <a:gd name="T109" fmla="*/ 8 h 122"/>
              <a:gd name="T110" fmla="*/ 74 w 144"/>
              <a:gd name="T111" fmla="*/ 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 h="122">
                <a:moveTo>
                  <a:pt x="74" y="10"/>
                </a:moveTo>
                <a:lnTo>
                  <a:pt x="74" y="10"/>
                </a:lnTo>
                <a:lnTo>
                  <a:pt x="72" y="8"/>
                </a:lnTo>
                <a:lnTo>
                  <a:pt x="72" y="8"/>
                </a:lnTo>
                <a:lnTo>
                  <a:pt x="72" y="6"/>
                </a:lnTo>
                <a:lnTo>
                  <a:pt x="72" y="6"/>
                </a:lnTo>
                <a:lnTo>
                  <a:pt x="70" y="6"/>
                </a:lnTo>
                <a:lnTo>
                  <a:pt x="66" y="8"/>
                </a:lnTo>
                <a:lnTo>
                  <a:pt x="66" y="8"/>
                </a:lnTo>
                <a:lnTo>
                  <a:pt x="62" y="10"/>
                </a:lnTo>
                <a:lnTo>
                  <a:pt x="62" y="10"/>
                </a:lnTo>
                <a:lnTo>
                  <a:pt x="60" y="8"/>
                </a:lnTo>
                <a:lnTo>
                  <a:pt x="58" y="8"/>
                </a:lnTo>
                <a:lnTo>
                  <a:pt x="58" y="8"/>
                </a:lnTo>
                <a:lnTo>
                  <a:pt x="58" y="4"/>
                </a:lnTo>
                <a:lnTo>
                  <a:pt x="58" y="4"/>
                </a:lnTo>
                <a:lnTo>
                  <a:pt x="60" y="6"/>
                </a:lnTo>
                <a:lnTo>
                  <a:pt x="60" y="6"/>
                </a:lnTo>
                <a:lnTo>
                  <a:pt x="62" y="4"/>
                </a:lnTo>
                <a:lnTo>
                  <a:pt x="62" y="4"/>
                </a:lnTo>
                <a:lnTo>
                  <a:pt x="62" y="2"/>
                </a:lnTo>
                <a:lnTo>
                  <a:pt x="60" y="2"/>
                </a:lnTo>
                <a:lnTo>
                  <a:pt x="58" y="0"/>
                </a:lnTo>
                <a:lnTo>
                  <a:pt x="58" y="0"/>
                </a:lnTo>
                <a:lnTo>
                  <a:pt x="44" y="4"/>
                </a:lnTo>
                <a:lnTo>
                  <a:pt x="44" y="4"/>
                </a:lnTo>
                <a:lnTo>
                  <a:pt x="40" y="8"/>
                </a:lnTo>
                <a:lnTo>
                  <a:pt x="40" y="8"/>
                </a:lnTo>
                <a:lnTo>
                  <a:pt x="34" y="8"/>
                </a:lnTo>
                <a:lnTo>
                  <a:pt x="34" y="8"/>
                </a:lnTo>
                <a:lnTo>
                  <a:pt x="32" y="10"/>
                </a:lnTo>
                <a:lnTo>
                  <a:pt x="28" y="12"/>
                </a:lnTo>
                <a:lnTo>
                  <a:pt x="28" y="12"/>
                </a:lnTo>
                <a:lnTo>
                  <a:pt x="26" y="12"/>
                </a:lnTo>
                <a:lnTo>
                  <a:pt x="24" y="12"/>
                </a:lnTo>
                <a:lnTo>
                  <a:pt x="22" y="14"/>
                </a:lnTo>
                <a:lnTo>
                  <a:pt x="22" y="14"/>
                </a:lnTo>
                <a:lnTo>
                  <a:pt x="8" y="16"/>
                </a:lnTo>
                <a:lnTo>
                  <a:pt x="8" y="16"/>
                </a:lnTo>
                <a:lnTo>
                  <a:pt x="2" y="16"/>
                </a:lnTo>
                <a:lnTo>
                  <a:pt x="2" y="16"/>
                </a:lnTo>
                <a:lnTo>
                  <a:pt x="2" y="22"/>
                </a:lnTo>
                <a:lnTo>
                  <a:pt x="0" y="32"/>
                </a:lnTo>
                <a:lnTo>
                  <a:pt x="0" y="32"/>
                </a:lnTo>
                <a:lnTo>
                  <a:pt x="0" y="34"/>
                </a:lnTo>
                <a:lnTo>
                  <a:pt x="2" y="38"/>
                </a:lnTo>
                <a:lnTo>
                  <a:pt x="4" y="40"/>
                </a:lnTo>
                <a:lnTo>
                  <a:pt x="4" y="40"/>
                </a:lnTo>
                <a:lnTo>
                  <a:pt x="2" y="50"/>
                </a:lnTo>
                <a:lnTo>
                  <a:pt x="2" y="50"/>
                </a:lnTo>
                <a:lnTo>
                  <a:pt x="4" y="54"/>
                </a:lnTo>
                <a:lnTo>
                  <a:pt x="4" y="58"/>
                </a:lnTo>
                <a:lnTo>
                  <a:pt x="4" y="58"/>
                </a:lnTo>
                <a:lnTo>
                  <a:pt x="6" y="76"/>
                </a:lnTo>
                <a:lnTo>
                  <a:pt x="10" y="78"/>
                </a:lnTo>
                <a:lnTo>
                  <a:pt x="10" y="78"/>
                </a:lnTo>
                <a:lnTo>
                  <a:pt x="18" y="78"/>
                </a:lnTo>
                <a:lnTo>
                  <a:pt x="18" y="78"/>
                </a:lnTo>
                <a:lnTo>
                  <a:pt x="20" y="80"/>
                </a:lnTo>
                <a:lnTo>
                  <a:pt x="20" y="82"/>
                </a:lnTo>
                <a:lnTo>
                  <a:pt x="22" y="82"/>
                </a:lnTo>
                <a:lnTo>
                  <a:pt x="24" y="82"/>
                </a:lnTo>
                <a:lnTo>
                  <a:pt x="24" y="82"/>
                </a:lnTo>
                <a:lnTo>
                  <a:pt x="26" y="82"/>
                </a:lnTo>
                <a:lnTo>
                  <a:pt x="28" y="84"/>
                </a:lnTo>
                <a:lnTo>
                  <a:pt x="32" y="88"/>
                </a:lnTo>
                <a:lnTo>
                  <a:pt x="32" y="88"/>
                </a:lnTo>
                <a:lnTo>
                  <a:pt x="38" y="90"/>
                </a:lnTo>
                <a:lnTo>
                  <a:pt x="42" y="90"/>
                </a:lnTo>
                <a:lnTo>
                  <a:pt x="42" y="90"/>
                </a:lnTo>
                <a:lnTo>
                  <a:pt x="44" y="90"/>
                </a:lnTo>
                <a:lnTo>
                  <a:pt x="46" y="92"/>
                </a:lnTo>
                <a:lnTo>
                  <a:pt x="48" y="94"/>
                </a:lnTo>
                <a:lnTo>
                  <a:pt x="48" y="96"/>
                </a:lnTo>
                <a:lnTo>
                  <a:pt x="48" y="96"/>
                </a:lnTo>
                <a:lnTo>
                  <a:pt x="50" y="96"/>
                </a:lnTo>
                <a:lnTo>
                  <a:pt x="52" y="98"/>
                </a:lnTo>
                <a:lnTo>
                  <a:pt x="54" y="104"/>
                </a:lnTo>
                <a:lnTo>
                  <a:pt x="54" y="104"/>
                </a:lnTo>
                <a:lnTo>
                  <a:pt x="60" y="104"/>
                </a:lnTo>
                <a:lnTo>
                  <a:pt x="60" y="104"/>
                </a:lnTo>
                <a:lnTo>
                  <a:pt x="64" y="102"/>
                </a:lnTo>
                <a:lnTo>
                  <a:pt x="68" y="104"/>
                </a:lnTo>
                <a:lnTo>
                  <a:pt x="68" y="104"/>
                </a:lnTo>
                <a:lnTo>
                  <a:pt x="74" y="108"/>
                </a:lnTo>
                <a:lnTo>
                  <a:pt x="74" y="108"/>
                </a:lnTo>
                <a:lnTo>
                  <a:pt x="80" y="110"/>
                </a:lnTo>
                <a:lnTo>
                  <a:pt x="82" y="110"/>
                </a:lnTo>
                <a:lnTo>
                  <a:pt x="84" y="108"/>
                </a:lnTo>
                <a:lnTo>
                  <a:pt x="84" y="108"/>
                </a:lnTo>
                <a:lnTo>
                  <a:pt x="86" y="106"/>
                </a:lnTo>
                <a:lnTo>
                  <a:pt x="88" y="106"/>
                </a:lnTo>
                <a:lnTo>
                  <a:pt x="92" y="104"/>
                </a:lnTo>
                <a:lnTo>
                  <a:pt x="92" y="104"/>
                </a:lnTo>
                <a:lnTo>
                  <a:pt x="96" y="102"/>
                </a:lnTo>
                <a:lnTo>
                  <a:pt x="100" y="100"/>
                </a:lnTo>
                <a:lnTo>
                  <a:pt x="102" y="98"/>
                </a:lnTo>
                <a:lnTo>
                  <a:pt x="106" y="98"/>
                </a:lnTo>
                <a:lnTo>
                  <a:pt x="106" y="98"/>
                </a:lnTo>
                <a:lnTo>
                  <a:pt x="110" y="102"/>
                </a:lnTo>
                <a:lnTo>
                  <a:pt x="114" y="104"/>
                </a:lnTo>
                <a:lnTo>
                  <a:pt x="114" y="104"/>
                </a:lnTo>
                <a:lnTo>
                  <a:pt x="116" y="104"/>
                </a:lnTo>
                <a:lnTo>
                  <a:pt x="118" y="106"/>
                </a:lnTo>
                <a:lnTo>
                  <a:pt x="122" y="110"/>
                </a:lnTo>
                <a:lnTo>
                  <a:pt x="122" y="110"/>
                </a:lnTo>
                <a:lnTo>
                  <a:pt x="124" y="112"/>
                </a:lnTo>
                <a:lnTo>
                  <a:pt x="124" y="116"/>
                </a:lnTo>
                <a:lnTo>
                  <a:pt x="124" y="116"/>
                </a:lnTo>
                <a:lnTo>
                  <a:pt x="128" y="120"/>
                </a:lnTo>
                <a:lnTo>
                  <a:pt x="130" y="122"/>
                </a:lnTo>
                <a:lnTo>
                  <a:pt x="130" y="122"/>
                </a:lnTo>
                <a:lnTo>
                  <a:pt x="134" y="120"/>
                </a:lnTo>
                <a:lnTo>
                  <a:pt x="138" y="118"/>
                </a:lnTo>
                <a:lnTo>
                  <a:pt x="138" y="116"/>
                </a:lnTo>
                <a:lnTo>
                  <a:pt x="138" y="116"/>
                </a:lnTo>
                <a:lnTo>
                  <a:pt x="136" y="112"/>
                </a:lnTo>
                <a:lnTo>
                  <a:pt x="136" y="108"/>
                </a:lnTo>
                <a:lnTo>
                  <a:pt x="136" y="106"/>
                </a:lnTo>
                <a:lnTo>
                  <a:pt x="136" y="106"/>
                </a:lnTo>
                <a:lnTo>
                  <a:pt x="140" y="98"/>
                </a:lnTo>
                <a:lnTo>
                  <a:pt x="140" y="98"/>
                </a:lnTo>
                <a:lnTo>
                  <a:pt x="144" y="90"/>
                </a:lnTo>
                <a:lnTo>
                  <a:pt x="144" y="90"/>
                </a:lnTo>
                <a:lnTo>
                  <a:pt x="142" y="86"/>
                </a:lnTo>
                <a:lnTo>
                  <a:pt x="140" y="82"/>
                </a:lnTo>
                <a:lnTo>
                  <a:pt x="140" y="80"/>
                </a:lnTo>
                <a:lnTo>
                  <a:pt x="140" y="80"/>
                </a:lnTo>
                <a:lnTo>
                  <a:pt x="140" y="76"/>
                </a:lnTo>
                <a:lnTo>
                  <a:pt x="142" y="70"/>
                </a:lnTo>
                <a:lnTo>
                  <a:pt x="142" y="70"/>
                </a:lnTo>
                <a:lnTo>
                  <a:pt x="142" y="68"/>
                </a:lnTo>
                <a:lnTo>
                  <a:pt x="142" y="68"/>
                </a:lnTo>
                <a:lnTo>
                  <a:pt x="142" y="66"/>
                </a:lnTo>
                <a:lnTo>
                  <a:pt x="142" y="66"/>
                </a:lnTo>
                <a:lnTo>
                  <a:pt x="142" y="66"/>
                </a:lnTo>
                <a:lnTo>
                  <a:pt x="140" y="60"/>
                </a:lnTo>
                <a:lnTo>
                  <a:pt x="140" y="58"/>
                </a:lnTo>
                <a:lnTo>
                  <a:pt x="142" y="56"/>
                </a:lnTo>
                <a:lnTo>
                  <a:pt x="142" y="56"/>
                </a:lnTo>
                <a:lnTo>
                  <a:pt x="140" y="46"/>
                </a:lnTo>
                <a:lnTo>
                  <a:pt x="140" y="46"/>
                </a:lnTo>
                <a:lnTo>
                  <a:pt x="144" y="40"/>
                </a:lnTo>
                <a:lnTo>
                  <a:pt x="144" y="36"/>
                </a:lnTo>
                <a:lnTo>
                  <a:pt x="144" y="34"/>
                </a:lnTo>
                <a:lnTo>
                  <a:pt x="144" y="34"/>
                </a:lnTo>
                <a:lnTo>
                  <a:pt x="142" y="30"/>
                </a:lnTo>
                <a:lnTo>
                  <a:pt x="140" y="26"/>
                </a:lnTo>
                <a:lnTo>
                  <a:pt x="140" y="22"/>
                </a:lnTo>
                <a:lnTo>
                  <a:pt x="140" y="22"/>
                </a:lnTo>
                <a:lnTo>
                  <a:pt x="140" y="22"/>
                </a:lnTo>
                <a:lnTo>
                  <a:pt x="140" y="20"/>
                </a:lnTo>
                <a:lnTo>
                  <a:pt x="138" y="18"/>
                </a:lnTo>
                <a:lnTo>
                  <a:pt x="138" y="18"/>
                </a:lnTo>
                <a:lnTo>
                  <a:pt x="128" y="16"/>
                </a:lnTo>
                <a:lnTo>
                  <a:pt x="120" y="16"/>
                </a:lnTo>
                <a:lnTo>
                  <a:pt x="114" y="18"/>
                </a:lnTo>
                <a:lnTo>
                  <a:pt x="114" y="18"/>
                </a:lnTo>
                <a:lnTo>
                  <a:pt x="106" y="18"/>
                </a:lnTo>
                <a:lnTo>
                  <a:pt x="106" y="18"/>
                </a:lnTo>
                <a:lnTo>
                  <a:pt x="100" y="18"/>
                </a:lnTo>
                <a:lnTo>
                  <a:pt x="88" y="16"/>
                </a:lnTo>
                <a:lnTo>
                  <a:pt x="88" y="16"/>
                </a:lnTo>
                <a:lnTo>
                  <a:pt x="78" y="12"/>
                </a:lnTo>
                <a:lnTo>
                  <a:pt x="74" y="8"/>
                </a:lnTo>
                <a:lnTo>
                  <a:pt x="74" y="8"/>
                </a:lnTo>
                <a:lnTo>
                  <a:pt x="74" y="10"/>
                </a:lnTo>
                <a:lnTo>
                  <a:pt x="74"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6" name="Freeform 110">
            <a:extLst>
              <a:ext uri="{FF2B5EF4-FFF2-40B4-BE49-F238E27FC236}">
                <a16:creationId xmlns:a16="http://schemas.microsoft.com/office/drawing/2014/main" id="{9AD7FBBF-5A8C-4EBA-9720-CBD65EFDA014}"/>
              </a:ext>
            </a:extLst>
          </p:cNvPr>
          <p:cNvSpPr>
            <a:spLocks noEditPoints="1"/>
          </p:cNvSpPr>
          <p:nvPr userDrawn="1"/>
        </p:nvSpPr>
        <p:spPr bwMode="auto">
          <a:xfrm>
            <a:off x="8470314" y="3152124"/>
            <a:ext cx="211306" cy="380949"/>
          </a:xfrm>
          <a:custGeom>
            <a:avLst/>
            <a:gdLst>
              <a:gd name="T0" fmla="*/ 112 w 126"/>
              <a:gd name="T1" fmla="*/ 168 h 222"/>
              <a:gd name="T2" fmla="*/ 96 w 126"/>
              <a:gd name="T3" fmla="*/ 172 h 222"/>
              <a:gd name="T4" fmla="*/ 86 w 126"/>
              <a:gd name="T5" fmla="*/ 174 h 222"/>
              <a:gd name="T6" fmla="*/ 76 w 126"/>
              <a:gd name="T7" fmla="*/ 174 h 222"/>
              <a:gd name="T8" fmla="*/ 66 w 126"/>
              <a:gd name="T9" fmla="*/ 190 h 222"/>
              <a:gd name="T10" fmla="*/ 70 w 126"/>
              <a:gd name="T11" fmla="*/ 192 h 222"/>
              <a:gd name="T12" fmla="*/ 86 w 126"/>
              <a:gd name="T13" fmla="*/ 192 h 222"/>
              <a:gd name="T14" fmla="*/ 92 w 126"/>
              <a:gd name="T15" fmla="*/ 196 h 222"/>
              <a:gd name="T16" fmla="*/ 100 w 126"/>
              <a:gd name="T17" fmla="*/ 216 h 222"/>
              <a:gd name="T18" fmla="*/ 114 w 126"/>
              <a:gd name="T19" fmla="*/ 216 h 222"/>
              <a:gd name="T20" fmla="*/ 118 w 126"/>
              <a:gd name="T21" fmla="*/ 208 h 222"/>
              <a:gd name="T22" fmla="*/ 126 w 126"/>
              <a:gd name="T23" fmla="*/ 186 h 222"/>
              <a:gd name="T24" fmla="*/ 96 w 126"/>
              <a:gd name="T25" fmla="*/ 144 h 222"/>
              <a:gd name="T26" fmla="*/ 104 w 126"/>
              <a:gd name="T27" fmla="*/ 148 h 222"/>
              <a:gd name="T28" fmla="*/ 78 w 126"/>
              <a:gd name="T29" fmla="*/ 142 h 222"/>
              <a:gd name="T30" fmla="*/ 78 w 126"/>
              <a:gd name="T31" fmla="*/ 156 h 222"/>
              <a:gd name="T32" fmla="*/ 86 w 126"/>
              <a:gd name="T33" fmla="*/ 134 h 222"/>
              <a:gd name="T34" fmla="*/ 92 w 126"/>
              <a:gd name="T35" fmla="*/ 134 h 222"/>
              <a:gd name="T36" fmla="*/ 88 w 126"/>
              <a:gd name="T37" fmla="*/ 150 h 222"/>
              <a:gd name="T38" fmla="*/ 94 w 126"/>
              <a:gd name="T39" fmla="*/ 130 h 222"/>
              <a:gd name="T40" fmla="*/ 24 w 126"/>
              <a:gd name="T41" fmla="*/ 140 h 222"/>
              <a:gd name="T42" fmla="*/ 18 w 126"/>
              <a:gd name="T43" fmla="*/ 154 h 222"/>
              <a:gd name="T44" fmla="*/ 8 w 126"/>
              <a:gd name="T45" fmla="*/ 164 h 222"/>
              <a:gd name="T46" fmla="*/ 18 w 126"/>
              <a:gd name="T47" fmla="*/ 158 h 222"/>
              <a:gd name="T48" fmla="*/ 30 w 126"/>
              <a:gd name="T49" fmla="*/ 146 h 222"/>
              <a:gd name="T50" fmla="*/ 34 w 126"/>
              <a:gd name="T51" fmla="*/ 126 h 222"/>
              <a:gd name="T52" fmla="*/ 106 w 126"/>
              <a:gd name="T53" fmla="*/ 130 h 222"/>
              <a:gd name="T54" fmla="*/ 106 w 126"/>
              <a:gd name="T55" fmla="*/ 138 h 222"/>
              <a:gd name="T56" fmla="*/ 114 w 126"/>
              <a:gd name="T57" fmla="*/ 146 h 222"/>
              <a:gd name="T58" fmla="*/ 110 w 126"/>
              <a:gd name="T59" fmla="*/ 130 h 222"/>
              <a:gd name="T60" fmla="*/ 66 w 126"/>
              <a:gd name="T61" fmla="*/ 120 h 222"/>
              <a:gd name="T62" fmla="*/ 76 w 126"/>
              <a:gd name="T63" fmla="*/ 130 h 222"/>
              <a:gd name="T64" fmla="*/ 82 w 126"/>
              <a:gd name="T65" fmla="*/ 110 h 222"/>
              <a:gd name="T66" fmla="*/ 90 w 126"/>
              <a:gd name="T67" fmla="*/ 118 h 222"/>
              <a:gd name="T68" fmla="*/ 98 w 126"/>
              <a:gd name="T69" fmla="*/ 106 h 222"/>
              <a:gd name="T70" fmla="*/ 106 w 126"/>
              <a:gd name="T71" fmla="*/ 122 h 222"/>
              <a:gd name="T72" fmla="*/ 112 w 126"/>
              <a:gd name="T73" fmla="*/ 120 h 222"/>
              <a:gd name="T74" fmla="*/ 108 w 126"/>
              <a:gd name="T75" fmla="*/ 102 h 222"/>
              <a:gd name="T76" fmla="*/ 42 w 126"/>
              <a:gd name="T77" fmla="*/ 90 h 222"/>
              <a:gd name="T78" fmla="*/ 56 w 126"/>
              <a:gd name="T79" fmla="*/ 102 h 222"/>
              <a:gd name="T80" fmla="*/ 50 w 126"/>
              <a:gd name="T81" fmla="*/ 88 h 222"/>
              <a:gd name="T82" fmla="*/ 48 w 126"/>
              <a:gd name="T83" fmla="*/ 12 h 222"/>
              <a:gd name="T84" fmla="*/ 44 w 126"/>
              <a:gd name="T85" fmla="*/ 34 h 222"/>
              <a:gd name="T86" fmla="*/ 38 w 126"/>
              <a:gd name="T87" fmla="*/ 42 h 222"/>
              <a:gd name="T88" fmla="*/ 36 w 126"/>
              <a:gd name="T89" fmla="*/ 50 h 222"/>
              <a:gd name="T90" fmla="*/ 48 w 126"/>
              <a:gd name="T91" fmla="*/ 64 h 222"/>
              <a:gd name="T92" fmla="*/ 58 w 126"/>
              <a:gd name="T93" fmla="*/ 86 h 222"/>
              <a:gd name="T94" fmla="*/ 72 w 126"/>
              <a:gd name="T95" fmla="*/ 84 h 222"/>
              <a:gd name="T96" fmla="*/ 78 w 126"/>
              <a:gd name="T97" fmla="*/ 82 h 222"/>
              <a:gd name="T98" fmla="*/ 88 w 126"/>
              <a:gd name="T99" fmla="*/ 96 h 222"/>
              <a:gd name="T100" fmla="*/ 88 w 126"/>
              <a:gd name="T101" fmla="*/ 86 h 222"/>
              <a:gd name="T102" fmla="*/ 80 w 126"/>
              <a:gd name="T103" fmla="*/ 78 h 222"/>
              <a:gd name="T104" fmla="*/ 76 w 126"/>
              <a:gd name="T105" fmla="*/ 74 h 222"/>
              <a:gd name="T106" fmla="*/ 58 w 126"/>
              <a:gd name="T107" fmla="*/ 66 h 222"/>
              <a:gd name="T108" fmla="*/ 64 w 126"/>
              <a:gd name="T109" fmla="*/ 46 h 222"/>
              <a:gd name="T110" fmla="*/ 74 w 126"/>
              <a:gd name="T111" fmla="*/ 30 h 222"/>
              <a:gd name="T112" fmla="*/ 70 w 126"/>
              <a:gd name="T113" fmla="*/ 0 h 222"/>
              <a:gd name="T114" fmla="*/ 54 w 126"/>
              <a:gd name="T115"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 h="222">
                <a:moveTo>
                  <a:pt x="114" y="158"/>
                </a:moveTo>
                <a:lnTo>
                  <a:pt x="114" y="158"/>
                </a:lnTo>
                <a:lnTo>
                  <a:pt x="112" y="158"/>
                </a:lnTo>
                <a:lnTo>
                  <a:pt x="112" y="158"/>
                </a:lnTo>
                <a:lnTo>
                  <a:pt x="112" y="158"/>
                </a:lnTo>
                <a:lnTo>
                  <a:pt x="112" y="164"/>
                </a:lnTo>
                <a:lnTo>
                  <a:pt x="112" y="168"/>
                </a:lnTo>
                <a:lnTo>
                  <a:pt x="112" y="168"/>
                </a:lnTo>
                <a:lnTo>
                  <a:pt x="108" y="168"/>
                </a:lnTo>
                <a:lnTo>
                  <a:pt x="106" y="166"/>
                </a:lnTo>
                <a:lnTo>
                  <a:pt x="106" y="166"/>
                </a:lnTo>
                <a:lnTo>
                  <a:pt x="104" y="168"/>
                </a:lnTo>
                <a:lnTo>
                  <a:pt x="104" y="168"/>
                </a:lnTo>
                <a:lnTo>
                  <a:pt x="102" y="174"/>
                </a:lnTo>
                <a:lnTo>
                  <a:pt x="102" y="174"/>
                </a:lnTo>
                <a:lnTo>
                  <a:pt x="96" y="172"/>
                </a:lnTo>
                <a:lnTo>
                  <a:pt x="96" y="172"/>
                </a:lnTo>
                <a:lnTo>
                  <a:pt x="94" y="174"/>
                </a:lnTo>
                <a:lnTo>
                  <a:pt x="94" y="176"/>
                </a:lnTo>
                <a:lnTo>
                  <a:pt x="94" y="176"/>
                </a:lnTo>
                <a:lnTo>
                  <a:pt x="86" y="178"/>
                </a:lnTo>
                <a:lnTo>
                  <a:pt x="86" y="178"/>
                </a:lnTo>
                <a:lnTo>
                  <a:pt x="86" y="176"/>
                </a:lnTo>
                <a:lnTo>
                  <a:pt x="86" y="174"/>
                </a:lnTo>
                <a:lnTo>
                  <a:pt x="86" y="174"/>
                </a:lnTo>
                <a:lnTo>
                  <a:pt x="86" y="172"/>
                </a:lnTo>
                <a:lnTo>
                  <a:pt x="86" y="172"/>
                </a:lnTo>
                <a:lnTo>
                  <a:pt x="84" y="170"/>
                </a:lnTo>
                <a:lnTo>
                  <a:pt x="84" y="172"/>
                </a:lnTo>
                <a:lnTo>
                  <a:pt x="80" y="172"/>
                </a:lnTo>
                <a:lnTo>
                  <a:pt x="80" y="172"/>
                </a:lnTo>
                <a:lnTo>
                  <a:pt x="76" y="174"/>
                </a:lnTo>
                <a:lnTo>
                  <a:pt x="76" y="174"/>
                </a:lnTo>
                <a:lnTo>
                  <a:pt x="76" y="178"/>
                </a:lnTo>
                <a:lnTo>
                  <a:pt x="76" y="178"/>
                </a:lnTo>
                <a:lnTo>
                  <a:pt x="66" y="180"/>
                </a:lnTo>
                <a:lnTo>
                  <a:pt x="66" y="180"/>
                </a:lnTo>
                <a:lnTo>
                  <a:pt x="66" y="186"/>
                </a:lnTo>
                <a:lnTo>
                  <a:pt x="66" y="190"/>
                </a:lnTo>
                <a:lnTo>
                  <a:pt x="66" y="190"/>
                </a:lnTo>
                <a:lnTo>
                  <a:pt x="62" y="194"/>
                </a:lnTo>
                <a:lnTo>
                  <a:pt x="62" y="194"/>
                </a:lnTo>
                <a:lnTo>
                  <a:pt x="64" y="194"/>
                </a:lnTo>
                <a:lnTo>
                  <a:pt x="64" y="196"/>
                </a:lnTo>
                <a:lnTo>
                  <a:pt x="64" y="196"/>
                </a:lnTo>
                <a:lnTo>
                  <a:pt x="68" y="196"/>
                </a:lnTo>
                <a:lnTo>
                  <a:pt x="68" y="196"/>
                </a:lnTo>
                <a:lnTo>
                  <a:pt x="70" y="192"/>
                </a:lnTo>
                <a:lnTo>
                  <a:pt x="70" y="192"/>
                </a:lnTo>
                <a:lnTo>
                  <a:pt x="74" y="188"/>
                </a:lnTo>
                <a:lnTo>
                  <a:pt x="74" y="188"/>
                </a:lnTo>
                <a:lnTo>
                  <a:pt x="74" y="188"/>
                </a:lnTo>
                <a:lnTo>
                  <a:pt x="76" y="192"/>
                </a:lnTo>
                <a:lnTo>
                  <a:pt x="76" y="192"/>
                </a:lnTo>
                <a:lnTo>
                  <a:pt x="86" y="192"/>
                </a:lnTo>
                <a:lnTo>
                  <a:pt x="86" y="192"/>
                </a:lnTo>
                <a:lnTo>
                  <a:pt x="86" y="190"/>
                </a:lnTo>
                <a:lnTo>
                  <a:pt x="88" y="190"/>
                </a:lnTo>
                <a:lnTo>
                  <a:pt x="88" y="190"/>
                </a:lnTo>
                <a:lnTo>
                  <a:pt x="92" y="192"/>
                </a:lnTo>
                <a:lnTo>
                  <a:pt x="92" y="192"/>
                </a:lnTo>
                <a:lnTo>
                  <a:pt x="94" y="194"/>
                </a:lnTo>
                <a:lnTo>
                  <a:pt x="94" y="196"/>
                </a:lnTo>
                <a:lnTo>
                  <a:pt x="92" y="196"/>
                </a:lnTo>
                <a:lnTo>
                  <a:pt x="92" y="196"/>
                </a:lnTo>
                <a:lnTo>
                  <a:pt x="90" y="202"/>
                </a:lnTo>
                <a:lnTo>
                  <a:pt x="90" y="206"/>
                </a:lnTo>
                <a:lnTo>
                  <a:pt x="90" y="210"/>
                </a:lnTo>
                <a:lnTo>
                  <a:pt x="90" y="210"/>
                </a:lnTo>
                <a:lnTo>
                  <a:pt x="96" y="212"/>
                </a:lnTo>
                <a:lnTo>
                  <a:pt x="96" y="212"/>
                </a:lnTo>
                <a:lnTo>
                  <a:pt x="100" y="216"/>
                </a:lnTo>
                <a:lnTo>
                  <a:pt x="108" y="216"/>
                </a:lnTo>
                <a:lnTo>
                  <a:pt x="108" y="216"/>
                </a:lnTo>
                <a:lnTo>
                  <a:pt x="108" y="218"/>
                </a:lnTo>
                <a:lnTo>
                  <a:pt x="108" y="222"/>
                </a:lnTo>
                <a:lnTo>
                  <a:pt x="108" y="222"/>
                </a:lnTo>
                <a:lnTo>
                  <a:pt x="112" y="220"/>
                </a:lnTo>
                <a:lnTo>
                  <a:pt x="112" y="220"/>
                </a:lnTo>
                <a:lnTo>
                  <a:pt x="114" y="216"/>
                </a:lnTo>
                <a:lnTo>
                  <a:pt x="114" y="212"/>
                </a:lnTo>
                <a:lnTo>
                  <a:pt x="112" y="204"/>
                </a:lnTo>
                <a:lnTo>
                  <a:pt x="112" y="204"/>
                </a:lnTo>
                <a:lnTo>
                  <a:pt x="114" y="204"/>
                </a:lnTo>
                <a:lnTo>
                  <a:pt x="116" y="204"/>
                </a:lnTo>
                <a:lnTo>
                  <a:pt x="116" y="208"/>
                </a:lnTo>
                <a:lnTo>
                  <a:pt x="118" y="208"/>
                </a:lnTo>
                <a:lnTo>
                  <a:pt x="118" y="208"/>
                </a:lnTo>
                <a:lnTo>
                  <a:pt x="116" y="196"/>
                </a:lnTo>
                <a:lnTo>
                  <a:pt x="116" y="196"/>
                </a:lnTo>
                <a:lnTo>
                  <a:pt x="120" y="192"/>
                </a:lnTo>
                <a:lnTo>
                  <a:pt x="120" y="192"/>
                </a:lnTo>
                <a:lnTo>
                  <a:pt x="122" y="188"/>
                </a:lnTo>
                <a:lnTo>
                  <a:pt x="124" y="186"/>
                </a:lnTo>
                <a:lnTo>
                  <a:pt x="126" y="186"/>
                </a:lnTo>
                <a:lnTo>
                  <a:pt x="126" y="186"/>
                </a:lnTo>
                <a:lnTo>
                  <a:pt x="126" y="180"/>
                </a:lnTo>
                <a:lnTo>
                  <a:pt x="124" y="174"/>
                </a:lnTo>
                <a:lnTo>
                  <a:pt x="124" y="174"/>
                </a:lnTo>
                <a:lnTo>
                  <a:pt x="120" y="158"/>
                </a:lnTo>
                <a:lnTo>
                  <a:pt x="120" y="158"/>
                </a:lnTo>
                <a:lnTo>
                  <a:pt x="114" y="158"/>
                </a:lnTo>
                <a:lnTo>
                  <a:pt x="114" y="158"/>
                </a:lnTo>
                <a:close/>
                <a:moveTo>
                  <a:pt x="96" y="144"/>
                </a:moveTo>
                <a:lnTo>
                  <a:pt x="96" y="144"/>
                </a:lnTo>
                <a:lnTo>
                  <a:pt x="92" y="148"/>
                </a:lnTo>
                <a:lnTo>
                  <a:pt x="92" y="148"/>
                </a:lnTo>
                <a:lnTo>
                  <a:pt x="92" y="150"/>
                </a:lnTo>
                <a:lnTo>
                  <a:pt x="92" y="150"/>
                </a:lnTo>
                <a:lnTo>
                  <a:pt x="98" y="152"/>
                </a:lnTo>
                <a:lnTo>
                  <a:pt x="102" y="152"/>
                </a:lnTo>
                <a:lnTo>
                  <a:pt x="104" y="148"/>
                </a:lnTo>
                <a:lnTo>
                  <a:pt x="104" y="148"/>
                </a:lnTo>
                <a:lnTo>
                  <a:pt x="100" y="144"/>
                </a:lnTo>
                <a:lnTo>
                  <a:pt x="100" y="144"/>
                </a:lnTo>
                <a:lnTo>
                  <a:pt x="96" y="144"/>
                </a:lnTo>
                <a:lnTo>
                  <a:pt x="96" y="144"/>
                </a:lnTo>
                <a:close/>
                <a:moveTo>
                  <a:pt x="80" y="132"/>
                </a:moveTo>
                <a:lnTo>
                  <a:pt x="80" y="132"/>
                </a:lnTo>
                <a:lnTo>
                  <a:pt x="78" y="142"/>
                </a:lnTo>
                <a:lnTo>
                  <a:pt x="78" y="142"/>
                </a:lnTo>
                <a:lnTo>
                  <a:pt x="70" y="144"/>
                </a:lnTo>
                <a:lnTo>
                  <a:pt x="68" y="148"/>
                </a:lnTo>
                <a:lnTo>
                  <a:pt x="70" y="152"/>
                </a:lnTo>
                <a:lnTo>
                  <a:pt x="70" y="152"/>
                </a:lnTo>
                <a:lnTo>
                  <a:pt x="74" y="154"/>
                </a:lnTo>
                <a:lnTo>
                  <a:pt x="78" y="156"/>
                </a:lnTo>
                <a:lnTo>
                  <a:pt x="78" y="156"/>
                </a:lnTo>
                <a:lnTo>
                  <a:pt x="82" y="160"/>
                </a:lnTo>
                <a:lnTo>
                  <a:pt x="82" y="160"/>
                </a:lnTo>
                <a:lnTo>
                  <a:pt x="82" y="154"/>
                </a:lnTo>
                <a:lnTo>
                  <a:pt x="82" y="146"/>
                </a:lnTo>
                <a:lnTo>
                  <a:pt x="82" y="146"/>
                </a:lnTo>
                <a:lnTo>
                  <a:pt x="86" y="138"/>
                </a:lnTo>
                <a:lnTo>
                  <a:pt x="86" y="138"/>
                </a:lnTo>
                <a:lnTo>
                  <a:pt x="86" y="134"/>
                </a:lnTo>
                <a:lnTo>
                  <a:pt x="86" y="134"/>
                </a:lnTo>
                <a:lnTo>
                  <a:pt x="84" y="132"/>
                </a:lnTo>
                <a:lnTo>
                  <a:pt x="84" y="132"/>
                </a:lnTo>
                <a:lnTo>
                  <a:pt x="80" y="132"/>
                </a:lnTo>
                <a:lnTo>
                  <a:pt x="80" y="132"/>
                </a:lnTo>
                <a:close/>
                <a:moveTo>
                  <a:pt x="92" y="128"/>
                </a:moveTo>
                <a:lnTo>
                  <a:pt x="92" y="128"/>
                </a:lnTo>
                <a:lnTo>
                  <a:pt x="92" y="134"/>
                </a:lnTo>
                <a:lnTo>
                  <a:pt x="92" y="134"/>
                </a:lnTo>
                <a:lnTo>
                  <a:pt x="86" y="142"/>
                </a:lnTo>
                <a:lnTo>
                  <a:pt x="84" y="148"/>
                </a:lnTo>
                <a:lnTo>
                  <a:pt x="84" y="150"/>
                </a:lnTo>
                <a:lnTo>
                  <a:pt x="86" y="152"/>
                </a:lnTo>
                <a:lnTo>
                  <a:pt x="86" y="152"/>
                </a:lnTo>
                <a:lnTo>
                  <a:pt x="88" y="150"/>
                </a:lnTo>
                <a:lnTo>
                  <a:pt x="88" y="150"/>
                </a:lnTo>
                <a:lnTo>
                  <a:pt x="88" y="146"/>
                </a:lnTo>
                <a:lnTo>
                  <a:pt x="88" y="144"/>
                </a:lnTo>
                <a:lnTo>
                  <a:pt x="88" y="144"/>
                </a:lnTo>
                <a:lnTo>
                  <a:pt x="92" y="142"/>
                </a:lnTo>
                <a:lnTo>
                  <a:pt x="92" y="142"/>
                </a:lnTo>
                <a:lnTo>
                  <a:pt x="94" y="140"/>
                </a:lnTo>
                <a:lnTo>
                  <a:pt x="94" y="138"/>
                </a:lnTo>
                <a:lnTo>
                  <a:pt x="94" y="130"/>
                </a:lnTo>
                <a:lnTo>
                  <a:pt x="92" y="128"/>
                </a:lnTo>
                <a:close/>
                <a:moveTo>
                  <a:pt x="30" y="126"/>
                </a:moveTo>
                <a:lnTo>
                  <a:pt x="30" y="126"/>
                </a:lnTo>
                <a:lnTo>
                  <a:pt x="30" y="132"/>
                </a:lnTo>
                <a:lnTo>
                  <a:pt x="30" y="132"/>
                </a:lnTo>
                <a:lnTo>
                  <a:pt x="24" y="138"/>
                </a:lnTo>
                <a:lnTo>
                  <a:pt x="24" y="138"/>
                </a:lnTo>
                <a:lnTo>
                  <a:pt x="24" y="140"/>
                </a:lnTo>
                <a:lnTo>
                  <a:pt x="24" y="142"/>
                </a:lnTo>
                <a:lnTo>
                  <a:pt x="24" y="142"/>
                </a:lnTo>
                <a:lnTo>
                  <a:pt x="22" y="144"/>
                </a:lnTo>
                <a:lnTo>
                  <a:pt x="20" y="146"/>
                </a:lnTo>
                <a:lnTo>
                  <a:pt x="20" y="146"/>
                </a:lnTo>
                <a:lnTo>
                  <a:pt x="20" y="150"/>
                </a:lnTo>
                <a:lnTo>
                  <a:pt x="18" y="154"/>
                </a:lnTo>
                <a:lnTo>
                  <a:pt x="18" y="154"/>
                </a:lnTo>
                <a:lnTo>
                  <a:pt x="14" y="156"/>
                </a:lnTo>
                <a:lnTo>
                  <a:pt x="14" y="156"/>
                </a:lnTo>
                <a:lnTo>
                  <a:pt x="14" y="160"/>
                </a:lnTo>
                <a:lnTo>
                  <a:pt x="14" y="160"/>
                </a:lnTo>
                <a:lnTo>
                  <a:pt x="8" y="160"/>
                </a:lnTo>
                <a:lnTo>
                  <a:pt x="8" y="160"/>
                </a:lnTo>
                <a:lnTo>
                  <a:pt x="8" y="164"/>
                </a:lnTo>
                <a:lnTo>
                  <a:pt x="8" y="164"/>
                </a:lnTo>
                <a:lnTo>
                  <a:pt x="4" y="164"/>
                </a:lnTo>
                <a:lnTo>
                  <a:pt x="4" y="164"/>
                </a:lnTo>
                <a:lnTo>
                  <a:pt x="0" y="174"/>
                </a:lnTo>
                <a:lnTo>
                  <a:pt x="0" y="174"/>
                </a:lnTo>
                <a:lnTo>
                  <a:pt x="10" y="168"/>
                </a:lnTo>
                <a:lnTo>
                  <a:pt x="18" y="162"/>
                </a:lnTo>
                <a:lnTo>
                  <a:pt x="18" y="162"/>
                </a:lnTo>
                <a:lnTo>
                  <a:pt x="18" y="158"/>
                </a:lnTo>
                <a:lnTo>
                  <a:pt x="18" y="158"/>
                </a:lnTo>
                <a:lnTo>
                  <a:pt x="22" y="152"/>
                </a:lnTo>
                <a:lnTo>
                  <a:pt x="24" y="152"/>
                </a:lnTo>
                <a:lnTo>
                  <a:pt x="24" y="152"/>
                </a:lnTo>
                <a:lnTo>
                  <a:pt x="24" y="150"/>
                </a:lnTo>
                <a:lnTo>
                  <a:pt x="24" y="150"/>
                </a:lnTo>
                <a:lnTo>
                  <a:pt x="26" y="148"/>
                </a:lnTo>
                <a:lnTo>
                  <a:pt x="30" y="146"/>
                </a:lnTo>
                <a:lnTo>
                  <a:pt x="30" y="146"/>
                </a:lnTo>
                <a:lnTo>
                  <a:pt x="30" y="142"/>
                </a:lnTo>
                <a:lnTo>
                  <a:pt x="30" y="142"/>
                </a:lnTo>
                <a:lnTo>
                  <a:pt x="34" y="140"/>
                </a:lnTo>
                <a:lnTo>
                  <a:pt x="34" y="140"/>
                </a:lnTo>
                <a:lnTo>
                  <a:pt x="34" y="128"/>
                </a:lnTo>
                <a:lnTo>
                  <a:pt x="34" y="128"/>
                </a:lnTo>
                <a:lnTo>
                  <a:pt x="34" y="126"/>
                </a:lnTo>
                <a:lnTo>
                  <a:pt x="30" y="126"/>
                </a:lnTo>
                <a:close/>
                <a:moveTo>
                  <a:pt x="100" y="124"/>
                </a:moveTo>
                <a:lnTo>
                  <a:pt x="100" y="124"/>
                </a:lnTo>
                <a:lnTo>
                  <a:pt x="100" y="128"/>
                </a:lnTo>
                <a:lnTo>
                  <a:pt x="100" y="128"/>
                </a:lnTo>
                <a:lnTo>
                  <a:pt x="106" y="128"/>
                </a:lnTo>
                <a:lnTo>
                  <a:pt x="106" y="130"/>
                </a:lnTo>
                <a:lnTo>
                  <a:pt x="106" y="130"/>
                </a:lnTo>
                <a:lnTo>
                  <a:pt x="106" y="130"/>
                </a:lnTo>
                <a:lnTo>
                  <a:pt x="106" y="130"/>
                </a:lnTo>
                <a:lnTo>
                  <a:pt x="106" y="132"/>
                </a:lnTo>
                <a:lnTo>
                  <a:pt x="106" y="132"/>
                </a:lnTo>
                <a:lnTo>
                  <a:pt x="104" y="132"/>
                </a:lnTo>
                <a:lnTo>
                  <a:pt x="104" y="134"/>
                </a:lnTo>
                <a:lnTo>
                  <a:pt x="106" y="136"/>
                </a:lnTo>
                <a:lnTo>
                  <a:pt x="106" y="138"/>
                </a:lnTo>
                <a:lnTo>
                  <a:pt x="106" y="138"/>
                </a:lnTo>
                <a:lnTo>
                  <a:pt x="108" y="140"/>
                </a:lnTo>
                <a:lnTo>
                  <a:pt x="108" y="140"/>
                </a:lnTo>
                <a:lnTo>
                  <a:pt x="108" y="142"/>
                </a:lnTo>
                <a:lnTo>
                  <a:pt x="110" y="144"/>
                </a:lnTo>
                <a:lnTo>
                  <a:pt x="110" y="144"/>
                </a:lnTo>
                <a:lnTo>
                  <a:pt x="114" y="146"/>
                </a:lnTo>
                <a:lnTo>
                  <a:pt x="114" y="146"/>
                </a:lnTo>
                <a:lnTo>
                  <a:pt x="112" y="142"/>
                </a:lnTo>
                <a:lnTo>
                  <a:pt x="112" y="142"/>
                </a:lnTo>
                <a:lnTo>
                  <a:pt x="112" y="140"/>
                </a:lnTo>
                <a:lnTo>
                  <a:pt x="112" y="136"/>
                </a:lnTo>
                <a:lnTo>
                  <a:pt x="112" y="136"/>
                </a:lnTo>
                <a:lnTo>
                  <a:pt x="110" y="132"/>
                </a:lnTo>
                <a:lnTo>
                  <a:pt x="110" y="132"/>
                </a:lnTo>
                <a:lnTo>
                  <a:pt x="110" y="130"/>
                </a:lnTo>
                <a:lnTo>
                  <a:pt x="112" y="128"/>
                </a:lnTo>
                <a:lnTo>
                  <a:pt x="112" y="128"/>
                </a:lnTo>
                <a:lnTo>
                  <a:pt x="110" y="126"/>
                </a:lnTo>
                <a:lnTo>
                  <a:pt x="110" y="126"/>
                </a:lnTo>
                <a:lnTo>
                  <a:pt x="106" y="124"/>
                </a:lnTo>
                <a:lnTo>
                  <a:pt x="100" y="124"/>
                </a:lnTo>
                <a:lnTo>
                  <a:pt x="100" y="124"/>
                </a:lnTo>
                <a:close/>
                <a:moveTo>
                  <a:pt x="66" y="120"/>
                </a:moveTo>
                <a:lnTo>
                  <a:pt x="66" y="120"/>
                </a:lnTo>
                <a:lnTo>
                  <a:pt x="62" y="140"/>
                </a:lnTo>
                <a:lnTo>
                  <a:pt x="62" y="140"/>
                </a:lnTo>
                <a:lnTo>
                  <a:pt x="72" y="134"/>
                </a:lnTo>
                <a:lnTo>
                  <a:pt x="72" y="134"/>
                </a:lnTo>
                <a:lnTo>
                  <a:pt x="76" y="134"/>
                </a:lnTo>
                <a:lnTo>
                  <a:pt x="76" y="134"/>
                </a:lnTo>
                <a:lnTo>
                  <a:pt x="76" y="130"/>
                </a:lnTo>
                <a:lnTo>
                  <a:pt x="76" y="130"/>
                </a:lnTo>
                <a:lnTo>
                  <a:pt x="78" y="130"/>
                </a:lnTo>
                <a:lnTo>
                  <a:pt x="78" y="130"/>
                </a:lnTo>
                <a:lnTo>
                  <a:pt x="78" y="124"/>
                </a:lnTo>
                <a:lnTo>
                  <a:pt x="78" y="124"/>
                </a:lnTo>
                <a:lnTo>
                  <a:pt x="66" y="120"/>
                </a:lnTo>
                <a:lnTo>
                  <a:pt x="66" y="120"/>
                </a:lnTo>
                <a:close/>
                <a:moveTo>
                  <a:pt x="82" y="110"/>
                </a:moveTo>
                <a:lnTo>
                  <a:pt x="82" y="112"/>
                </a:lnTo>
                <a:lnTo>
                  <a:pt x="82" y="112"/>
                </a:lnTo>
                <a:lnTo>
                  <a:pt x="82" y="112"/>
                </a:lnTo>
                <a:lnTo>
                  <a:pt x="82" y="114"/>
                </a:lnTo>
                <a:lnTo>
                  <a:pt x="82" y="116"/>
                </a:lnTo>
                <a:lnTo>
                  <a:pt x="82" y="116"/>
                </a:lnTo>
                <a:lnTo>
                  <a:pt x="90" y="118"/>
                </a:lnTo>
                <a:lnTo>
                  <a:pt x="90" y="118"/>
                </a:lnTo>
                <a:lnTo>
                  <a:pt x="94" y="118"/>
                </a:lnTo>
                <a:lnTo>
                  <a:pt x="94" y="118"/>
                </a:lnTo>
                <a:lnTo>
                  <a:pt x="92" y="114"/>
                </a:lnTo>
                <a:lnTo>
                  <a:pt x="82" y="110"/>
                </a:lnTo>
                <a:lnTo>
                  <a:pt x="82" y="110"/>
                </a:lnTo>
                <a:close/>
                <a:moveTo>
                  <a:pt x="102" y="102"/>
                </a:moveTo>
                <a:lnTo>
                  <a:pt x="102" y="102"/>
                </a:lnTo>
                <a:lnTo>
                  <a:pt x="98" y="106"/>
                </a:lnTo>
                <a:lnTo>
                  <a:pt x="98" y="106"/>
                </a:lnTo>
                <a:lnTo>
                  <a:pt x="98" y="110"/>
                </a:lnTo>
                <a:lnTo>
                  <a:pt x="98" y="110"/>
                </a:lnTo>
                <a:lnTo>
                  <a:pt x="102" y="114"/>
                </a:lnTo>
                <a:lnTo>
                  <a:pt x="106" y="118"/>
                </a:lnTo>
                <a:lnTo>
                  <a:pt x="106" y="118"/>
                </a:lnTo>
                <a:lnTo>
                  <a:pt x="106" y="120"/>
                </a:lnTo>
                <a:lnTo>
                  <a:pt x="106" y="122"/>
                </a:lnTo>
                <a:lnTo>
                  <a:pt x="106" y="122"/>
                </a:lnTo>
                <a:lnTo>
                  <a:pt x="110" y="124"/>
                </a:lnTo>
                <a:lnTo>
                  <a:pt x="112" y="124"/>
                </a:lnTo>
                <a:lnTo>
                  <a:pt x="114" y="124"/>
                </a:lnTo>
                <a:lnTo>
                  <a:pt x="114" y="124"/>
                </a:lnTo>
                <a:lnTo>
                  <a:pt x="116" y="128"/>
                </a:lnTo>
                <a:lnTo>
                  <a:pt x="116" y="128"/>
                </a:lnTo>
                <a:lnTo>
                  <a:pt x="112" y="120"/>
                </a:lnTo>
                <a:lnTo>
                  <a:pt x="112" y="120"/>
                </a:lnTo>
                <a:lnTo>
                  <a:pt x="110" y="118"/>
                </a:lnTo>
                <a:lnTo>
                  <a:pt x="110" y="118"/>
                </a:lnTo>
                <a:lnTo>
                  <a:pt x="110" y="112"/>
                </a:lnTo>
                <a:lnTo>
                  <a:pt x="112" y="106"/>
                </a:lnTo>
                <a:lnTo>
                  <a:pt x="110" y="106"/>
                </a:lnTo>
                <a:lnTo>
                  <a:pt x="110" y="106"/>
                </a:lnTo>
                <a:lnTo>
                  <a:pt x="108" y="102"/>
                </a:lnTo>
                <a:lnTo>
                  <a:pt x="108" y="102"/>
                </a:lnTo>
                <a:lnTo>
                  <a:pt x="102" y="102"/>
                </a:lnTo>
                <a:lnTo>
                  <a:pt x="102" y="102"/>
                </a:lnTo>
                <a:close/>
                <a:moveTo>
                  <a:pt x="46" y="88"/>
                </a:moveTo>
                <a:lnTo>
                  <a:pt x="46" y="88"/>
                </a:lnTo>
                <a:lnTo>
                  <a:pt x="44" y="88"/>
                </a:lnTo>
                <a:lnTo>
                  <a:pt x="44" y="88"/>
                </a:lnTo>
                <a:lnTo>
                  <a:pt x="42" y="90"/>
                </a:lnTo>
                <a:lnTo>
                  <a:pt x="44" y="90"/>
                </a:lnTo>
                <a:lnTo>
                  <a:pt x="48" y="92"/>
                </a:lnTo>
                <a:lnTo>
                  <a:pt x="48" y="92"/>
                </a:lnTo>
                <a:lnTo>
                  <a:pt x="50" y="96"/>
                </a:lnTo>
                <a:lnTo>
                  <a:pt x="52" y="100"/>
                </a:lnTo>
                <a:lnTo>
                  <a:pt x="52" y="100"/>
                </a:lnTo>
                <a:lnTo>
                  <a:pt x="56" y="102"/>
                </a:lnTo>
                <a:lnTo>
                  <a:pt x="56" y="102"/>
                </a:lnTo>
                <a:lnTo>
                  <a:pt x="56" y="106"/>
                </a:lnTo>
                <a:lnTo>
                  <a:pt x="58" y="110"/>
                </a:lnTo>
                <a:lnTo>
                  <a:pt x="58" y="110"/>
                </a:lnTo>
                <a:lnTo>
                  <a:pt x="60" y="106"/>
                </a:lnTo>
                <a:lnTo>
                  <a:pt x="60" y="104"/>
                </a:lnTo>
                <a:lnTo>
                  <a:pt x="58" y="96"/>
                </a:lnTo>
                <a:lnTo>
                  <a:pt x="54" y="90"/>
                </a:lnTo>
                <a:lnTo>
                  <a:pt x="50" y="88"/>
                </a:lnTo>
                <a:lnTo>
                  <a:pt x="46" y="88"/>
                </a:lnTo>
                <a:lnTo>
                  <a:pt x="46" y="88"/>
                </a:lnTo>
                <a:close/>
                <a:moveTo>
                  <a:pt x="50" y="0"/>
                </a:moveTo>
                <a:lnTo>
                  <a:pt x="50" y="0"/>
                </a:lnTo>
                <a:lnTo>
                  <a:pt x="48" y="8"/>
                </a:lnTo>
                <a:lnTo>
                  <a:pt x="48" y="8"/>
                </a:lnTo>
                <a:lnTo>
                  <a:pt x="48" y="12"/>
                </a:lnTo>
                <a:lnTo>
                  <a:pt x="48" y="12"/>
                </a:lnTo>
                <a:lnTo>
                  <a:pt x="44" y="20"/>
                </a:lnTo>
                <a:lnTo>
                  <a:pt x="44" y="20"/>
                </a:lnTo>
                <a:lnTo>
                  <a:pt x="44" y="24"/>
                </a:lnTo>
                <a:lnTo>
                  <a:pt x="46" y="26"/>
                </a:lnTo>
                <a:lnTo>
                  <a:pt x="46" y="28"/>
                </a:lnTo>
                <a:lnTo>
                  <a:pt x="46" y="32"/>
                </a:lnTo>
                <a:lnTo>
                  <a:pt x="46" y="32"/>
                </a:lnTo>
                <a:lnTo>
                  <a:pt x="44" y="34"/>
                </a:lnTo>
                <a:lnTo>
                  <a:pt x="44" y="34"/>
                </a:lnTo>
                <a:lnTo>
                  <a:pt x="44" y="38"/>
                </a:lnTo>
                <a:lnTo>
                  <a:pt x="44" y="44"/>
                </a:lnTo>
                <a:lnTo>
                  <a:pt x="44" y="44"/>
                </a:lnTo>
                <a:lnTo>
                  <a:pt x="42" y="44"/>
                </a:lnTo>
                <a:lnTo>
                  <a:pt x="40" y="46"/>
                </a:lnTo>
                <a:lnTo>
                  <a:pt x="40" y="46"/>
                </a:lnTo>
                <a:lnTo>
                  <a:pt x="38" y="42"/>
                </a:lnTo>
                <a:lnTo>
                  <a:pt x="38" y="42"/>
                </a:lnTo>
                <a:lnTo>
                  <a:pt x="36" y="42"/>
                </a:lnTo>
                <a:lnTo>
                  <a:pt x="36" y="42"/>
                </a:lnTo>
                <a:lnTo>
                  <a:pt x="36" y="44"/>
                </a:lnTo>
                <a:lnTo>
                  <a:pt x="36" y="44"/>
                </a:lnTo>
                <a:lnTo>
                  <a:pt x="36" y="44"/>
                </a:lnTo>
                <a:lnTo>
                  <a:pt x="36" y="50"/>
                </a:lnTo>
                <a:lnTo>
                  <a:pt x="36" y="50"/>
                </a:lnTo>
                <a:lnTo>
                  <a:pt x="40" y="52"/>
                </a:lnTo>
                <a:lnTo>
                  <a:pt x="40" y="52"/>
                </a:lnTo>
                <a:lnTo>
                  <a:pt x="40" y="60"/>
                </a:lnTo>
                <a:lnTo>
                  <a:pt x="40" y="60"/>
                </a:lnTo>
                <a:lnTo>
                  <a:pt x="46" y="68"/>
                </a:lnTo>
                <a:lnTo>
                  <a:pt x="46" y="68"/>
                </a:lnTo>
                <a:lnTo>
                  <a:pt x="46" y="68"/>
                </a:lnTo>
                <a:lnTo>
                  <a:pt x="48" y="64"/>
                </a:lnTo>
                <a:lnTo>
                  <a:pt x="48" y="64"/>
                </a:lnTo>
                <a:lnTo>
                  <a:pt x="50" y="64"/>
                </a:lnTo>
                <a:lnTo>
                  <a:pt x="50" y="64"/>
                </a:lnTo>
                <a:lnTo>
                  <a:pt x="48" y="72"/>
                </a:lnTo>
                <a:lnTo>
                  <a:pt x="48" y="78"/>
                </a:lnTo>
                <a:lnTo>
                  <a:pt x="54" y="88"/>
                </a:lnTo>
                <a:lnTo>
                  <a:pt x="54" y="88"/>
                </a:lnTo>
                <a:lnTo>
                  <a:pt x="58" y="86"/>
                </a:lnTo>
                <a:lnTo>
                  <a:pt x="58" y="86"/>
                </a:lnTo>
                <a:lnTo>
                  <a:pt x="60" y="84"/>
                </a:lnTo>
                <a:lnTo>
                  <a:pt x="62" y="82"/>
                </a:lnTo>
                <a:lnTo>
                  <a:pt x="66" y="82"/>
                </a:lnTo>
                <a:lnTo>
                  <a:pt x="68" y="84"/>
                </a:lnTo>
                <a:lnTo>
                  <a:pt x="68" y="84"/>
                </a:lnTo>
                <a:lnTo>
                  <a:pt x="72" y="84"/>
                </a:lnTo>
                <a:lnTo>
                  <a:pt x="72" y="84"/>
                </a:lnTo>
                <a:lnTo>
                  <a:pt x="72" y="88"/>
                </a:lnTo>
                <a:lnTo>
                  <a:pt x="74" y="90"/>
                </a:lnTo>
                <a:lnTo>
                  <a:pt x="74" y="90"/>
                </a:lnTo>
                <a:lnTo>
                  <a:pt x="76" y="90"/>
                </a:lnTo>
                <a:lnTo>
                  <a:pt x="76" y="86"/>
                </a:lnTo>
                <a:lnTo>
                  <a:pt x="74" y="84"/>
                </a:lnTo>
                <a:lnTo>
                  <a:pt x="78" y="82"/>
                </a:lnTo>
                <a:lnTo>
                  <a:pt x="78" y="82"/>
                </a:lnTo>
                <a:lnTo>
                  <a:pt x="78" y="86"/>
                </a:lnTo>
                <a:lnTo>
                  <a:pt x="78" y="86"/>
                </a:lnTo>
                <a:lnTo>
                  <a:pt x="82" y="90"/>
                </a:lnTo>
                <a:lnTo>
                  <a:pt x="82" y="90"/>
                </a:lnTo>
                <a:lnTo>
                  <a:pt x="84" y="96"/>
                </a:lnTo>
                <a:lnTo>
                  <a:pt x="84" y="96"/>
                </a:lnTo>
                <a:lnTo>
                  <a:pt x="88" y="96"/>
                </a:lnTo>
                <a:lnTo>
                  <a:pt x="88" y="96"/>
                </a:lnTo>
                <a:lnTo>
                  <a:pt x="90" y="98"/>
                </a:lnTo>
                <a:lnTo>
                  <a:pt x="90" y="100"/>
                </a:lnTo>
                <a:lnTo>
                  <a:pt x="92" y="100"/>
                </a:lnTo>
                <a:lnTo>
                  <a:pt x="92" y="100"/>
                </a:lnTo>
                <a:lnTo>
                  <a:pt x="94" y="94"/>
                </a:lnTo>
                <a:lnTo>
                  <a:pt x="92" y="92"/>
                </a:lnTo>
                <a:lnTo>
                  <a:pt x="90" y="90"/>
                </a:lnTo>
                <a:lnTo>
                  <a:pt x="88" y="86"/>
                </a:lnTo>
                <a:lnTo>
                  <a:pt x="88" y="86"/>
                </a:lnTo>
                <a:lnTo>
                  <a:pt x="90" y="82"/>
                </a:lnTo>
                <a:lnTo>
                  <a:pt x="90" y="80"/>
                </a:lnTo>
                <a:lnTo>
                  <a:pt x="90" y="80"/>
                </a:lnTo>
                <a:lnTo>
                  <a:pt x="86" y="76"/>
                </a:lnTo>
                <a:lnTo>
                  <a:pt x="86" y="76"/>
                </a:lnTo>
                <a:lnTo>
                  <a:pt x="82" y="80"/>
                </a:lnTo>
                <a:lnTo>
                  <a:pt x="80" y="78"/>
                </a:lnTo>
                <a:lnTo>
                  <a:pt x="80" y="78"/>
                </a:lnTo>
                <a:lnTo>
                  <a:pt x="80" y="74"/>
                </a:lnTo>
                <a:lnTo>
                  <a:pt x="80" y="74"/>
                </a:lnTo>
                <a:lnTo>
                  <a:pt x="78" y="72"/>
                </a:lnTo>
                <a:lnTo>
                  <a:pt x="78" y="72"/>
                </a:lnTo>
                <a:lnTo>
                  <a:pt x="78" y="72"/>
                </a:lnTo>
                <a:lnTo>
                  <a:pt x="76" y="74"/>
                </a:lnTo>
                <a:lnTo>
                  <a:pt x="76" y="74"/>
                </a:lnTo>
                <a:lnTo>
                  <a:pt x="70" y="74"/>
                </a:lnTo>
                <a:lnTo>
                  <a:pt x="70" y="74"/>
                </a:lnTo>
                <a:lnTo>
                  <a:pt x="64" y="78"/>
                </a:lnTo>
                <a:lnTo>
                  <a:pt x="64" y="78"/>
                </a:lnTo>
                <a:lnTo>
                  <a:pt x="60" y="76"/>
                </a:lnTo>
                <a:lnTo>
                  <a:pt x="60" y="76"/>
                </a:lnTo>
                <a:lnTo>
                  <a:pt x="60" y="66"/>
                </a:lnTo>
                <a:lnTo>
                  <a:pt x="58" y="66"/>
                </a:lnTo>
                <a:lnTo>
                  <a:pt x="58" y="66"/>
                </a:lnTo>
                <a:lnTo>
                  <a:pt x="58" y="56"/>
                </a:lnTo>
                <a:lnTo>
                  <a:pt x="58" y="56"/>
                </a:lnTo>
                <a:lnTo>
                  <a:pt x="60" y="50"/>
                </a:lnTo>
                <a:lnTo>
                  <a:pt x="60" y="46"/>
                </a:lnTo>
                <a:lnTo>
                  <a:pt x="62" y="46"/>
                </a:lnTo>
                <a:lnTo>
                  <a:pt x="64" y="46"/>
                </a:lnTo>
                <a:lnTo>
                  <a:pt x="64" y="46"/>
                </a:lnTo>
                <a:lnTo>
                  <a:pt x="66" y="40"/>
                </a:lnTo>
                <a:lnTo>
                  <a:pt x="66" y="34"/>
                </a:lnTo>
                <a:lnTo>
                  <a:pt x="66" y="34"/>
                </a:lnTo>
                <a:lnTo>
                  <a:pt x="70" y="34"/>
                </a:lnTo>
                <a:lnTo>
                  <a:pt x="72" y="34"/>
                </a:lnTo>
                <a:lnTo>
                  <a:pt x="72" y="34"/>
                </a:lnTo>
                <a:lnTo>
                  <a:pt x="74" y="30"/>
                </a:lnTo>
                <a:lnTo>
                  <a:pt x="74" y="30"/>
                </a:lnTo>
                <a:lnTo>
                  <a:pt x="72" y="20"/>
                </a:lnTo>
                <a:lnTo>
                  <a:pt x="72" y="20"/>
                </a:lnTo>
                <a:lnTo>
                  <a:pt x="68" y="18"/>
                </a:lnTo>
                <a:lnTo>
                  <a:pt x="68" y="18"/>
                </a:lnTo>
                <a:lnTo>
                  <a:pt x="68" y="10"/>
                </a:lnTo>
                <a:lnTo>
                  <a:pt x="70" y="4"/>
                </a:lnTo>
                <a:lnTo>
                  <a:pt x="70" y="4"/>
                </a:lnTo>
                <a:lnTo>
                  <a:pt x="70" y="0"/>
                </a:lnTo>
                <a:lnTo>
                  <a:pt x="70" y="0"/>
                </a:lnTo>
                <a:lnTo>
                  <a:pt x="62" y="4"/>
                </a:lnTo>
                <a:lnTo>
                  <a:pt x="58" y="6"/>
                </a:lnTo>
                <a:lnTo>
                  <a:pt x="56" y="2"/>
                </a:lnTo>
                <a:lnTo>
                  <a:pt x="56" y="2"/>
                </a:lnTo>
                <a:lnTo>
                  <a:pt x="56" y="2"/>
                </a:lnTo>
                <a:lnTo>
                  <a:pt x="54" y="0"/>
                </a:lnTo>
                <a:lnTo>
                  <a:pt x="54" y="0"/>
                </a:lnTo>
                <a:lnTo>
                  <a:pt x="50" y="0"/>
                </a:lnTo>
                <a:lnTo>
                  <a:pt x="5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7" name="Freeform 111">
            <a:extLst>
              <a:ext uri="{FF2B5EF4-FFF2-40B4-BE49-F238E27FC236}">
                <a16:creationId xmlns:a16="http://schemas.microsoft.com/office/drawing/2014/main" id="{78AD0EB4-D1D5-4C04-893F-1AF080E10CD6}"/>
              </a:ext>
            </a:extLst>
          </p:cNvPr>
          <p:cNvSpPr>
            <a:spLocks/>
          </p:cNvSpPr>
          <p:nvPr userDrawn="1"/>
        </p:nvSpPr>
        <p:spPr bwMode="auto">
          <a:xfrm>
            <a:off x="4024492" y="3694375"/>
            <a:ext cx="275033" cy="511365"/>
          </a:xfrm>
          <a:custGeom>
            <a:avLst/>
            <a:gdLst>
              <a:gd name="T0" fmla="*/ 158 w 164"/>
              <a:gd name="T1" fmla="*/ 252 h 298"/>
              <a:gd name="T2" fmla="*/ 156 w 164"/>
              <a:gd name="T3" fmla="*/ 238 h 298"/>
              <a:gd name="T4" fmla="*/ 138 w 164"/>
              <a:gd name="T5" fmla="*/ 194 h 298"/>
              <a:gd name="T6" fmla="*/ 138 w 164"/>
              <a:gd name="T7" fmla="*/ 152 h 298"/>
              <a:gd name="T8" fmla="*/ 114 w 164"/>
              <a:gd name="T9" fmla="*/ 156 h 298"/>
              <a:gd name="T10" fmla="*/ 106 w 164"/>
              <a:gd name="T11" fmla="*/ 146 h 298"/>
              <a:gd name="T12" fmla="*/ 96 w 164"/>
              <a:gd name="T13" fmla="*/ 136 h 298"/>
              <a:gd name="T14" fmla="*/ 96 w 164"/>
              <a:gd name="T15" fmla="*/ 122 h 298"/>
              <a:gd name="T16" fmla="*/ 92 w 164"/>
              <a:gd name="T17" fmla="*/ 114 h 298"/>
              <a:gd name="T18" fmla="*/ 98 w 164"/>
              <a:gd name="T19" fmla="*/ 106 h 298"/>
              <a:gd name="T20" fmla="*/ 104 w 164"/>
              <a:gd name="T21" fmla="*/ 92 h 298"/>
              <a:gd name="T22" fmla="*/ 118 w 164"/>
              <a:gd name="T23" fmla="*/ 76 h 298"/>
              <a:gd name="T24" fmla="*/ 140 w 164"/>
              <a:gd name="T25" fmla="*/ 70 h 298"/>
              <a:gd name="T26" fmla="*/ 134 w 164"/>
              <a:gd name="T27" fmla="*/ 64 h 298"/>
              <a:gd name="T28" fmla="*/ 140 w 164"/>
              <a:gd name="T29" fmla="*/ 34 h 298"/>
              <a:gd name="T30" fmla="*/ 124 w 164"/>
              <a:gd name="T31" fmla="*/ 28 h 298"/>
              <a:gd name="T32" fmla="*/ 112 w 164"/>
              <a:gd name="T33" fmla="*/ 30 h 298"/>
              <a:gd name="T34" fmla="*/ 100 w 164"/>
              <a:gd name="T35" fmla="*/ 20 h 298"/>
              <a:gd name="T36" fmla="*/ 94 w 164"/>
              <a:gd name="T37" fmla="*/ 14 h 298"/>
              <a:gd name="T38" fmla="*/ 84 w 164"/>
              <a:gd name="T39" fmla="*/ 4 h 298"/>
              <a:gd name="T40" fmla="*/ 76 w 164"/>
              <a:gd name="T41" fmla="*/ 6 h 298"/>
              <a:gd name="T42" fmla="*/ 74 w 164"/>
              <a:gd name="T43" fmla="*/ 24 h 298"/>
              <a:gd name="T44" fmla="*/ 66 w 164"/>
              <a:gd name="T45" fmla="*/ 42 h 298"/>
              <a:gd name="T46" fmla="*/ 42 w 164"/>
              <a:gd name="T47" fmla="*/ 60 h 298"/>
              <a:gd name="T48" fmla="*/ 30 w 164"/>
              <a:gd name="T49" fmla="*/ 80 h 298"/>
              <a:gd name="T50" fmla="*/ 22 w 164"/>
              <a:gd name="T51" fmla="*/ 80 h 298"/>
              <a:gd name="T52" fmla="*/ 18 w 164"/>
              <a:gd name="T53" fmla="*/ 74 h 298"/>
              <a:gd name="T54" fmla="*/ 14 w 164"/>
              <a:gd name="T55" fmla="*/ 66 h 298"/>
              <a:gd name="T56" fmla="*/ 0 w 164"/>
              <a:gd name="T57" fmla="*/ 72 h 298"/>
              <a:gd name="T58" fmla="*/ 0 w 164"/>
              <a:gd name="T59" fmla="*/ 76 h 298"/>
              <a:gd name="T60" fmla="*/ 4 w 164"/>
              <a:gd name="T61" fmla="*/ 82 h 298"/>
              <a:gd name="T62" fmla="*/ 6 w 164"/>
              <a:gd name="T63" fmla="*/ 90 h 298"/>
              <a:gd name="T64" fmla="*/ 20 w 164"/>
              <a:gd name="T65" fmla="*/ 112 h 298"/>
              <a:gd name="T66" fmla="*/ 22 w 164"/>
              <a:gd name="T67" fmla="*/ 118 h 298"/>
              <a:gd name="T68" fmla="*/ 30 w 164"/>
              <a:gd name="T69" fmla="*/ 126 h 298"/>
              <a:gd name="T70" fmla="*/ 46 w 164"/>
              <a:gd name="T71" fmla="*/ 144 h 298"/>
              <a:gd name="T72" fmla="*/ 50 w 164"/>
              <a:gd name="T73" fmla="*/ 152 h 298"/>
              <a:gd name="T74" fmla="*/ 54 w 164"/>
              <a:gd name="T75" fmla="*/ 164 h 298"/>
              <a:gd name="T76" fmla="*/ 56 w 164"/>
              <a:gd name="T77" fmla="*/ 182 h 298"/>
              <a:gd name="T78" fmla="*/ 62 w 164"/>
              <a:gd name="T79" fmla="*/ 196 h 298"/>
              <a:gd name="T80" fmla="*/ 66 w 164"/>
              <a:gd name="T81" fmla="*/ 200 h 298"/>
              <a:gd name="T82" fmla="*/ 72 w 164"/>
              <a:gd name="T83" fmla="*/ 214 h 298"/>
              <a:gd name="T84" fmla="*/ 82 w 164"/>
              <a:gd name="T85" fmla="*/ 246 h 298"/>
              <a:gd name="T86" fmla="*/ 88 w 164"/>
              <a:gd name="T87" fmla="*/ 254 h 298"/>
              <a:gd name="T88" fmla="*/ 102 w 164"/>
              <a:gd name="T89" fmla="*/ 266 h 298"/>
              <a:gd name="T90" fmla="*/ 110 w 164"/>
              <a:gd name="T91" fmla="*/ 270 h 298"/>
              <a:gd name="T92" fmla="*/ 128 w 164"/>
              <a:gd name="T93" fmla="*/ 280 h 298"/>
              <a:gd name="T94" fmla="*/ 136 w 164"/>
              <a:gd name="T95" fmla="*/ 284 h 298"/>
              <a:gd name="T96" fmla="*/ 144 w 164"/>
              <a:gd name="T97" fmla="*/ 292 h 298"/>
              <a:gd name="T98" fmla="*/ 154 w 164"/>
              <a:gd name="T99" fmla="*/ 294 h 298"/>
              <a:gd name="T100" fmla="*/ 162 w 164"/>
              <a:gd name="T101" fmla="*/ 270 h 298"/>
              <a:gd name="T102" fmla="*/ 162 w 164"/>
              <a:gd name="T103" fmla="*/ 262 h 298"/>
              <a:gd name="T104" fmla="*/ 152 w 164"/>
              <a:gd name="T105" fmla="*/ 258 h 298"/>
              <a:gd name="T106" fmla="*/ 158 w 164"/>
              <a:gd name="T107" fmla="*/ 254 h 298"/>
              <a:gd name="T108" fmla="*/ 160 w 164"/>
              <a:gd name="T109" fmla="*/ 25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298">
                <a:moveTo>
                  <a:pt x="160" y="258"/>
                </a:moveTo>
                <a:lnTo>
                  <a:pt x="160" y="258"/>
                </a:lnTo>
                <a:lnTo>
                  <a:pt x="160" y="256"/>
                </a:lnTo>
                <a:lnTo>
                  <a:pt x="158" y="252"/>
                </a:lnTo>
                <a:lnTo>
                  <a:pt x="158" y="252"/>
                </a:lnTo>
                <a:lnTo>
                  <a:pt x="158" y="248"/>
                </a:lnTo>
                <a:lnTo>
                  <a:pt x="160" y="246"/>
                </a:lnTo>
                <a:lnTo>
                  <a:pt x="160" y="246"/>
                </a:lnTo>
                <a:lnTo>
                  <a:pt x="156" y="238"/>
                </a:lnTo>
                <a:lnTo>
                  <a:pt x="156" y="238"/>
                </a:lnTo>
                <a:lnTo>
                  <a:pt x="156" y="232"/>
                </a:lnTo>
                <a:lnTo>
                  <a:pt x="156" y="226"/>
                </a:lnTo>
                <a:lnTo>
                  <a:pt x="160" y="216"/>
                </a:lnTo>
                <a:lnTo>
                  <a:pt x="152" y="200"/>
                </a:lnTo>
                <a:lnTo>
                  <a:pt x="138" y="194"/>
                </a:lnTo>
                <a:lnTo>
                  <a:pt x="140" y="154"/>
                </a:lnTo>
                <a:lnTo>
                  <a:pt x="140" y="154"/>
                </a:lnTo>
                <a:lnTo>
                  <a:pt x="140" y="152"/>
                </a:lnTo>
                <a:lnTo>
                  <a:pt x="140" y="150"/>
                </a:lnTo>
                <a:lnTo>
                  <a:pt x="138" y="152"/>
                </a:lnTo>
                <a:lnTo>
                  <a:pt x="138" y="152"/>
                </a:lnTo>
                <a:lnTo>
                  <a:pt x="128" y="158"/>
                </a:lnTo>
                <a:lnTo>
                  <a:pt x="116" y="158"/>
                </a:lnTo>
                <a:lnTo>
                  <a:pt x="116" y="158"/>
                </a:lnTo>
                <a:lnTo>
                  <a:pt x="114" y="156"/>
                </a:lnTo>
                <a:lnTo>
                  <a:pt x="112" y="152"/>
                </a:lnTo>
                <a:lnTo>
                  <a:pt x="112" y="152"/>
                </a:lnTo>
                <a:lnTo>
                  <a:pt x="112" y="150"/>
                </a:lnTo>
                <a:lnTo>
                  <a:pt x="108" y="148"/>
                </a:lnTo>
                <a:lnTo>
                  <a:pt x="106" y="146"/>
                </a:lnTo>
                <a:lnTo>
                  <a:pt x="104" y="142"/>
                </a:lnTo>
                <a:lnTo>
                  <a:pt x="104" y="142"/>
                </a:lnTo>
                <a:lnTo>
                  <a:pt x="102" y="140"/>
                </a:lnTo>
                <a:lnTo>
                  <a:pt x="98" y="138"/>
                </a:lnTo>
                <a:lnTo>
                  <a:pt x="96" y="136"/>
                </a:lnTo>
                <a:lnTo>
                  <a:pt x="98" y="130"/>
                </a:lnTo>
                <a:lnTo>
                  <a:pt x="98" y="130"/>
                </a:lnTo>
                <a:lnTo>
                  <a:pt x="98" y="126"/>
                </a:lnTo>
                <a:lnTo>
                  <a:pt x="96" y="124"/>
                </a:lnTo>
                <a:lnTo>
                  <a:pt x="96" y="122"/>
                </a:lnTo>
                <a:lnTo>
                  <a:pt x="96" y="122"/>
                </a:lnTo>
                <a:lnTo>
                  <a:pt x="94" y="122"/>
                </a:lnTo>
                <a:lnTo>
                  <a:pt x="94" y="118"/>
                </a:lnTo>
                <a:lnTo>
                  <a:pt x="92" y="114"/>
                </a:lnTo>
                <a:lnTo>
                  <a:pt x="92" y="114"/>
                </a:lnTo>
                <a:lnTo>
                  <a:pt x="94" y="112"/>
                </a:lnTo>
                <a:lnTo>
                  <a:pt x="96" y="112"/>
                </a:lnTo>
                <a:lnTo>
                  <a:pt x="98" y="114"/>
                </a:lnTo>
                <a:lnTo>
                  <a:pt x="98" y="114"/>
                </a:lnTo>
                <a:lnTo>
                  <a:pt x="98" y="106"/>
                </a:lnTo>
                <a:lnTo>
                  <a:pt x="98" y="106"/>
                </a:lnTo>
                <a:lnTo>
                  <a:pt x="100" y="102"/>
                </a:lnTo>
                <a:lnTo>
                  <a:pt x="102" y="98"/>
                </a:lnTo>
                <a:lnTo>
                  <a:pt x="102" y="98"/>
                </a:lnTo>
                <a:lnTo>
                  <a:pt x="104" y="92"/>
                </a:lnTo>
                <a:lnTo>
                  <a:pt x="106" y="86"/>
                </a:lnTo>
                <a:lnTo>
                  <a:pt x="106" y="86"/>
                </a:lnTo>
                <a:lnTo>
                  <a:pt x="110" y="82"/>
                </a:lnTo>
                <a:lnTo>
                  <a:pt x="118" y="76"/>
                </a:lnTo>
                <a:lnTo>
                  <a:pt x="118" y="76"/>
                </a:lnTo>
                <a:lnTo>
                  <a:pt x="124" y="74"/>
                </a:lnTo>
                <a:lnTo>
                  <a:pt x="130" y="72"/>
                </a:lnTo>
                <a:lnTo>
                  <a:pt x="130" y="72"/>
                </a:lnTo>
                <a:lnTo>
                  <a:pt x="140" y="70"/>
                </a:lnTo>
                <a:lnTo>
                  <a:pt x="140" y="70"/>
                </a:lnTo>
                <a:lnTo>
                  <a:pt x="142" y="70"/>
                </a:lnTo>
                <a:lnTo>
                  <a:pt x="144" y="68"/>
                </a:lnTo>
                <a:lnTo>
                  <a:pt x="144" y="66"/>
                </a:lnTo>
                <a:lnTo>
                  <a:pt x="140" y="64"/>
                </a:lnTo>
                <a:lnTo>
                  <a:pt x="134" y="64"/>
                </a:lnTo>
                <a:lnTo>
                  <a:pt x="146" y="38"/>
                </a:lnTo>
                <a:lnTo>
                  <a:pt x="146" y="38"/>
                </a:lnTo>
                <a:lnTo>
                  <a:pt x="144" y="36"/>
                </a:lnTo>
                <a:lnTo>
                  <a:pt x="140" y="34"/>
                </a:lnTo>
                <a:lnTo>
                  <a:pt x="140" y="34"/>
                </a:lnTo>
                <a:lnTo>
                  <a:pt x="134" y="32"/>
                </a:lnTo>
                <a:lnTo>
                  <a:pt x="130" y="30"/>
                </a:lnTo>
                <a:lnTo>
                  <a:pt x="130" y="30"/>
                </a:lnTo>
                <a:lnTo>
                  <a:pt x="128" y="28"/>
                </a:lnTo>
                <a:lnTo>
                  <a:pt x="124" y="28"/>
                </a:lnTo>
                <a:lnTo>
                  <a:pt x="120" y="28"/>
                </a:lnTo>
                <a:lnTo>
                  <a:pt x="120" y="32"/>
                </a:lnTo>
                <a:lnTo>
                  <a:pt x="120" y="32"/>
                </a:lnTo>
                <a:lnTo>
                  <a:pt x="112" y="30"/>
                </a:lnTo>
                <a:lnTo>
                  <a:pt x="112" y="30"/>
                </a:lnTo>
                <a:lnTo>
                  <a:pt x="110" y="30"/>
                </a:lnTo>
                <a:lnTo>
                  <a:pt x="108" y="28"/>
                </a:lnTo>
                <a:lnTo>
                  <a:pt x="108" y="26"/>
                </a:lnTo>
                <a:lnTo>
                  <a:pt x="108" y="20"/>
                </a:lnTo>
                <a:lnTo>
                  <a:pt x="100" y="20"/>
                </a:lnTo>
                <a:lnTo>
                  <a:pt x="100" y="20"/>
                </a:lnTo>
                <a:lnTo>
                  <a:pt x="96" y="18"/>
                </a:lnTo>
                <a:lnTo>
                  <a:pt x="94" y="16"/>
                </a:lnTo>
                <a:lnTo>
                  <a:pt x="94" y="14"/>
                </a:lnTo>
                <a:lnTo>
                  <a:pt x="94" y="14"/>
                </a:lnTo>
                <a:lnTo>
                  <a:pt x="92" y="10"/>
                </a:lnTo>
                <a:lnTo>
                  <a:pt x="88" y="6"/>
                </a:lnTo>
                <a:lnTo>
                  <a:pt x="88" y="6"/>
                </a:lnTo>
                <a:lnTo>
                  <a:pt x="86" y="6"/>
                </a:lnTo>
                <a:lnTo>
                  <a:pt x="84" y="4"/>
                </a:lnTo>
                <a:lnTo>
                  <a:pt x="84" y="0"/>
                </a:lnTo>
                <a:lnTo>
                  <a:pt x="76" y="0"/>
                </a:lnTo>
                <a:lnTo>
                  <a:pt x="72" y="4"/>
                </a:lnTo>
                <a:lnTo>
                  <a:pt x="76" y="6"/>
                </a:lnTo>
                <a:lnTo>
                  <a:pt x="76" y="6"/>
                </a:lnTo>
                <a:lnTo>
                  <a:pt x="76" y="16"/>
                </a:lnTo>
                <a:lnTo>
                  <a:pt x="76" y="16"/>
                </a:lnTo>
                <a:lnTo>
                  <a:pt x="78" y="22"/>
                </a:lnTo>
                <a:lnTo>
                  <a:pt x="78" y="24"/>
                </a:lnTo>
                <a:lnTo>
                  <a:pt x="74" y="24"/>
                </a:lnTo>
                <a:lnTo>
                  <a:pt x="74" y="24"/>
                </a:lnTo>
                <a:lnTo>
                  <a:pt x="74" y="30"/>
                </a:lnTo>
                <a:lnTo>
                  <a:pt x="72" y="36"/>
                </a:lnTo>
                <a:lnTo>
                  <a:pt x="66" y="42"/>
                </a:lnTo>
                <a:lnTo>
                  <a:pt x="66" y="42"/>
                </a:lnTo>
                <a:lnTo>
                  <a:pt x="54" y="48"/>
                </a:lnTo>
                <a:lnTo>
                  <a:pt x="48" y="52"/>
                </a:lnTo>
                <a:lnTo>
                  <a:pt x="48" y="52"/>
                </a:lnTo>
                <a:lnTo>
                  <a:pt x="42" y="60"/>
                </a:lnTo>
                <a:lnTo>
                  <a:pt x="42" y="60"/>
                </a:lnTo>
                <a:lnTo>
                  <a:pt x="38" y="66"/>
                </a:lnTo>
                <a:lnTo>
                  <a:pt x="34" y="76"/>
                </a:lnTo>
                <a:lnTo>
                  <a:pt x="34" y="76"/>
                </a:lnTo>
                <a:lnTo>
                  <a:pt x="32" y="78"/>
                </a:lnTo>
                <a:lnTo>
                  <a:pt x="30" y="80"/>
                </a:lnTo>
                <a:lnTo>
                  <a:pt x="26" y="82"/>
                </a:lnTo>
                <a:lnTo>
                  <a:pt x="26" y="82"/>
                </a:lnTo>
                <a:lnTo>
                  <a:pt x="26" y="82"/>
                </a:lnTo>
                <a:lnTo>
                  <a:pt x="24" y="82"/>
                </a:lnTo>
                <a:lnTo>
                  <a:pt x="22" y="80"/>
                </a:lnTo>
                <a:lnTo>
                  <a:pt x="22" y="80"/>
                </a:lnTo>
                <a:lnTo>
                  <a:pt x="20" y="74"/>
                </a:lnTo>
                <a:lnTo>
                  <a:pt x="18" y="72"/>
                </a:lnTo>
                <a:lnTo>
                  <a:pt x="18" y="72"/>
                </a:lnTo>
                <a:lnTo>
                  <a:pt x="18" y="74"/>
                </a:lnTo>
                <a:lnTo>
                  <a:pt x="14" y="76"/>
                </a:lnTo>
                <a:lnTo>
                  <a:pt x="14" y="76"/>
                </a:lnTo>
                <a:lnTo>
                  <a:pt x="10" y="72"/>
                </a:lnTo>
                <a:lnTo>
                  <a:pt x="8" y="70"/>
                </a:lnTo>
                <a:lnTo>
                  <a:pt x="14" y="66"/>
                </a:lnTo>
                <a:lnTo>
                  <a:pt x="12" y="64"/>
                </a:lnTo>
                <a:lnTo>
                  <a:pt x="10" y="58"/>
                </a:lnTo>
                <a:lnTo>
                  <a:pt x="10" y="58"/>
                </a:lnTo>
                <a:lnTo>
                  <a:pt x="4" y="64"/>
                </a:lnTo>
                <a:lnTo>
                  <a:pt x="0" y="72"/>
                </a:lnTo>
                <a:lnTo>
                  <a:pt x="0" y="72"/>
                </a:lnTo>
                <a:lnTo>
                  <a:pt x="0" y="74"/>
                </a:lnTo>
                <a:lnTo>
                  <a:pt x="0" y="76"/>
                </a:lnTo>
                <a:lnTo>
                  <a:pt x="0" y="76"/>
                </a:lnTo>
                <a:lnTo>
                  <a:pt x="0" y="76"/>
                </a:lnTo>
                <a:lnTo>
                  <a:pt x="2" y="80"/>
                </a:lnTo>
                <a:lnTo>
                  <a:pt x="2" y="80"/>
                </a:lnTo>
                <a:lnTo>
                  <a:pt x="4" y="80"/>
                </a:lnTo>
                <a:lnTo>
                  <a:pt x="4" y="80"/>
                </a:lnTo>
                <a:lnTo>
                  <a:pt x="4" y="82"/>
                </a:lnTo>
                <a:lnTo>
                  <a:pt x="4" y="82"/>
                </a:lnTo>
                <a:lnTo>
                  <a:pt x="2" y="86"/>
                </a:lnTo>
                <a:lnTo>
                  <a:pt x="2" y="86"/>
                </a:lnTo>
                <a:lnTo>
                  <a:pt x="6" y="90"/>
                </a:lnTo>
                <a:lnTo>
                  <a:pt x="6" y="90"/>
                </a:lnTo>
                <a:lnTo>
                  <a:pt x="6" y="94"/>
                </a:lnTo>
                <a:lnTo>
                  <a:pt x="4" y="98"/>
                </a:lnTo>
                <a:lnTo>
                  <a:pt x="4" y="98"/>
                </a:lnTo>
                <a:lnTo>
                  <a:pt x="12" y="104"/>
                </a:lnTo>
                <a:lnTo>
                  <a:pt x="20" y="112"/>
                </a:lnTo>
                <a:lnTo>
                  <a:pt x="20" y="112"/>
                </a:lnTo>
                <a:lnTo>
                  <a:pt x="22" y="114"/>
                </a:lnTo>
                <a:lnTo>
                  <a:pt x="22" y="114"/>
                </a:lnTo>
                <a:lnTo>
                  <a:pt x="22" y="118"/>
                </a:lnTo>
                <a:lnTo>
                  <a:pt x="22" y="118"/>
                </a:lnTo>
                <a:lnTo>
                  <a:pt x="26" y="120"/>
                </a:lnTo>
                <a:lnTo>
                  <a:pt x="30" y="122"/>
                </a:lnTo>
                <a:lnTo>
                  <a:pt x="30" y="122"/>
                </a:lnTo>
                <a:lnTo>
                  <a:pt x="30" y="126"/>
                </a:lnTo>
                <a:lnTo>
                  <a:pt x="30" y="126"/>
                </a:lnTo>
                <a:lnTo>
                  <a:pt x="38" y="134"/>
                </a:lnTo>
                <a:lnTo>
                  <a:pt x="38" y="134"/>
                </a:lnTo>
                <a:lnTo>
                  <a:pt x="44" y="144"/>
                </a:lnTo>
                <a:lnTo>
                  <a:pt x="44" y="144"/>
                </a:lnTo>
                <a:lnTo>
                  <a:pt x="46" y="144"/>
                </a:lnTo>
                <a:lnTo>
                  <a:pt x="46" y="144"/>
                </a:lnTo>
                <a:lnTo>
                  <a:pt x="46" y="148"/>
                </a:lnTo>
                <a:lnTo>
                  <a:pt x="48" y="150"/>
                </a:lnTo>
                <a:lnTo>
                  <a:pt x="48" y="150"/>
                </a:lnTo>
                <a:lnTo>
                  <a:pt x="50" y="152"/>
                </a:lnTo>
                <a:lnTo>
                  <a:pt x="50" y="152"/>
                </a:lnTo>
                <a:lnTo>
                  <a:pt x="50" y="160"/>
                </a:lnTo>
                <a:lnTo>
                  <a:pt x="50" y="160"/>
                </a:lnTo>
                <a:lnTo>
                  <a:pt x="54" y="164"/>
                </a:lnTo>
                <a:lnTo>
                  <a:pt x="54" y="164"/>
                </a:lnTo>
                <a:lnTo>
                  <a:pt x="54" y="172"/>
                </a:lnTo>
                <a:lnTo>
                  <a:pt x="54" y="172"/>
                </a:lnTo>
                <a:lnTo>
                  <a:pt x="56" y="178"/>
                </a:lnTo>
                <a:lnTo>
                  <a:pt x="56" y="182"/>
                </a:lnTo>
                <a:lnTo>
                  <a:pt x="56" y="182"/>
                </a:lnTo>
                <a:lnTo>
                  <a:pt x="56" y="184"/>
                </a:lnTo>
                <a:lnTo>
                  <a:pt x="56" y="184"/>
                </a:lnTo>
                <a:lnTo>
                  <a:pt x="60" y="190"/>
                </a:lnTo>
                <a:lnTo>
                  <a:pt x="62" y="192"/>
                </a:lnTo>
                <a:lnTo>
                  <a:pt x="62" y="196"/>
                </a:lnTo>
                <a:lnTo>
                  <a:pt x="62" y="196"/>
                </a:lnTo>
                <a:lnTo>
                  <a:pt x="62" y="198"/>
                </a:lnTo>
                <a:lnTo>
                  <a:pt x="62" y="198"/>
                </a:lnTo>
                <a:lnTo>
                  <a:pt x="66" y="200"/>
                </a:lnTo>
                <a:lnTo>
                  <a:pt x="66" y="200"/>
                </a:lnTo>
                <a:lnTo>
                  <a:pt x="68" y="206"/>
                </a:lnTo>
                <a:lnTo>
                  <a:pt x="70" y="212"/>
                </a:lnTo>
                <a:lnTo>
                  <a:pt x="70" y="212"/>
                </a:lnTo>
                <a:lnTo>
                  <a:pt x="72" y="214"/>
                </a:lnTo>
                <a:lnTo>
                  <a:pt x="72" y="214"/>
                </a:lnTo>
                <a:lnTo>
                  <a:pt x="74" y="224"/>
                </a:lnTo>
                <a:lnTo>
                  <a:pt x="72" y="232"/>
                </a:lnTo>
                <a:lnTo>
                  <a:pt x="72" y="232"/>
                </a:lnTo>
                <a:lnTo>
                  <a:pt x="78" y="238"/>
                </a:lnTo>
                <a:lnTo>
                  <a:pt x="82" y="246"/>
                </a:lnTo>
                <a:lnTo>
                  <a:pt x="82" y="246"/>
                </a:lnTo>
                <a:lnTo>
                  <a:pt x="82" y="248"/>
                </a:lnTo>
                <a:lnTo>
                  <a:pt x="84" y="250"/>
                </a:lnTo>
                <a:lnTo>
                  <a:pt x="84" y="250"/>
                </a:lnTo>
                <a:lnTo>
                  <a:pt x="88" y="254"/>
                </a:lnTo>
                <a:lnTo>
                  <a:pt x="94" y="258"/>
                </a:lnTo>
                <a:lnTo>
                  <a:pt x="94" y="258"/>
                </a:lnTo>
                <a:lnTo>
                  <a:pt x="102" y="264"/>
                </a:lnTo>
                <a:lnTo>
                  <a:pt x="102" y="264"/>
                </a:lnTo>
                <a:lnTo>
                  <a:pt x="102" y="266"/>
                </a:lnTo>
                <a:lnTo>
                  <a:pt x="102" y="266"/>
                </a:lnTo>
                <a:lnTo>
                  <a:pt x="106" y="266"/>
                </a:lnTo>
                <a:lnTo>
                  <a:pt x="106" y="266"/>
                </a:lnTo>
                <a:lnTo>
                  <a:pt x="110" y="270"/>
                </a:lnTo>
                <a:lnTo>
                  <a:pt x="110" y="270"/>
                </a:lnTo>
                <a:lnTo>
                  <a:pt x="116" y="270"/>
                </a:lnTo>
                <a:lnTo>
                  <a:pt x="116" y="270"/>
                </a:lnTo>
                <a:lnTo>
                  <a:pt x="116" y="274"/>
                </a:lnTo>
                <a:lnTo>
                  <a:pt x="116" y="274"/>
                </a:lnTo>
                <a:lnTo>
                  <a:pt x="128" y="280"/>
                </a:lnTo>
                <a:lnTo>
                  <a:pt x="128" y="280"/>
                </a:lnTo>
                <a:lnTo>
                  <a:pt x="130" y="280"/>
                </a:lnTo>
                <a:lnTo>
                  <a:pt x="130" y="280"/>
                </a:lnTo>
                <a:lnTo>
                  <a:pt x="136" y="284"/>
                </a:lnTo>
                <a:lnTo>
                  <a:pt x="136" y="284"/>
                </a:lnTo>
                <a:lnTo>
                  <a:pt x="138" y="284"/>
                </a:lnTo>
                <a:lnTo>
                  <a:pt x="138" y="284"/>
                </a:lnTo>
                <a:lnTo>
                  <a:pt x="142" y="288"/>
                </a:lnTo>
                <a:lnTo>
                  <a:pt x="144" y="292"/>
                </a:lnTo>
                <a:lnTo>
                  <a:pt x="144" y="292"/>
                </a:lnTo>
                <a:lnTo>
                  <a:pt x="148" y="298"/>
                </a:lnTo>
                <a:lnTo>
                  <a:pt x="148" y="298"/>
                </a:lnTo>
                <a:lnTo>
                  <a:pt x="150" y="298"/>
                </a:lnTo>
                <a:lnTo>
                  <a:pt x="154" y="294"/>
                </a:lnTo>
                <a:lnTo>
                  <a:pt x="154" y="294"/>
                </a:lnTo>
                <a:lnTo>
                  <a:pt x="156" y="290"/>
                </a:lnTo>
                <a:lnTo>
                  <a:pt x="158" y="290"/>
                </a:lnTo>
                <a:lnTo>
                  <a:pt x="154" y="282"/>
                </a:lnTo>
                <a:lnTo>
                  <a:pt x="154" y="282"/>
                </a:lnTo>
                <a:lnTo>
                  <a:pt x="162" y="270"/>
                </a:lnTo>
                <a:lnTo>
                  <a:pt x="162" y="270"/>
                </a:lnTo>
                <a:lnTo>
                  <a:pt x="164" y="268"/>
                </a:lnTo>
                <a:lnTo>
                  <a:pt x="162" y="266"/>
                </a:lnTo>
                <a:lnTo>
                  <a:pt x="162" y="262"/>
                </a:lnTo>
                <a:lnTo>
                  <a:pt x="162" y="262"/>
                </a:lnTo>
                <a:lnTo>
                  <a:pt x="162" y="262"/>
                </a:lnTo>
                <a:lnTo>
                  <a:pt x="156" y="256"/>
                </a:lnTo>
                <a:lnTo>
                  <a:pt x="156" y="256"/>
                </a:lnTo>
                <a:lnTo>
                  <a:pt x="152" y="258"/>
                </a:lnTo>
                <a:lnTo>
                  <a:pt x="152" y="258"/>
                </a:lnTo>
                <a:lnTo>
                  <a:pt x="152" y="250"/>
                </a:lnTo>
                <a:lnTo>
                  <a:pt x="152" y="250"/>
                </a:lnTo>
                <a:lnTo>
                  <a:pt x="154" y="248"/>
                </a:lnTo>
                <a:lnTo>
                  <a:pt x="154" y="248"/>
                </a:lnTo>
                <a:lnTo>
                  <a:pt x="158" y="254"/>
                </a:lnTo>
                <a:lnTo>
                  <a:pt x="158" y="254"/>
                </a:lnTo>
                <a:lnTo>
                  <a:pt x="158" y="256"/>
                </a:lnTo>
                <a:lnTo>
                  <a:pt x="158" y="256"/>
                </a:lnTo>
                <a:lnTo>
                  <a:pt x="160" y="258"/>
                </a:lnTo>
                <a:lnTo>
                  <a:pt x="160" y="2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8" name="Freeform 112">
            <a:extLst>
              <a:ext uri="{FF2B5EF4-FFF2-40B4-BE49-F238E27FC236}">
                <a16:creationId xmlns:a16="http://schemas.microsoft.com/office/drawing/2014/main" id="{573192C3-B832-4303-9072-699618F1C735}"/>
              </a:ext>
            </a:extLst>
          </p:cNvPr>
          <p:cNvSpPr>
            <a:spLocks/>
          </p:cNvSpPr>
          <p:nvPr userDrawn="1"/>
        </p:nvSpPr>
        <p:spPr bwMode="auto">
          <a:xfrm>
            <a:off x="4447106" y="4236627"/>
            <a:ext cx="181120" cy="243670"/>
          </a:xfrm>
          <a:custGeom>
            <a:avLst/>
            <a:gdLst>
              <a:gd name="T0" fmla="*/ 50 w 108"/>
              <a:gd name="T1" fmla="*/ 2 h 142"/>
              <a:gd name="T2" fmla="*/ 22 w 108"/>
              <a:gd name="T3" fmla="*/ 0 h 142"/>
              <a:gd name="T4" fmla="*/ 18 w 108"/>
              <a:gd name="T5" fmla="*/ 6 h 142"/>
              <a:gd name="T6" fmla="*/ 14 w 108"/>
              <a:gd name="T7" fmla="*/ 12 h 142"/>
              <a:gd name="T8" fmla="*/ 10 w 108"/>
              <a:gd name="T9" fmla="*/ 22 h 142"/>
              <a:gd name="T10" fmla="*/ 0 w 108"/>
              <a:gd name="T11" fmla="*/ 46 h 142"/>
              <a:gd name="T12" fmla="*/ 8 w 108"/>
              <a:gd name="T13" fmla="*/ 52 h 142"/>
              <a:gd name="T14" fmla="*/ 12 w 108"/>
              <a:gd name="T15" fmla="*/ 58 h 142"/>
              <a:gd name="T16" fmla="*/ 18 w 108"/>
              <a:gd name="T17" fmla="*/ 64 h 142"/>
              <a:gd name="T18" fmla="*/ 20 w 108"/>
              <a:gd name="T19" fmla="*/ 66 h 142"/>
              <a:gd name="T20" fmla="*/ 22 w 108"/>
              <a:gd name="T21" fmla="*/ 70 h 142"/>
              <a:gd name="T22" fmla="*/ 26 w 108"/>
              <a:gd name="T23" fmla="*/ 78 h 142"/>
              <a:gd name="T24" fmla="*/ 28 w 108"/>
              <a:gd name="T25" fmla="*/ 80 h 142"/>
              <a:gd name="T26" fmla="*/ 36 w 108"/>
              <a:gd name="T27" fmla="*/ 86 h 142"/>
              <a:gd name="T28" fmla="*/ 40 w 108"/>
              <a:gd name="T29" fmla="*/ 88 h 142"/>
              <a:gd name="T30" fmla="*/ 44 w 108"/>
              <a:gd name="T31" fmla="*/ 88 h 142"/>
              <a:gd name="T32" fmla="*/ 46 w 108"/>
              <a:gd name="T33" fmla="*/ 90 h 142"/>
              <a:gd name="T34" fmla="*/ 52 w 108"/>
              <a:gd name="T35" fmla="*/ 94 h 142"/>
              <a:gd name="T36" fmla="*/ 60 w 108"/>
              <a:gd name="T37" fmla="*/ 104 h 142"/>
              <a:gd name="T38" fmla="*/ 62 w 108"/>
              <a:gd name="T39" fmla="*/ 106 h 142"/>
              <a:gd name="T40" fmla="*/ 60 w 108"/>
              <a:gd name="T41" fmla="*/ 114 h 142"/>
              <a:gd name="T42" fmla="*/ 58 w 108"/>
              <a:gd name="T43" fmla="*/ 122 h 142"/>
              <a:gd name="T44" fmla="*/ 54 w 108"/>
              <a:gd name="T45" fmla="*/ 128 h 142"/>
              <a:gd name="T46" fmla="*/ 50 w 108"/>
              <a:gd name="T47" fmla="*/ 138 h 142"/>
              <a:gd name="T48" fmla="*/ 50 w 108"/>
              <a:gd name="T49" fmla="*/ 138 h 142"/>
              <a:gd name="T50" fmla="*/ 54 w 108"/>
              <a:gd name="T51" fmla="*/ 138 h 142"/>
              <a:gd name="T52" fmla="*/ 64 w 108"/>
              <a:gd name="T53" fmla="*/ 140 h 142"/>
              <a:gd name="T54" fmla="*/ 68 w 108"/>
              <a:gd name="T55" fmla="*/ 142 h 142"/>
              <a:gd name="T56" fmla="*/ 72 w 108"/>
              <a:gd name="T57" fmla="*/ 140 h 142"/>
              <a:gd name="T58" fmla="*/ 84 w 108"/>
              <a:gd name="T59" fmla="*/ 142 h 142"/>
              <a:gd name="T60" fmla="*/ 90 w 108"/>
              <a:gd name="T61" fmla="*/ 142 h 142"/>
              <a:gd name="T62" fmla="*/ 92 w 108"/>
              <a:gd name="T63" fmla="*/ 140 h 142"/>
              <a:gd name="T64" fmla="*/ 94 w 108"/>
              <a:gd name="T65" fmla="*/ 138 h 142"/>
              <a:gd name="T66" fmla="*/ 100 w 108"/>
              <a:gd name="T67" fmla="*/ 130 h 142"/>
              <a:gd name="T68" fmla="*/ 102 w 108"/>
              <a:gd name="T69" fmla="*/ 128 h 142"/>
              <a:gd name="T70" fmla="*/ 102 w 108"/>
              <a:gd name="T71" fmla="*/ 116 h 142"/>
              <a:gd name="T72" fmla="*/ 100 w 108"/>
              <a:gd name="T73" fmla="*/ 114 h 142"/>
              <a:gd name="T74" fmla="*/ 104 w 108"/>
              <a:gd name="T75" fmla="*/ 110 h 142"/>
              <a:gd name="T76" fmla="*/ 104 w 108"/>
              <a:gd name="T77" fmla="*/ 102 h 142"/>
              <a:gd name="T78" fmla="*/ 106 w 108"/>
              <a:gd name="T79" fmla="*/ 94 h 142"/>
              <a:gd name="T80" fmla="*/ 108 w 108"/>
              <a:gd name="T81" fmla="*/ 80 h 142"/>
              <a:gd name="T82" fmla="*/ 106 w 108"/>
              <a:gd name="T83" fmla="*/ 80 h 142"/>
              <a:gd name="T84" fmla="*/ 100 w 108"/>
              <a:gd name="T85" fmla="*/ 82 h 142"/>
              <a:gd name="T86" fmla="*/ 98 w 108"/>
              <a:gd name="T87" fmla="*/ 82 h 142"/>
              <a:gd name="T88" fmla="*/ 96 w 108"/>
              <a:gd name="T89" fmla="*/ 74 h 142"/>
              <a:gd name="T90" fmla="*/ 96 w 108"/>
              <a:gd name="T91" fmla="*/ 60 h 142"/>
              <a:gd name="T92" fmla="*/ 96 w 108"/>
              <a:gd name="T93" fmla="*/ 56 h 142"/>
              <a:gd name="T94" fmla="*/ 90 w 108"/>
              <a:gd name="T95" fmla="*/ 52 h 142"/>
              <a:gd name="T96" fmla="*/ 88 w 108"/>
              <a:gd name="T97" fmla="*/ 52 h 142"/>
              <a:gd name="T98" fmla="*/ 86 w 108"/>
              <a:gd name="T99" fmla="*/ 48 h 142"/>
              <a:gd name="T100" fmla="*/ 80 w 108"/>
              <a:gd name="T101" fmla="*/ 46 h 142"/>
              <a:gd name="T102" fmla="*/ 72 w 108"/>
              <a:gd name="T103" fmla="*/ 46 h 142"/>
              <a:gd name="T104" fmla="*/ 64 w 108"/>
              <a:gd name="T105" fmla="*/ 42 h 142"/>
              <a:gd name="T106" fmla="*/ 64 w 108"/>
              <a:gd name="T107" fmla="*/ 38 h 142"/>
              <a:gd name="T108" fmla="*/ 62 w 108"/>
              <a:gd name="T109" fmla="*/ 32 h 142"/>
              <a:gd name="T110" fmla="*/ 64 w 108"/>
              <a:gd name="T111" fmla="*/ 24 h 142"/>
              <a:gd name="T112" fmla="*/ 62 w 108"/>
              <a:gd name="T113" fmla="*/ 18 h 142"/>
              <a:gd name="T114" fmla="*/ 56 w 108"/>
              <a:gd name="T115"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142">
                <a:moveTo>
                  <a:pt x="56" y="8"/>
                </a:moveTo>
                <a:lnTo>
                  <a:pt x="50" y="2"/>
                </a:lnTo>
                <a:lnTo>
                  <a:pt x="38" y="0"/>
                </a:lnTo>
                <a:lnTo>
                  <a:pt x="22" y="0"/>
                </a:lnTo>
                <a:lnTo>
                  <a:pt x="22" y="0"/>
                </a:lnTo>
                <a:lnTo>
                  <a:pt x="18" y="6"/>
                </a:lnTo>
                <a:lnTo>
                  <a:pt x="14" y="12"/>
                </a:lnTo>
                <a:lnTo>
                  <a:pt x="14" y="12"/>
                </a:lnTo>
                <a:lnTo>
                  <a:pt x="12" y="18"/>
                </a:lnTo>
                <a:lnTo>
                  <a:pt x="10" y="22"/>
                </a:lnTo>
                <a:lnTo>
                  <a:pt x="10" y="28"/>
                </a:lnTo>
                <a:lnTo>
                  <a:pt x="0" y="46"/>
                </a:lnTo>
                <a:lnTo>
                  <a:pt x="8" y="52"/>
                </a:lnTo>
                <a:lnTo>
                  <a:pt x="8" y="52"/>
                </a:lnTo>
                <a:lnTo>
                  <a:pt x="12" y="58"/>
                </a:lnTo>
                <a:lnTo>
                  <a:pt x="12" y="58"/>
                </a:lnTo>
                <a:lnTo>
                  <a:pt x="14" y="62"/>
                </a:lnTo>
                <a:lnTo>
                  <a:pt x="18" y="64"/>
                </a:lnTo>
                <a:lnTo>
                  <a:pt x="18" y="64"/>
                </a:lnTo>
                <a:lnTo>
                  <a:pt x="20" y="66"/>
                </a:lnTo>
                <a:lnTo>
                  <a:pt x="22" y="70"/>
                </a:lnTo>
                <a:lnTo>
                  <a:pt x="22" y="70"/>
                </a:lnTo>
                <a:lnTo>
                  <a:pt x="26" y="76"/>
                </a:lnTo>
                <a:lnTo>
                  <a:pt x="26" y="78"/>
                </a:lnTo>
                <a:lnTo>
                  <a:pt x="28" y="80"/>
                </a:lnTo>
                <a:lnTo>
                  <a:pt x="28" y="80"/>
                </a:lnTo>
                <a:lnTo>
                  <a:pt x="34" y="80"/>
                </a:lnTo>
                <a:lnTo>
                  <a:pt x="36" y="86"/>
                </a:lnTo>
                <a:lnTo>
                  <a:pt x="36" y="86"/>
                </a:lnTo>
                <a:lnTo>
                  <a:pt x="40" y="88"/>
                </a:lnTo>
                <a:lnTo>
                  <a:pt x="42" y="88"/>
                </a:lnTo>
                <a:lnTo>
                  <a:pt x="44" y="88"/>
                </a:lnTo>
                <a:lnTo>
                  <a:pt x="46" y="90"/>
                </a:lnTo>
                <a:lnTo>
                  <a:pt x="46" y="90"/>
                </a:lnTo>
                <a:lnTo>
                  <a:pt x="52" y="94"/>
                </a:lnTo>
                <a:lnTo>
                  <a:pt x="52" y="94"/>
                </a:lnTo>
                <a:lnTo>
                  <a:pt x="54" y="98"/>
                </a:lnTo>
                <a:lnTo>
                  <a:pt x="60" y="104"/>
                </a:lnTo>
                <a:lnTo>
                  <a:pt x="60" y="104"/>
                </a:lnTo>
                <a:lnTo>
                  <a:pt x="62" y="106"/>
                </a:lnTo>
                <a:lnTo>
                  <a:pt x="62" y="108"/>
                </a:lnTo>
                <a:lnTo>
                  <a:pt x="60" y="114"/>
                </a:lnTo>
                <a:lnTo>
                  <a:pt x="60" y="114"/>
                </a:lnTo>
                <a:lnTo>
                  <a:pt x="58" y="122"/>
                </a:lnTo>
                <a:lnTo>
                  <a:pt x="54" y="128"/>
                </a:lnTo>
                <a:lnTo>
                  <a:pt x="54" y="128"/>
                </a:lnTo>
                <a:lnTo>
                  <a:pt x="50" y="134"/>
                </a:lnTo>
                <a:lnTo>
                  <a:pt x="50" y="138"/>
                </a:lnTo>
                <a:lnTo>
                  <a:pt x="50" y="138"/>
                </a:lnTo>
                <a:lnTo>
                  <a:pt x="50" y="138"/>
                </a:lnTo>
                <a:lnTo>
                  <a:pt x="54" y="138"/>
                </a:lnTo>
                <a:lnTo>
                  <a:pt x="54" y="138"/>
                </a:lnTo>
                <a:lnTo>
                  <a:pt x="58" y="138"/>
                </a:lnTo>
                <a:lnTo>
                  <a:pt x="64" y="140"/>
                </a:lnTo>
                <a:lnTo>
                  <a:pt x="64" y="140"/>
                </a:lnTo>
                <a:lnTo>
                  <a:pt x="68" y="142"/>
                </a:lnTo>
                <a:lnTo>
                  <a:pt x="72" y="140"/>
                </a:lnTo>
                <a:lnTo>
                  <a:pt x="72" y="140"/>
                </a:lnTo>
                <a:lnTo>
                  <a:pt x="78" y="140"/>
                </a:lnTo>
                <a:lnTo>
                  <a:pt x="84" y="142"/>
                </a:lnTo>
                <a:lnTo>
                  <a:pt x="84" y="142"/>
                </a:lnTo>
                <a:lnTo>
                  <a:pt x="90" y="142"/>
                </a:lnTo>
                <a:lnTo>
                  <a:pt x="92" y="140"/>
                </a:lnTo>
                <a:lnTo>
                  <a:pt x="92" y="140"/>
                </a:lnTo>
                <a:lnTo>
                  <a:pt x="94" y="138"/>
                </a:lnTo>
                <a:lnTo>
                  <a:pt x="94" y="138"/>
                </a:lnTo>
                <a:lnTo>
                  <a:pt x="96" y="134"/>
                </a:lnTo>
                <a:lnTo>
                  <a:pt x="100" y="130"/>
                </a:lnTo>
                <a:lnTo>
                  <a:pt x="100" y="130"/>
                </a:lnTo>
                <a:lnTo>
                  <a:pt x="102" y="128"/>
                </a:lnTo>
                <a:lnTo>
                  <a:pt x="102" y="124"/>
                </a:lnTo>
                <a:lnTo>
                  <a:pt x="102" y="116"/>
                </a:lnTo>
                <a:lnTo>
                  <a:pt x="102" y="116"/>
                </a:lnTo>
                <a:lnTo>
                  <a:pt x="100" y="114"/>
                </a:lnTo>
                <a:lnTo>
                  <a:pt x="102" y="112"/>
                </a:lnTo>
                <a:lnTo>
                  <a:pt x="104" y="110"/>
                </a:lnTo>
                <a:lnTo>
                  <a:pt x="104" y="110"/>
                </a:lnTo>
                <a:lnTo>
                  <a:pt x="104" y="102"/>
                </a:lnTo>
                <a:lnTo>
                  <a:pt x="106" y="94"/>
                </a:lnTo>
                <a:lnTo>
                  <a:pt x="106" y="94"/>
                </a:lnTo>
                <a:lnTo>
                  <a:pt x="106" y="86"/>
                </a:lnTo>
                <a:lnTo>
                  <a:pt x="108" y="80"/>
                </a:lnTo>
                <a:lnTo>
                  <a:pt x="108" y="80"/>
                </a:lnTo>
                <a:lnTo>
                  <a:pt x="106" y="80"/>
                </a:lnTo>
                <a:lnTo>
                  <a:pt x="104" y="80"/>
                </a:lnTo>
                <a:lnTo>
                  <a:pt x="100" y="82"/>
                </a:lnTo>
                <a:lnTo>
                  <a:pt x="100" y="82"/>
                </a:lnTo>
                <a:lnTo>
                  <a:pt x="98" y="82"/>
                </a:lnTo>
                <a:lnTo>
                  <a:pt x="98" y="80"/>
                </a:lnTo>
                <a:lnTo>
                  <a:pt x="96" y="74"/>
                </a:lnTo>
                <a:lnTo>
                  <a:pt x="96" y="74"/>
                </a:lnTo>
                <a:lnTo>
                  <a:pt x="96" y="60"/>
                </a:lnTo>
                <a:lnTo>
                  <a:pt x="96" y="60"/>
                </a:lnTo>
                <a:lnTo>
                  <a:pt x="96" y="56"/>
                </a:lnTo>
                <a:lnTo>
                  <a:pt x="94" y="54"/>
                </a:lnTo>
                <a:lnTo>
                  <a:pt x="90" y="52"/>
                </a:lnTo>
                <a:lnTo>
                  <a:pt x="90" y="52"/>
                </a:lnTo>
                <a:lnTo>
                  <a:pt x="88" y="52"/>
                </a:lnTo>
                <a:lnTo>
                  <a:pt x="86" y="50"/>
                </a:lnTo>
                <a:lnTo>
                  <a:pt x="86" y="48"/>
                </a:lnTo>
                <a:lnTo>
                  <a:pt x="84" y="44"/>
                </a:lnTo>
                <a:lnTo>
                  <a:pt x="80" y="46"/>
                </a:lnTo>
                <a:lnTo>
                  <a:pt x="80" y="46"/>
                </a:lnTo>
                <a:lnTo>
                  <a:pt x="72" y="46"/>
                </a:lnTo>
                <a:lnTo>
                  <a:pt x="66" y="44"/>
                </a:lnTo>
                <a:lnTo>
                  <a:pt x="64" y="42"/>
                </a:lnTo>
                <a:lnTo>
                  <a:pt x="64" y="42"/>
                </a:lnTo>
                <a:lnTo>
                  <a:pt x="64" y="38"/>
                </a:lnTo>
                <a:lnTo>
                  <a:pt x="62" y="34"/>
                </a:lnTo>
                <a:lnTo>
                  <a:pt x="62" y="32"/>
                </a:lnTo>
                <a:lnTo>
                  <a:pt x="62" y="32"/>
                </a:lnTo>
                <a:lnTo>
                  <a:pt x="64" y="24"/>
                </a:lnTo>
                <a:lnTo>
                  <a:pt x="62" y="18"/>
                </a:lnTo>
                <a:lnTo>
                  <a:pt x="62" y="18"/>
                </a:lnTo>
                <a:lnTo>
                  <a:pt x="58" y="12"/>
                </a:lnTo>
                <a:lnTo>
                  <a:pt x="56" y="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9" name="Freeform 113">
            <a:extLst>
              <a:ext uri="{FF2B5EF4-FFF2-40B4-BE49-F238E27FC236}">
                <a16:creationId xmlns:a16="http://schemas.microsoft.com/office/drawing/2014/main" id="{56A1DA1E-A3CC-40EE-9BF8-D9A9BCF79AF6}"/>
              </a:ext>
            </a:extLst>
          </p:cNvPr>
          <p:cNvSpPr>
            <a:spLocks noEditPoints="1"/>
          </p:cNvSpPr>
          <p:nvPr userDrawn="1"/>
        </p:nvSpPr>
        <p:spPr bwMode="auto">
          <a:xfrm>
            <a:off x="8996904" y="3769879"/>
            <a:ext cx="342115" cy="233374"/>
          </a:xfrm>
          <a:custGeom>
            <a:avLst/>
            <a:gdLst>
              <a:gd name="T0" fmla="*/ 184 w 204"/>
              <a:gd name="T1" fmla="*/ 58 h 136"/>
              <a:gd name="T2" fmla="*/ 190 w 204"/>
              <a:gd name="T3" fmla="*/ 66 h 136"/>
              <a:gd name="T4" fmla="*/ 200 w 204"/>
              <a:gd name="T5" fmla="*/ 74 h 136"/>
              <a:gd name="T6" fmla="*/ 200 w 204"/>
              <a:gd name="T7" fmla="*/ 62 h 136"/>
              <a:gd name="T8" fmla="*/ 190 w 204"/>
              <a:gd name="T9" fmla="*/ 50 h 136"/>
              <a:gd name="T10" fmla="*/ 184 w 204"/>
              <a:gd name="T11" fmla="*/ 44 h 136"/>
              <a:gd name="T12" fmla="*/ 0 w 204"/>
              <a:gd name="T13" fmla="*/ 68 h 136"/>
              <a:gd name="T14" fmla="*/ 16 w 204"/>
              <a:gd name="T15" fmla="*/ 108 h 136"/>
              <a:gd name="T16" fmla="*/ 22 w 204"/>
              <a:gd name="T17" fmla="*/ 108 h 136"/>
              <a:gd name="T18" fmla="*/ 36 w 204"/>
              <a:gd name="T19" fmla="*/ 102 h 136"/>
              <a:gd name="T20" fmla="*/ 38 w 204"/>
              <a:gd name="T21" fmla="*/ 94 h 136"/>
              <a:gd name="T22" fmla="*/ 42 w 204"/>
              <a:gd name="T23" fmla="*/ 90 h 136"/>
              <a:gd name="T24" fmla="*/ 48 w 204"/>
              <a:gd name="T25" fmla="*/ 88 h 136"/>
              <a:gd name="T26" fmla="*/ 68 w 204"/>
              <a:gd name="T27" fmla="*/ 94 h 136"/>
              <a:gd name="T28" fmla="*/ 78 w 204"/>
              <a:gd name="T29" fmla="*/ 108 h 136"/>
              <a:gd name="T30" fmla="*/ 84 w 204"/>
              <a:gd name="T31" fmla="*/ 114 h 136"/>
              <a:gd name="T32" fmla="*/ 90 w 204"/>
              <a:gd name="T33" fmla="*/ 120 h 136"/>
              <a:gd name="T34" fmla="*/ 96 w 204"/>
              <a:gd name="T35" fmla="*/ 126 h 136"/>
              <a:gd name="T36" fmla="*/ 104 w 204"/>
              <a:gd name="T37" fmla="*/ 128 h 136"/>
              <a:gd name="T38" fmla="*/ 118 w 204"/>
              <a:gd name="T39" fmla="*/ 132 h 136"/>
              <a:gd name="T40" fmla="*/ 128 w 204"/>
              <a:gd name="T41" fmla="*/ 136 h 136"/>
              <a:gd name="T42" fmla="*/ 122 w 204"/>
              <a:gd name="T43" fmla="*/ 128 h 136"/>
              <a:gd name="T44" fmla="*/ 122 w 204"/>
              <a:gd name="T45" fmla="*/ 120 h 136"/>
              <a:gd name="T46" fmla="*/ 114 w 204"/>
              <a:gd name="T47" fmla="*/ 120 h 136"/>
              <a:gd name="T48" fmla="*/ 104 w 204"/>
              <a:gd name="T49" fmla="*/ 108 h 136"/>
              <a:gd name="T50" fmla="*/ 100 w 204"/>
              <a:gd name="T51" fmla="*/ 96 h 136"/>
              <a:gd name="T52" fmla="*/ 90 w 204"/>
              <a:gd name="T53" fmla="*/ 90 h 136"/>
              <a:gd name="T54" fmla="*/ 86 w 204"/>
              <a:gd name="T55" fmla="*/ 74 h 136"/>
              <a:gd name="T56" fmla="*/ 94 w 204"/>
              <a:gd name="T57" fmla="*/ 70 h 136"/>
              <a:gd name="T58" fmla="*/ 94 w 204"/>
              <a:gd name="T59" fmla="*/ 62 h 136"/>
              <a:gd name="T60" fmla="*/ 88 w 204"/>
              <a:gd name="T61" fmla="*/ 56 h 136"/>
              <a:gd name="T62" fmla="*/ 82 w 204"/>
              <a:gd name="T63" fmla="*/ 52 h 136"/>
              <a:gd name="T64" fmla="*/ 72 w 204"/>
              <a:gd name="T65" fmla="*/ 48 h 136"/>
              <a:gd name="T66" fmla="*/ 68 w 204"/>
              <a:gd name="T67" fmla="*/ 40 h 136"/>
              <a:gd name="T68" fmla="*/ 56 w 204"/>
              <a:gd name="T69" fmla="*/ 28 h 136"/>
              <a:gd name="T70" fmla="*/ 46 w 204"/>
              <a:gd name="T71" fmla="*/ 20 h 136"/>
              <a:gd name="T72" fmla="*/ 30 w 204"/>
              <a:gd name="T73" fmla="*/ 16 h 136"/>
              <a:gd name="T74" fmla="*/ 14 w 204"/>
              <a:gd name="T75" fmla="*/ 10 h 136"/>
              <a:gd name="T76" fmla="*/ 2 w 204"/>
              <a:gd name="T77" fmla="*/ 0 h 136"/>
              <a:gd name="T78" fmla="*/ 146 w 204"/>
              <a:gd name="T79" fmla="*/ 32 h 136"/>
              <a:gd name="T80" fmla="*/ 144 w 204"/>
              <a:gd name="T81" fmla="*/ 38 h 136"/>
              <a:gd name="T82" fmla="*/ 140 w 204"/>
              <a:gd name="T83" fmla="*/ 46 h 136"/>
              <a:gd name="T84" fmla="*/ 128 w 204"/>
              <a:gd name="T85" fmla="*/ 44 h 136"/>
              <a:gd name="T86" fmla="*/ 112 w 204"/>
              <a:gd name="T87" fmla="*/ 52 h 136"/>
              <a:gd name="T88" fmla="*/ 112 w 204"/>
              <a:gd name="T89" fmla="*/ 58 h 136"/>
              <a:gd name="T90" fmla="*/ 126 w 204"/>
              <a:gd name="T91" fmla="*/ 60 h 136"/>
              <a:gd name="T92" fmla="*/ 142 w 204"/>
              <a:gd name="T93" fmla="*/ 54 h 136"/>
              <a:gd name="T94" fmla="*/ 146 w 204"/>
              <a:gd name="T95" fmla="*/ 50 h 136"/>
              <a:gd name="T96" fmla="*/ 152 w 204"/>
              <a:gd name="T97" fmla="*/ 46 h 136"/>
              <a:gd name="T98" fmla="*/ 156 w 204"/>
              <a:gd name="T99" fmla="*/ 40 h 136"/>
              <a:gd name="T100" fmla="*/ 154 w 204"/>
              <a:gd name="T101" fmla="*/ 32 h 136"/>
              <a:gd name="T102" fmla="*/ 150 w 204"/>
              <a:gd name="T103" fmla="*/ 30 h 136"/>
              <a:gd name="T104" fmla="*/ 156 w 204"/>
              <a:gd name="T105" fmla="*/ 24 h 136"/>
              <a:gd name="T106" fmla="*/ 158 w 204"/>
              <a:gd name="T107" fmla="*/ 34 h 136"/>
              <a:gd name="T108" fmla="*/ 162 w 204"/>
              <a:gd name="T109" fmla="*/ 34 h 136"/>
              <a:gd name="T110" fmla="*/ 136 w 204"/>
              <a:gd name="T111" fmla="*/ 6 h 136"/>
              <a:gd name="T112" fmla="*/ 146 w 204"/>
              <a:gd name="T113" fmla="*/ 14 h 136"/>
              <a:gd name="T114" fmla="*/ 150 w 204"/>
              <a:gd name="T115" fmla="*/ 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4" h="136">
                <a:moveTo>
                  <a:pt x="182" y="42"/>
                </a:moveTo>
                <a:lnTo>
                  <a:pt x="182" y="42"/>
                </a:lnTo>
                <a:lnTo>
                  <a:pt x="182" y="54"/>
                </a:lnTo>
                <a:lnTo>
                  <a:pt x="182" y="54"/>
                </a:lnTo>
                <a:lnTo>
                  <a:pt x="184" y="58"/>
                </a:lnTo>
                <a:lnTo>
                  <a:pt x="186" y="60"/>
                </a:lnTo>
                <a:lnTo>
                  <a:pt x="186" y="60"/>
                </a:lnTo>
                <a:lnTo>
                  <a:pt x="186" y="64"/>
                </a:lnTo>
                <a:lnTo>
                  <a:pt x="186" y="64"/>
                </a:lnTo>
                <a:lnTo>
                  <a:pt x="190" y="66"/>
                </a:lnTo>
                <a:lnTo>
                  <a:pt x="190" y="66"/>
                </a:lnTo>
                <a:lnTo>
                  <a:pt x="190" y="70"/>
                </a:lnTo>
                <a:lnTo>
                  <a:pt x="190" y="70"/>
                </a:lnTo>
                <a:lnTo>
                  <a:pt x="200" y="74"/>
                </a:lnTo>
                <a:lnTo>
                  <a:pt x="200" y="74"/>
                </a:lnTo>
                <a:lnTo>
                  <a:pt x="204" y="70"/>
                </a:lnTo>
                <a:lnTo>
                  <a:pt x="204" y="70"/>
                </a:lnTo>
                <a:lnTo>
                  <a:pt x="202" y="66"/>
                </a:lnTo>
                <a:lnTo>
                  <a:pt x="200" y="62"/>
                </a:lnTo>
                <a:lnTo>
                  <a:pt x="200" y="62"/>
                </a:lnTo>
                <a:lnTo>
                  <a:pt x="196" y="62"/>
                </a:lnTo>
                <a:lnTo>
                  <a:pt x="196" y="62"/>
                </a:lnTo>
                <a:lnTo>
                  <a:pt x="190" y="54"/>
                </a:lnTo>
                <a:lnTo>
                  <a:pt x="190" y="54"/>
                </a:lnTo>
                <a:lnTo>
                  <a:pt x="190" y="50"/>
                </a:lnTo>
                <a:lnTo>
                  <a:pt x="190" y="50"/>
                </a:lnTo>
                <a:lnTo>
                  <a:pt x="188" y="50"/>
                </a:lnTo>
                <a:lnTo>
                  <a:pt x="186" y="48"/>
                </a:lnTo>
                <a:lnTo>
                  <a:pt x="186" y="48"/>
                </a:lnTo>
                <a:lnTo>
                  <a:pt x="184" y="44"/>
                </a:lnTo>
                <a:lnTo>
                  <a:pt x="184" y="42"/>
                </a:lnTo>
                <a:lnTo>
                  <a:pt x="182" y="42"/>
                </a:lnTo>
                <a:close/>
                <a:moveTo>
                  <a:pt x="2" y="2"/>
                </a:moveTo>
                <a:lnTo>
                  <a:pt x="2" y="62"/>
                </a:lnTo>
                <a:lnTo>
                  <a:pt x="0" y="68"/>
                </a:lnTo>
                <a:lnTo>
                  <a:pt x="2" y="74"/>
                </a:lnTo>
                <a:lnTo>
                  <a:pt x="2" y="108"/>
                </a:lnTo>
                <a:lnTo>
                  <a:pt x="2" y="108"/>
                </a:lnTo>
                <a:lnTo>
                  <a:pt x="16" y="108"/>
                </a:lnTo>
                <a:lnTo>
                  <a:pt x="16" y="108"/>
                </a:lnTo>
                <a:lnTo>
                  <a:pt x="20" y="106"/>
                </a:lnTo>
                <a:lnTo>
                  <a:pt x="20" y="106"/>
                </a:lnTo>
                <a:lnTo>
                  <a:pt x="22" y="106"/>
                </a:lnTo>
                <a:lnTo>
                  <a:pt x="22" y="108"/>
                </a:lnTo>
                <a:lnTo>
                  <a:pt x="22" y="108"/>
                </a:lnTo>
                <a:lnTo>
                  <a:pt x="26" y="108"/>
                </a:lnTo>
                <a:lnTo>
                  <a:pt x="30" y="108"/>
                </a:lnTo>
                <a:lnTo>
                  <a:pt x="36" y="104"/>
                </a:lnTo>
                <a:lnTo>
                  <a:pt x="36" y="102"/>
                </a:lnTo>
                <a:lnTo>
                  <a:pt x="36" y="102"/>
                </a:lnTo>
                <a:lnTo>
                  <a:pt x="38" y="100"/>
                </a:lnTo>
                <a:lnTo>
                  <a:pt x="38" y="100"/>
                </a:lnTo>
                <a:lnTo>
                  <a:pt x="38" y="98"/>
                </a:lnTo>
                <a:lnTo>
                  <a:pt x="38" y="94"/>
                </a:lnTo>
                <a:lnTo>
                  <a:pt x="38" y="94"/>
                </a:lnTo>
                <a:lnTo>
                  <a:pt x="40" y="88"/>
                </a:lnTo>
                <a:lnTo>
                  <a:pt x="40" y="88"/>
                </a:lnTo>
                <a:lnTo>
                  <a:pt x="42" y="88"/>
                </a:lnTo>
                <a:lnTo>
                  <a:pt x="42" y="90"/>
                </a:lnTo>
                <a:lnTo>
                  <a:pt x="42" y="90"/>
                </a:lnTo>
                <a:lnTo>
                  <a:pt x="44" y="90"/>
                </a:lnTo>
                <a:lnTo>
                  <a:pt x="44" y="90"/>
                </a:lnTo>
                <a:lnTo>
                  <a:pt x="46" y="90"/>
                </a:lnTo>
                <a:lnTo>
                  <a:pt x="48" y="88"/>
                </a:lnTo>
                <a:lnTo>
                  <a:pt x="48" y="88"/>
                </a:lnTo>
                <a:lnTo>
                  <a:pt x="54" y="92"/>
                </a:lnTo>
                <a:lnTo>
                  <a:pt x="54" y="92"/>
                </a:lnTo>
                <a:lnTo>
                  <a:pt x="60" y="92"/>
                </a:lnTo>
                <a:lnTo>
                  <a:pt x="68" y="94"/>
                </a:lnTo>
                <a:lnTo>
                  <a:pt x="68" y="94"/>
                </a:lnTo>
                <a:lnTo>
                  <a:pt x="76" y="102"/>
                </a:lnTo>
                <a:lnTo>
                  <a:pt x="76" y="102"/>
                </a:lnTo>
                <a:lnTo>
                  <a:pt x="76" y="106"/>
                </a:lnTo>
                <a:lnTo>
                  <a:pt x="76" y="108"/>
                </a:lnTo>
                <a:lnTo>
                  <a:pt x="78" y="108"/>
                </a:lnTo>
                <a:lnTo>
                  <a:pt x="80" y="110"/>
                </a:lnTo>
                <a:lnTo>
                  <a:pt x="80" y="110"/>
                </a:lnTo>
                <a:lnTo>
                  <a:pt x="82" y="112"/>
                </a:lnTo>
                <a:lnTo>
                  <a:pt x="82" y="114"/>
                </a:lnTo>
                <a:lnTo>
                  <a:pt x="84" y="114"/>
                </a:lnTo>
                <a:lnTo>
                  <a:pt x="86" y="114"/>
                </a:lnTo>
                <a:lnTo>
                  <a:pt x="86" y="114"/>
                </a:lnTo>
                <a:lnTo>
                  <a:pt x="86" y="118"/>
                </a:lnTo>
                <a:lnTo>
                  <a:pt x="86" y="118"/>
                </a:lnTo>
                <a:lnTo>
                  <a:pt x="90" y="120"/>
                </a:lnTo>
                <a:lnTo>
                  <a:pt x="92" y="122"/>
                </a:lnTo>
                <a:lnTo>
                  <a:pt x="92" y="122"/>
                </a:lnTo>
                <a:lnTo>
                  <a:pt x="92" y="126"/>
                </a:lnTo>
                <a:lnTo>
                  <a:pt x="92" y="126"/>
                </a:lnTo>
                <a:lnTo>
                  <a:pt x="96" y="126"/>
                </a:lnTo>
                <a:lnTo>
                  <a:pt x="98" y="126"/>
                </a:lnTo>
                <a:lnTo>
                  <a:pt x="98" y="126"/>
                </a:lnTo>
                <a:lnTo>
                  <a:pt x="102" y="130"/>
                </a:lnTo>
                <a:lnTo>
                  <a:pt x="102" y="130"/>
                </a:lnTo>
                <a:lnTo>
                  <a:pt x="104" y="128"/>
                </a:lnTo>
                <a:lnTo>
                  <a:pt x="106" y="128"/>
                </a:lnTo>
                <a:lnTo>
                  <a:pt x="108" y="130"/>
                </a:lnTo>
                <a:lnTo>
                  <a:pt x="108" y="130"/>
                </a:lnTo>
                <a:lnTo>
                  <a:pt x="112" y="130"/>
                </a:lnTo>
                <a:lnTo>
                  <a:pt x="118" y="132"/>
                </a:lnTo>
                <a:lnTo>
                  <a:pt x="118" y="132"/>
                </a:lnTo>
                <a:lnTo>
                  <a:pt x="120" y="134"/>
                </a:lnTo>
                <a:lnTo>
                  <a:pt x="120" y="134"/>
                </a:lnTo>
                <a:lnTo>
                  <a:pt x="124" y="136"/>
                </a:lnTo>
                <a:lnTo>
                  <a:pt x="128" y="136"/>
                </a:lnTo>
                <a:lnTo>
                  <a:pt x="128" y="136"/>
                </a:lnTo>
                <a:lnTo>
                  <a:pt x="128" y="130"/>
                </a:lnTo>
                <a:lnTo>
                  <a:pt x="128" y="130"/>
                </a:lnTo>
                <a:lnTo>
                  <a:pt x="126" y="128"/>
                </a:lnTo>
                <a:lnTo>
                  <a:pt x="122" y="128"/>
                </a:lnTo>
                <a:lnTo>
                  <a:pt x="122" y="128"/>
                </a:lnTo>
                <a:lnTo>
                  <a:pt x="120" y="126"/>
                </a:lnTo>
                <a:lnTo>
                  <a:pt x="120" y="126"/>
                </a:lnTo>
                <a:lnTo>
                  <a:pt x="122" y="120"/>
                </a:lnTo>
                <a:lnTo>
                  <a:pt x="122" y="120"/>
                </a:lnTo>
                <a:lnTo>
                  <a:pt x="118" y="118"/>
                </a:lnTo>
                <a:lnTo>
                  <a:pt x="118" y="118"/>
                </a:lnTo>
                <a:lnTo>
                  <a:pt x="116" y="120"/>
                </a:lnTo>
                <a:lnTo>
                  <a:pt x="114" y="120"/>
                </a:lnTo>
                <a:lnTo>
                  <a:pt x="114" y="120"/>
                </a:lnTo>
                <a:lnTo>
                  <a:pt x="112" y="114"/>
                </a:lnTo>
                <a:lnTo>
                  <a:pt x="112" y="110"/>
                </a:lnTo>
                <a:lnTo>
                  <a:pt x="112" y="110"/>
                </a:lnTo>
                <a:lnTo>
                  <a:pt x="104" y="108"/>
                </a:lnTo>
                <a:lnTo>
                  <a:pt x="104" y="108"/>
                </a:lnTo>
                <a:lnTo>
                  <a:pt x="104" y="102"/>
                </a:lnTo>
                <a:lnTo>
                  <a:pt x="104" y="102"/>
                </a:lnTo>
                <a:lnTo>
                  <a:pt x="100" y="100"/>
                </a:lnTo>
                <a:lnTo>
                  <a:pt x="100" y="100"/>
                </a:lnTo>
                <a:lnTo>
                  <a:pt x="100" y="96"/>
                </a:lnTo>
                <a:lnTo>
                  <a:pt x="100" y="96"/>
                </a:lnTo>
                <a:lnTo>
                  <a:pt x="98" y="94"/>
                </a:lnTo>
                <a:lnTo>
                  <a:pt x="94" y="94"/>
                </a:lnTo>
                <a:lnTo>
                  <a:pt x="94" y="94"/>
                </a:lnTo>
                <a:lnTo>
                  <a:pt x="90" y="90"/>
                </a:lnTo>
                <a:lnTo>
                  <a:pt x="88" y="86"/>
                </a:lnTo>
                <a:lnTo>
                  <a:pt x="88" y="76"/>
                </a:lnTo>
                <a:lnTo>
                  <a:pt x="88" y="76"/>
                </a:lnTo>
                <a:lnTo>
                  <a:pt x="86" y="76"/>
                </a:lnTo>
                <a:lnTo>
                  <a:pt x="86" y="74"/>
                </a:lnTo>
                <a:lnTo>
                  <a:pt x="86" y="72"/>
                </a:lnTo>
                <a:lnTo>
                  <a:pt x="86" y="72"/>
                </a:lnTo>
                <a:lnTo>
                  <a:pt x="88" y="72"/>
                </a:lnTo>
                <a:lnTo>
                  <a:pt x="92" y="72"/>
                </a:lnTo>
                <a:lnTo>
                  <a:pt x="94" y="70"/>
                </a:lnTo>
                <a:lnTo>
                  <a:pt x="96" y="68"/>
                </a:lnTo>
                <a:lnTo>
                  <a:pt x="96" y="68"/>
                </a:lnTo>
                <a:lnTo>
                  <a:pt x="96" y="62"/>
                </a:lnTo>
                <a:lnTo>
                  <a:pt x="96" y="62"/>
                </a:lnTo>
                <a:lnTo>
                  <a:pt x="94" y="62"/>
                </a:lnTo>
                <a:lnTo>
                  <a:pt x="94" y="62"/>
                </a:lnTo>
                <a:lnTo>
                  <a:pt x="92" y="58"/>
                </a:lnTo>
                <a:lnTo>
                  <a:pt x="92" y="58"/>
                </a:lnTo>
                <a:lnTo>
                  <a:pt x="88" y="56"/>
                </a:lnTo>
                <a:lnTo>
                  <a:pt x="88" y="56"/>
                </a:lnTo>
                <a:lnTo>
                  <a:pt x="86" y="58"/>
                </a:lnTo>
                <a:lnTo>
                  <a:pt x="86" y="58"/>
                </a:lnTo>
                <a:lnTo>
                  <a:pt x="84" y="58"/>
                </a:lnTo>
                <a:lnTo>
                  <a:pt x="84" y="58"/>
                </a:lnTo>
                <a:lnTo>
                  <a:pt x="82" y="52"/>
                </a:lnTo>
                <a:lnTo>
                  <a:pt x="80" y="52"/>
                </a:lnTo>
                <a:lnTo>
                  <a:pt x="80" y="52"/>
                </a:lnTo>
                <a:lnTo>
                  <a:pt x="80" y="48"/>
                </a:lnTo>
                <a:lnTo>
                  <a:pt x="80" y="48"/>
                </a:lnTo>
                <a:lnTo>
                  <a:pt x="72" y="48"/>
                </a:lnTo>
                <a:lnTo>
                  <a:pt x="70" y="48"/>
                </a:lnTo>
                <a:lnTo>
                  <a:pt x="66" y="46"/>
                </a:lnTo>
                <a:lnTo>
                  <a:pt x="66" y="46"/>
                </a:lnTo>
                <a:lnTo>
                  <a:pt x="66" y="44"/>
                </a:lnTo>
                <a:lnTo>
                  <a:pt x="68" y="40"/>
                </a:lnTo>
                <a:lnTo>
                  <a:pt x="68" y="40"/>
                </a:lnTo>
                <a:lnTo>
                  <a:pt x="64" y="34"/>
                </a:lnTo>
                <a:lnTo>
                  <a:pt x="58" y="28"/>
                </a:lnTo>
                <a:lnTo>
                  <a:pt x="58" y="28"/>
                </a:lnTo>
                <a:lnTo>
                  <a:pt x="56" y="28"/>
                </a:lnTo>
                <a:lnTo>
                  <a:pt x="52" y="28"/>
                </a:lnTo>
                <a:lnTo>
                  <a:pt x="52" y="28"/>
                </a:lnTo>
                <a:lnTo>
                  <a:pt x="50" y="24"/>
                </a:lnTo>
                <a:lnTo>
                  <a:pt x="46" y="20"/>
                </a:lnTo>
                <a:lnTo>
                  <a:pt x="46" y="20"/>
                </a:lnTo>
                <a:lnTo>
                  <a:pt x="40" y="20"/>
                </a:lnTo>
                <a:lnTo>
                  <a:pt x="40" y="20"/>
                </a:lnTo>
                <a:lnTo>
                  <a:pt x="36" y="16"/>
                </a:lnTo>
                <a:lnTo>
                  <a:pt x="36" y="16"/>
                </a:lnTo>
                <a:lnTo>
                  <a:pt x="30" y="16"/>
                </a:lnTo>
                <a:lnTo>
                  <a:pt x="30" y="16"/>
                </a:lnTo>
                <a:lnTo>
                  <a:pt x="26" y="12"/>
                </a:lnTo>
                <a:lnTo>
                  <a:pt x="26" y="12"/>
                </a:lnTo>
                <a:lnTo>
                  <a:pt x="20" y="12"/>
                </a:lnTo>
                <a:lnTo>
                  <a:pt x="14" y="10"/>
                </a:lnTo>
                <a:lnTo>
                  <a:pt x="14" y="10"/>
                </a:lnTo>
                <a:lnTo>
                  <a:pt x="4" y="2"/>
                </a:lnTo>
                <a:lnTo>
                  <a:pt x="4" y="0"/>
                </a:lnTo>
                <a:lnTo>
                  <a:pt x="4" y="0"/>
                </a:lnTo>
                <a:lnTo>
                  <a:pt x="2" y="0"/>
                </a:lnTo>
                <a:lnTo>
                  <a:pt x="2" y="2"/>
                </a:lnTo>
                <a:lnTo>
                  <a:pt x="2" y="2"/>
                </a:lnTo>
                <a:close/>
                <a:moveTo>
                  <a:pt x="150" y="30"/>
                </a:moveTo>
                <a:lnTo>
                  <a:pt x="150" y="30"/>
                </a:lnTo>
                <a:lnTo>
                  <a:pt x="146" y="32"/>
                </a:lnTo>
                <a:lnTo>
                  <a:pt x="146" y="34"/>
                </a:lnTo>
                <a:lnTo>
                  <a:pt x="148" y="34"/>
                </a:lnTo>
                <a:lnTo>
                  <a:pt x="148" y="38"/>
                </a:lnTo>
                <a:lnTo>
                  <a:pt x="148" y="38"/>
                </a:lnTo>
                <a:lnTo>
                  <a:pt x="144" y="38"/>
                </a:lnTo>
                <a:lnTo>
                  <a:pt x="142" y="40"/>
                </a:lnTo>
                <a:lnTo>
                  <a:pt x="142" y="40"/>
                </a:lnTo>
                <a:lnTo>
                  <a:pt x="142" y="42"/>
                </a:lnTo>
                <a:lnTo>
                  <a:pt x="142" y="42"/>
                </a:lnTo>
                <a:lnTo>
                  <a:pt x="140" y="46"/>
                </a:lnTo>
                <a:lnTo>
                  <a:pt x="138" y="48"/>
                </a:lnTo>
                <a:lnTo>
                  <a:pt x="130" y="48"/>
                </a:lnTo>
                <a:lnTo>
                  <a:pt x="130" y="48"/>
                </a:lnTo>
                <a:lnTo>
                  <a:pt x="128" y="44"/>
                </a:lnTo>
                <a:lnTo>
                  <a:pt x="128" y="44"/>
                </a:lnTo>
                <a:lnTo>
                  <a:pt x="122" y="50"/>
                </a:lnTo>
                <a:lnTo>
                  <a:pt x="120" y="52"/>
                </a:lnTo>
                <a:lnTo>
                  <a:pt x="114" y="52"/>
                </a:lnTo>
                <a:lnTo>
                  <a:pt x="114" y="52"/>
                </a:lnTo>
                <a:lnTo>
                  <a:pt x="112" y="52"/>
                </a:lnTo>
                <a:lnTo>
                  <a:pt x="108" y="50"/>
                </a:lnTo>
                <a:lnTo>
                  <a:pt x="108" y="50"/>
                </a:lnTo>
                <a:lnTo>
                  <a:pt x="106" y="54"/>
                </a:lnTo>
                <a:lnTo>
                  <a:pt x="106" y="54"/>
                </a:lnTo>
                <a:lnTo>
                  <a:pt x="112" y="58"/>
                </a:lnTo>
                <a:lnTo>
                  <a:pt x="112" y="58"/>
                </a:lnTo>
                <a:lnTo>
                  <a:pt x="114" y="60"/>
                </a:lnTo>
                <a:lnTo>
                  <a:pt x="114" y="60"/>
                </a:lnTo>
                <a:lnTo>
                  <a:pt x="120" y="60"/>
                </a:lnTo>
                <a:lnTo>
                  <a:pt x="126" y="60"/>
                </a:lnTo>
                <a:lnTo>
                  <a:pt x="126" y="60"/>
                </a:lnTo>
                <a:lnTo>
                  <a:pt x="132" y="60"/>
                </a:lnTo>
                <a:lnTo>
                  <a:pt x="138" y="58"/>
                </a:lnTo>
                <a:lnTo>
                  <a:pt x="138" y="58"/>
                </a:lnTo>
                <a:lnTo>
                  <a:pt x="142" y="54"/>
                </a:lnTo>
                <a:lnTo>
                  <a:pt x="142" y="54"/>
                </a:lnTo>
                <a:lnTo>
                  <a:pt x="144" y="54"/>
                </a:lnTo>
                <a:lnTo>
                  <a:pt x="146" y="52"/>
                </a:lnTo>
                <a:lnTo>
                  <a:pt x="146" y="52"/>
                </a:lnTo>
                <a:lnTo>
                  <a:pt x="146" y="50"/>
                </a:lnTo>
                <a:lnTo>
                  <a:pt x="146" y="48"/>
                </a:lnTo>
                <a:lnTo>
                  <a:pt x="146" y="48"/>
                </a:lnTo>
                <a:lnTo>
                  <a:pt x="150" y="48"/>
                </a:lnTo>
                <a:lnTo>
                  <a:pt x="152" y="46"/>
                </a:lnTo>
                <a:lnTo>
                  <a:pt x="152" y="46"/>
                </a:lnTo>
                <a:lnTo>
                  <a:pt x="154" y="44"/>
                </a:lnTo>
                <a:lnTo>
                  <a:pt x="152" y="40"/>
                </a:lnTo>
                <a:lnTo>
                  <a:pt x="152" y="40"/>
                </a:lnTo>
                <a:lnTo>
                  <a:pt x="156" y="40"/>
                </a:lnTo>
                <a:lnTo>
                  <a:pt x="156" y="40"/>
                </a:lnTo>
                <a:lnTo>
                  <a:pt x="156" y="38"/>
                </a:lnTo>
                <a:lnTo>
                  <a:pt x="156" y="36"/>
                </a:lnTo>
                <a:lnTo>
                  <a:pt x="156" y="36"/>
                </a:lnTo>
                <a:lnTo>
                  <a:pt x="156" y="32"/>
                </a:lnTo>
                <a:lnTo>
                  <a:pt x="154" y="32"/>
                </a:lnTo>
                <a:lnTo>
                  <a:pt x="154" y="32"/>
                </a:lnTo>
                <a:lnTo>
                  <a:pt x="154" y="30"/>
                </a:lnTo>
                <a:lnTo>
                  <a:pt x="154" y="30"/>
                </a:lnTo>
                <a:lnTo>
                  <a:pt x="150" y="30"/>
                </a:lnTo>
                <a:lnTo>
                  <a:pt x="150" y="30"/>
                </a:lnTo>
                <a:close/>
                <a:moveTo>
                  <a:pt x="152" y="16"/>
                </a:moveTo>
                <a:lnTo>
                  <a:pt x="152" y="16"/>
                </a:lnTo>
                <a:lnTo>
                  <a:pt x="152" y="20"/>
                </a:lnTo>
                <a:lnTo>
                  <a:pt x="152" y="20"/>
                </a:lnTo>
                <a:lnTo>
                  <a:pt x="156" y="24"/>
                </a:lnTo>
                <a:lnTo>
                  <a:pt x="158" y="26"/>
                </a:lnTo>
                <a:lnTo>
                  <a:pt x="158" y="26"/>
                </a:lnTo>
                <a:lnTo>
                  <a:pt x="158" y="30"/>
                </a:lnTo>
                <a:lnTo>
                  <a:pt x="158" y="32"/>
                </a:lnTo>
                <a:lnTo>
                  <a:pt x="158" y="34"/>
                </a:lnTo>
                <a:lnTo>
                  <a:pt x="160" y="36"/>
                </a:lnTo>
                <a:lnTo>
                  <a:pt x="162" y="36"/>
                </a:lnTo>
                <a:lnTo>
                  <a:pt x="162" y="36"/>
                </a:lnTo>
                <a:lnTo>
                  <a:pt x="162" y="34"/>
                </a:lnTo>
                <a:lnTo>
                  <a:pt x="162" y="34"/>
                </a:lnTo>
                <a:lnTo>
                  <a:pt x="164" y="28"/>
                </a:lnTo>
                <a:lnTo>
                  <a:pt x="160" y="22"/>
                </a:lnTo>
                <a:lnTo>
                  <a:pt x="152" y="16"/>
                </a:lnTo>
                <a:lnTo>
                  <a:pt x="152" y="16"/>
                </a:lnTo>
                <a:close/>
                <a:moveTo>
                  <a:pt x="136" y="6"/>
                </a:moveTo>
                <a:lnTo>
                  <a:pt x="136" y="6"/>
                </a:lnTo>
                <a:lnTo>
                  <a:pt x="136" y="10"/>
                </a:lnTo>
                <a:lnTo>
                  <a:pt x="136" y="10"/>
                </a:lnTo>
                <a:lnTo>
                  <a:pt x="146" y="14"/>
                </a:lnTo>
                <a:lnTo>
                  <a:pt x="146" y="14"/>
                </a:lnTo>
                <a:lnTo>
                  <a:pt x="148" y="16"/>
                </a:lnTo>
                <a:lnTo>
                  <a:pt x="150" y="16"/>
                </a:lnTo>
                <a:lnTo>
                  <a:pt x="150" y="16"/>
                </a:lnTo>
                <a:lnTo>
                  <a:pt x="150" y="12"/>
                </a:lnTo>
                <a:lnTo>
                  <a:pt x="150" y="12"/>
                </a:lnTo>
                <a:lnTo>
                  <a:pt x="136" y="6"/>
                </a:lnTo>
                <a:lnTo>
                  <a:pt x="136"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0" name="Freeform 114">
            <a:extLst>
              <a:ext uri="{FF2B5EF4-FFF2-40B4-BE49-F238E27FC236}">
                <a16:creationId xmlns:a16="http://schemas.microsoft.com/office/drawing/2014/main" id="{DAC26789-D4E2-403D-9FDB-19EBCE06DE76}"/>
              </a:ext>
            </a:extLst>
          </p:cNvPr>
          <p:cNvSpPr>
            <a:spLocks/>
          </p:cNvSpPr>
          <p:nvPr userDrawn="1"/>
        </p:nvSpPr>
        <p:spPr bwMode="auto">
          <a:xfrm>
            <a:off x="3987597" y="3409522"/>
            <a:ext cx="134163" cy="75504"/>
          </a:xfrm>
          <a:custGeom>
            <a:avLst/>
            <a:gdLst>
              <a:gd name="T0" fmla="*/ 78 w 80"/>
              <a:gd name="T1" fmla="*/ 20 h 44"/>
              <a:gd name="T2" fmla="*/ 72 w 80"/>
              <a:gd name="T3" fmla="*/ 18 h 44"/>
              <a:gd name="T4" fmla="*/ 64 w 80"/>
              <a:gd name="T5" fmla="*/ 10 h 44"/>
              <a:gd name="T6" fmla="*/ 66 w 80"/>
              <a:gd name="T7" fmla="*/ 4 h 44"/>
              <a:gd name="T8" fmla="*/ 64 w 80"/>
              <a:gd name="T9" fmla="*/ 6 h 44"/>
              <a:gd name="T10" fmla="*/ 64 w 80"/>
              <a:gd name="T11" fmla="*/ 6 h 44"/>
              <a:gd name="T12" fmla="*/ 64 w 80"/>
              <a:gd name="T13" fmla="*/ 2 h 44"/>
              <a:gd name="T14" fmla="*/ 48 w 80"/>
              <a:gd name="T15" fmla="*/ 0 h 44"/>
              <a:gd name="T16" fmla="*/ 46 w 80"/>
              <a:gd name="T17" fmla="*/ 4 h 44"/>
              <a:gd name="T18" fmla="*/ 40 w 80"/>
              <a:gd name="T19" fmla="*/ 6 h 44"/>
              <a:gd name="T20" fmla="*/ 34 w 80"/>
              <a:gd name="T21" fmla="*/ 8 h 44"/>
              <a:gd name="T22" fmla="*/ 26 w 80"/>
              <a:gd name="T23" fmla="*/ 12 h 44"/>
              <a:gd name="T24" fmla="*/ 24 w 80"/>
              <a:gd name="T25" fmla="*/ 12 h 44"/>
              <a:gd name="T26" fmla="*/ 18 w 80"/>
              <a:gd name="T27" fmla="*/ 8 h 44"/>
              <a:gd name="T28" fmla="*/ 12 w 80"/>
              <a:gd name="T29" fmla="*/ 10 h 44"/>
              <a:gd name="T30" fmla="*/ 10 w 80"/>
              <a:gd name="T31" fmla="*/ 6 h 44"/>
              <a:gd name="T32" fmla="*/ 10 w 80"/>
              <a:gd name="T33" fmla="*/ 0 h 44"/>
              <a:gd name="T34" fmla="*/ 2 w 80"/>
              <a:gd name="T35" fmla="*/ 0 h 44"/>
              <a:gd name="T36" fmla="*/ 2 w 80"/>
              <a:gd name="T37" fmla="*/ 2 h 44"/>
              <a:gd name="T38" fmla="*/ 2 w 80"/>
              <a:gd name="T39" fmla="*/ 6 h 44"/>
              <a:gd name="T40" fmla="*/ 2 w 80"/>
              <a:gd name="T41" fmla="*/ 12 h 44"/>
              <a:gd name="T42" fmla="*/ 4 w 80"/>
              <a:gd name="T43" fmla="*/ 16 h 44"/>
              <a:gd name="T44" fmla="*/ 2 w 80"/>
              <a:gd name="T45" fmla="*/ 22 h 44"/>
              <a:gd name="T46" fmla="*/ 6 w 80"/>
              <a:gd name="T47" fmla="*/ 20 h 44"/>
              <a:gd name="T48" fmla="*/ 6 w 80"/>
              <a:gd name="T49" fmla="*/ 20 h 44"/>
              <a:gd name="T50" fmla="*/ 10 w 80"/>
              <a:gd name="T51" fmla="*/ 20 h 44"/>
              <a:gd name="T52" fmla="*/ 10 w 80"/>
              <a:gd name="T53" fmla="*/ 22 h 44"/>
              <a:gd name="T54" fmla="*/ 18 w 80"/>
              <a:gd name="T55" fmla="*/ 22 h 44"/>
              <a:gd name="T56" fmla="*/ 22 w 80"/>
              <a:gd name="T57" fmla="*/ 30 h 44"/>
              <a:gd name="T58" fmla="*/ 28 w 80"/>
              <a:gd name="T59" fmla="*/ 30 h 44"/>
              <a:gd name="T60" fmla="*/ 32 w 80"/>
              <a:gd name="T61" fmla="*/ 38 h 44"/>
              <a:gd name="T62" fmla="*/ 36 w 80"/>
              <a:gd name="T63" fmla="*/ 36 h 44"/>
              <a:gd name="T64" fmla="*/ 38 w 80"/>
              <a:gd name="T65" fmla="*/ 32 h 44"/>
              <a:gd name="T66" fmla="*/ 42 w 80"/>
              <a:gd name="T67" fmla="*/ 32 h 44"/>
              <a:gd name="T68" fmla="*/ 42 w 80"/>
              <a:gd name="T69" fmla="*/ 28 h 44"/>
              <a:gd name="T70" fmla="*/ 38 w 80"/>
              <a:gd name="T71" fmla="*/ 24 h 44"/>
              <a:gd name="T72" fmla="*/ 36 w 80"/>
              <a:gd name="T73" fmla="*/ 24 h 44"/>
              <a:gd name="T74" fmla="*/ 34 w 80"/>
              <a:gd name="T75" fmla="*/ 22 h 44"/>
              <a:gd name="T76" fmla="*/ 42 w 80"/>
              <a:gd name="T77" fmla="*/ 20 h 44"/>
              <a:gd name="T78" fmla="*/ 50 w 80"/>
              <a:gd name="T79" fmla="*/ 10 h 44"/>
              <a:gd name="T80" fmla="*/ 54 w 80"/>
              <a:gd name="T81" fmla="*/ 12 h 44"/>
              <a:gd name="T82" fmla="*/ 58 w 80"/>
              <a:gd name="T83" fmla="*/ 18 h 44"/>
              <a:gd name="T84" fmla="*/ 60 w 80"/>
              <a:gd name="T85" fmla="*/ 24 h 44"/>
              <a:gd name="T86" fmla="*/ 68 w 80"/>
              <a:gd name="T87" fmla="*/ 22 h 44"/>
              <a:gd name="T88" fmla="*/ 68 w 80"/>
              <a:gd name="T89" fmla="*/ 26 h 44"/>
              <a:gd name="T90" fmla="*/ 64 w 80"/>
              <a:gd name="T91" fmla="*/ 30 h 44"/>
              <a:gd name="T92" fmla="*/ 62 w 80"/>
              <a:gd name="T93" fmla="*/ 36 h 44"/>
              <a:gd name="T94" fmla="*/ 68 w 80"/>
              <a:gd name="T95" fmla="*/ 42 h 44"/>
              <a:gd name="T96" fmla="*/ 74 w 80"/>
              <a:gd name="T97" fmla="*/ 44 h 44"/>
              <a:gd name="T98" fmla="*/ 76 w 80"/>
              <a:gd name="T99" fmla="*/ 40 h 44"/>
              <a:gd name="T100" fmla="*/ 80 w 80"/>
              <a:gd name="T101" fmla="*/ 32 h 44"/>
              <a:gd name="T102" fmla="*/ 78 w 80"/>
              <a:gd name="T103" fmla="*/ 28 h 44"/>
              <a:gd name="T104" fmla="*/ 78 w 80"/>
              <a:gd name="T10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44">
                <a:moveTo>
                  <a:pt x="78" y="20"/>
                </a:moveTo>
                <a:lnTo>
                  <a:pt x="78" y="20"/>
                </a:lnTo>
                <a:lnTo>
                  <a:pt x="72" y="18"/>
                </a:lnTo>
                <a:lnTo>
                  <a:pt x="72" y="18"/>
                </a:lnTo>
                <a:lnTo>
                  <a:pt x="72" y="14"/>
                </a:lnTo>
                <a:lnTo>
                  <a:pt x="64" y="10"/>
                </a:lnTo>
                <a:lnTo>
                  <a:pt x="64" y="10"/>
                </a:lnTo>
                <a:lnTo>
                  <a:pt x="66" y="4"/>
                </a:lnTo>
                <a:lnTo>
                  <a:pt x="66" y="4"/>
                </a:lnTo>
                <a:lnTo>
                  <a:pt x="64" y="6"/>
                </a:lnTo>
                <a:lnTo>
                  <a:pt x="64" y="6"/>
                </a:lnTo>
                <a:lnTo>
                  <a:pt x="64" y="6"/>
                </a:lnTo>
                <a:lnTo>
                  <a:pt x="64" y="2"/>
                </a:lnTo>
                <a:lnTo>
                  <a:pt x="64" y="2"/>
                </a:lnTo>
                <a:lnTo>
                  <a:pt x="56" y="0"/>
                </a:lnTo>
                <a:lnTo>
                  <a:pt x="48" y="0"/>
                </a:lnTo>
                <a:lnTo>
                  <a:pt x="48" y="0"/>
                </a:lnTo>
                <a:lnTo>
                  <a:pt x="46" y="4"/>
                </a:lnTo>
                <a:lnTo>
                  <a:pt x="46" y="4"/>
                </a:lnTo>
                <a:lnTo>
                  <a:pt x="40" y="6"/>
                </a:lnTo>
                <a:lnTo>
                  <a:pt x="34" y="8"/>
                </a:lnTo>
                <a:lnTo>
                  <a:pt x="34" y="8"/>
                </a:lnTo>
                <a:lnTo>
                  <a:pt x="30" y="10"/>
                </a:lnTo>
                <a:lnTo>
                  <a:pt x="26" y="12"/>
                </a:lnTo>
                <a:lnTo>
                  <a:pt x="26" y="12"/>
                </a:lnTo>
                <a:lnTo>
                  <a:pt x="24" y="12"/>
                </a:lnTo>
                <a:lnTo>
                  <a:pt x="22" y="10"/>
                </a:lnTo>
                <a:lnTo>
                  <a:pt x="18" y="8"/>
                </a:lnTo>
                <a:lnTo>
                  <a:pt x="12" y="10"/>
                </a:lnTo>
                <a:lnTo>
                  <a:pt x="12" y="10"/>
                </a:lnTo>
                <a:lnTo>
                  <a:pt x="10" y="6"/>
                </a:lnTo>
                <a:lnTo>
                  <a:pt x="10" y="6"/>
                </a:lnTo>
                <a:lnTo>
                  <a:pt x="10" y="4"/>
                </a:lnTo>
                <a:lnTo>
                  <a:pt x="10" y="0"/>
                </a:lnTo>
                <a:lnTo>
                  <a:pt x="4" y="0"/>
                </a:lnTo>
                <a:lnTo>
                  <a:pt x="2" y="0"/>
                </a:lnTo>
                <a:lnTo>
                  <a:pt x="2" y="0"/>
                </a:lnTo>
                <a:lnTo>
                  <a:pt x="2" y="2"/>
                </a:lnTo>
                <a:lnTo>
                  <a:pt x="2" y="6"/>
                </a:lnTo>
                <a:lnTo>
                  <a:pt x="2" y="6"/>
                </a:lnTo>
                <a:lnTo>
                  <a:pt x="0" y="10"/>
                </a:lnTo>
                <a:lnTo>
                  <a:pt x="2" y="12"/>
                </a:lnTo>
                <a:lnTo>
                  <a:pt x="4" y="14"/>
                </a:lnTo>
                <a:lnTo>
                  <a:pt x="4" y="16"/>
                </a:lnTo>
                <a:lnTo>
                  <a:pt x="4" y="16"/>
                </a:lnTo>
                <a:lnTo>
                  <a:pt x="2" y="22"/>
                </a:lnTo>
                <a:lnTo>
                  <a:pt x="2" y="22"/>
                </a:lnTo>
                <a:lnTo>
                  <a:pt x="6" y="20"/>
                </a:lnTo>
                <a:lnTo>
                  <a:pt x="6" y="20"/>
                </a:lnTo>
                <a:lnTo>
                  <a:pt x="6" y="20"/>
                </a:lnTo>
                <a:lnTo>
                  <a:pt x="10" y="20"/>
                </a:lnTo>
                <a:lnTo>
                  <a:pt x="10" y="20"/>
                </a:lnTo>
                <a:lnTo>
                  <a:pt x="10" y="22"/>
                </a:lnTo>
                <a:lnTo>
                  <a:pt x="10" y="22"/>
                </a:lnTo>
                <a:lnTo>
                  <a:pt x="16" y="22"/>
                </a:lnTo>
                <a:lnTo>
                  <a:pt x="18" y="22"/>
                </a:lnTo>
                <a:lnTo>
                  <a:pt x="18" y="22"/>
                </a:lnTo>
                <a:lnTo>
                  <a:pt x="22" y="30"/>
                </a:lnTo>
                <a:lnTo>
                  <a:pt x="22" y="30"/>
                </a:lnTo>
                <a:lnTo>
                  <a:pt x="28" y="30"/>
                </a:lnTo>
                <a:lnTo>
                  <a:pt x="32" y="38"/>
                </a:lnTo>
                <a:lnTo>
                  <a:pt x="32" y="38"/>
                </a:lnTo>
                <a:lnTo>
                  <a:pt x="36" y="36"/>
                </a:lnTo>
                <a:lnTo>
                  <a:pt x="36" y="36"/>
                </a:lnTo>
                <a:lnTo>
                  <a:pt x="38" y="32"/>
                </a:lnTo>
                <a:lnTo>
                  <a:pt x="38" y="32"/>
                </a:lnTo>
                <a:lnTo>
                  <a:pt x="42" y="32"/>
                </a:lnTo>
                <a:lnTo>
                  <a:pt x="42" y="32"/>
                </a:lnTo>
                <a:lnTo>
                  <a:pt x="42" y="28"/>
                </a:lnTo>
                <a:lnTo>
                  <a:pt x="42" y="28"/>
                </a:lnTo>
                <a:lnTo>
                  <a:pt x="38" y="24"/>
                </a:lnTo>
                <a:lnTo>
                  <a:pt x="38" y="24"/>
                </a:lnTo>
                <a:lnTo>
                  <a:pt x="36" y="24"/>
                </a:lnTo>
                <a:lnTo>
                  <a:pt x="36" y="24"/>
                </a:lnTo>
                <a:lnTo>
                  <a:pt x="34" y="22"/>
                </a:lnTo>
                <a:lnTo>
                  <a:pt x="34" y="22"/>
                </a:lnTo>
                <a:lnTo>
                  <a:pt x="42" y="20"/>
                </a:lnTo>
                <a:lnTo>
                  <a:pt x="42" y="20"/>
                </a:lnTo>
                <a:lnTo>
                  <a:pt x="46" y="16"/>
                </a:lnTo>
                <a:lnTo>
                  <a:pt x="50" y="10"/>
                </a:lnTo>
                <a:lnTo>
                  <a:pt x="50" y="10"/>
                </a:lnTo>
                <a:lnTo>
                  <a:pt x="54" y="12"/>
                </a:lnTo>
                <a:lnTo>
                  <a:pt x="54" y="12"/>
                </a:lnTo>
                <a:lnTo>
                  <a:pt x="58" y="18"/>
                </a:lnTo>
                <a:lnTo>
                  <a:pt x="60" y="24"/>
                </a:lnTo>
                <a:lnTo>
                  <a:pt x="60" y="24"/>
                </a:lnTo>
                <a:lnTo>
                  <a:pt x="68" y="22"/>
                </a:lnTo>
                <a:lnTo>
                  <a:pt x="68" y="22"/>
                </a:lnTo>
                <a:lnTo>
                  <a:pt x="68" y="26"/>
                </a:lnTo>
                <a:lnTo>
                  <a:pt x="68" y="26"/>
                </a:lnTo>
                <a:lnTo>
                  <a:pt x="66" y="28"/>
                </a:lnTo>
                <a:lnTo>
                  <a:pt x="64" y="30"/>
                </a:lnTo>
                <a:lnTo>
                  <a:pt x="64" y="30"/>
                </a:lnTo>
                <a:lnTo>
                  <a:pt x="62" y="36"/>
                </a:lnTo>
                <a:lnTo>
                  <a:pt x="64" y="40"/>
                </a:lnTo>
                <a:lnTo>
                  <a:pt x="68" y="42"/>
                </a:lnTo>
                <a:lnTo>
                  <a:pt x="74" y="44"/>
                </a:lnTo>
                <a:lnTo>
                  <a:pt x="74" y="44"/>
                </a:lnTo>
                <a:lnTo>
                  <a:pt x="76" y="40"/>
                </a:lnTo>
                <a:lnTo>
                  <a:pt x="76" y="40"/>
                </a:lnTo>
                <a:lnTo>
                  <a:pt x="78" y="38"/>
                </a:lnTo>
                <a:lnTo>
                  <a:pt x="80" y="32"/>
                </a:lnTo>
                <a:lnTo>
                  <a:pt x="80" y="32"/>
                </a:lnTo>
                <a:lnTo>
                  <a:pt x="78" y="28"/>
                </a:lnTo>
                <a:lnTo>
                  <a:pt x="76" y="26"/>
                </a:lnTo>
                <a:lnTo>
                  <a:pt x="78" y="20"/>
                </a:lnTo>
                <a:close/>
              </a:path>
            </a:pathLst>
          </a:custGeom>
          <a:solidFill>
            <a:srgbClr val="00095B"/>
          </a:solidFill>
          <a:ln w="3175">
            <a:solidFill>
              <a:schemeClr val="accent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1" name="Freeform 115">
            <a:extLst>
              <a:ext uri="{FF2B5EF4-FFF2-40B4-BE49-F238E27FC236}">
                <a16:creationId xmlns:a16="http://schemas.microsoft.com/office/drawing/2014/main" id="{38DEA512-80BD-4D91-9E6D-E64D78F3C697}"/>
              </a:ext>
            </a:extLst>
          </p:cNvPr>
          <p:cNvSpPr>
            <a:spLocks/>
          </p:cNvSpPr>
          <p:nvPr userDrawn="1"/>
        </p:nvSpPr>
        <p:spPr bwMode="auto">
          <a:xfrm>
            <a:off x="7229308" y="2609872"/>
            <a:ext cx="345470" cy="394677"/>
          </a:xfrm>
          <a:custGeom>
            <a:avLst/>
            <a:gdLst>
              <a:gd name="T0" fmla="*/ 198 w 206"/>
              <a:gd name="T1" fmla="*/ 32 h 230"/>
              <a:gd name="T2" fmla="*/ 178 w 206"/>
              <a:gd name="T3" fmla="*/ 42 h 230"/>
              <a:gd name="T4" fmla="*/ 168 w 206"/>
              <a:gd name="T5" fmla="*/ 52 h 230"/>
              <a:gd name="T6" fmla="*/ 152 w 206"/>
              <a:gd name="T7" fmla="*/ 54 h 230"/>
              <a:gd name="T8" fmla="*/ 160 w 206"/>
              <a:gd name="T9" fmla="*/ 78 h 230"/>
              <a:gd name="T10" fmla="*/ 172 w 206"/>
              <a:gd name="T11" fmla="*/ 90 h 230"/>
              <a:gd name="T12" fmla="*/ 164 w 206"/>
              <a:gd name="T13" fmla="*/ 110 h 230"/>
              <a:gd name="T14" fmla="*/ 156 w 206"/>
              <a:gd name="T15" fmla="*/ 132 h 230"/>
              <a:gd name="T16" fmla="*/ 140 w 206"/>
              <a:gd name="T17" fmla="*/ 146 h 230"/>
              <a:gd name="T18" fmla="*/ 122 w 206"/>
              <a:gd name="T19" fmla="*/ 164 h 230"/>
              <a:gd name="T20" fmla="*/ 112 w 206"/>
              <a:gd name="T21" fmla="*/ 172 h 230"/>
              <a:gd name="T22" fmla="*/ 114 w 206"/>
              <a:gd name="T23" fmla="*/ 186 h 230"/>
              <a:gd name="T24" fmla="*/ 118 w 206"/>
              <a:gd name="T25" fmla="*/ 200 h 230"/>
              <a:gd name="T26" fmla="*/ 116 w 206"/>
              <a:gd name="T27" fmla="*/ 220 h 230"/>
              <a:gd name="T28" fmla="*/ 98 w 206"/>
              <a:gd name="T29" fmla="*/ 224 h 230"/>
              <a:gd name="T30" fmla="*/ 90 w 206"/>
              <a:gd name="T31" fmla="*/ 226 h 230"/>
              <a:gd name="T32" fmla="*/ 88 w 206"/>
              <a:gd name="T33" fmla="*/ 226 h 230"/>
              <a:gd name="T34" fmla="*/ 82 w 206"/>
              <a:gd name="T35" fmla="*/ 222 h 230"/>
              <a:gd name="T36" fmla="*/ 80 w 206"/>
              <a:gd name="T37" fmla="*/ 216 h 230"/>
              <a:gd name="T38" fmla="*/ 70 w 206"/>
              <a:gd name="T39" fmla="*/ 212 h 230"/>
              <a:gd name="T40" fmla="*/ 68 w 206"/>
              <a:gd name="T41" fmla="*/ 204 h 230"/>
              <a:gd name="T42" fmla="*/ 68 w 206"/>
              <a:gd name="T43" fmla="*/ 198 h 230"/>
              <a:gd name="T44" fmla="*/ 56 w 206"/>
              <a:gd name="T45" fmla="*/ 200 h 230"/>
              <a:gd name="T46" fmla="*/ 44 w 206"/>
              <a:gd name="T47" fmla="*/ 204 h 230"/>
              <a:gd name="T48" fmla="*/ 28 w 206"/>
              <a:gd name="T49" fmla="*/ 204 h 230"/>
              <a:gd name="T50" fmla="*/ 20 w 206"/>
              <a:gd name="T51" fmla="*/ 206 h 230"/>
              <a:gd name="T52" fmla="*/ 12 w 206"/>
              <a:gd name="T53" fmla="*/ 206 h 230"/>
              <a:gd name="T54" fmla="*/ 6 w 206"/>
              <a:gd name="T55" fmla="*/ 206 h 230"/>
              <a:gd name="T56" fmla="*/ 0 w 206"/>
              <a:gd name="T57" fmla="*/ 208 h 230"/>
              <a:gd name="T58" fmla="*/ 18 w 206"/>
              <a:gd name="T59" fmla="*/ 178 h 230"/>
              <a:gd name="T60" fmla="*/ 32 w 206"/>
              <a:gd name="T61" fmla="*/ 166 h 230"/>
              <a:gd name="T62" fmla="*/ 22 w 206"/>
              <a:gd name="T63" fmla="*/ 150 h 230"/>
              <a:gd name="T64" fmla="*/ 8 w 206"/>
              <a:gd name="T65" fmla="*/ 134 h 230"/>
              <a:gd name="T66" fmla="*/ 18 w 206"/>
              <a:gd name="T67" fmla="*/ 124 h 230"/>
              <a:gd name="T68" fmla="*/ 40 w 206"/>
              <a:gd name="T69" fmla="*/ 122 h 230"/>
              <a:gd name="T70" fmla="*/ 56 w 206"/>
              <a:gd name="T71" fmla="*/ 118 h 230"/>
              <a:gd name="T72" fmla="*/ 66 w 206"/>
              <a:gd name="T73" fmla="*/ 102 h 230"/>
              <a:gd name="T74" fmla="*/ 82 w 206"/>
              <a:gd name="T75" fmla="*/ 90 h 230"/>
              <a:gd name="T76" fmla="*/ 86 w 206"/>
              <a:gd name="T77" fmla="*/ 76 h 230"/>
              <a:gd name="T78" fmla="*/ 98 w 206"/>
              <a:gd name="T79" fmla="*/ 78 h 230"/>
              <a:gd name="T80" fmla="*/ 104 w 206"/>
              <a:gd name="T81" fmla="*/ 64 h 230"/>
              <a:gd name="T82" fmla="*/ 106 w 206"/>
              <a:gd name="T83" fmla="*/ 48 h 230"/>
              <a:gd name="T84" fmla="*/ 120 w 206"/>
              <a:gd name="T85" fmla="*/ 42 h 230"/>
              <a:gd name="T86" fmla="*/ 124 w 206"/>
              <a:gd name="T87" fmla="*/ 26 h 230"/>
              <a:gd name="T88" fmla="*/ 148 w 206"/>
              <a:gd name="T89" fmla="*/ 6 h 230"/>
              <a:gd name="T90" fmla="*/ 170 w 206"/>
              <a:gd name="T91" fmla="*/ 4 h 230"/>
              <a:gd name="T92" fmla="*/ 196 w 206"/>
              <a:gd name="T93" fmla="*/ 1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30">
                <a:moveTo>
                  <a:pt x="206" y="20"/>
                </a:moveTo>
                <a:lnTo>
                  <a:pt x="202" y="26"/>
                </a:lnTo>
                <a:lnTo>
                  <a:pt x="198" y="32"/>
                </a:lnTo>
                <a:lnTo>
                  <a:pt x="194" y="34"/>
                </a:lnTo>
                <a:lnTo>
                  <a:pt x="188" y="40"/>
                </a:lnTo>
                <a:lnTo>
                  <a:pt x="178" y="42"/>
                </a:lnTo>
                <a:lnTo>
                  <a:pt x="172" y="46"/>
                </a:lnTo>
                <a:lnTo>
                  <a:pt x="172" y="48"/>
                </a:lnTo>
                <a:lnTo>
                  <a:pt x="168" y="52"/>
                </a:lnTo>
                <a:lnTo>
                  <a:pt x="164" y="48"/>
                </a:lnTo>
                <a:lnTo>
                  <a:pt x="158" y="52"/>
                </a:lnTo>
                <a:lnTo>
                  <a:pt x="152" y="54"/>
                </a:lnTo>
                <a:lnTo>
                  <a:pt x="152" y="58"/>
                </a:lnTo>
                <a:lnTo>
                  <a:pt x="158" y="64"/>
                </a:lnTo>
                <a:lnTo>
                  <a:pt x="160" y="78"/>
                </a:lnTo>
                <a:lnTo>
                  <a:pt x="162" y="80"/>
                </a:lnTo>
                <a:lnTo>
                  <a:pt x="166" y="84"/>
                </a:lnTo>
                <a:lnTo>
                  <a:pt x="172" y="90"/>
                </a:lnTo>
                <a:lnTo>
                  <a:pt x="172" y="98"/>
                </a:lnTo>
                <a:lnTo>
                  <a:pt x="168" y="104"/>
                </a:lnTo>
                <a:lnTo>
                  <a:pt x="164" y="110"/>
                </a:lnTo>
                <a:lnTo>
                  <a:pt x="164" y="120"/>
                </a:lnTo>
                <a:lnTo>
                  <a:pt x="162" y="128"/>
                </a:lnTo>
                <a:lnTo>
                  <a:pt x="156" y="132"/>
                </a:lnTo>
                <a:lnTo>
                  <a:pt x="152" y="136"/>
                </a:lnTo>
                <a:lnTo>
                  <a:pt x="148" y="142"/>
                </a:lnTo>
                <a:lnTo>
                  <a:pt x="140" y="146"/>
                </a:lnTo>
                <a:lnTo>
                  <a:pt x="134" y="156"/>
                </a:lnTo>
                <a:lnTo>
                  <a:pt x="128" y="162"/>
                </a:lnTo>
                <a:lnTo>
                  <a:pt x="122" y="164"/>
                </a:lnTo>
                <a:lnTo>
                  <a:pt x="120" y="160"/>
                </a:lnTo>
                <a:lnTo>
                  <a:pt x="116" y="168"/>
                </a:lnTo>
                <a:lnTo>
                  <a:pt x="112" y="172"/>
                </a:lnTo>
                <a:lnTo>
                  <a:pt x="108" y="180"/>
                </a:lnTo>
                <a:lnTo>
                  <a:pt x="112" y="184"/>
                </a:lnTo>
                <a:lnTo>
                  <a:pt x="114" y="186"/>
                </a:lnTo>
                <a:lnTo>
                  <a:pt x="112" y="192"/>
                </a:lnTo>
                <a:lnTo>
                  <a:pt x="112" y="198"/>
                </a:lnTo>
                <a:lnTo>
                  <a:pt x="118" y="200"/>
                </a:lnTo>
                <a:lnTo>
                  <a:pt x="120" y="206"/>
                </a:lnTo>
                <a:lnTo>
                  <a:pt x="120" y="222"/>
                </a:lnTo>
                <a:lnTo>
                  <a:pt x="116" y="220"/>
                </a:lnTo>
                <a:lnTo>
                  <a:pt x="108" y="220"/>
                </a:lnTo>
                <a:lnTo>
                  <a:pt x="104" y="220"/>
                </a:lnTo>
                <a:lnTo>
                  <a:pt x="98" y="224"/>
                </a:lnTo>
                <a:lnTo>
                  <a:pt x="96" y="230"/>
                </a:lnTo>
                <a:lnTo>
                  <a:pt x="90" y="230"/>
                </a:lnTo>
                <a:lnTo>
                  <a:pt x="90" y="226"/>
                </a:lnTo>
                <a:lnTo>
                  <a:pt x="90" y="226"/>
                </a:lnTo>
                <a:lnTo>
                  <a:pt x="88" y="226"/>
                </a:lnTo>
                <a:lnTo>
                  <a:pt x="88" y="226"/>
                </a:lnTo>
                <a:lnTo>
                  <a:pt x="84" y="226"/>
                </a:lnTo>
                <a:lnTo>
                  <a:pt x="84" y="226"/>
                </a:lnTo>
                <a:lnTo>
                  <a:pt x="82" y="222"/>
                </a:lnTo>
                <a:lnTo>
                  <a:pt x="82" y="222"/>
                </a:lnTo>
                <a:lnTo>
                  <a:pt x="80" y="216"/>
                </a:lnTo>
                <a:lnTo>
                  <a:pt x="80" y="216"/>
                </a:lnTo>
                <a:lnTo>
                  <a:pt x="76" y="214"/>
                </a:lnTo>
                <a:lnTo>
                  <a:pt x="70" y="212"/>
                </a:lnTo>
                <a:lnTo>
                  <a:pt x="70" y="212"/>
                </a:lnTo>
                <a:lnTo>
                  <a:pt x="70" y="208"/>
                </a:lnTo>
                <a:lnTo>
                  <a:pt x="70" y="204"/>
                </a:lnTo>
                <a:lnTo>
                  <a:pt x="68" y="204"/>
                </a:lnTo>
                <a:lnTo>
                  <a:pt x="68" y="204"/>
                </a:lnTo>
                <a:lnTo>
                  <a:pt x="68" y="198"/>
                </a:lnTo>
                <a:lnTo>
                  <a:pt x="68" y="198"/>
                </a:lnTo>
                <a:lnTo>
                  <a:pt x="58" y="200"/>
                </a:lnTo>
                <a:lnTo>
                  <a:pt x="58" y="200"/>
                </a:lnTo>
                <a:lnTo>
                  <a:pt x="56" y="200"/>
                </a:lnTo>
                <a:lnTo>
                  <a:pt x="52" y="200"/>
                </a:lnTo>
                <a:lnTo>
                  <a:pt x="52" y="200"/>
                </a:lnTo>
                <a:lnTo>
                  <a:pt x="44" y="204"/>
                </a:lnTo>
                <a:lnTo>
                  <a:pt x="44" y="204"/>
                </a:lnTo>
                <a:lnTo>
                  <a:pt x="36" y="204"/>
                </a:lnTo>
                <a:lnTo>
                  <a:pt x="28" y="204"/>
                </a:lnTo>
                <a:lnTo>
                  <a:pt x="26" y="206"/>
                </a:lnTo>
                <a:lnTo>
                  <a:pt x="26" y="206"/>
                </a:lnTo>
                <a:lnTo>
                  <a:pt x="20" y="206"/>
                </a:lnTo>
                <a:lnTo>
                  <a:pt x="14" y="204"/>
                </a:lnTo>
                <a:lnTo>
                  <a:pt x="12" y="206"/>
                </a:lnTo>
                <a:lnTo>
                  <a:pt x="12" y="206"/>
                </a:lnTo>
                <a:lnTo>
                  <a:pt x="10" y="206"/>
                </a:lnTo>
                <a:lnTo>
                  <a:pt x="6" y="206"/>
                </a:lnTo>
                <a:lnTo>
                  <a:pt x="6" y="206"/>
                </a:lnTo>
                <a:lnTo>
                  <a:pt x="6" y="208"/>
                </a:lnTo>
                <a:lnTo>
                  <a:pt x="6" y="208"/>
                </a:lnTo>
                <a:lnTo>
                  <a:pt x="0" y="208"/>
                </a:lnTo>
                <a:lnTo>
                  <a:pt x="2" y="192"/>
                </a:lnTo>
                <a:lnTo>
                  <a:pt x="10" y="180"/>
                </a:lnTo>
                <a:lnTo>
                  <a:pt x="18" y="178"/>
                </a:lnTo>
                <a:lnTo>
                  <a:pt x="26" y="176"/>
                </a:lnTo>
                <a:lnTo>
                  <a:pt x="32" y="172"/>
                </a:lnTo>
                <a:lnTo>
                  <a:pt x="32" y="166"/>
                </a:lnTo>
                <a:lnTo>
                  <a:pt x="26" y="164"/>
                </a:lnTo>
                <a:lnTo>
                  <a:pt x="26" y="156"/>
                </a:lnTo>
                <a:lnTo>
                  <a:pt x="22" y="150"/>
                </a:lnTo>
                <a:lnTo>
                  <a:pt x="16" y="148"/>
                </a:lnTo>
                <a:lnTo>
                  <a:pt x="10" y="138"/>
                </a:lnTo>
                <a:lnTo>
                  <a:pt x="8" y="134"/>
                </a:lnTo>
                <a:lnTo>
                  <a:pt x="10" y="130"/>
                </a:lnTo>
                <a:lnTo>
                  <a:pt x="4" y="116"/>
                </a:lnTo>
                <a:lnTo>
                  <a:pt x="18" y="124"/>
                </a:lnTo>
                <a:lnTo>
                  <a:pt x="22" y="122"/>
                </a:lnTo>
                <a:lnTo>
                  <a:pt x="28" y="122"/>
                </a:lnTo>
                <a:lnTo>
                  <a:pt x="40" y="122"/>
                </a:lnTo>
                <a:lnTo>
                  <a:pt x="46" y="124"/>
                </a:lnTo>
                <a:lnTo>
                  <a:pt x="48" y="120"/>
                </a:lnTo>
                <a:lnTo>
                  <a:pt x="56" y="118"/>
                </a:lnTo>
                <a:lnTo>
                  <a:pt x="58" y="112"/>
                </a:lnTo>
                <a:lnTo>
                  <a:pt x="58" y="106"/>
                </a:lnTo>
                <a:lnTo>
                  <a:pt x="66" y="102"/>
                </a:lnTo>
                <a:lnTo>
                  <a:pt x="74" y="90"/>
                </a:lnTo>
                <a:lnTo>
                  <a:pt x="78" y="92"/>
                </a:lnTo>
                <a:lnTo>
                  <a:pt x="82" y="90"/>
                </a:lnTo>
                <a:lnTo>
                  <a:pt x="84" y="86"/>
                </a:lnTo>
                <a:lnTo>
                  <a:pt x="80" y="80"/>
                </a:lnTo>
                <a:lnTo>
                  <a:pt x="86" y="76"/>
                </a:lnTo>
                <a:lnTo>
                  <a:pt x="90" y="72"/>
                </a:lnTo>
                <a:lnTo>
                  <a:pt x="92" y="76"/>
                </a:lnTo>
                <a:lnTo>
                  <a:pt x="98" y="78"/>
                </a:lnTo>
                <a:lnTo>
                  <a:pt x="102" y="76"/>
                </a:lnTo>
                <a:lnTo>
                  <a:pt x="104" y="70"/>
                </a:lnTo>
                <a:lnTo>
                  <a:pt x="104" y="64"/>
                </a:lnTo>
                <a:lnTo>
                  <a:pt x="110" y="60"/>
                </a:lnTo>
                <a:lnTo>
                  <a:pt x="110" y="52"/>
                </a:lnTo>
                <a:lnTo>
                  <a:pt x="106" y="48"/>
                </a:lnTo>
                <a:lnTo>
                  <a:pt x="108" y="42"/>
                </a:lnTo>
                <a:lnTo>
                  <a:pt x="114" y="44"/>
                </a:lnTo>
                <a:lnTo>
                  <a:pt x="120" y="42"/>
                </a:lnTo>
                <a:lnTo>
                  <a:pt x="122" y="34"/>
                </a:lnTo>
                <a:lnTo>
                  <a:pt x="120" y="28"/>
                </a:lnTo>
                <a:lnTo>
                  <a:pt x="124" y="26"/>
                </a:lnTo>
                <a:lnTo>
                  <a:pt x="124" y="18"/>
                </a:lnTo>
                <a:lnTo>
                  <a:pt x="138" y="8"/>
                </a:lnTo>
                <a:lnTo>
                  <a:pt x="148" y="6"/>
                </a:lnTo>
                <a:lnTo>
                  <a:pt x="156" y="4"/>
                </a:lnTo>
                <a:lnTo>
                  <a:pt x="164" y="4"/>
                </a:lnTo>
                <a:lnTo>
                  <a:pt x="170" y="4"/>
                </a:lnTo>
                <a:lnTo>
                  <a:pt x="172" y="0"/>
                </a:lnTo>
                <a:lnTo>
                  <a:pt x="182" y="0"/>
                </a:lnTo>
                <a:lnTo>
                  <a:pt x="196" y="10"/>
                </a:lnTo>
                <a:lnTo>
                  <a:pt x="200" y="14"/>
                </a:lnTo>
                <a:lnTo>
                  <a:pt x="206" y="2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2" name="Freeform 116">
            <a:extLst>
              <a:ext uri="{FF2B5EF4-FFF2-40B4-BE49-F238E27FC236}">
                <a16:creationId xmlns:a16="http://schemas.microsoft.com/office/drawing/2014/main" id="{535CD36B-E5BA-42DD-A437-4AD9100CFDA7}"/>
              </a:ext>
            </a:extLst>
          </p:cNvPr>
          <p:cNvSpPr>
            <a:spLocks noEditPoints="1"/>
          </p:cNvSpPr>
          <p:nvPr userDrawn="1"/>
        </p:nvSpPr>
        <p:spPr bwMode="auto">
          <a:xfrm>
            <a:off x="7018001" y="2932477"/>
            <a:ext cx="177766" cy="274558"/>
          </a:xfrm>
          <a:custGeom>
            <a:avLst/>
            <a:gdLst>
              <a:gd name="T0" fmla="*/ 56 w 106"/>
              <a:gd name="T1" fmla="*/ 6 h 160"/>
              <a:gd name="T2" fmla="*/ 58 w 106"/>
              <a:gd name="T3" fmla="*/ 12 h 160"/>
              <a:gd name="T4" fmla="*/ 58 w 106"/>
              <a:gd name="T5" fmla="*/ 0 h 160"/>
              <a:gd name="T6" fmla="*/ 54 w 106"/>
              <a:gd name="T7" fmla="*/ 2 h 160"/>
              <a:gd name="T8" fmla="*/ 54 w 106"/>
              <a:gd name="T9" fmla="*/ 6 h 160"/>
              <a:gd name="T10" fmla="*/ 60 w 106"/>
              <a:gd name="T11" fmla="*/ 18 h 160"/>
              <a:gd name="T12" fmla="*/ 62 w 106"/>
              <a:gd name="T13" fmla="*/ 24 h 160"/>
              <a:gd name="T14" fmla="*/ 68 w 106"/>
              <a:gd name="T15" fmla="*/ 28 h 160"/>
              <a:gd name="T16" fmla="*/ 72 w 106"/>
              <a:gd name="T17" fmla="*/ 34 h 160"/>
              <a:gd name="T18" fmla="*/ 76 w 106"/>
              <a:gd name="T19" fmla="*/ 38 h 160"/>
              <a:gd name="T20" fmla="*/ 88 w 106"/>
              <a:gd name="T21" fmla="*/ 42 h 160"/>
              <a:gd name="T22" fmla="*/ 90 w 106"/>
              <a:gd name="T23" fmla="*/ 44 h 160"/>
              <a:gd name="T24" fmla="*/ 94 w 106"/>
              <a:gd name="T25" fmla="*/ 48 h 160"/>
              <a:gd name="T26" fmla="*/ 96 w 106"/>
              <a:gd name="T27" fmla="*/ 48 h 160"/>
              <a:gd name="T28" fmla="*/ 100 w 106"/>
              <a:gd name="T29" fmla="*/ 54 h 160"/>
              <a:gd name="T30" fmla="*/ 100 w 106"/>
              <a:gd name="T31" fmla="*/ 58 h 160"/>
              <a:gd name="T32" fmla="*/ 104 w 106"/>
              <a:gd name="T33" fmla="*/ 60 h 160"/>
              <a:gd name="T34" fmla="*/ 106 w 106"/>
              <a:gd name="T35" fmla="*/ 62 h 160"/>
              <a:gd name="T36" fmla="*/ 106 w 106"/>
              <a:gd name="T37" fmla="*/ 66 h 160"/>
              <a:gd name="T38" fmla="*/ 102 w 106"/>
              <a:gd name="T39" fmla="*/ 72 h 160"/>
              <a:gd name="T40" fmla="*/ 102 w 106"/>
              <a:gd name="T41" fmla="*/ 76 h 160"/>
              <a:gd name="T42" fmla="*/ 100 w 106"/>
              <a:gd name="T43" fmla="*/ 80 h 160"/>
              <a:gd name="T44" fmla="*/ 100 w 106"/>
              <a:gd name="T45" fmla="*/ 82 h 160"/>
              <a:gd name="T46" fmla="*/ 96 w 106"/>
              <a:gd name="T47" fmla="*/ 86 h 160"/>
              <a:gd name="T48" fmla="*/ 94 w 106"/>
              <a:gd name="T49" fmla="*/ 94 h 160"/>
              <a:gd name="T50" fmla="*/ 90 w 106"/>
              <a:gd name="T51" fmla="*/ 96 h 160"/>
              <a:gd name="T52" fmla="*/ 90 w 106"/>
              <a:gd name="T53" fmla="*/ 104 h 160"/>
              <a:gd name="T54" fmla="*/ 86 w 106"/>
              <a:gd name="T55" fmla="*/ 102 h 160"/>
              <a:gd name="T56" fmla="*/ 82 w 106"/>
              <a:gd name="T57" fmla="*/ 112 h 160"/>
              <a:gd name="T58" fmla="*/ 82 w 106"/>
              <a:gd name="T59" fmla="*/ 124 h 160"/>
              <a:gd name="T60" fmla="*/ 68 w 106"/>
              <a:gd name="T61" fmla="*/ 128 h 160"/>
              <a:gd name="T62" fmla="*/ 68 w 106"/>
              <a:gd name="T63" fmla="*/ 130 h 160"/>
              <a:gd name="T64" fmla="*/ 68 w 106"/>
              <a:gd name="T65" fmla="*/ 130 h 160"/>
              <a:gd name="T66" fmla="*/ 64 w 106"/>
              <a:gd name="T67" fmla="*/ 136 h 160"/>
              <a:gd name="T68" fmla="*/ 64 w 106"/>
              <a:gd name="T69" fmla="*/ 140 h 160"/>
              <a:gd name="T70" fmla="*/ 48 w 106"/>
              <a:gd name="T71" fmla="*/ 142 h 160"/>
              <a:gd name="T72" fmla="*/ 46 w 106"/>
              <a:gd name="T73" fmla="*/ 148 h 160"/>
              <a:gd name="T74" fmla="*/ 44 w 106"/>
              <a:gd name="T75" fmla="*/ 154 h 160"/>
              <a:gd name="T76" fmla="*/ 34 w 106"/>
              <a:gd name="T77" fmla="*/ 156 h 160"/>
              <a:gd name="T78" fmla="*/ 28 w 106"/>
              <a:gd name="T79" fmla="*/ 158 h 160"/>
              <a:gd name="T80" fmla="*/ 28 w 106"/>
              <a:gd name="T81" fmla="*/ 160 h 160"/>
              <a:gd name="T82" fmla="*/ 16 w 106"/>
              <a:gd name="T83" fmla="*/ 156 h 160"/>
              <a:gd name="T84" fmla="*/ 0 w 106"/>
              <a:gd name="T85" fmla="*/ 124 h 160"/>
              <a:gd name="T86" fmla="*/ 44 w 106"/>
              <a:gd name="T87" fmla="*/ 104 h 160"/>
              <a:gd name="T88" fmla="*/ 48 w 106"/>
              <a:gd name="T89" fmla="*/ 98 h 160"/>
              <a:gd name="T90" fmla="*/ 54 w 106"/>
              <a:gd name="T91" fmla="*/ 64 h 160"/>
              <a:gd name="T92" fmla="*/ 44 w 106"/>
              <a:gd name="T93" fmla="*/ 54 h 160"/>
              <a:gd name="T94" fmla="*/ 48 w 106"/>
              <a:gd name="T95" fmla="*/ 44 h 160"/>
              <a:gd name="T96" fmla="*/ 50 w 106"/>
              <a:gd name="T97" fmla="*/ 40 h 160"/>
              <a:gd name="T98" fmla="*/ 50 w 106"/>
              <a:gd name="T99" fmla="*/ 32 h 160"/>
              <a:gd name="T100" fmla="*/ 48 w 106"/>
              <a:gd name="T101" fmla="*/ 32 h 160"/>
              <a:gd name="T102" fmla="*/ 50 w 106"/>
              <a:gd name="T103" fmla="*/ 28 h 160"/>
              <a:gd name="T104" fmla="*/ 54 w 106"/>
              <a:gd name="T105" fmla="*/ 26 h 160"/>
              <a:gd name="T106" fmla="*/ 52 w 106"/>
              <a:gd name="T107" fmla="*/ 24 h 160"/>
              <a:gd name="T108" fmla="*/ 50 w 106"/>
              <a:gd name="T109" fmla="*/ 22 h 160"/>
              <a:gd name="T110" fmla="*/ 52 w 106"/>
              <a:gd name="T111" fmla="*/ 18 h 160"/>
              <a:gd name="T112" fmla="*/ 54 w 106"/>
              <a:gd name="T113" fmla="*/ 22 h 160"/>
              <a:gd name="T114" fmla="*/ 56 w 106"/>
              <a:gd name="T115" fmla="*/ 22 h 160"/>
              <a:gd name="T116" fmla="*/ 58 w 106"/>
              <a:gd name="T117" fmla="*/ 20 h 160"/>
              <a:gd name="T118" fmla="*/ 60 w 106"/>
              <a:gd name="T119" fmla="*/ 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 h="160">
                <a:moveTo>
                  <a:pt x="54" y="6"/>
                </a:moveTo>
                <a:lnTo>
                  <a:pt x="56" y="6"/>
                </a:lnTo>
                <a:lnTo>
                  <a:pt x="54" y="12"/>
                </a:lnTo>
                <a:lnTo>
                  <a:pt x="58" y="12"/>
                </a:lnTo>
                <a:lnTo>
                  <a:pt x="58" y="12"/>
                </a:lnTo>
                <a:lnTo>
                  <a:pt x="58" y="0"/>
                </a:lnTo>
                <a:lnTo>
                  <a:pt x="58" y="0"/>
                </a:lnTo>
                <a:lnTo>
                  <a:pt x="54" y="2"/>
                </a:lnTo>
                <a:lnTo>
                  <a:pt x="54" y="2"/>
                </a:lnTo>
                <a:lnTo>
                  <a:pt x="54" y="6"/>
                </a:lnTo>
                <a:lnTo>
                  <a:pt x="54" y="6"/>
                </a:lnTo>
                <a:close/>
                <a:moveTo>
                  <a:pt x="60" y="18"/>
                </a:moveTo>
                <a:lnTo>
                  <a:pt x="60" y="18"/>
                </a:lnTo>
                <a:lnTo>
                  <a:pt x="62" y="24"/>
                </a:lnTo>
                <a:lnTo>
                  <a:pt x="62" y="24"/>
                </a:lnTo>
                <a:lnTo>
                  <a:pt x="68" y="28"/>
                </a:lnTo>
                <a:lnTo>
                  <a:pt x="68" y="28"/>
                </a:lnTo>
                <a:lnTo>
                  <a:pt x="72" y="34"/>
                </a:lnTo>
                <a:lnTo>
                  <a:pt x="76" y="38"/>
                </a:lnTo>
                <a:lnTo>
                  <a:pt x="76" y="38"/>
                </a:lnTo>
                <a:lnTo>
                  <a:pt x="80" y="38"/>
                </a:lnTo>
                <a:lnTo>
                  <a:pt x="88" y="42"/>
                </a:lnTo>
                <a:lnTo>
                  <a:pt x="88" y="42"/>
                </a:lnTo>
                <a:lnTo>
                  <a:pt x="90" y="44"/>
                </a:lnTo>
                <a:lnTo>
                  <a:pt x="94" y="48"/>
                </a:lnTo>
                <a:lnTo>
                  <a:pt x="94" y="48"/>
                </a:lnTo>
                <a:lnTo>
                  <a:pt x="96" y="48"/>
                </a:lnTo>
                <a:lnTo>
                  <a:pt x="96" y="48"/>
                </a:lnTo>
                <a:lnTo>
                  <a:pt x="100" y="54"/>
                </a:lnTo>
                <a:lnTo>
                  <a:pt x="100" y="54"/>
                </a:lnTo>
                <a:lnTo>
                  <a:pt x="100" y="56"/>
                </a:lnTo>
                <a:lnTo>
                  <a:pt x="100" y="58"/>
                </a:lnTo>
                <a:lnTo>
                  <a:pt x="100" y="58"/>
                </a:lnTo>
                <a:lnTo>
                  <a:pt x="104" y="60"/>
                </a:lnTo>
                <a:lnTo>
                  <a:pt x="106" y="62"/>
                </a:lnTo>
                <a:lnTo>
                  <a:pt x="106" y="62"/>
                </a:lnTo>
                <a:lnTo>
                  <a:pt x="106" y="66"/>
                </a:lnTo>
                <a:lnTo>
                  <a:pt x="106" y="66"/>
                </a:lnTo>
                <a:lnTo>
                  <a:pt x="102" y="72"/>
                </a:lnTo>
                <a:lnTo>
                  <a:pt x="102" y="72"/>
                </a:lnTo>
                <a:lnTo>
                  <a:pt x="102" y="76"/>
                </a:lnTo>
                <a:lnTo>
                  <a:pt x="102" y="76"/>
                </a:lnTo>
                <a:lnTo>
                  <a:pt x="100" y="80"/>
                </a:lnTo>
                <a:lnTo>
                  <a:pt x="100" y="80"/>
                </a:lnTo>
                <a:lnTo>
                  <a:pt x="100" y="82"/>
                </a:lnTo>
                <a:lnTo>
                  <a:pt x="100" y="82"/>
                </a:lnTo>
                <a:lnTo>
                  <a:pt x="96" y="86"/>
                </a:lnTo>
                <a:lnTo>
                  <a:pt x="96" y="86"/>
                </a:lnTo>
                <a:lnTo>
                  <a:pt x="94" y="94"/>
                </a:lnTo>
                <a:lnTo>
                  <a:pt x="94" y="94"/>
                </a:lnTo>
                <a:lnTo>
                  <a:pt x="90" y="96"/>
                </a:lnTo>
                <a:lnTo>
                  <a:pt x="90" y="96"/>
                </a:lnTo>
                <a:lnTo>
                  <a:pt x="90" y="100"/>
                </a:lnTo>
                <a:lnTo>
                  <a:pt x="90" y="104"/>
                </a:lnTo>
                <a:lnTo>
                  <a:pt x="90" y="104"/>
                </a:lnTo>
                <a:lnTo>
                  <a:pt x="86" y="102"/>
                </a:lnTo>
                <a:lnTo>
                  <a:pt x="86" y="102"/>
                </a:lnTo>
                <a:lnTo>
                  <a:pt x="82" y="112"/>
                </a:lnTo>
                <a:lnTo>
                  <a:pt x="82" y="124"/>
                </a:lnTo>
                <a:lnTo>
                  <a:pt x="82" y="124"/>
                </a:lnTo>
                <a:lnTo>
                  <a:pt x="76" y="126"/>
                </a:lnTo>
                <a:lnTo>
                  <a:pt x="68" y="128"/>
                </a:lnTo>
                <a:lnTo>
                  <a:pt x="68" y="128"/>
                </a:lnTo>
                <a:lnTo>
                  <a:pt x="68" y="130"/>
                </a:lnTo>
                <a:lnTo>
                  <a:pt x="68" y="130"/>
                </a:lnTo>
                <a:lnTo>
                  <a:pt x="68" y="130"/>
                </a:lnTo>
                <a:lnTo>
                  <a:pt x="64" y="136"/>
                </a:lnTo>
                <a:lnTo>
                  <a:pt x="64" y="136"/>
                </a:lnTo>
                <a:lnTo>
                  <a:pt x="64" y="140"/>
                </a:lnTo>
                <a:lnTo>
                  <a:pt x="64" y="140"/>
                </a:lnTo>
                <a:lnTo>
                  <a:pt x="58" y="142"/>
                </a:lnTo>
                <a:lnTo>
                  <a:pt x="48" y="142"/>
                </a:lnTo>
                <a:lnTo>
                  <a:pt x="48" y="142"/>
                </a:lnTo>
                <a:lnTo>
                  <a:pt x="46" y="148"/>
                </a:lnTo>
                <a:lnTo>
                  <a:pt x="44" y="154"/>
                </a:lnTo>
                <a:lnTo>
                  <a:pt x="44" y="154"/>
                </a:lnTo>
                <a:lnTo>
                  <a:pt x="38" y="154"/>
                </a:lnTo>
                <a:lnTo>
                  <a:pt x="34" y="156"/>
                </a:lnTo>
                <a:lnTo>
                  <a:pt x="34" y="156"/>
                </a:lnTo>
                <a:lnTo>
                  <a:pt x="28" y="158"/>
                </a:lnTo>
                <a:lnTo>
                  <a:pt x="28" y="160"/>
                </a:lnTo>
                <a:lnTo>
                  <a:pt x="28" y="160"/>
                </a:lnTo>
                <a:lnTo>
                  <a:pt x="24" y="160"/>
                </a:lnTo>
                <a:lnTo>
                  <a:pt x="16" y="156"/>
                </a:lnTo>
                <a:lnTo>
                  <a:pt x="0" y="128"/>
                </a:lnTo>
                <a:lnTo>
                  <a:pt x="0" y="124"/>
                </a:lnTo>
                <a:lnTo>
                  <a:pt x="0" y="124"/>
                </a:lnTo>
                <a:lnTo>
                  <a:pt x="44" y="104"/>
                </a:lnTo>
                <a:lnTo>
                  <a:pt x="44" y="104"/>
                </a:lnTo>
                <a:lnTo>
                  <a:pt x="48" y="98"/>
                </a:lnTo>
                <a:lnTo>
                  <a:pt x="50" y="84"/>
                </a:lnTo>
                <a:lnTo>
                  <a:pt x="54" y="64"/>
                </a:lnTo>
                <a:lnTo>
                  <a:pt x="44" y="54"/>
                </a:lnTo>
                <a:lnTo>
                  <a:pt x="44" y="54"/>
                </a:lnTo>
                <a:lnTo>
                  <a:pt x="46" y="50"/>
                </a:lnTo>
                <a:lnTo>
                  <a:pt x="48" y="44"/>
                </a:lnTo>
                <a:lnTo>
                  <a:pt x="48" y="44"/>
                </a:lnTo>
                <a:lnTo>
                  <a:pt x="50" y="40"/>
                </a:lnTo>
                <a:lnTo>
                  <a:pt x="50" y="36"/>
                </a:lnTo>
                <a:lnTo>
                  <a:pt x="50" y="32"/>
                </a:lnTo>
                <a:lnTo>
                  <a:pt x="50" y="32"/>
                </a:lnTo>
                <a:lnTo>
                  <a:pt x="48" y="32"/>
                </a:lnTo>
                <a:lnTo>
                  <a:pt x="48" y="32"/>
                </a:lnTo>
                <a:lnTo>
                  <a:pt x="50" y="28"/>
                </a:lnTo>
                <a:lnTo>
                  <a:pt x="50" y="28"/>
                </a:lnTo>
                <a:lnTo>
                  <a:pt x="54" y="26"/>
                </a:lnTo>
                <a:lnTo>
                  <a:pt x="54" y="26"/>
                </a:lnTo>
                <a:lnTo>
                  <a:pt x="52" y="24"/>
                </a:lnTo>
                <a:lnTo>
                  <a:pt x="50" y="22"/>
                </a:lnTo>
                <a:lnTo>
                  <a:pt x="50" y="22"/>
                </a:lnTo>
                <a:lnTo>
                  <a:pt x="50" y="18"/>
                </a:lnTo>
                <a:lnTo>
                  <a:pt x="52" y="18"/>
                </a:lnTo>
                <a:lnTo>
                  <a:pt x="52" y="18"/>
                </a:lnTo>
                <a:lnTo>
                  <a:pt x="54" y="22"/>
                </a:lnTo>
                <a:lnTo>
                  <a:pt x="56" y="22"/>
                </a:lnTo>
                <a:lnTo>
                  <a:pt x="56" y="22"/>
                </a:lnTo>
                <a:lnTo>
                  <a:pt x="56" y="22"/>
                </a:lnTo>
                <a:lnTo>
                  <a:pt x="58" y="20"/>
                </a:lnTo>
                <a:lnTo>
                  <a:pt x="60" y="18"/>
                </a:lnTo>
                <a:lnTo>
                  <a:pt x="6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3" name="Freeform 117">
            <a:extLst>
              <a:ext uri="{FF2B5EF4-FFF2-40B4-BE49-F238E27FC236}">
                <a16:creationId xmlns:a16="http://schemas.microsoft.com/office/drawing/2014/main" id="{D2C9DBD5-DC9B-4DA6-A4C4-AE1B034D5F7F}"/>
              </a:ext>
            </a:extLst>
          </p:cNvPr>
          <p:cNvSpPr>
            <a:spLocks/>
          </p:cNvSpPr>
          <p:nvPr userDrawn="1"/>
        </p:nvSpPr>
        <p:spPr bwMode="auto">
          <a:xfrm>
            <a:off x="6186192" y="1569984"/>
            <a:ext cx="3354" cy="3432"/>
          </a:xfrm>
          <a:custGeom>
            <a:avLst/>
            <a:gdLst>
              <a:gd name="T0" fmla="*/ 2 w 2"/>
              <a:gd name="T1" fmla="*/ 0 h 2"/>
              <a:gd name="T2" fmla="*/ 2 w 2"/>
              <a:gd name="T3" fmla="*/ 0 h 2"/>
              <a:gd name="T4" fmla="*/ 2 w 2"/>
              <a:gd name="T5" fmla="*/ 2 h 2"/>
              <a:gd name="T6" fmla="*/ 2 w 2"/>
              <a:gd name="T7" fmla="*/ 2 h 2"/>
              <a:gd name="T8" fmla="*/ 0 w 2"/>
              <a:gd name="T9" fmla="*/ 2 h 2"/>
              <a:gd name="T10" fmla="*/ 0 w 2"/>
              <a:gd name="T11" fmla="*/ 2 h 2"/>
              <a:gd name="T12" fmla="*/ 0 w 2"/>
              <a:gd name="T13" fmla="*/ 2 h 2"/>
              <a:gd name="T14" fmla="*/ 2 w 2"/>
              <a:gd name="T15" fmla="*/ 0 h 2"/>
              <a:gd name="T16" fmla="*/ 2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0"/>
                </a:moveTo>
                <a:lnTo>
                  <a:pt x="2" y="0"/>
                </a:lnTo>
                <a:lnTo>
                  <a:pt x="2" y="2"/>
                </a:lnTo>
                <a:lnTo>
                  <a:pt x="2" y="2"/>
                </a:lnTo>
                <a:lnTo>
                  <a:pt x="0" y="2"/>
                </a:lnTo>
                <a:lnTo>
                  <a:pt x="0" y="2"/>
                </a:lnTo>
                <a:lnTo>
                  <a:pt x="0" y="2"/>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4" name="Freeform 118">
            <a:extLst>
              <a:ext uri="{FF2B5EF4-FFF2-40B4-BE49-F238E27FC236}">
                <a16:creationId xmlns:a16="http://schemas.microsoft.com/office/drawing/2014/main" id="{E6BE4971-6DD9-4EAB-A24A-CBFAEFF9137B}"/>
              </a:ext>
            </a:extLst>
          </p:cNvPr>
          <p:cNvSpPr>
            <a:spLocks/>
          </p:cNvSpPr>
          <p:nvPr userDrawn="1"/>
        </p:nvSpPr>
        <p:spPr bwMode="auto">
          <a:xfrm>
            <a:off x="6169422" y="1573416"/>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0" y="2"/>
                </a:lnTo>
                <a:lnTo>
                  <a:pt x="2" y="2"/>
                </a:lnTo>
                <a:lnTo>
                  <a:pt x="2" y="2"/>
                </a:lnTo>
                <a:lnTo>
                  <a:pt x="2" y="0"/>
                </a:lnTo>
                <a:lnTo>
                  <a:pt x="0" y="0"/>
                </a:lnTo>
                <a:lnTo>
                  <a:pt x="0"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5" name="Freeform 119">
            <a:extLst>
              <a:ext uri="{FF2B5EF4-FFF2-40B4-BE49-F238E27FC236}">
                <a16:creationId xmlns:a16="http://schemas.microsoft.com/office/drawing/2014/main" id="{53C3E4A9-83CB-4933-9697-574152516E1F}"/>
              </a:ext>
            </a:extLst>
          </p:cNvPr>
          <p:cNvSpPr>
            <a:spLocks/>
          </p:cNvSpPr>
          <p:nvPr userDrawn="1"/>
        </p:nvSpPr>
        <p:spPr bwMode="auto">
          <a:xfrm>
            <a:off x="6050351" y="1686671"/>
            <a:ext cx="6708" cy="3432"/>
          </a:xfrm>
          <a:custGeom>
            <a:avLst/>
            <a:gdLst>
              <a:gd name="T0" fmla="*/ 2 w 4"/>
              <a:gd name="T1" fmla="*/ 0 h 2"/>
              <a:gd name="T2" fmla="*/ 2 w 4"/>
              <a:gd name="T3" fmla="*/ 0 h 2"/>
              <a:gd name="T4" fmla="*/ 4 w 4"/>
              <a:gd name="T5" fmla="*/ 2 h 2"/>
              <a:gd name="T6" fmla="*/ 2 w 4"/>
              <a:gd name="T7" fmla="*/ 2 h 2"/>
              <a:gd name="T8" fmla="*/ 2 w 4"/>
              <a:gd name="T9" fmla="*/ 2 h 2"/>
              <a:gd name="T10" fmla="*/ 2 w 4"/>
              <a:gd name="T11" fmla="*/ 0 h 2"/>
              <a:gd name="T12" fmla="*/ 0 w 4"/>
              <a:gd name="T13" fmla="*/ 0 h 2"/>
              <a:gd name="T14" fmla="*/ 2 w 4"/>
              <a:gd name="T15" fmla="*/ 0 h 2"/>
              <a:gd name="T16" fmla="*/ 2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2" y="0"/>
                </a:moveTo>
                <a:lnTo>
                  <a:pt x="2" y="0"/>
                </a:lnTo>
                <a:lnTo>
                  <a:pt x="4" y="2"/>
                </a:lnTo>
                <a:lnTo>
                  <a:pt x="2" y="2"/>
                </a:lnTo>
                <a:lnTo>
                  <a:pt x="2" y="2"/>
                </a:lnTo>
                <a:lnTo>
                  <a:pt x="2" y="0"/>
                </a:lnTo>
                <a:lnTo>
                  <a:pt x="0" y="0"/>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6" name="Freeform 120">
            <a:extLst>
              <a:ext uri="{FF2B5EF4-FFF2-40B4-BE49-F238E27FC236}">
                <a16:creationId xmlns:a16="http://schemas.microsoft.com/office/drawing/2014/main" id="{EC40DA32-DBD9-471C-8126-629724BD21D9}"/>
              </a:ext>
            </a:extLst>
          </p:cNvPr>
          <p:cNvSpPr>
            <a:spLocks/>
          </p:cNvSpPr>
          <p:nvPr userDrawn="1"/>
        </p:nvSpPr>
        <p:spPr bwMode="auto">
          <a:xfrm>
            <a:off x="6016811" y="1720990"/>
            <a:ext cx="6708" cy="10296"/>
          </a:xfrm>
          <a:custGeom>
            <a:avLst/>
            <a:gdLst>
              <a:gd name="T0" fmla="*/ 2 w 4"/>
              <a:gd name="T1" fmla="*/ 0 h 6"/>
              <a:gd name="T2" fmla="*/ 2 w 4"/>
              <a:gd name="T3" fmla="*/ 0 h 6"/>
              <a:gd name="T4" fmla="*/ 2 w 4"/>
              <a:gd name="T5" fmla="*/ 2 h 6"/>
              <a:gd name="T6" fmla="*/ 2 w 4"/>
              <a:gd name="T7" fmla="*/ 2 h 6"/>
              <a:gd name="T8" fmla="*/ 4 w 4"/>
              <a:gd name="T9" fmla="*/ 2 h 6"/>
              <a:gd name="T10" fmla="*/ 4 w 4"/>
              <a:gd name="T11" fmla="*/ 2 h 6"/>
              <a:gd name="T12" fmla="*/ 2 w 4"/>
              <a:gd name="T13" fmla="*/ 2 h 6"/>
              <a:gd name="T14" fmla="*/ 2 w 4"/>
              <a:gd name="T15" fmla="*/ 4 h 6"/>
              <a:gd name="T16" fmla="*/ 2 w 4"/>
              <a:gd name="T17" fmla="*/ 4 h 6"/>
              <a:gd name="T18" fmla="*/ 0 w 4"/>
              <a:gd name="T19" fmla="*/ 6 h 6"/>
              <a:gd name="T20" fmla="*/ 0 w 4"/>
              <a:gd name="T21" fmla="*/ 6 h 6"/>
              <a:gd name="T22" fmla="*/ 0 w 4"/>
              <a:gd name="T23" fmla="*/ 2 h 6"/>
              <a:gd name="T24" fmla="*/ 0 w 4"/>
              <a:gd name="T25" fmla="*/ 0 h 6"/>
              <a:gd name="T26" fmla="*/ 2 w 4"/>
              <a:gd name="T27" fmla="*/ 0 h 6"/>
              <a:gd name="T28" fmla="*/ 2 w 4"/>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6">
                <a:moveTo>
                  <a:pt x="2" y="0"/>
                </a:moveTo>
                <a:lnTo>
                  <a:pt x="2" y="0"/>
                </a:lnTo>
                <a:lnTo>
                  <a:pt x="2" y="2"/>
                </a:lnTo>
                <a:lnTo>
                  <a:pt x="2" y="2"/>
                </a:lnTo>
                <a:lnTo>
                  <a:pt x="4" y="2"/>
                </a:lnTo>
                <a:lnTo>
                  <a:pt x="4" y="2"/>
                </a:lnTo>
                <a:lnTo>
                  <a:pt x="2" y="2"/>
                </a:lnTo>
                <a:lnTo>
                  <a:pt x="2" y="4"/>
                </a:lnTo>
                <a:lnTo>
                  <a:pt x="2" y="4"/>
                </a:lnTo>
                <a:lnTo>
                  <a:pt x="0" y="6"/>
                </a:lnTo>
                <a:lnTo>
                  <a:pt x="0" y="6"/>
                </a:lnTo>
                <a:lnTo>
                  <a:pt x="0" y="2"/>
                </a:lnTo>
                <a:lnTo>
                  <a:pt x="0" y="0"/>
                </a:lnTo>
                <a:lnTo>
                  <a:pt x="2" y="0"/>
                </a:lnTo>
                <a:lnTo>
                  <a:pt x="2"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7" name="Freeform 121">
            <a:extLst>
              <a:ext uri="{FF2B5EF4-FFF2-40B4-BE49-F238E27FC236}">
                <a16:creationId xmlns:a16="http://schemas.microsoft.com/office/drawing/2014/main" id="{EF30C49A-836D-4798-8DD8-2E8AFFFD776D}"/>
              </a:ext>
            </a:extLst>
          </p:cNvPr>
          <p:cNvSpPr>
            <a:spLocks/>
          </p:cNvSpPr>
          <p:nvPr userDrawn="1"/>
        </p:nvSpPr>
        <p:spPr bwMode="auto">
          <a:xfrm>
            <a:off x="5969854" y="1336610"/>
            <a:ext cx="588640" cy="549116"/>
          </a:xfrm>
          <a:custGeom>
            <a:avLst/>
            <a:gdLst>
              <a:gd name="T0" fmla="*/ 91 w 351"/>
              <a:gd name="T1" fmla="*/ 280 h 320"/>
              <a:gd name="T2" fmla="*/ 95 w 351"/>
              <a:gd name="T3" fmla="*/ 252 h 320"/>
              <a:gd name="T4" fmla="*/ 97 w 351"/>
              <a:gd name="T5" fmla="*/ 228 h 320"/>
              <a:gd name="T6" fmla="*/ 103 w 351"/>
              <a:gd name="T7" fmla="*/ 186 h 320"/>
              <a:gd name="T8" fmla="*/ 131 w 351"/>
              <a:gd name="T9" fmla="*/ 172 h 320"/>
              <a:gd name="T10" fmla="*/ 149 w 351"/>
              <a:gd name="T11" fmla="*/ 126 h 320"/>
              <a:gd name="T12" fmla="*/ 169 w 351"/>
              <a:gd name="T13" fmla="*/ 100 h 320"/>
              <a:gd name="T14" fmla="*/ 187 w 351"/>
              <a:gd name="T15" fmla="*/ 88 h 320"/>
              <a:gd name="T16" fmla="*/ 205 w 351"/>
              <a:gd name="T17" fmla="*/ 64 h 320"/>
              <a:gd name="T18" fmla="*/ 257 w 351"/>
              <a:gd name="T19" fmla="*/ 72 h 320"/>
              <a:gd name="T20" fmla="*/ 281 w 351"/>
              <a:gd name="T21" fmla="*/ 64 h 320"/>
              <a:gd name="T22" fmla="*/ 301 w 351"/>
              <a:gd name="T23" fmla="*/ 42 h 320"/>
              <a:gd name="T24" fmla="*/ 333 w 351"/>
              <a:gd name="T25" fmla="*/ 58 h 320"/>
              <a:gd name="T26" fmla="*/ 341 w 351"/>
              <a:gd name="T27" fmla="*/ 42 h 320"/>
              <a:gd name="T28" fmla="*/ 337 w 351"/>
              <a:gd name="T29" fmla="*/ 40 h 320"/>
              <a:gd name="T30" fmla="*/ 347 w 351"/>
              <a:gd name="T31" fmla="*/ 28 h 320"/>
              <a:gd name="T32" fmla="*/ 327 w 351"/>
              <a:gd name="T33" fmla="*/ 8 h 320"/>
              <a:gd name="T34" fmla="*/ 315 w 351"/>
              <a:gd name="T35" fmla="*/ 16 h 320"/>
              <a:gd name="T36" fmla="*/ 309 w 351"/>
              <a:gd name="T37" fmla="*/ 0 h 320"/>
              <a:gd name="T38" fmla="*/ 301 w 351"/>
              <a:gd name="T39" fmla="*/ 20 h 320"/>
              <a:gd name="T40" fmla="*/ 295 w 351"/>
              <a:gd name="T41" fmla="*/ 20 h 320"/>
              <a:gd name="T42" fmla="*/ 289 w 351"/>
              <a:gd name="T43" fmla="*/ 16 h 320"/>
              <a:gd name="T44" fmla="*/ 275 w 351"/>
              <a:gd name="T45" fmla="*/ 24 h 320"/>
              <a:gd name="T46" fmla="*/ 275 w 351"/>
              <a:gd name="T47" fmla="*/ 14 h 320"/>
              <a:gd name="T48" fmla="*/ 263 w 351"/>
              <a:gd name="T49" fmla="*/ 22 h 320"/>
              <a:gd name="T50" fmla="*/ 245 w 351"/>
              <a:gd name="T51" fmla="*/ 32 h 320"/>
              <a:gd name="T52" fmla="*/ 225 w 351"/>
              <a:gd name="T53" fmla="*/ 24 h 320"/>
              <a:gd name="T54" fmla="*/ 229 w 351"/>
              <a:gd name="T55" fmla="*/ 36 h 320"/>
              <a:gd name="T56" fmla="*/ 221 w 351"/>
              <a:gd name="T57" fmla="*/ 36 h 320"/>
              <a:gd name="T58" fmla="*/ 211 w 351"/>
              <a:gd name="T59" fmla="*/ 38 h 320"/>
              <a:gd name="T60" fmla="*/ 195 w 351"/>
              <a:gd name="T61" fmla="*/ 36 h 320"/>
              <a:gd name="T62" fmla="*/ 189 w 351"/>
              <a:gd name="T63" fmla="*/ 50 h 320"/>
              <a:gd name="T64" fmla="*/ 181 w 351"/>
              <a:gd name="T65" fmla="*/ 54 h 320"/>
              <a:gd name="T66" fmla="*/ 169 w 351"/>
              <a:gd name="T67" fmla="*/ 76 h 320"/>
              <a:gd name="T68" fmla="*/ 171 w 351"/>
              <a:gd name="T69" fmla="*/ 82 h 320"/>
              <a:gd name="T70" fmla="*/ 151 w 351"/>
              <a:gd name="T71" fmla="*/ 92 h 320"/>
              <a:gd name="T72" fmla="*/ 157 w 351"/>
              <a:gd name="T73" fmla="*/ 102 h 320"/>
              <a:gd name="T74" fmla="*/ 141 w 351"/>
              <a:gd name="T75" fmla="*/ 120 h 320"/>
              <a:gd name="T76" fmla="*/ 125 w 351"/>
              <a:gd name="T77" fmla="*/ 132 h 320"/>
              <a:gd name="T78" fmla="*/ 103 w 351"/>
              <a:gd name="T79" fmla="*/ 152 h 320"/>
              <a:gd name="T80" fmla="*/ 91 w 351"/>
              <a:gd name="T81" fmla="*/ 168 h 320"/>
              <a:gd name="T82" fmla="*/ 74 w 351"/>
              <a:gd name="T83" fmla="*/ 184 h 320"/>
              <a:gd name="T84" fmla="*/ 79 w 351"/>
              <a:gd name="T85" fmla="*/ 196 h 320"/>
              <a:gd name="T86" fmla="*/ 54 w 351"/>
              <a:gd name="T87" fmla="*/ 198 h 320"/>
              <a:gd name="T88" fmla="*/ 42 w 351"/>
              <a:gd name="T89" fmla="*/ 204 h 320"/>
              <a:gd name="T90" fmla="*/ 32 w 351"/>
              <a:gd name="T91" fmla="*/ 218 h 320"/>
              <a:gd name="T92" fmla="*/ 24 w 351"/>
              <a:gd name="T93" fmla="*/ 228 h 320"/>
              <a:gd name="T94" fmla="*/ 4 w 351"/>
              <a:gd name="T95" fmla="*/ 228 h 320"/>
              <a:gd name="T96" fmla="*/ 0 w 351"/>
              <a:gd name="T97" fmla="*/ 248 h 320"/>
              <a:gd name="T98" fmla="*/ 18 w 351"/>
              <a:gd name="T99" fmla="*/ 244 h 320"/>
              <a:gd name="T100" fmla="*/ 30 w 351"/>
              <a:gd name="T101" fmla="*/ 250 h 320"/>
              <a:gd name="T102" fmla="*/ 6 w 351"/>
              <a:gd name="T103" fmla="*/ 256 h 320"/>
              <a:gd name="T104" fmla="*/ 0 w 351"/>
              <a:gd name="T105" fmla="*/ 264 h 320"/>
              <a:gd name="T106" fmla="*/ 6 w 351"/>
              <a:gd name="T107" fmla="*/ 270 h 320"/>
              <a:gd name="T108" fmla="*/ 28 w 351"/>
              <a:gd name="T109" fmla="*/ 264 h 320"/>
              <a:gd name="T110" fmla="*/ 14 w 351"/>
              <a:gd name="T111" fmla="*/ 282 h 320"/>
              <a:gd name="T112" fmla="*/ 10 w 351"/>
              <a:gd name="T113" fmla="*/ 290 h 320"/>
              <a:gd name="T114" fmla="*/ 14 w 351"/>
              <a:gd name="T115" fmla="*/ 304 h 320"/>
              <a:gd name="T116" fmla="*/ 32 w 351"/>
              <a:gd name="T117" fmla="*/ 320 h 320"/>
              <a:gd name="T118" fmla="*/ 68 w 351"/>
              <a:gd name="T11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1" h="320">
                <a:moveTo>
                  <a:pt x="85" y="300"/>
                </a:moveTo>
                <a:lnTo>
                  <a:pt x="85" y="300"/>
                </a:lnTo>
                <a:lnTo>
                  <a:pt x="89" y="300"/>
                </a:lnTo>
                <a:lnTo>
                  <a:pt x="89" y="300"/>
                </a:lnTo>
                <a:lnTo>
                  <a:pt x="91" y="300"/>
                </a:lnTo>
                <a:lnTo>
                  <a:pt x="91" y="298"/>
                </a:lnTo>
                <a:lnTo>
                  <a:pt x="93" y="292"/>
                </a:lnTo>
                <a:lnTo>
                  <a:pt x="93" y="292"/>
                </a:lnTo>
                <a:lnTo>
                  <a:pt x="91" y="290"/>
                </a:lnTo>
                <a:lnTo>
                  <a:pt x="89" y="284"/>
                </a:lnTo>
                <a:lnTo>
                  <a:pt x="89" y="284"/>
                </a:lnTo>
                <a:lnTo>
                  <a:pt x="89" y="282"/>
                </a:lnTo>
                <a:lnTo>
                  <a:pt x="91" y="280"/>
                </a:lnTo>
                <a:lnTo>
                  <a:pt x="91" y="280"/>
                </a:lnTo>
                <a:lnTo>
                  <a:pt x="93" y="280"/>
                </a:lnTo>
                <a:lnTo>
                  <a:pt x="93" y="278"/>
                </a:lnTo>
                <a:lnTo>
                  <a:pt x="93" y="276"/>
                </a:lnTo>
                <a:lnTo>
                  <a:pt x="95" y="274"/>
                </a:lnTo>
                <a:lnTo>
                  <a:pt x="95" y="274"/>
                </a:lnTo>
                <a:lnTo>
                  <a:pt x="97" y="272"/>
                </a:lnTo>
                <a:lnTo>
                  <a:pt x="95" y="268"/>
                </a:lnTo>
                <a:lnTo>
                  <a:pt x="95" y="268"/>
                </a:lnTo>
                <a:lnTo>
                  <a:pt x="93" y="266"/>
                </a:lnTo>
                <a:lnTo>
                  <a:pt x="93" y="264"/>
                </a:lnTo>
                <a:lnTo>
                  <a:pt x="95" y="260"/>
                </a:lnTo>
                <a:lnTo>
                  <a:pt x="95" y="260"/>
                </a:lnTo>
                <a:lnTo>
                  <a:pt x="95" y="252"/>
                </a:lnTo>
                <a:lnTo>
                  <a:pt x="95" y="252"/>
                </a:lnTo>
                <a:lnTo>
                  <a:pt x="95" y="252"/>
                </a:lnTo>
                <a:lnTo>
                  <a:pt x="99" y="250"/>
                </a:lnTo>
                <a:lnTo>
                  <a:pt x="99" y="250"/>
                </a:lnTo>
                <a:lnTo>
                  <a:pt x="101" y="248"/>
                </a:lnTo>
                <a:lnTo>
                  <a:pt x="101" y="246"/>
                </a:lnTo>
                <a:lnTo>
                  <a:pt x="101" y="242"/>
                </a:lnTo>
                <a:lnTo>
                  <a:pt x="101" y="242"/>
                </a:lnTo>
                <a:lnTo>
                  <a:pt x="99" y="236"/>
                </a:lnTo>
                <a:lnTo>
                  <a:pt x="97" y="234"/>
                </a:lnTo>
                <a:lnTo>
                  <a:pt x="97" y="234"/>
                </a:lnTo>
                <a:lnTo>
                  <a:pt x="95" y="234"/>
                </a:lnTo>
                <a:lnTo>
                  <a:pt x="95" y="232"/>
                </a:lnTo>
                <a:lnTo>
                  <a:pt x="97" y="228"/>
                </a:lnTo>
                <a:lnTo>
                  <a:pt x="97" y="228"/>
                </a:lnTo>
                <a:lnTo>
                  <a:pt x="97" y="222"/>
                </a:lnTo>
                <a:lnTo>
                  <a:pt x="97" y="216"/>
                </a:lnTo>
                <a:lnTo>
                  <a:pt x="97" y="216"/>
                </a:lnTo>
                <a:lnTo>
                  <a:pt x="97" y="210"/>
                </a:lnTo>
                <a:lnTo>
                  <a:pt x="97" y="204"/>
                </a:lnTo>
                <a:lnTo>
                  <a:pt x="97" y="204"/>
                </a:lnTo>
                <a:lnTo>
                  <a:pt x="97" y="200"/>
                </a:lnTo>
                <a:lnTo>
                  <a:pt x="95" y="196"/>
                </a:lnTo>
                <a:lnTo>
                  <a:pt x="95" y="196"/>
                </a:lnTo>
                <a:lnTo>
                  <a:pt x="97" y="192"/>
                </a:lnTo>
                <a:lnTo>
                  <a:pt x="99" y="190"/>
                </a:lnTo>
                <a:lnTo>
                  <a:pt x="101" y="188"/>
                </a:lnTo>
                <a:lnTo>
                  <a:pt x="103" y="186"/>
                </a:lnTo>
                <a:lnTo>
                  <a:pt x="103" y="186"/>
                </a:lnTo>
                <a:lnTo>
                  <a:pt x="103" y="182"/>
                </a:lnTo>
                <a:lnTo>
                  <a:pt x="107" y="180"/>
                </a:lnTo>
                <a:lnTo>
                  <a:pt x="109" y="176"/>
                </a:lnTo>
                <a:lnTo>
                  <a:pt x="109" y="174"/>
                </a:lnTo>
                <a:lnTo>
                  <a:pt x="109" y="174"/>
                </a:lnTo>
                <a:lnTo>
                  <a:pt x="111" y="172"/>
                </a:lnTo>
                <a:lnTo>
                  <a:pt x="113" y="168"/>
                </a:lnTo>
                <a:lnTo>
                  <a:pt x="121" y="166"/>
                </a:lnTo>
                <a:lnTo>
                  <a:pt x="121" y="166"/>
                </a:lnTo>
                <a:lnTo>
                  <a:pt x="123" y="166"/>
                </a:lnTo>
                <a:lnTo>
                  <a:pt x="125" y="168"/>
                </a:lnTo>
                <a:lnTo>
                  <a:pt x="129" y="172"/>
                </a:lnTo>
                <a:lnTo>
                  <a:pt x="129" y="172"/>
                </a:lnTo>
                <a:lnTo>
                  <a:pt x="131" y="172"/>
                </a:lnTo>
                <a:lnTo>
                  <a:pt x="133" y="170"/>
                </a:lnTo>
                <a:lnTo>
                  <a:pt x="133" y="164"/>
                </a:lnTo>
                <a:lnTo>
                  <a:pt x="133" y="164"/>
                </a:lnTo>
                <a:lnTo>
                  <a:pt x="135" y="156"/>
                </a:lnTo>
                <a:lnTo>
                  <a:pt x="133" y="150"/>
                </a:lnTo>
                <a:lnTo>
                  <a:pt x="133" y="150"/>
                </a:lnTo>
                <a:lnTo>
                  <a:pt x="135" y="148"/>
                </a:lnTo>
                <a:lnTo>
                  <a:pt x="137" y="146"/>
                </a:lnTo>
                <a:lnTo>
                  <a:pt x="141" y="144"/>
                </a:lnTo>
                <a:lnTo>
                  <a:pt x="141" y="144"/>
                </a:lnTo>
                <a:lnTo>
                  <a:pt x="143" y="140"/>
                </a:lnTo>
                <a:lnTo>
                  <a:pt x="147" y="134"/>
                </a:lnTo>
                <a:lnTo>
                  <a:pt x="149" y="126"/>
                </a:lnTo>
                <a:lnTo>
                  <a:pt x="149" y="126"/>
                </a:lnTo>
                <a:lnTo>
                  <a:pt x="149" y="120"/>
                </a:lnTo>
                <a:lnTo>
                  <a:pt x="151" y="118"/>
                </a:lnTo>
                <a:lnTo>
                  <a:pt x="153" y="116"/>
                </a:lnTo>
                <a:lnTo>
                  <a:pt x="153" y="116"/>
                </a:lnTo>
                <a:lnTo>
                  <a:pt x="157" y="116"/>
                </a:lnTo>
                <a:lnTo>
                  <a:pt x="157" y="114"/>
                </a:lnTo>
                <a:lnTo>
                  <a:pt x="157" y="114"/>
                </a:lnTo>
                <a:lnTo>
                  <a:pt x="157" y="114"/>
                </a:lnTo>
                <a:lnTo>
                  <a:pt x="159" y="112"/>
                </a:lnTo>
                <a:lnTo>
                  <a:pt x="161" y="110"/>
                </a:lnTo>
                <a:lnTo>
                  <a:pt x="165" y="106"/>
                </a:lnTo>
                <a:lnTo>
                  <a:pt x="165" y="106"/>
                </a:lnTo>
                <a:lnTo>
                  <a:pt x="167" y="104"/>
                </a:lnTo>
                <a:lnTo>
                  <a:pt x="169" y="100"/>
                </a:lnTo>
                <a:lnTo>
                  <a:pt x="169" y="100"/>
                </a:lnTo>
                <a:lnTo>
                  <a:pt x="169" y="94"/>
                </a:lnTo>
                <a:lnTo>
                  <a:pt x="171" y="90"/>
                </a:lnTo>
                <a:lnTo>
                  <a:pt x="171" y="90"/>
                </a:lnTo>
                <a:lnTo>
                  <a:pt x="175" y="86"/>
                </a:lnTo>
                <a:lnTo>
                  <a:pt x="177" y="84"/>
                </a:lnTo>
                <a:lnTo>
                  <a:pt x="177" y="84"/>
                </a:lnTo>
                <a:lnTo>
                  <a:pt x="183" y="90"/>
                </a:lnTo>
                <a:lnTo>
                  <a:pt x="187" y="92"/>
                </a:lnTo>
                <a:lnTo>
                  <a:pt x="187" y="92"/>
                </a:lnTo>
                <a:lnTo>
                  <a:pt x="187" y="92"/>
                </a:lnTo>
                <a:lnTo>
                  <a:pt x="187" y="92"/>
                </a:lnTo>
                <a:lnTo>
                  <a:pt x="185" y="90"/>
                </a:lnTo>
                <a:lnTo>
                  <a:pt x="187" y="88"/>
                </a:lnTo>
                <a:lnTo>
                  <a:pt x="187" y="84"/>
                </a:lnTo>
                <a:lnTo>
                  <a:pt x="187" y="84"/>
                </a:lnTo>
                <a:lnTo>
                  <a:pt x="187" y="82"/>
                </a:lnTo>
                <a:lnTo>
                  <a:pt x="187" y="82"/>
                </a:lnTo>
                <a:lnTo>
                  <a:pt x="191" y="82"/>
                </a:lnTo>
                <a:lnTo>
                  <a:pt x="191" y="82"/>
                </a:lnTo>
                <a:lnTo>
                  <a:pt x="195" y="82"/>
                </a:lnTo>
                <a:lnTo>
                  <a:pt x="201" y="84"/>
                </a:lnTo>
                <a:lnTo>
                  <a:pt x="201" y="84"/>
                </a:lnTo>
                <a:lnTo>
                  <a:pt x="203" y="82"/>
                </a:lnTo>
                <a:lnTo>
                  <a:pt x="203" y="80"/>
                </a:lnTo>
                <a:lnTo>
                  <a:pt x="205" y="76"/>
                </a:lnTo>
                <a:lnTo>
                  <a:pt x="207" y="68"/>
                </a:lnTo>
                <a:lnTo>
                  <a:pt x="205" y="64"/>
                </a:lnTo>
                <a:lnTo>
                  <a:pt x="211" y="64"/>
                </a:lnTo>
                <a:lnTo>
                  <a:pt x="217" y="60"/>
                </a:lnTo>
                <a:lnTo>
                  <a:pt x="219" y="58"/>
                </a:lnTo>
                <a:lnTo>
                  <a:pt x="219" y="58"/>
                </a:lnTo>
                <a:lnTo>
                  <a:pt x="219" y="56"/>
                </a:lnTo>
                <a:lnTo>
                  <a:pt x="221" y="56"/>
                </a:lnTo>
                <a:lnTo>
                  <a:pt x="225" y="56"/>
                </a:lnTo>
                <a:lnTo>
                  <a:pt x="239" y="72"/>
                </a:lnTo>
                <a:lnTo>
                  <a:pt x="239" y="72"/>
                </a:lnTo>
                <a:lnTo>
                  <a:pt x="245" y="70"/>
                </a:lnTo>
                <a:lnTo>
                  <a:pt x="253" y="70"/>
                </a:lnTo>
                <a:lnTo>
                  <a:pt x="253" y="70"/>
                </a:lnTo>
                <a:lnTo>
                  <a:pt x="257" y="72"/>
                </a:lnTo>
                <a:lnTo>
                  <a:pt x="257" y="72"/>
                </a:lnTo>
                <a:lnTo>
                  <a:pt x="257" y="70"/>
                </a:lnTo>
                <a:lnTo>
                  <a:pt x="259" y="70"/>
                </a:lnTo>
                <a:lnTo>
                  <a:pt x="259" y="70"/>
                </a:lnTo>
                <a:lnTo>
                  <a:pt x="263" y="70"/>
                </a:lnTo>
                <a:lnTo>
                  <a:pt x="263" y="72"/>
                </a:lnTo>
                <a:lnTo>
                  <a:pt x="271" y="78"/>
                </a:lnTo>
                <a:lnTo>
                  <a:pt x="271" y="78"/>
                </a:lnTo>
                <a:lnTo>
                  <a:pt x="271" y="76"/>
                </a:lnTo>
                <a:lnTo>
                  <a:pt x="271" y="74"/>
                </a:lnTo>
                <a:lnTo>
                  <a:pt x="273" y="72"/>
                </a:lnTo>
                <a:lnTo>
                  <a:pt x="273" y="72"/>
                </a:lnTo>
                <a:lnTo>
                  <a:pt x="279" y="68"/>
                </a:lnTo>
                <a:lnTo>
                  <a:pt x="281" y="64"/>
                </a:lnTo>
                <a:lnTo>
                  <a:pt x="281" y="64"/>
                </a:lnTo>
                <a:lnTo>
                  <a:pt x="281" y="58"/>
                </a:lnTo>
                <a:lnTo>
                  <a:pt x="279" y="56"/>
                </a:lnTo>
                <a:lnTo>
                  <a:pt x="279" y="56"/>
                </a:lnTo>
                <a:lnTo>
                  <a:pt x="281" y="54"/>
                </a:lnTo>
                <a:lnTo>
                  <a:pt x="281" y="50"/>
                </a:lnTo>
                <a:lnTo>
                  <a:pt x="281" y="50"/>
                </a:lnTo>
                <a:lnTo>
                  <a:pt x="283" y="48"/>
                </a:lnTo>
                <a:lnTo>
                  <a:pt x="287" y="46"/>
                </a:lnTo>
                <a:lnTo>
                  <a:pt x="287" y="46"/>
                </a:lnTo>
                <a:lnTo>
                  <a:pt x="289" y="44"/>
                </a:lnTo>
                <a:lnTo>
                  <a:pt x="291" y="42"/>
                </a:lnTo>
                <a:lnTo>
                  <a:pt x="293" y="40"/>
                </a:lnTo>
                <a:lnTo>
                  <a:pt x="293" y="40"/>
                </a:lnTo>
                <a:lnTo>
                  <a:pt x="301" y="42"/>
                </a:lnTo>
                <a:lnTo>
                  <a:pt x="301" y="42"/>
                </a:lnTo>
                <a:lnTo>
                  <a:pt x="303" y="42"/>
                </a:lnTo>
                <a:lnTo>
                  <a:pt x="307" y="38"/>
                </a:lnTo>
                <a:lnTo>
                  <a:pt x="311" y="36"/>
                </a:lnTo>
                <a:lnTo>
                  <a:pt x="311" y="36"/>
                </a:lnTo>
                <a:lnTo>
                  <a:pt x="315" y="40"/>
                </a:lnTo>
                <a:lnTo>
                  <a:pt x="319" y="48"/>
                </a:lnTo>
                <a:lnTo>
                  <a:pt x="319" y="48"/>
                </a:lnTo>
                <a:lnTo>
                  <a:pt x="327" y="54"/>
                </a:lnTo>
                <a:lnTo>
                  <a:pt x="327" y="54"/>
                </a:lnTo>
                <a:lnTo>
                  <a:pt x="333" y="54"/>
                </a:lnTo>
                <a:lnTo>
                  <a:pt x="333" y="54"/>
                </a:lnTo>
                <a:lnTo>
                  <a:pt x="333" y="58"/>
                </a:lnTo>
                <a:lnTo>
                  <a:pt x="333" y="58"/>
                </a:lnTo>
                <a:lnTo>
                  <a:pt x="335" y="60"/>
                </a:lnTo>
                <a:lnTo>
                  <a:pt x="335" y="60"/>
                </a:lnTo>
                <a:lnTo>
                  <a:pt x="337" y="60"/>
                </a:lnTo>
                <a:lnTo>
                  <a:pt x="337" y="60"/>
                </a:lnTo>
                <a:lnTo>
                  <a:pt x="339" y="54"/>
                </a:lnTo>
                <a:lnTo>
                  <a:pt x="339" y="50"/>
                </a:lnTo>
                <a:lnTo>
                  <a:pt x="339" y="50"/>
                </a:lnTo>
                <a:lnTo>
                  <a:pt x="339" y="44"/>
                </a:lnTo>
                <a:lnTo>
                  <a:pt x="337" y="42"/>
                </a:lnTo>
                <a:lnTo>
                  <a:pt x="337" y="42"/>
                </a:lnTo>
                <a:lnTo>
                  <a:pt x="339" y="42"/>
                </a:lnTo>
                <a:lnTo>
                  <a:pt x="341" y="42"/>
                </a:lnTo>
                <a:lnTo>
                  <a:pt x="341" y="42"/>
                </a:lnTo>
                <a:lnTo>
                  <a:pt x="341" y="42"/>
                </a:lnTo>
                <a:lnTo>
                  <a:pt x="343" y="40"/>
                </a:lnTo>
                <a:lnTo>
                  <a:pt x="347" y="38"/>
                </a:lnTo>
                <a:lnTo>
                  <a:pt x="351" y="36"/>
                </a:lnTo>
                <a:lnTo>
                  <a:pt x="351" y="36"/>
                </a:lnTo>
                <a:lnTo>
                  <a:pt x="347" y="36"/>
                </a:lnTo>
                <a:lnTo>
                  <a:pt x="347" y="36"/>
                </a:lnTo>
                <a:lnTo>
                  <a:pt x="345" y="34"/>
                </a:lnTo>
                <a:lnTo>
                  <a:pt x="345" y="34"/>
                </a:lnTo>
                <a:lnTo>
                  <a:pt x="341" y="40"/>
                </a:lnTo>
                <a:lnTo>
                  <a:pt x="341" y="40"/>
                </a:lnTo>
                <a:lnTo>
                  <a:pt x="339" y="36"/>
                </a:lnTo>
                <a:lnTo>
                  <a:pt x="339" y="36"/>
                </a:lnTo>
                <a:lnTo>
                  <a:pt x="339" y="38"/>
                </a:lnTo>
                <a:lnTo>
                  <a:pt x="337" y="40"/>
                </a:lnTo>
                <a:lnTo>
                  <a:pt x="337" y="40"/>
                </a:lnTo>
                <a:lnTo>
                  <a:pt x="333" y="42"/>
                </a:lnTo>
                <a:lnTo>
                  <a:pt x="333" y="42"/>
                </a:lnTo>
                <a:lnTo>
                  <a:pt x="333" y="36"/>
                </a:lnTo>
                <a:lnTo>
                  <a:pt x="333" y="36"/>
                </a:lnTo>
                <a:lnTo>
                  <a:pt x="329" y="32"/>
                </a:lnTo>
                <a:lnTo>
                  <a:pt x="329" y="32"/>
                </a:lnTo>
                <a:lnTo>
                  <a:pt x="335" y="34"/>
                </a:lnTo>
                <a:lnTo>
                  <a:pt x="341" y="32"/>
                </a:lnTo>
                <a:lnTo>
                  <a:pt x="341" y="32"/>
                </a:lnTo>
                <a:lnTo>
                  <a:pt x="341" y="30"/>
                </a:lnTo>
                <a:lnTo>
                  <a:pt x="343" y="28"/>
                </a:lnTo>
                <a:lnTo>
                  <a:pt x="343" y="28"/>
                </a:lnTo>
                <a:lnTo>
                  <a:pt x="347" y="28"/>
                </a:lnTo>
                <a:lnTo>
                  <a:pt x="351" y="28"/>
                </a:lnTo>
                <a:lnTo>
                  <a:pt x="351" y="28"/>
                </a:lnTo>
                <a:lnTo>
                  <a:pt x="347" y="20"/>
                </a:lnTo>
                <a:lnTo>
                  <a:pt x="345" y="20"/>
                </a:lnTo>
                <a:lnTo>
                  <a:pt x="339" y="20"/>
                </a:lnTo>
                <a:lnTo>
                  <a:pt x="339" y="20"/>
                </a:lnTo>
                <a:lnTo>
                  <a:pt x="341" y="16"/>
                </a:lnTo>
                <a:lnTo>
                  <a:pt x="341" y="14"/>
                </a:lnTo>
                <a:lnTo>
                  <a:pt x="335" y="18"/>
                </a:lnTo>
                <a:lnTo>
                  <a:pt x="335" y="18"/>
                </a:lnTo>
                <a:lnTo>
                  <a:pt x="331" y="8"/>
                </a:lnTo>
                <a:lnTo>
                  <a:pt x="331" y="8"/>
                </a:lnTo>
                <a:lnTo>
                  <a:pt x="327" y="8"/>
                </a:lnTo>
                <a:lnTo>
                  <a:pt x="327" y="8"/>
                </a:lnTo>
                <a:lnTo>
                  <a:pt x="323" y="14"/>
                </a:lnTo>
                <a:lnTo>
                  <a:pt x="325" y="20"/>
                </a:lnTo>
                <a:lnTo>
                  <a:pt x="325" y="20"/>
                </a:lnTo>
                <a:lnTo>
                  <a:pt x="321" y="22"/>
                </a:lnTo>
                <a:lnTo>
                  <a:pt x="321" y="22"/>
                </a:lnTo>
                <a:lnTo>
                  <a:pt x="319" y="20"/>
                </a:lnTo>
                <a:lnTo>
                  <a:pt x="321" y="16"/>
                </a:lnTo>
                <a:lnTo>
                  <a:pt x="321" y="12"/>
                </a:lnTo>
                <a:lnTo>
                  <a:pt x="319" y="12"/>
                </a:lnTo>
                <a:lnTo>
                  <a:pt x="319" y="12"/>
                </a:lnTo>
                <a:lnTo>
                  <a:pt x="317" y="14"/>
                </a:lnTo>
                <a:lnTo>
                  <a:pt x="317" y="14"/>
                </a:lnTo>
                <a:lnTo>
                  <a:pt x="317" y="16"/>
                </a:lnTo>
                <a:lnTo>
                  <a:pt x="315" y="16"/>
                </a:lnTo>
                <a:lnTo>
                  <a:pt x="315" y="16"/>
                </a:lnTo>
                <a:lnTo>
                  <a:pt x="315" y="12"/>
                </a:lnTo>
                <a:lnTo>
                  <a:pt x="315" y="10"/>
                </a:lnTo>
                <a:lnTo>
                  <a:pt x="315" y="10"/>
                </a:lnTo>
                <a:lnTo>
                  <a:pt x="319" y="8"/>
                </a:lnTo>
                <a:lnTo>
                  <a:pt x="321" y="8"/>
                </a:lnTo>
                <a:lnTo>
                  <a:pt x="319" y="6"/>
                </a:lnTo>
                <a:lnTo>
                  <a:pt x="319" y="6"/>
                </a:lnTo>
                <a:lnTo>
                  <a:pt x="319" y="2"/>
                </a:lnTo>
                <a:lnTo>
                  <a:pt x="319" y="2"/>
                </a:lnTo>
                <a:lnTo>
                  <a:pt x="313" y="2"/>
                </a:lnTo>
                <a:lnTo>
                  <a:pt x="313" y="0"/>
                </a:lnTo>
                <a:lnTo>
                  <a:pt x="313" y="0"/>
                </a:lnTo>
                <a:lnTo>
                  <a:pt x="309" y="0"/>
                </a:lnTo>
                <a:lnTo>
                  <a:pt x="309" y="0"/>
                </a:lnTo>
                <a:lnTo>
                  <a:pt x="309" y="6"/>
                </a:lnTo>
                <a:lnTo>
                  <a:pt x="307" y="6"/>
                </a:lnTo>
                <a:lnTo>
                  <a:pt x="307" y="6"/>
                </a:lnTo>
                <a:lnTo>
                  <a:pt x="305" y="6"/>
                </a:lnTo>
                <a:lnTo>
                  <a:pt x="305" y="6"/>
                </a:lnTo>
                <a:lnTo>
                  <a:pt x="305" y="10"/>
                </a:lnTo>
                <a:lnTo>
                  <a:pt x="305" y="10"/>
                </a:lnTo>
                <a:lnTo>
                  <a:pt x="307" y="12"/>
                </a:lnTo>
                <a:lnTo>
                  <a:pt x="307" y="12"/>
                </a:lnTo>
                <a:lnTo>
                  <a:pt x="303" y="14"/>
                </a:lnTo>
                <a:lnTo>
                  <a:pt x="303" y="14"/>
                </a:lnTo>
                <a:lnTo>
                  <a:pt x="301" y="18"/>
                </a:lnTo>
                <a:lnTo>
                  <a:pt x="301" y="20"/>
                </a:lnTo>
                <a:lnTo>
                  <a:pt x="301" y="20"/>
                </a:lnTo>
                <a:lnTo>
                  <a:pt x="295" y="24"/>
                </a:lnTo>
                <a:lnTo>
                  <a:pt x="295" y="24"/>
                </a:lnTo>
                <a:lnTo>
                  <a:pt x="295" y="28"/>
                </a:lnTo>
                <a:lnTo>
                  <a:pt x="295" y="28"/>
                </a:lnTo>
                <a:lnTo>
                  <a:pt x="293" y="26"/>
                </a:lnTo>
                <a:lnTo>
                  <a:pt x="293" y="24"/>
                </a:lnTo>
                <a:lnTo>
                  <a:pt x="293" y="20"/>
                </a:lnTo>
                <a:lnTo>
                  <a:pt x="293" y="20"/>
                </a:lnTo>
                <a:lnTo>
                  <a:pt x="293" y="20"/>
                </a:lnTo>
                <a:lnTo>
                  <a:pt x="293" y="22"/>
                </a:lnTo>
                <a:lnTo>
                  <a:pt x="295" y="22"/>
                </a:lnTo>
                <a:lnTo>
                  <a:pt x="295" y="20"/>
                </a:lnTo>
                <a:lnTo>
                  <a:pt x="295" y="20"/>
                </a:lnTo>
                <a:lnTo>
                  <a:pt x="295" y="18"/>
                </a:lnTo>
                <a:lnTo>
                  <a:pt x="295" y="16"/>
                </a:lnTo>
                <a:lnTo>
                  <a:pt x="295" y="16"/>
                </a:lnTo>
                <a:lnTo>
                  <a:pt x="297" y="12"/>
                </a:lnTo>
                <a:lnTo>
                  <a:pt x="297" y="12"/>
                </a:lnTo>
                <a:lnTo>
                  <a:pt x="297" y="10"/>
                </a:lnTo>
                <a:lnTo>
                  <a:pt x="297" y="8"/>
                </a:lnTo>
                <a:lnTo>
                  <a:pt x="295" y="8"/>
                </a:lnTo>
                <a:lnTo>
                  <a:pt x="295" y="8"/>
                </a:lnTo>
                <a:lnTo>
                  <a:pt x="295" y="12"/>
                </a:lnTo>
                <a:lnTo>
                  <a:pt x="293" y="12"/>
                </a:lnTo>
                <a:lnTo>
                  <a:pt x="293" y="12"/>
                </a:lnTo>
                <a:lnTo>
                  <a:pt x="291" y="16"/>
                </a:lnTo>
                <a:lnTo>
                  <a:pt x="289" y="16"/>
                </a:lnTo>
                <a:lnTo>
                  <a:pt x="289" y="16"/>
                </a:lnTo>
                <a:lnTo>
                  <a:pt x="285" y="24"/>
                </a:lnTo>
                <a:lnTo>
                  <a:pt x="285" y="24"/>
                </a:lnTo>
                <a:lnTo>
                  <a:pt x="283" y="26"/>
                </a:lnTo>
                <a:lnTo>
                  <a:pt x="279" y="28"/>
                </a:lnTo>
                <a:lnTo>
                  <a:pt x="279" y="28"/>
                </a:lnTo>
                <a:lnTo>
                  <a:pt x="279" y="30"/>
                </a:lnTo>
                <a:lnTo>
                  <a:pt x="279" y="34"/>
                </a:lnTo>
                <a:lnTo>
                  <a:pt x="279" y="34"/>
                </a:lnTo>
                <a:lnTo>
                  <a:pt x="275" y="38"/>
                </a:lnTo>
                <a:lnTo>
                  <a:pt x="275" y="38"/>
                </a:lnTo>
                <a:lnTo>
                  <a:pt x="273" y="36"/>
                </a:lnTo>
                <a:lnTo>
                  <a:pt x="273" y="36"/>
                </a:lnTo>
                <a:lnTo>
                  <a:pt x="275" y="24"/>
                </a:lnTo>
                <a:lnTo>
                  <a:pt x="275" y="24"/>
                </a:lnTo>
                <a:lnTo>
                  <a:pt x="279" y="24"/>
                </a:lnTo>
                <a:lnTo>
                  <a:pt x="281" y="22"/>
                </a:lnTo>
                <a:lnTo>
                  <a:pt x="281" y="22"/>
                </a:lnTo>
                <a:lnTo>
                  <a:pt x="283" y="16"/>
                </a:lnTo>
                <a:lnTo>
                  <a:pt x="283" y="16"/>
                </a:lnTo>
                <a:lnTo>
                  <a:pt x="277" y="16"/>
                </a:lnTo>
                <a:lnTo>
                  <a:pt x="277" y="16"/>
                </a:lnTo>
                <a:lnTo>
                  <a:pt x="277" y="12"/>
                </a:lnTo>
                <a:lnTo>
                  <a:pt x="277" y="12"/>
                </a:lnTo>
                <a:lnTo>
                  <a:pt x="277" y="12"/>
                </a:lnTo>
                <a:lnTo>
                  <a:pt x="275" y="12"/>
                </a:lnTo>
                <a:lnTo>
                  <a:pt x="275" y="14"/>
                </a:lnTo>
                <a:lnTo>
                  <a:pt x="275" y="14"/>
                </a:lnTo>
                <a:lnTo>
                  <a:pt x="273" y="14"/>
                </a:lnTo>
                <a:lnTo>
                  <a:pt x="271" y="12"/>
                </a:lnTo>
                <a:lnTo>
                  <a:pt x="267" y="10"/>
                </a:lnTo>
                <a:lnTo>
                  <a:pt x="267" y="10"/>
                </a:lnTo>
                <a:lnTo>
                  <a:pt x="265" y="10"/>
                </a:lnTo>
                <a:lnTo>
                  <a:pt x="265" y="10"/>
                </a:lnTo>
                <a:lnTo>
                  <a:pt x="267" y="18"/>
                </a:lnTo>
                <a:lnTo>
                  <a:pt x="265" y="18"/>
                </a:lnTo>
                <a:lnTo>
                  <a:pt x="265" y="18"/>
                </a:lnTo>
                <a:lnTo>
                  <a:pt x="265" y="20"/>
                </a:lnTo>
                <a:lnTo>
                  <a:pt x="267" y="20"/>
                </a:lnTo>
                <a:lnTo>
                  <a:pt x="267" y="20"/>
                </a:lnTo>
                <a:lnTo>
                  <a:pt x="263" y="22"/>
                </a:lnTo>
                <a:lnTo>
                  <a:pt x="263" y="22"/>
                </a:lnTo>
                <a:lnTo>
                  <a:pt x="261" y="16"/>
                </a:lnTo>
                <a:lnTo>
                  <a:pt x="261" y="16"/>
                </a:lnTo>
                <a:lnTo>
                  <a:pt x="257" y="16"/>
                </a:lnTo>
                <a:lnTo>
                  <a:pt x="257" y="16"/>
                </a:lnTo>
                <a:lnTo>
                  <a:pt x="257" y="18"/>
                </a:lnTo>
                <a:lnTo>
                  <a:pt x="259" y="18"/>
                </a:lnTo>
                <a:lnTo>
                  <a:pt x="259" y="18"/>
                </a:lnTo>
                <a:lnTo>
                  <a:pt x="255" y="22"/>
                </a:lnTo>
                <a:lnTo>
                  <a:pt x="249" y="26"/>
                </a:lnTo>
                <a:lnTo>
                  <a:pt x="249" y="26"/>
                </a:lnTo>
                <a:lnTo>
                  <a:pt x="247" y="26"/>
                </a:lnTo>
                <a:lnTo>
                  <a:pt x="247" y="26"/>
                </a:lnTo>
                <a:lnTo>
                  <a:pt x="245" y="32"/>
                </a:lnTo>
                <a:lnTo>
                  <a:pt x="245" y="32"/>
                </a:lnTo>
                <a:lnTo>
                  <a:pt x="239" y="30"/>
                </a:lnTo>
                <a:lnTo>
                  <a:pt x="235" y="26"/>
                </a:lnTo>
                <a:lnTo>
                  <a:pt x="235" y="26"/>
                </a:lnTo>
                <a:lnTo>
                  <a:pt x="235" y="24"/>
                </a:lnTo>
                <a:lnTo>
                  <a:pt x="235" y="24"/>
                </a:lnTo>
                <a:lnTo>
                  <a:pt x="233" y="24"/>
                </a:lnTo>
                <a:lnTo>
                  <a:pt x="231" y="24"/>
                </a:lnTo>
                <a:lnTo>
                  <a:pt x="231" y="24"/>
                </a:lnTo>
                <a:lnTo>
                  <a:pt x="229" y="22"/>
                </a:lnTo>
                <a:lnTo>
                  <a:pt x="227" y="20"/>
                </a:lnTo>
                <a:lnTo>
                  <a:pt x="225" y="20"/>
                </a:lnTo>
                <a:lnTo>
                  <a:pt x="225" y="20"/>
                </a:lnTo>
                <a:lnTo>
                  <a:pt x="225" y="24"/>
                </a:lnTo>
                <a:lnTo>
                  <a:pt x="225" y="24"/>
                </a:lnTo>
                <a:lnTo>
                  <a:pt x="219" y="24"/>
                </a:lnTo>
                <a:lnTo>
                  <a:pt x="219" y="24"/>
                </a:lnTo>
                <a:lnTo>
                  <a:pt x="219" y="26"/>
                </a:lnTo>
                <a:lnTo>
                  <a:pt x="219" y="26"/>
                </a:lnTo>
                <a:lnTo>
                  <a:pt x="221" y="28"/>
                </a:lnTo>
                <a:lnTo>
                  <a:pt x="221" y="28"/>
                </a:lnTo>
                <a:lnTo>
                  <a:pt x="221" y="28"/>
                </a:lnTo>
                <a:lnTo>
                  <a:pt x="225" y="28"/>
                </a:lnTo>
                <a:lnTo>
                  <a:pt x="225" y="28"/>
                </a:lnTo>
                <a:lnTo>
                  <a:pt x="227" y="30"/>
                </a:lnTo>
                <a:lnTo>
                  <a:pt x="227" y="30"/>
                </a:lnTo>
                <a:lnTo>
                  <a:pt x="229" y="34"/>
                </a:lnTo>
                <a:lnTo>
                  <a:pt x="229" y="34"/>
                </a:lnTo>
                <a:lnTo>
                  <a:pt x="229" y="36"/>
                </a:lnTo>
                <a:lnTo>
                  <a:pt x="227" y="36"/>
                </a:lnTo>
                <a:lnTo>
                  <a:pt x="227" y="36"/>
                </a:lnTo>
                <a:lnTo>
                  <a:pt x="225" y="34"/>
                </a:lnTo>
                <a:lnTo>
                  <a:pt x="223" y="32"/>
                </a:lnTo>
                <a:lnTo>
                  <a:pt x="223" y="32"/>
                </a:lnTo>
                <a:lnTo>
                  <a:pt x="217" y="30"/>
                </a:lnTo>
                <a:lnTo>
                  <a:pt x="217" y="30"/>
                </a:lnTo>
                <a:lnTo>
                  <a:pt x="217" y="32"/>
                </a:lnTo>
                <a:lnTo>
                  <a:pt x="217" y="32"/>
                </a:lnTo>
                <a:lnTo>
                  <a:pt x="219" y="34"/>
                </a:lnTo>
                <a:lnTo>
                  <a:pt x="219" y="34"/>
                </a:lnTo>
                <a:lnTo>
                  <a:pt x="219" y="34"/>
                </a:lnTo>
                <a:lnTo>
                  <a:pt x="221" y="36"/>
                </a:lnTo>
                <a:lnTo>
                  <a:pt x="221" y="36"/>
                </a:lnTo>
                <a:lnTo>
                  <a:pt x="219" y="38"/>
                </a:lnTo>
                <a:lnTo>
                  <a:pt x="217" y="40"/>
                </a:lnTo>
                <a:lnTo>
                  <a:pt x="217" y="40"/>
                </a:lnTo>
                <a:lnTo>
                  <a:pt x="215" y="40"/>
                </a:lnTo>
                <a:lnTo>
                  <a:pt x="215" y="40"/>
                </a:lnTo>
                <a:lnTo>
                  <a:pt x="215" y="36"/>
                </a:lnTo>
                <a:lnTo>
                  <a:pt x="213" y="32"/>
                </a:lnTo>
                <a:lnTo>
                  <a:pt x="213" y="32"/>
                </a:lnTo>
                <a:lnTo>
                  <a:pt x="213" y="32"/>
                </a:lnTo>
                <a:lnTo>
                  <a:pt x="213" y="34"/>
                </a:lnTo>
                <a:lnTo>
                  <a:pt x="211" y="34"/>
                </a:lnTo>
                <a:lnTo>
                  <a:pt x="211" y="34"/>
                </a:lnTo>
                <a:lnTo>
                  <a:pt x="211" y="38"/>
                </a:lnTo>
                <a:lnTo>
                  <a:pt x="211" y="38"/>
                </a:lnTo>
                <a:lnTo>
                  <a:pt x="209" y="40"/>
                </a:lnTo>
                <a:lnTo>
                  <a:pt x="209" y="42"/>
                </a:lnTo>
                <a:lnTo>
                  <a:pt x="209" y="42"/>
                </a:lnTo>
                <a:lnTo>
                  <a:pt x="207" y="42"/>
                </a:lnTo>
                <a:lnTo>
                  <a:pt x="209" y="38"/>
                </a:lnTo>
                <a:lnTo>
                  <a:pt x="209" y="34"/>
                </a:lnTo>
                <a:lnTo>
                  <a:pt x="205" y="32"/>
                </a:lnTo>
                <a:lnTo>
                  <a:pt x="205" y="32"/>
                </a:lnTo>
                <a:lnTo>
                  <a:pt x="201" y="38"/>
                </a:lnTo>
                <a:lnTo>
                  <a:pt x="197" y="44"/>
                </a:lnTo>
                <a:lnTo>
                  <a:pt x="197" y="44"/>
                </a:lnTo>
                <a:lnTo>
                  <a:pt x="195" y="44"/>
                </a:lnTo>
                <a:lnTo>
                  <a:pt x="195" y="44"/>
                </a:lnTo>
                <a:lnTo>
                  <a:pt x="195" y="36"/>
                </a:lnTo>
                <a:lnTo>
                  <a:pt x="195" y="36"/>
                </a:lnTo>
                <a:lnTo>
                  <a:pt x="193" y="38"/>
                </a:lnTo>
                <a:lnTo>
                  <a:pt x="191" y="38"/>
                </a:lnTo>
                <a:lnTo>
                  <a:pt x="191" y="38"/>
                </a:lnTo>
                <a:lnTo>
                  <a:pt x="189" y="42"/>
                </a:lnTo>
                <a:lnTo>
                  <a:pt x="189" y="46"/>
                </a:lnTo>
                <a:lnTo>
                  <a:pt x="189" y="46"/>
                </a:lnTo>
                <a:lnTo>
                  <a:pt x="193" y="46"/>
                </a:lnTo>
                <a:lnTo>
                  <a:pt x="193" y="46"/>
                </a:lnTo>
                <a:lnTo>
                  <a:pt x="193" y="52"/>
                </a:lnTo>
                <a:lnTo>
                  <a:pt x="193" y="54"/>
                </a:lnTo>
                <a:lnTo>
                  <a:pt x="191" y="54"/>
                </a:lnTo>
                <a:lnTo>
                  <a:pt x="191" y="54"/>
                </a:lnTo>
                <a:lnTo>
                  <a:pt x="189" y="50"/>
                </a:lnTo>
                <a:lnTo>
                  <a:pt x="189" y="48"/>
                </a:lnTo>
                <a:lnTo>
                  <a:pt x="189" y="48"/>
                </a:lnTo>
                <a:lnTo>
                  <a:pt x="185" y="48"/>
                </a:lnTo>
                <a:lnTo>
                  <a:pt x="185" y="48"/>
                </a:lnTo>
                <a:lnTo>
                  <a:pt x="187" y="52"/>
                </a:lnTo>
                <a:lnTo>
                  <a:pt x="187" y="52"/>
                </a:lnTo>
                <a:lnTo>
                  <a:pt x="187" y="52"/>
                </a:lnTo>
                <a:lnTo>
                  <a:pt x="187" y="52"/>
                </a:lnTo>
                <a:lnTo>
                  <a:pt x="187" y="54"/>
                </a:lnTo>
                <a:lnTo>
                  <a:pt x="187" y="54"/>
                </a:lnTo>
                <a:lnTo>
                  <a:pt x="185" y="54"/>
                </a:lnTo>
                <a:lnTo>
                  <a:pt x="185" y="54"/>
                </a:lnTo>
                <a:lnTo>
                  <a:pt x="185" y="54"/>
                </a:lnTo>
                <a:lnTo>
                  <a:pt x="181" y="54"/>
                </a:lnTo>
                <a:lnTo>
                  <a:pt x="181" y="54"/>
                </a:lnTo>
                <a:lnTo>
                  <a:pt x="181" y="52"/>
                </a:lnTo>
                <a:lnTo>
                  <a:pt x="179" y="50"/>
                </a:lnTo>
                <a:lnTo>
                  <a:pt x="179" y="50"/>
                </a:lnTo>
                <a:lnTo>
                  <a:pt x="179" y="58"/>
                </a:lnTo>
                <a:lnTo>
                  <a:pt x="175" y="60"/>
                </a:lnTo>
                <a:lnTo>
                  <a:pt x="175" y="60"/>
                </a:lnTo>
                <a:lnTo>
                  <a:pt x="173" y="66"/>
                </a:lnTo>
                <a:lnTo>
                  <a:pt x="171" y="68"/>
                </a:lnTo>
                <a:lnTo>
                  <a:pt x="171" y="68"/>
                </a:lnTo>
                <a:lnTo>
                  <a:pt x="173" y="72"/>
                </a:lnTo>
                <a:lnTo>
                  <a:pt x="171" y="76"/>
                </a:lnTo>
                <a:lnTo>
                  <a:pt x="171" y="76"/>
                </a:lnTo>
                <a:lnTo>
                  <a:pt x="169" y="76"/>
                </a:lnTo>
                <a:lnTo>
                  <a:pt x="167" y="78"/>
                </a:lnTo>
                <a:lnTo>
                  <a:pt x="167" y="78"/>
                </a:lnTo>
                <a:lnTo>
                  <a:pt x="165" y="78"/>
                </a:lnTo>
                <a:lnTo>
                  <a:pt x="161" y="78"/>
                </a:lnTo>
                <a:lnTo>
                  <a:pt x="161" y="78"/>
                </a:lnTo>
                <a:lnTo>
                  <a:pt x="157" y="82"/>
                </a:lnTo>
                <a:lnTo>
                  <a:pt x="157" y="82"/>
                </a:lnTo>
                <a:lnTo>
                  <a:pt x="157" y="84"/>
                </a:lnTo>
                <a:lnTo>
                  <a:pt x="157" y="84"/>
                </a:lnTo>
                <a:lnTo>
                  <a:pt x="165" y="84"/>
                </a:lnTo>
                <a:lnTo>
                  <a:pt x="165" y="84"/>
                </a:lnTo>
                <a:lnTo>
                  <a:pt x="167" y="82"/>
                </a:lnTo>
                <a:lnTo>
                  <a:pt x="169" y="82"/>
                </a:lnTo>
                <a:lnTo>
                  <a:pt x="171" y="82"/>
                </a:lnTo>
                <a:lnTo>
                  <a:pt x="171" y="82"/>
                </a:lnTo>
                <a:lnTo>
                  <a:pt x="171" y="82"/>
                </a:lnTo>
                <a:lnTo>
                  <a:pt x="171" y="84"/>
                </a:lnTo>
                <a:lnTo>
                  <a:pt x="171" y="84"/>
                </a:lnTo>
                <a:lnTo>
                  <a:pt x="165" y="86"/>
                </a:lnTo>
                <a:lnTo>
                  <a:pt x="163" y="86"/>
                </a:lnTo>
                <a:lnTo>
                  <a:pt x="161" y="90"/>
                </a:lnTo>
                <a:lnTo>
                  <a:pt x="163" y="96"/>
                </a:lnTo>
                <a:lnTo>
                  <a:pt x="163" y="96"/>
                </a:lnTo>
                <a:lnTo>
                  <a:pt x="159" y="92"/>
                </a:lnTo>
                <a:lnTo>
                  <a:pt x="157" y="90"/>
                </a:lnTo>
                <a:lnTo>
                  <a:pt x="149" y="90"/>
                </a:lnTo>
                <a:lnTo>
                  <a:pt x="149" y="92"/>
                </a:lnTo>
                <a:lnTo>
                  <a:pt x="151" y="92"/>
                </a:lnTo>
                <a:lnTo>
                  <a:pt x="151" y="92"/>
                </a:lnTo>
                <a:lnTo>
                  <a:pt x="155" y="92"/>
                </a:lnTo>
                <a:lnTo>
                  <a:pt x="155" y="94"/>
                </a:lnTo>
                <a:lnTo>
                  <a:pt x="155" y="94"/>
                </a:lnTo>
                <a:lnTo>
                  <a:pt x="151" y="94"/>
                </a:lnTo>
                <a:lnTo>
                  <a:pt x="151" y="94"/>
                </a:lnTo>
                <a:lnTo>
                  <a:pt x="151" y="96"/>
                </a:lnTo>
                <a:lnTo>
                  <a:pt x="151" y="96"/>
                </a:lnTo>
                <a:lnTo>
                  <a:pt x="157" y="96"/>
                </a:lnTo>
                <a:lnTo>
                  <a:pt x="157" y="96"/>
                </a:lnTo>
                <a:lnTo>
                  <a:pt x="155" y="100"/>
                </a:lnTo>
                <a:lnTo>
                  <a:pt x="155" y="102"/>
                </a:lnTo>
                <a:lnTo>
                  <a:pt x="157" y="102"/>
                </a:lnTo>
                <a:lnTo>
                  <a:pt x="157" y="102"/>
                </a:lnTo>
                <a:lnTo>
                  <a:pt x="157" y="104"/>
                </a:lnTo>
                <a:lnTo>
                  <a:pt x="157" y="104"/>
                </a:lnTo>
                <a:lnTo>
                  <a:pt x="147" y="104"/>
                </a:lnTo>
                <a:lnTo>
                  <a:pt x="147" y="104"/>
                </a:lnTo>
                <a:lnTo>
                  <a:pt x="147" y="110"/>
                </a:lnTo>
                <a:lnTo>
                  <a:pt x="147" y="110"/>
                </a:lnTo>
                <a:lnTo>
                  <a:pt x="149" y="112"/>
                </a:lnTo>
                <a:lnTo>
                  <a:pt x="149" y="112"/>
                </a:lnTo>
                <a:lnTo>
                  <a:pt x="147" y="114"/>
                </a:lnTo>
                <a:lnTo>
                  <a:pt x="147" y="114"/>
                </a:lnTo>
                <a:lnTo>
                  <a:pt x="143" y="114"/>
                </a:lnTo>
                <a:lnTo>
                  <a:pt x="143" y="114"/>
                </a:lnTo>
                <a:lnTo>
                  <a:pt x="143" y="116"/>
                </a:lnTo>
                <a:lnTo>
                  <a:pt x="141" y="120"/>
                </a:lnTo>
                <a:lnTo>
                  <a:pt x="141" y="120"/>
                </a:lnTo>
                <a:lnTo>
                  <a:pt x="137" y="118"/>
                </a:lnTo>
                <a:lnTo>
                  <a:pt x="133" y="120"/>
                </a:lnTo>
                <a:lnTo>
                  <a:pt x="133" y="120"/>
                </a:lnTo>
                <a:lnTo>
                  <a:pt x="133" y="122"/>
                </a:lnTo>
                <a:lnTo>
                  <a:pt x="133" y="124"/>
                </a:lnTo>
                <a:lnTo>
                  <a:pt x="133" y="124"/>
                </a:lnTo>
                <a:lnTo>
                  <a:pt x="123" y="128"/>
                </a:lnTo>
                <a:lnTo>
                  <a:pt x="123" y="128"/>
                </a:lnTo>
                <a:lnTo>
                  <a:pt x="123" y="130"/>
                </a:lnTo>
                <a:lnTo>
                  <a:pt x="123" y="130"/>
                </a:lnTo>
                <a:lnTo>
                  <a:pt x="125" y="132"/>
                </a:lnTo>
                <a:lnTo>
                  <a:pt x="127" y="132"/>
                </a:lnTo>
                <a:lnTo>
                  <a:pt x="125" y="132"/>
                </a:lnTo>
                <a:lnTo>
                  <a:pt x="123" y="132"/>
                </a:lnTo>
                <a:lnTo>
                  <a:pt x="123" y="132"/>
                </a:lnTo>
                <a:lnTo>
                  <a:pt x="125" y="140"/>
                </a:lnTo>
                <a:lnTo>
                  <a:pt x="125" y="140"/>
                </a:lnTo>
                <a:lnTo>
                  <a:pt x="117" y="146"/>
                </a:lnTo>
                <a:lnTo>
                  <a:pt x="117" y="146"/>
                </a:lnTo>
                <a:lnTo>
                  <a:pt x="113" y="146"/>
                </a:lnTo>
                <a:lnTo>
                  <a:pt x="113" y="146"/>
                </a:lnTo>
                <a:lnTo>
                  <a:pt x="113" y="150"/>
                </a:lnTo>
                <a:lnTo>
                  <a:pt x="113" y="150"/>
                </a:lnTo>
                <a:lnTo>
                  <a:pt x="107" y="150"/>
                </a:lnTo>
                <a:lnTo>
                  <a:pt x="107" y="150"/>
                </a:lnTo>
                <a:lnTo>
                  <a:pt x="103" y="152"/>
                </a:lnTo>
                <a:lnTo>
                  <a:pt x="103" y="152"/>
                </a:lnTo>
                <a:lnTo>
                  <a:pt x="107" y="158"/>
                </a:lnTo>
                <a:lnTo>
                  <a:pt x="107" y="160"/>
                </a:lnTo>
                <a:lnTo>
                  <a:pt x="105" y="162"/>
                </a:lnTo>
                <a:lnTo>
                  <a:pt x="105" y="162"/>
                </a:lnTo>
                <a:lnTo>
                  <a:pt x="101" y="160"/>
                </a:lnTo>
                <a:lnTo>
                  <a:pt x="97" y="160"/>
                </a:lnTo>
                <a:lnTo>
                  <a:pt x="97" y="160"/>
                </a:lnTo>
                <a:lnTo>
                  <a:pt x="95" y="160"/>
                </a:lnTo>
                <a:lnTo>
                  <a:pt x="95" y="162"/>
                </a:lnTo>
                <a:lnTo>
                  <a:pt x="95" y="164"/>
                </a:lnTo>
                <a:lnTo>
                  <a:pt x="95" y="164"/>
                </a:lnTo>
                <a:lnTo>
                  <a:pt x="91" y="166"/>
                </a:lnTo>
                <a:lnTo>
                  <a:pt x="91" y="166"/>
                </a:lnTo>
                <a:lnTo>
                  <a:pt x="91" y="168"/>
                </a:lnTo>
                <a:lnTo>
                  <a:pt x="91" y="168"/>
                </a:lnTo>
                <a:lnTo>
                  <a:pt x="89" y="168"/>
                </a:lnTo>
                <a:lnTo>
                  <a:pt x="87" y="168"/>
                </a:lnTo>
                <a:lnTo>
                  <a:pt x="87" y="168"/>
                </a:lnTo>
                <a:lnTo>
                  <a:pt x="87" y="168"/>
                </a:lnTo>
                <a:lnTo>
                  <a:pt x="85" y="170"/>
                </a:lnTo>
                <a:lnTo>
                  <a:pt x="85" y="172"/>
                </a:lnTo>
                <a:lnTo>
                  <a:pt x="85" y="172"/>
                </a:lnTo>
                <a:lnTo>
                  <a:pt x="79" y="178"/>
                </a:lnTo>
                <a:lnTo>
                  <a:pt x="79" y="178"/>
                </a:lnTo>
                <a:lnTo>
                  <a:pt x="77" y="180"/>
                </a:lnTo>
                <a:lnTo>
                  <a:pt x="74" y="184"/>
                </a:lnTo>
                <a:lnTo>
                  <a:pt x="74" y="184"/>
                </a:lnTo>
                <a:lnTo>
                  <a:pt x="74" y="184"/>
                </a:lnTo>
                <a:lnTo>
                  <a:pt x="70" y="184"/>
                </a:lnTo>
                <a:lnTo>
                  <a:pt x="70" y="184"/>
                </a:lnTo>
                <a:lnTo>
                  <a:pt x="72" y="190"/>
                </a:lnTo>
                <a:lnTo>
                  <a:pt x="72" y="190"/>
                </a:lnTo>
                <a:lnTo>
                  <a:pt x="81" y="186"/>
                </a:lnTo>
                <a:lnTo>
                  <a:pt x="91" y="180"/>
                </a:lnTo>
                <a:lnTo>
                  <a:pt x="91" y="180"/>
                </a:lnTo>
                <a:lnTo>
                  <a:pt x="89" y="184"/>
                </a:lnTo>
                <a:lnTo>
                  <a:pt x="89" y="184"/>
                </a:lnTo>
                <a:lnTo>
                  <a:pt x="83" y="188"/>
                </a:lnTo>
                <a:lnTo>
                  <a:pt x="79" y="190"/>
                </a:lnTo>
                <a:lnTo>
                  <a:pt x="79" y="190"/>
                </a:lnTo>
                <a:lnTo>
                  <a:pt x="79" y="196"/>
                </a:lnTo>
                <a:lnTo>
                  <a:pt x="79" y="196"/>
                </a:lnTo>
                <a:lnTo>
                  <a:pt x="68" y="194"/>
                </a:lnTo>
                <a:lnTo>
                  <a:pt x="68" y="194"/>
                </a:lnTo>
                <a:lnTo>
                  <a:pt x="68" y="190"/>
                </a:lnTo>
                <a:lnTo>
                  <a:pt x="68" y="190"/>
                </a:lnTo>
                <a:lnTo>
                  <a:pt x="66" y="188"/>
                </a:lnTo>
                <a:lnTo>
                  <a:pt x="66" y="188"/>
                </a:lnTo>
                <a:lnTo>
                  <a:pt x="60" y="190"/>
                </a:lnTo>
                <a:lnTo>
                  <a:pt x="54" y="190"/>
                </a:lnTo>
                <a:lnTo>
                  <a:pt x="54" y="196"/>
                </a:lnTo>
                <a:lnTo>
                  <a:pt x="54" y="196"/>
                </a:lnTo>
                <a:lnTo>
                  <a:pt x="56" y="196"/>
                </a:lnTo>
                <a:lnTo>
                  <a:pt x="56" y="196"/>
                </a:lnTo>
                <a:lnTo>
                  <a:pt x="54" y="198"/>
                </a:lnTo>
                <a:lnTo>
                  <a:pt x="54" y="198"/>
                </a:lnTo>
                <a:lnTo>
                  <a:pt x="52" y="198"/>
                </a:lnTo>
                <a:lnTo>
                  <a:pt x="50" y="198"/>
                </a:lnTo>
                <a:lnTo>
                  <a:pt x="50" y="198"/>
                </a:lnTo>
                <a:lnTo>
                  <a:pt x="48" y="200"/>
                </a:lnTo>
                <a:lnTo>
                  <a:pt x="48" y="202"/>
                </a:lnTo>
                <a:lnTo>
                  <a:pt x="48" y="204"/>
                </a:lnTo>
                <a:lnTo>
                  <a:pt x="48" y="202"/>
                </a:lnTo>
                <a:lnTo>
                  <a:pt x="48" y="202"/>
                </a:lnTo>
                <a:lnTo>
                  <a:pt x="44" y="202"/>
                </a:lnTo>
                <a:lnTo>
                  <a:pt x="44" y="202"/>
                </a:lnTo>
                <a:lnTo>
                  <a:pt x="44" y="206"/>
                </a:lnTo>
                <a:lnTo>
                  <a:pt x="44" y="206"/>
                </a:lnTo>
                <a:lnTo>
                  <a:pt x="44" y="206"/>
                </a:lnTo>
                <a:lnTo>
                  <a:pt x="42" y="204"/>
                </a:lnTo>
                <a:lnTo>
                  <a:pt x="42" y="204"/>
                </a:lnTo>
                <a:lnTo>
                  <a:pt x="30" y="204"/>
                </a:lnTo>
                <a:lnTo>
                  <a:pt x="30" y="204"/>
                </a:lnTo>
                <a:lnTo>
                  <a:pt x="32" y="208"/>
                </a:lnTo>
                <a:lnTo>
                  <a:pt x="32" y="208"/>
                </a:lnTo>
                <a:lnTo>
                  <a:pt x="34" y="208"/>
                </a:lnTo>
                <a:lnTo>
                  <a:pt x="34" y="208"/>
                </a:lnTo>
                <a:lnTo>
                  <a:pt x="36" y="210"/>
                </a:lnTo>
                <a:lnTo>
                  <a:pt x="36" y="212"/>
                </a:lnTo>
                <a:lnTo>
                  <a:pt x="36" y="212"/>
                </a:lnTo>
                <a:lnTo>
                  <a:pt x="32" y="216"/>
                </a:lnTo>
                <a:lnTo>
                  <a:pt x="32" y="216"/>
                </a:lnTo>
                <a:lnTo>
                  <a:pt x="32" y="218"/>
                </a:lnTo>
                <a:lnTo>
                  <a:pt x="32" y="218"/>
                </a:lnTo>
                <a:lnTo>
                  <a:pt x="30" y="216"/>
                </a:lnTo>
                <a:lnTo>
                  <a:pt x="30" y="216"/>
                </a:lnTo>
                <a:lnTo>
                  <a:pt x="26" y="216"/>
                </a:lnTo>
                <a:lnTo>
                  <a:pt x="22" y="216"/>
                </a:lnTo>
                <a:lnTo>
                  <a:pt x="22" y="216"/>
                </a:lnTo>
                <a:lnTo>
                  <a:pt x="22" y="218"/>
                </a:lnTo>
                <a:lnTo>
                  <a:pt x="20" y="222"/>
                </a:lnTo>
                <a:lnTo>
                  <a:pt x="20" y="222"/>
                </a:lnTo>
                <a:lnTo>
                  <a:pt x="28" y="222"/>
                </a:lnTo>
                <a:lnTo>
                  <a:pt x="30" y="224"/>
                </a:lnTo>
                <a:lnTo>
                  <a:pt x="24" y="226"/>
                </a:lnTo>
                <a:lnTo>
                  <a:pt x="24" y="226"/>
                </a:lnTo>
                <a:lnTo>
                  <a:pt x="24" y="226"/>
                </a:lnTo>
                <a:lnTo>
                  <a:pt x="24" y="228"/>
                </a:lnTo>
                <a:lnTo>
                  <a:pt x="24" y="228"/>
                </a:lnTo>
                <a:lnTo>
                  <a:pt x="22" y="226"/>
                </a:lnTo>
                <a:lnTo>
                  <a:pt x="20" y="224"/>
                </a:lnTo>
                <a:lnTo>
                  <a:pt x="20" y="224"/>
                </a:lnTo>
                <a:lnTo>
                  <a:pt x="20" y="228"/>
                </a:lnTo>
                <a:lnTo>
                  <a:pt x="20" y="228"/>
                </a:lnTo>
                <a:lnTo>
                  <a:pt x="14" y="228"/>
                </a:lnTo>
                <a:lnTo>
                  <a:pt x="8" y="228"/>
                </a:lnTo>
                <a:lnTo>
                  <a:pt x="8" y="228"/>
                </a:lnTo>
                <a:lnTo>
                  <a:pt x="8" y="230"/>
                </a:lnTo>
                <a:lnTo>
                  <a:pt x="8" y="230"/>
                </a:lnTo>
                <a:lnTo>
                  <a:pt x="6" y="228"/>
                </a:lnTo>
                <a:lnTo>
                  <a:pt x="4" y="228"/>
                </a:lnTo>
                <a:lnTo>
                  <a:pt x="4" y="228"/>
                </a:lnTo>
                <a:lnTo>
                  <a:pt x="4" y="232"/>
                </a:lnTo>
                <a:lnTo>
                  <a:pt x="4" y="232"/>
                </a:lnTo>
                <a:lnTo>
                  <a:pt x="16" y="234"/>
                </a:lnTo>
                <a:lnTo>
                  <a:pt x="16" y="234"/>
                </a:lnTo>
                <a:lnTo>
                  <a:pt x="16" y="234"/>
                </a:lnTo>
                <a:lnTo>
                  <a:pt x="16" y="234"/>
                </a:lnTo>
                <a:lnTo>
                  <a:pt x="18" y="234"/>
                </a:lnTo>
                <a:lnTo>
                  <a:pt x="18" y="234"/>
                </a:lnTo>
                <a:lnTo>
                  <a:pt x="18" y="236"/>
                </a:lnTo>
                <a:lnTo>
                  <a:pt x="18" y="236"/>
                </a:lnTo>
                <a:lnTo>
                  <a:pt x="0" y="236"/>
                </a:lnTo>
                <a:lnTo>
                  <a:pt x="0" y="236"/>
                </a:lnTo>
                <a:lnTo>
                  <a:pt x="0" y="242"/>
                </a:lnTo>
                <a:lnTo>
                  <a:pt x="0" y="248"/>
                </a:lnTo>
                <a:lnTo>
                  <a:pt x="0" y="248"/>
                </a:lnTo>
                <a:lnTo>
                  <a:pt x="4" y="248"/>
                </a:lnTo>
                <a:lnTo>
                  <a:pt x="4" y="248"/>
                </a:lnTo>
                <a:lnTo>
                  <a:pt x="6" y="246"/>
                </a:lnTo>
                <a:lnTo>
                  <a:pt x="6" y="246"/>
                </a:lnTo>
                <a:lnTo>
                  <a:pt x="8" y="246"/>
                </a:lnTo>
                <a:lnTo>
                  <a:pt x="8" y="246"/>
                </a:lnTo>
                <a:lnTo>
                  <a:pt x="12" y="250"/>
                </a:lnTo>
                <a:lnTo>
                  <a:pt x="12" y="250"/>
                </a:lnTo>
                <a:lnTo>
                  <a:pt x="16" y="250"/>
                </a:lnTo>
                <a:lnTo>
                  <a:pt x="16" y="250"/>
                </a:lnTo>
                <a:lnTo>
                  <a:pt x="16" y="246"/>
                </a:lnTo>
                <a:lnTo>
                  <a:pt x="16" y="246"/>
                </a:lnTo>
                <a:lnTo>
                  <a:pt x="18" y="244"/>
                </a:lnTo>
                <a:lnTo>
                  <a:pt x="18" y="244"/>
                </a:lnTo>
                <a:lnTo>
                  <a:pt x="20" y="248"/>
                </a:lnTo>
                <a:lnTo>
                  <a:pt x="20" y="248"/>
                </a:lnTo>
                <a:lnTo>
                  <a:pt x="22" y="246"/>
                </a:lnTo>
                <a:lnTo>
                  <a:pt x="24" y="246"/>
                </a:lnTo>
                <a:lnTo>
                  <a:pt x="24" y="246"/>
                </a:lnTo>
                <a:lnTo>
                  <a:pt x="26" y="248"/>
                </a:lnTo>
                <a:lnTo>
                  <a:pt x="26" y="250"/>
                </a:lnTo>
                <a:lnTo>
                  <a:pt x="26" y="250"/>
                </a:lnTo>
                <a:lnTo>
                  <a:pt x="28" y="248"/>
                </a:lnTo>
                <a:lnTo>
                  <a:pt x="30" y="246"/>
                </a:lnTo>
                <a:lnTo>
                  <a:pt x="30" y="246"/>
                </a:lnTo>
                <a:lnTo>
                  <a:pt x="30" y="250"/>
                </a:lnTo>
                <a:lnTo>
                  <a:pt x="30" y="250"/>
                </a:lnTo>
                <a:lnTo>
                  <a:pt x="24" y="250"/>
                </a:lnTo>
                <a:lnTo>
                  <a:pt x="24" y="252"/>
                </a:lnTo>
                <a:lnTo>
                  <a:pt x="24" y="252"/>
                </a:lnTo>
                <a:lnTo>
                  <a:pt x="22" y="252"/>
                </a:lnTo>
                <a:lnTo>
                  <a:pt x="20" y="250"/>
                </a:lnTo>
                <a:lnTo>
                  <a:pt x="20" y="250"/>
                </a:lnTo>
                <a:lnTo>
                  <a:pt x="4" y="250"/>
                </a:lnTo>
                <a:lnTo>
                  <a:pt x="2" y="252"/>
                </a:lnTo>
                <a:lnTo>
                  <a:pt x="2" y="252"/>
                </a:lnTo>
                <a:lnTo>
                  <a:pt x="0" y="252"/>
                </a:lnTo>
                <a:lnTo>
                  <a:pt x="0" y="252"/>
                </a:lnTo>
                <a:lnTo>
                  <a:pt x="0" y="254"/>
                </a:lnTo>
                <a:lnTo>
                  <a:pt x="0" y="254"/>
                </a:lnTo>
                <a:lnTo>
                  <a:pt x="6" y="256"/>
                </a:lnTo>
                <a:lnTo>
                  <a:pt x="6" y="256"/>
                </a:lnTo>
                <a:lnTo>
                  <a:pt x="6" y="256"/>
                </a:lnTo>
                <a:lnTo>
                  <a:pt x="6" y="256"/>
                </a:lnTo>
                <a:lnTo>
                  <a:pt x="6" y="256"/>
                </a:lnTo>
                <a:lnTo>
                  <a:pt x="6" y="260"/>
                </a:lnTo>
                <a:lnTo>
                  <a:pt x="6" y="260"/>
                </a:lnTo>
                <a:lnTo>
                  <a:pt x="2" y="260"/>
                </a:lnTo>
                <a:lnTo>
                  <a:pt x="2" y="260"/>
                </a:lnTo>
                <a:lnTo>
                  <a:pt x="2" y="262"/>
                </a:lnTo>
                <a:lnTo>
                  <a:pt x="2" y="262"/>
                </a:lnTo>
                <a:lnTo>
                  <a:pt x="2" y="262"/>
                </a:lnTo>
                <a:lnTo>
                  <a:pt x="0" y="264"/>
                </a:lnTo>
                <a:lnTo>
                  <a:pt x="0" y="264"/>
                </a:lnTo>
                <a:lnTo>
                  <a:pt x="0" y="264"/>
                </a:lnTo>
                <a:lnTo>
                  <a:pt x="0" y="264"/>
                </a:lnTo>
                <a:lnTo>
                  <a:pt x="6" y="266"/>
                </a:lnTo>
                <a:lnTo>
                  <a:pt x="6" y="266"/>
                </a:lnTo>
                <a:lnTo>
                  <a:pt x="6" y="264"/>
                </a:lnTo>
                <a:lnTo>
                  <a:pt x="6" y="264"/>
                </a:lnTo>
                <a:lnTo>
                  <a:pt x="8" y="264"/>
                </a:lnTo>
                <a:lnTo>
                  <a:pt x="8" y="264"/>
                </a:lnTo>
                <a:lnTo>
                  <a:pt x="8" y="264"/>
                </a:lnTo>
                <a:lnTo>
                  <a:pt x="10" y="266"/>
                </a:lnTo>
                <a:lnTo>
                  <a:pt x="8" y="266"/>
                </a:lnTo>
                <a:lnTo>
                  <a:pt x="6" y="266"/>
                </a:lnTo>
                <a:lnTo>
                  <a:pt x="6" y="266"/>
                </a:lnTo>
                <a:lnTo>
                  <a:pt x="6" y="270"/>
                </a:lnTo>
                <a:lnTo>
                  <a:pt x="6" y="270"/>
                </a:lnTo>
                <a:lnTo>
                  <a:pt x="12" y="268"/>
                </a:lnTo>
                <a:lnTo>
                  <a:pt x="12" y="268"/>
                </a:lnTo>
                <a:lnTo>
                  <a:pt x="12" y="272"/>
                </a:lnTo>
                <a:lnTo>
                  <a:pt x="14" y="272"/>
                </a:lnTo>
                <a:lnTo>
                  <a:pt x="16" y="272"/>
                </a:lnTo>
                <a:lnTo>
                  <a:pt x="16" y="272"/>
                </a:lnTo>
                <a:lnTo>
                  <a:pt x="18" y="270"/>
                </a:lnTo>
                <a:lnTo>
                  <a:pt x="20" y="266"/>
                </a:lnTo>
                <a:lnTo>
                  <a:pt x="22" y="264"/>
                </a:lnTo>
                <a:lnTo>
                  <a:pt x="22" y="264"/>
                </a:lnTo>
                <a:lnTo>
                  <a:pt x="28" y="264"/>
                </a:lnTo>
                <a:lnTo>
                  <a:pt x="28" y="264"/>
                </a:lnTo>
                <a:lnTo>
                  <a:pt x="28" y="264"/>
                </a:lnTo>
                <a:lnTo>
                  <a:pt x="28" y="264"/>
                </a:lnTo>
                <a:lnTo>
                  <a:pt x="26" y="268"/>
                </a:lnTo>
                <a:lnTo>
                  <a:pt x="26" y="268"/>
                </a:lnTo>
                <a:lnTo>
                  <a:pt x="22" y="268"/>
                </a:lnTo>
                <a:lnTo>
                  <a:pt x="22" y="268"/>
                </a:lnTo>
                <a:lnTo>
                  <a:pt x="20" y="270"/>
                </a:lnTo>
                <a:lnTo>
                  <a:pt x="20" y="272"/>
                </a:lnTo>
                <a:lnTo>
                  <a:pt x="18" y="274"/>
                </a:lnTo>
                <a:lnTo>
                  <a:pt x="18" y="274"/>
                </a:lnTo>
                <a:lnTo>
                  <a:pt x="16" y="276"/>
                </a:lnTo>
                <a:lnTo>
                  <a:pt x="16" y="276"/>
                </a:lnTo>
                <a:lnTo>
                  <a:pt x="16" y="280"/>
                </a:lnTo>
                <a:lnTo>
                  <a:pt x="16" y="282"/>
                </a:lnTo>
                <a:lnTo>
                  <a:pt x="16" y="282"/>
                </a:lnTo>
                <a:lnTo>
                  <a:pt x="14" y="282"/>
                </a:lnTo>
                <a:lnTo>
                  <a:pt x="12" y="284"/>
                </a:lnTo>
                <a:lnTo>
                  <a:pt x="6" y="284"/>
                </a:lnTo>
                <a:lnTo>
                  <a:pt x="6" y="284"/>
                </a:lnTo>
                <a:lnTo>
                  <a:pt x="4" y="286"/>
                </a:lnTo>
                <a:lnTo>
                  <a:pt x="4" y="290"/>
                </a:lnTo>
                <a:lnTo>
                  <a:pt x="4" y="290"/>
                </a:lnTo>
                <a:lnTo>
                  <a:pt x="8" y="290"/>
                </a:lnTo>
                <a:lnTo>
                  <a:pt x="8" y="290"/>
                </a:lnTo>
                <a:lnTo>
                  <a:pt x="10" y="292"/>
                </a:lnTo>
                <a:lnTo>
                  <a:pt x="10" y="292"/>
                </a:lnTo>
                <a:lnTo>
                  <a:pt x="10" y="292"/>
                </a:lnTo>
                <a:lnTo>
                  <a:pt x="10" y="292"/>
                </a:lnTo>
                <a:lnTo>
                  <a:pt x="10" y="290"/>
                </a:lnTo>
                <a:lnTo>
                  <a:pt x="10" y="290"/>
                </a:lnTo>
                <a:lnTo>
                  <a:pt x="18" y="290"/>
                </a:lnTo>
                <a:lnTo>
                  <a:pt x="18" y="290"/>
                </a:lnTo>
                <a:lnTo>
                  <a:pt x="18" y="288"/>
                </a:lnTo>
                <a:lnTo>
                  <a:pt x="18" y="286"/>
                </a:lnTo>
                <a:lnTo>
                  <a:pt x="18" y="286"/>
                </a:lnTo>
                <a:lnTo>
                  <a:pt x="18" y="286"/>
                </a:lnTo>
                <a:lnTo>
                  <a:pt x="18" y="288"/>
                </a:lnTo>
                <a:lnTo>
                  <a:pt x="18" y="290"/>
                </a:lnTo>
                <a:lnTo>
                  <a:pt x="18" y="290"/>
                </a:lnTo>
                <a:lnTo>
                  <a:pt x="18" y="292"/>
                </a:lnTo>
                <a:lnTo>
                  <a:pt x="18" y="296"/>
                </a:lnTo>
                <a:lnTo>
                  <a:pt x="16" y="302"/>
                </a:lnTo>
                <a:lnTo>
                  <a:pt x="16" y="302"/>
                </a:lnTo>
                <a:lnTo>
                  <a:pt x="14" y="304"/>
                </a:lnTo>
                <a:lnTo>
                  <a:pt x="10" y="304"/>
                </a:lnTo>
                <a:lnTo>
                  <a:pt x="10" y="304"/>
                </a:lnTo>
                <a:lnTo>
                  <a:pt x="10" y="310"/>
                </a:lnTo>
                <a:lnTo>
                  <a:pt x="10" y="310"/>
                </a:lnTo>
                <a:lnTo>
                  <a:pt x="16" y="316"/>
                </a:lnTo>
                <a:lnTo>
                  <a:pt x="20" y="318"/>
                </a:lnTo>
                <a:lnTo>
                  <a:pt x="26" y="318"/>
                </a:lnTo>
                <a:lnTo>
                  <a:pt x="26" y="318"/>
                </a:lnTo>
                <a:lnTo>
                  <a:pt x="26" y="316"/>
                </a:lnTo>
                <a:lnTo>
                  <a:pt x="26" y="314"/>
                </a:lnTo>
                <a:lnTo>
                  <a:pt x="28" y="316"/>
                </a:lnTo>
                <a:lnTo>
                  <a:pt x="26" y="320"/>
                </a:lnTo>
                <a:lnTo>
                  <a:pt x="26" y="320"/>
                </a:lnTo>
                <a:lnTo>
                  <a:pt x="32" y="320"/>
                </a:lnTo>
                <a:lnTo>
                  <a:pt x="36" y="320"/>
                </a:lnTo>
                <a:lnTo>
                  <a:pt x="36" y="320"/>
                </a:lnTo>
                <a:lnTo>
                  <a:pt x="40" y="316"/>
                </a:lnTo>
                <a:lnTo>
                  <a:pt x="40" y="316"/>
                </a:lnTo>
                <a:lnTo>
                  <a:pt x="44" y="316"/>
                </a:lnTo>
                <a:lnTo>
                  <a:pt x="44" y="316"/>
                </a:lnTo>
                <a:lnTo>
                  <a:pt x="50" y="312"/>
                </a:lnTo>
                <a:lnTo>
                  <a:pt x="50" y="312"/>
                </a:lnTo>
                <a:lnTo>
                  <a:pt x="56" y="310"/>
                </a:lnTo>
                <a:lnTo>
                  <a:pt x="56" y="310"/>
                </a:lnTo>
                <a:lnTo>
                  <a:pt x="62" y="304"/>
                </a:lnTo>
                <a:lnTo>
                  <a:pt x="62" y="304"/>
                </a:lnTo>
                <a:lnTo>
                  <a:pt x="68" y="304"/>
                </a:lnTo>
                <a:lnTo>
                  <a:pt x="68" y="304"/>
                </a:lnTo>
                <a:lnTo>
                  <a:pt x="77" y="300"/>
                </a:lnTo>
                <a:lnTo>
                  <a:pt x="83" y="294"/>
                </a:lnTo>
                <a:lnTo>
                  <a:pt x="83" y="294"/>
                </a:lnTo>
                <a:lnTo>
                  <a:pt x="87" y="294"/>
                </a:lnTo>
                <a:lnTo>
                  <a:pt x="87" y="294"/>
                </a:lnTo>
                <a:lnTo>
                  <a:pt x="85" y="300"/>
                </a:lnTo>
                <a:lnTo>
                  <a:pt x="85" y="30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8" name="Freeform 122">
            <a:extLst>
              <a:ext uri="{FF2B5EF4-FFF2-40B4-BE49-F238E27FC236}">
                <a16:creationId xmlns:a16="http://schemas.microsoft.com/office/drawing/2014/main" id="{9E3C9652-87E3-495C-9CCC-600AF2D2EA7E}"/>
              </a:ext>
            </a:extLst>
          </p:cNvPr>
          <p:cNvSpPr>
            <a:spLocks noEditPoints="1"/>
          </p:cNvSpPr>
          <p:nvPr userDrawn="1"/>
        </p:nvSpPr>
        <p:spPr bwMode="auto">
          <a:xfrm>
            <a:off x="4329712" y="893885"/>
            <a:ext cx="955910" cy="765330"/>
          </a:xfrm>
          <a:custGeom>
            <a:avLst/>
            <a:gdLst>
              <a:gd name="T0" fmla="*/ 482 w 570"/>
              <a:gd name="T1" fmla="*/ 190 h 446"/>
              <a:gd name="T2" fmla="*/ 192 w 570"/>
              <a:gd name="T3" fmla="*/ 334 h 446"/>
              <a:gd name="T4" fmla="*/ 214 w 570"/>
              <a:gd name="T5" fmla="*/ 316 h 446"/>
              <a:gd name="T6" fmla="*/ 458 w 570"/>
              <a:gd name="T7" fmla="*/ 210 h 446"/>
              <a:gd name="T8" fmla="*/ 464 w 570"/>
              <a:gd name="T9" fmla="*/ 224 h 446"/>
              <a:gd name="T10" fmla="*/ 478 w 570"/>
              <a:gd name="T11" fmla="*/ 220 h 446"/>
              <a:gd name="T12" fmla="*/ 498 w 570"/>
              <a:gd name="T13" fmla="*/ 186 h 446"/>
              <a:gd name="T14" fmla="*/ 520 w 570"/>
              <a:gd name="T15" fmla="*/ 176 h 446"/>
              <a:gd name="T16" fmla="*/ 0 w 570"/>
              <a:gd name="T17" fmla="*/ 132 h 446"/>
              <a:gd name="T18" fmla="*/ 500 w 570"/>
              <a:gd name="T19" fmla="*/ 44 h 446"/>
              <a:gd name="T20" fmla="*/ 350 w 570"/>
              <a:gd name="T21" fmla="*/ 22 h 446"/>
              <a:gd name="T22" fmla="*/ 380 w 570"/>
              <a:gd name="T23" fmla="*/ 18 h 446"/>
              <a:gd name="T24" fmla="*/ 474 w 570"/>
              <a:gd name="T25" fmla="*/ 24 h 446"/>
              <a:gd name="T26" fmla="*/ 442 w 570"/>
              <a:gd name="T27" fmla="*/ 6 h 446"/>
              <a:gd name="T28" fmla="*/ 330 w 570"/>
              <a:gd name="T29" fmla="*/ 6 h 446"/>
              <a:gd name="T30" fmla="*/ 294 w 570"/>
              <a:gd name="T31" fmla="*/ 12 h 446"/>
              <a:gd name="T32" fmla="*/ 290 w 570"/>
              <a:gd name="T33" fmla="*/ 30 h 446"/>
              <a:gd name="T34" fmla="*/ 266 w 570"/>
              <a:gd name="T35" fmla="*/ 50 h 446"/>
              <a:gd name="T36" fmla="*/ 214 w 570"/>
              <a:gd name="T37" fmla="*/ 42 h 446"/>
              <a:gd name="T38" fmla="*/ 178 w 570"/>
              <a:gd name="T39" fmla="*/ 40 h 446"/>
              <a:gd name="T40" fmla="*/ 118 w 570"/>
              <a:gd name="T41" fmla="*/ 52 h 446"/>
              <a:gd name="T42" fmla="*/ 56 w 570"/>
              <a:gd name="T43" fmla="*/ 78 h 446"/>
              <a:gd name="T44" fmla="*/ 16 w 570"/>
              <a:gd name="T45" fmla="*/ 108 h 446"/>
              <a:gd name="T46" fmla="*/ 66 w 570"/>
              <a:gd name="T47" fmla="*/ 132 h 446"/>
              <a:gd name="T48" fmla="*/ 26 w 570"/>
              <a:gd name="T49" fmla="*/ 156 h 446"/>
              <a:gd name="T50" fmla="*/ 90 w 570"/>
              <a:gd name="T51" fmla="*/ 152 h 446"/>
              <a:gd name="T52" fmla="*/ 156 w 570"/>
              <a:gd name="T53" fmla="*/ 184 h 446"/>
              <a:gd name="T54" fmla="*/ 170 w 570"/>
              <a:gd name="T55" fmla="*/ 222 h 446"/>
              <a:gd name="T56" fmla="*/ 200 w 570"/>
              <a:gd name="T57" fmla="*/ 244 h 446"/>
              <a:gd name="T58" fmla="*/ 190 w 570"/>
              <a:gd name="T59" fmla="*/ 258 h 446"/>
              <a:gd name="T60" fmla="*/ 174 w 570"/>
              <a:gd name="T61" fmla="*/ 284 h 446"/>
              <a:gd name="T62" fmla="*/ 208 w 570"/>
              <a:gd name="T63" fmla="*/ 272 h 446"/>
              <a:gd name="T64" fmla="*/ 206 w 570"/>
              <a:gd name="T65" fmla="*/ 304 h 446"/>
              <a:gd name="T66" fmla="*/ 184 w 570"/>
              <a:gd name="T67" fmla="*/ 314 h 446"/>
              <a:gd name="T68" fmla="*/ 186 w 570"/>
              <a:gd name="T69" fmla="*/ 320 h 446"/>
              <a:gd name="T70" fmla="*/ 184 w 570"/>
              <a:gd name="T71" fmla="*/ 350 h 446"/>
              <a:gd name="T72" fmla="*/ 210 w 570"/>
              <a:gd name="T73" fmla="*/ 366 h 446"/>
              <a:gd name="T74" fmla="*/ 204 w 570"/>
              <a:gd name="T75" fmla="*/ 392 h 446"/>
              <a:gd name="T76" fmla="*/ 228 w 570"/>
              <a:gd name="T77" fmla="*/ 410 h 446"/>
              <a:gd name="T78" fmla="*/ 238 w 570"/>
              <a:gd name="T79" fmla="*/ 430 h 446"/>
              <a:gd name="T80" fmla="*/ 266 w 570"/>
              <a:gd name="T81" fmla="*/ 428 h 446"/>
              <a:gd name="T82" fmla="*/ 280 w 570"/>
              <a:gd name="T83" fmla="*/ 434 h 446"/>
              <a:gd name="T84" fmla="*/ 292 w 570"/>
              <a:gd name="T85" fmla="*/ 398 h 446"/>
              <a:gd name="T86" fmla="*/ 302 w 570"/>
              <a:gd name="T87" fmla="*/ 358 h 446"/>
              <a:gd name="T88" fmla="*/ 338 w 570"/>
              <a:gd name="T89" fmla="*/ 350 h 446"/>
              <a:gd name="T90" fmla="*/ 382 w 570"/>
              <a:gd name="T91" fmla="*/ 310 h 446"/>
              <a:gd name="T92" fmla="*/ 428 w 570"/>
              <a:gd name="T93" fmla="*/ 298 h 446"/>
              <a:gd name="T94" fmla="*/ 480 w 570"/>
              <a:gd name="T95" fmla="*/ 270 h 446"/>
              <a:gd name="T96" fmla="*/ 448 w 570"/>
              <a:gd name="T97" fmla="*/ 260 h 446"/>
              <a:gd name="T98" fmla="*/ 426 w 570"/>
              <a:gd name="T99" fmla="*/ 242 h 446"/>
              <a:gd name="T100" fmla="*/ 484 w 570"/>
              <a:gd name="T101" fmla="*/ 260 h 446"/>
              <a:gd name="T102" fmla="*/ 452 w 570"/>
              <a:gd name="T103" fmla="*/ 230 h 446"/>
              <a:gd name="T104" fmla="*/ 446 w 570"/>
              <a:gd name="T105" fmla="*/ 214 h 446"/>
              <a:gd name="T106" fmla="*/ 486 w 570"/>
              <a:gd name="T107" fmla="*/ 198 h 446"/>
              <a:gd name="T108" fmla="*/ 490 w 570"/>
              <a:gd name="T109" fmla="*/ 186 h 446"/>
              <a:gd name="T110" fmla="*/ 498 w 570"/>
              <a:gd name="T111" fmla="*/ 154 h 446"/>
              <a:gd name="T112" fmla="*/ 508 w 570"/>
              <a:gd name="T113" fmla="*/ 132 h 446"/>
              <a:gd name="T114" fmla="*/ 500 w 570"/>
              <a:gd name="T115" fmla="*/ 114 h 446"/>
              <a:gd name="T116" fmla="*/ 520 w 570"/>
              <a:gd name="T117" fmla="*/ 78 h 446"/>
              <a:gd name="T118" fmla="*/ 554 w 570"/>
              <a:gd name="T119" fmla="*/ 62 h 446"/>
              <a:gd name="T120" fmla="*/ 496 w 570"/>
              <a:gd name="T121" fmla="*/ 46 h 446"/>
              <a:gd name="T122" fmla="*/ 460 w 570"/>
              <a:gd name="T123" fmla="*/ 42 h 446"/>
              <a:gd name="T124" fmla="*/ 378 w 570"/>
              <a:gd name="T125" fmla="*/ 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 h="446">
                <a:moveTo>
                  <a:pt x="504" y="148"/>
                </a:moveTo>
                <a:lnTo>
                  <a:pt x="506" y="148"/>
                </a:lnTo>
                <a:lnTo>
                  <a:pt x="506" y="148"/>
                </a:lnTo>
                <a:lnTo>
                  <a:pt x="506" y="148"/>
                </a:lnTo>
                <a:lnTo>
                  <a:pt x="504" y="148"/>
                </a:lnTo>
                <a:lnTo>
                  <a:pt x="504" y="148"/>
                </a:lnTo>
                <a:close/>
                <a:moveTo>
                  <a:pt x="272" y="442"/>
                </a:moveTo>
                <a:lnTo>
                  <a:pt x="270" y="444"/>
                </a:lnTo>
                <a:lnTo>
                  <a:pt x="270" y="444"/>
                </a:lnTo>
                <a:lnTo>
                  <a:pt x="272" y="444"/>
                </a:lnTo>
                <a:lnTo>
                  <a:pt x="274" y="446"/>
                </a:lnTo>
                <a:lnTo>
                  <a:pt x="274" y="446"/>
                </a:lnTo>
                <a:lnTo>
                  <a:pt x="274" y="444"/>
                </a:lnTo>
                <a:lnTo>
                  <a:pt x="274" y="442"/>
                </a:lnTo>
                <a:lnTo>
                  <a:pt x="274" y="442"/>
                </a:lnTo>
                <a:lnTo>
                  <a:pt x="272" y="442"/>
                </a:lnTo>
                <a:lnTo>
                  <a:pt x="272" y="442"/>
                </a:lnTo>
                <a:close/>
                <a:moveTo>
                  <a:pt x="258" y="426"/>
                </a:moveTo>
                <a:lnTo>
                  <a:pt x="258" y="426"/>
                </a:lnTo>
                <a:lnTo>
                  <a:pt x="258" y="428"/>
                </a:lnTo>
                <a:lnTo>
                  <a:pt x="258" y="428"/>
                </a:lnTo>
                <a:lnTo>
                  <a:pt x="258" y="428"/>
                </a:lnTo>
                <a:lnTo>
                  <a:pt x="258" y="426"/>
                </a:lnTo>
                <a:lnTo>
                  <a:pt x="258" y="426"/>
                </a:lnTo>
                <a:lnTo>
                  <a:pt x="258" y="426"/>
                </a:lnTo>
                <a:close/>
                <a:moveTo>
                  <a:pt x="482" y="190"/>
                </a:moveTo>
                <a:lnTo>
                  <a:pt x="482" y="190"/>
                </a:lnTo>
                <a:lnTo>
                  <a:pt x="482" y="196"/>
                </a:lnTo>
                <a:lnTo>
                  <a:pt x="482" y="196"/>
                </a:lnTo>
                <a:lnTo>
                  <a:pt x="484" y="196"/>
                </a:lnTo>
                <a:lnTo>
                  <a:pt x="484" y="196"/>
                </a:lnTo>
                <a:lnTo>
                  <a:pt x="490" y="196"/>
                </a:lnTo>
                <a:lnTo>
                  <a:pt x="490" y="196"/>
                </a:lnTo>
                <a:lnTo>
                  <a:pt x="492" y="194"/>
                </a:lnTo>
                <a:lnTo>
                  <a:pt x="492" y="194"/>
                </a:lnTo>
                <a:lnTo>
                  <a:pt x="490" y="192"/>
                </a:lnTo>
                <a:lnTo>
                  <a:pt x="482" y="190"/>
                </a:lnTo>
                <a:lnTo>
                  <a:pt x="482" y="190"/>
                </a:lnTo>
                <a:close/>
                <a:moveTo>
                  <a:pt x="430" y="70"/>
                </a:moveTo>
                <a:lnTo>
                  <a:pt x="430" y="70"/>
                </a:lnTo>
                <a:lnTo>
                  <a:pt x="432" y="68"/>
                </a:lnTo>
                <a:lnTo>
                  <a:pt x="430" y="70"/>
                </a:lnTo>
                <a:lnTo>
                  <a:pt x="428" y="72"/>
                </a:lnTo>
                <a:lnTo>
                  <a:pt x="428" y="72"/>
                </a:lnTo>
                <a:lnTo>
                  <a:pt x="426" y="74"/>
                </a:lnTo>
                <a:lnTo>
                  <a:pt x="426" y="74"/>
                </a:lnTo>
                <a:lnTo>
                  <a:pt x="424" y="74"/>
                </a:lnTo>
                <a:lnTo>
                  <a:pt x="424" y="72"/>
                </a:lnTo>
                <a:lnTo>
                  <a:pt x="426" y="70"/>
                </a:lnTo>
                <a:lnTo>
                  <a:pt x="430" y="70"/>
                </a:lnTo>
                <a:lnTo>
                  <a:pt x="430" y="70"/>
                </a:lnTo>
                <a:close/>
                <a:moveTo>
                  <a:pt x="294" y="34"/>
                </a:moveTo>
                <a:lnTo>
                  <a:pt x="294" y="34"/>
                </a:lnTo>
                <a:lnTo>
                  <a:pt x="296" y="36"/>
                </a:lnTo>
                <a:lnTo>
                  <a:pt x="298" y="36"/>
                </a:lnTo>
                <a:lnTo>
                  <a:pt x="296" y="36"/>
                </a:lnTo>
                <a:lnTo>
                  <a:pt x="296" y="36"/>
                </a:lnTo>
                <a:lnTo>
                  <a:pt x="294" y="34"/>
                </a:lnTo>
                <a:lnTo>
                  <a:pt x="294" y="34"/>
                </a:lnTo>
                <a:lnTo>
                  <a:pt x="294" y="34"/>
                </a:lnTo>
                <a:lnTo>
                  <a:pt x="294" y="34"/>
                </a:lnTo>
                <a:close/>
                <a:moveTo>
                  <a:pt x="334" y="338"/>
                </a:moveTo>
                <a:lnTo>
                  <a:pt x="334" y="338"/>
                </a:lnTo>
                <a:lnTo>
                  <a:pt x="340" y="338"/>
                </a:lnTo>
                <a:lnTo>
                  <a:pt x="340" y="338"/>
                </a:lnTo>
                <a:lnTo>
                  <a:pt x="336" y="342"/>
                </a:lnTo>
                <a:lnTo>
                  <a:pt x="336" y="342"/>
                </a:lnTo>
                <a:lnTo>
                  <a:pt x="334" y="342"/>
                </a:lnTo>
                <a:lnTo>
                  <a:pt x="334" y="342"/>
                </a:lnTo>
                <a:lnTo>
                  <a:pt x="332" y="338"/>
                </a:lnTo>
                <a:lnTo>
                  <a:pt x="332" y="338"/>
                </a:lnTo>
                <a:lnTo>
                  <a:pt x="334" y="338"/>
                </a:lnTo>
                <a:lnTo>
                  <a:pt x="334" y="338"/>
                </a:lnTo>
                <a:close/>
                <a:moveTo>
                  <a:pt x="192" y="332"/>
                </a:moveTo>
                <a:lnTo>
                  <a:pt x="192" y="332"/>
                </a:lnTo>
                <a:lnTo>
                  <a:pt x="192" y="334"/>
                </a:lnTo>
                <a:lnTo>
                  <a:pt x="192" y="334"/>
                </a:lnTo>
                <a:lnTo>
                  <a:pt x="192" y="334"/>
                </a:lnTo>
                <a:lnTo>
                  <a:pt x="192" y="334"/>
                </a:lnTo>
                <a:lnTo>
                  <a:pt x="190" y="332"/>
                </a:lnTo>
                <a:lnTo>
                  <a:pt x="190" y="332"/>
                </a:lnTo>
                <a:lnTo>
                  <a:pt x="192" y="332"/>
                </a:lnTo>
                <a:lnTo>
                  <a:pt x="192" y="332"/>
                </a:lnTo>
                <a:close/>
                <a:moveTo>
                  <a:pt x="218" y="330"/>
                </a:moveTo>
                <a:lnTo>
                  <a:pt x="218" y="330"/>
                </a:lnTo>
                <a:lnTo>
                  <a:pt x="218" y="330"/>
                </a:lnTo>
                <a:lnTo>
                  <a:pt x="218" y="330"/>
                </a:lnTo>
                <a:lnTo>
                  <a:pt x="218" y="330"/>
                </a:lnTo>
                <a:lnTo>
                  <a:pt x="218" y="332"/>
                </a:lnTo>
                <a:lnTo>
                  <a:pt x="218" y="332"/>
                </a:lnTo>
                <a:lnTo>
                  <a:pt x="210" y="336"/>
                </a:lnTo>
                <a:lnTo>
                  <a:pt x="210" y="336"/>
                </a:lnTo>
                <a:lnTo>
                  <a:pt x="208" y="336"/>
                </a:lnTo>
                <a:lnTo>
                  <a:pt x="210" y="334"/>
                </a:lnTo>
                <a:lnTo>
                  <a:pt x="210" y="334"/>
                </a:lnTo>
                <a:lnTo>
                  <a:pt x="212" y="332"/>
                </a:lnTo>
                <a:lnTo>
                  <a:pt x="212" y="332"/>
                </a:lnTo>
                <a:lnTo>
                  <a:pt x="218" y="330"/>
                </a:lnTo>
                <a:lnTo>
                  <a:pt x="218" y="330"/>
                </a:lnTo>
                <a:close/>
                <a:moveTo>
                  <a:pt x="214" y="318"/>
                </a:moveTo>
                <a:lnTo>
                  <a:pt x="214" y="318"/>
                </a:lnTo>
                <a:lnTo>
                  <a:pt x="214" y="318"/>
                </a:lnTo>
                <a:lnTo>
                  <a:pt x="214" y="318"/>
                </a:lnTo>
                <a:lnTo>
                  <a:pt x="214" y="318"/>
                </a:lnTo>
                <a:lnTo>
                  <a:pt x="214" y="318"/>
                </a:lnTo>
                <a:lnTo>
                  <a:pt x="212" y="318"/>
                </a:lnTo>
                <a:lnTo>
                  <a:pt x="214" y="318"/>
                </a:lnTo>
                <a:lnTo>
                  <a:pt x="214" y="318"/>
                </a:lnTo>
                <a:close/>
                <a:moveTo>
                  <a:pt x="214" y="314"/>
                </a:moveTo>
                <a:lnTo>
                  <a:pt x="214" y="314"/>
                </a:lnTo>
                <a:lnTo>
                  <a:pt x="216" y="314"/>
                </a:lnTo>
                <a:lnTo>
                  <a:pt x="216" y="316"/>
                </a:lnTo>
                <a:lnTo>
                  <a:pt x="216" y="316"/>
                </a:lnTo>
                <a:lnTo>
                  <a:pt x="214" y="316"/>
                </a:lnTo>
                <a:lnTo>
                  <a:pt x="214" y="314"/>
                </a:lnTo>
                <a:lnTo>
                  <a:pt x="214" y="314"/>
                </a:lnTo>
                <a:lnTo>
                  <a:pt x="214" y="314"/>
                </a:lnTo>
                <a:close/>
                <a:moveTo>
                  <a:pt x="434" y="266"/>
                </a:moveTo>
                <a:lnTo>
                  <a:pt x="434" y="266"/>
                </a:lnTo>
                <a:lnTo>
                  <a:pt x="434" y="266"/>
                </a:lnTo>
                <a:lnTo>
                  <a:pt x="436" y="268"/>
                </a:lnTo>
                <a:lnTo>
                  <a:pt x="434" y="270"/>
                </a:lnTo>
                <a:lnTo>
                  <a:pt x="434" y="270"/>
                </a:lnTo>
                <a:lnTo>
                  <a:pt x="428" y="268"/>
                </a:lnTo>
                <a:lnTo>
                  <a:pt x="428" y="268"/>
                </a:lnTo>
                <a:lnTo>
                  <a:pt x="430" y="268"/>
                </a:lnTo>
                <a:lnTo>
                  <a:pt x="430" y="268"/>
                </a:lnTo>
                <a:lnTo>
                  <a:pt x="434" y="266"/>
                </a:lnTo>
                <a:lnTo>
                  <a:pt x="434" y="266"/>
                </a:lnTo>
                <a:close/>
                <a:moveTo>
                  <a:pt x="192" y="248"/>
                </a:moveTo>
                <a:lnTo>
                  <a:pt x="192" y="248"/>
                </a:lnTo>
                <a:lnTo>
                  <a:pt x="190" y="248"/>
                </a:lnTo>
                <a:lnTo>
                  <a:pt x="190" y="248"/>
                </a:lnTo>
                <a:lnTo>
                  <a:pt x="194" y="248"/>
                </a:lnTo>
                <a:lnTo>
                  <a:pt x="194" y="248"/>
                </a:lnTo>
                <a:lnTo>
                  <a:pt x="194" y="248"/>
                </a:lnTo>
                <a:lnTo>
                  <a:pt x="192" y="248"/>
                </a:lnTo>
                <a:lnTo>
                  <a:pt x="192" y="248"/>
                </a:lnTo>
                <a:close/>
                <a:moveTo>
                  <a:pt x="182" y="244"/>
                </a:moveTo>
                <a:lnTo>
                  <a:pt x="182" y="244"/>
                </a:lnTo>
                <a:lnTo>
                  <a:pt x="180" y="246"/>
                </a:lnTo>
                <a:lnTo>
                  <a:pt x="180" y="248"/>
                </a:lnTo>
                <a:lnTo>
                  <a:pt x="180" y="248"/>
                </a:lnTo>
                <a:lnTo>
                  <a:pt x="180" y="250"/>
                </a:lnTo>
                <a:lnTo>
                  <a:pt x="180" y="250"/>
                </a:lnTo>
                <a:lnTo>
                  <a:pt x="184" y="250"/>
                </a:lnTo>
                <a:lnTo>
                  <a:pt x="184" y="250"/>
                </a:lnTo>
                <a:lnTo>
                  <a:pt x="184" y="246"/>
                </a:lnTo>
                <a:lnTo>
                  <a:pt x="182" y="244"/>
                </a:lnTo>
                <a:lnTo>
                  <a:pt x="182" y="244"/>
                </a:lnTo>
                <a:close/>
                <a:moveTo>
                  <a:pt x="458" y="210"/>
                </a:moveTo>
                <a:lnTo>
                  <a:pt x="458" y="210"/>
                </a:lnTo>
                <a:lnTo>
                  <a:pt x="458" y="210"/>
                </a:lnTo>
                <a:lnTo>
                  <a:pt x="452" y="212"/>
                </a:lnTo>
                <a:lnTo>
                  <a:pt x="452" y="212"/>
                </a:lnTo>
                <a:lnTo>
                  <a:pt x="452" y="214"/>
                </a:lnTo>
                <a:lnTo>
                  <a:pt x="452" y="214"/>
                </a:lnTo>
                <a:lnTo>
                  <a:pt x="454" y="216"/>
                </a:lnTo>
                <a:lnTo>
                  <a:pt x="454" y="216"/>
                </a:lnTo>
                <a:lnTo>
                  <a:pt x="446" y="214"/>
                </a:lnTo>
                <a:lnTo>
                  <a:pt x="444" y="214"/>
                </a:lnTo>
                <a:lnTo>
                  <a:pt x="440" y="216"/>
                </a:lnTo>
                <a:lnTo>
                  <a:pt x="440" y="216"/>
                </a:lnTo>
                <a:lnTo>
                  <a:pt x="438" y="218"/>
                </a:lnTo>
                <a:lnTo>
                  <a:pt x="438" y="218"/>
                </a:lnTo>
                <a:lnTo>
                  <a:pt x="438" y="222"/>
                </a:lnTo>
                <a:lnTo>
                  <a:pt x="438" y="222"/>
                </a:lnTo>
                <a:lnTo>
                  <a:pt x="442" y="222"/>
                </a:lnTo>
                <a:lnTo>
                  <a:pt x="442" y="222"/>
                </a:lnTo>
                <a:lnTo>
                  <a:pt x="444" y="224"/>
                </a:lnTo>
                <a:lnTo>
                  <a:pt x="444" y="224"/>
                </a:lnTo>
                <a:lnTo>
                  <a:pt x="446" y="224"/>
                </a:lnTo>
                <a:lnTo>
                  <a:pt x="446" y="224"/>
                </a:lnTo>
                <a:lnTo>
                  <a:pt x="450" y="222"/>
                </a:lnTo>
                <a:lnTo>
                  <a:pt x="450" y="222"/>
                </a:lnTo>
                <a:lnTo>
                  <a:pt x="452" y="222"/>
                </a:lnTo>
                <a:lnTo>
                  <a:pt x="452" y="222"/>
                </a:lnTo>
                <a:lnTo>
                  <a:pt x="454" y="220"/>
                </a:lnTo>
                <a:lnTo>
                  <a:pt x="454" y="218"/>
                </a:lnTo>
                <a:lnTo>
                  <a:pt x="454" y="218"/>
                </a:lnTo>
                <a:lnTo>
                  <a:pt x="456" y="218"/>
                </a:lnTo>
                <a:lnTo>
                  <a:pt x="456" y="218"/>
                </a:lnTo>
                <a:lnTo>
                  <a:pt x="458" y="220"/>
                </a:lnTo>
                <a:lnTo>
                  <a:pt x="458" y="220"/>
                </a:lnTo>
                <a:lnTo>
                  <a:pt x="466" y="222"/>
                </a:lnTo>
                <a:lnTo>
                  <a:pt x="466" y="222"/>
                </a:lnTo>
                <a:lnTo>
                  <a:pt x="468" y="222"/>
                </a:lnTo>
                <a:lnTo>
                  <a:pt x="468" y="222"/>
                </a:lnTo>
                <a:lnTo>
                  <a:pt x="466" y="224"/>
                </a:lnTo>
                <a:lnTo>
                  <a:pt x="464" y="224"/>
                </a:lnTo>
                <a:lnTo>
                  <a:pt x="466" y="224"/>
                </a:lnTo>
                <a:lnTo>
                  <a:pt x="466" y="224"/>
                </a:lnTo>
                <a:lnTo>
                  <a:pt x="466" y="226"/>
                </a:lnTo>
                <a:lnTo>
                  <a:pt x="466" y="226"/>
                </a:lnTo>
                <a:lnTo>
                  <a:pt x="466" y="226"/>
                </a:lnTo>
                <a:lnTo>
                  <a:pt x="466" y="228"/>
                </a:lnTo>
                <a:lnTo>
                  <a:pt x="466" y="230"/>
                </a:lnTo>
                <a:lnTo>
                  <a:pt x="468" y="232"/>
                </a:lnTo>
                <a:lnTo>
                  <a:pt x="476" y="236"/>
                </a:lnTo>
                <a:lnTo>
                  <a:pt x="476" y="236"/>
                </a:lnTo>
                <a:lnTo>
                  <a:pt x="480" y="238"/>
                </a:lnTo>
                <a:lnTo>
                  <a:pt x="480" y="238"/>
                </a:lnTo>
                <a:lnTo>
                  <a:pt x="486" y="238"/>
                </a:lnTo>
                <a:lnTo>
                  <a:pt x="486" y="238"/>
                </a:lnTo>
                <a:lnTo>
                  <a:pt x="486" y="238"/>
                </a:lnTo>
                <a:lnTo>
                  <a:pt x="486" y="236"/>
                </a:lnTo>
                <a:lnTo>
                  <a:pt x="486" y="236"/>
                </a:lnTo>
                <a:lnTo>
                  <a:pt x="482" y="234"/>
                </a:lnTo>
                <a:lnTo>
                  <a:pt x="480" y="234"/>
                </a:lnTo>
                <a:lnTo>
                  <a:pt x="484" y="232"/>
                </a:lnTo>
                <a:lnTo>
                  <a:pt x="484" y="230"/>
                </a:lnTo>
                <a:lnTo>
                  <a:pt x="484" y="230"/>
                </a:lnTo>
                <a:lnTo>
                  <a:pt x="478" y="228"/>
                </a:lnTo>
                <a:lnTo>
                  <a:pt x="478" y="228"/>
                </a:lnTo>
                <a:lnTo>
                  <a:pt x="474" y="226"/>
                </a:lnTo>
                <a:lnTo>
                  <a:pt x="474" y="226"/>
                </a:lnTo>
                <a:lnTo>
                  <a:pt x="474" y="226"/>
                </a:lnTo>
                <a:lnTo>
                  <a:pt x="474" y="226"/>
                </a:lnTo>
                <a:lnTo>
                  <a:pt x="478" y="226"/>
                </a:lnTo>
                <a:lnTo>
                  <a:pt x="478" y="226"/>
                </a:lnTo>
                <a:lnTo>
                  <a:pt x="480" y="228"/>
                </a:lnTo>
                <a:lnTo>
                  <a:pt x="480" y="228"/>
                </a:lnTo>
                <a:lnTo>
                  <a:pt x="482" y="228"/>
                </a:lnTo>
                <a:lnTo>
                  <a:pt x="484" y="228"/>
                </a:lnTo>
                <a:lnTo>
                  <a:pt x="484" y="228"/>
                </a:lnTo>
                <a:lnTo>
                  <a:pt x="484" y="222"/>
                </a:lnTo>
                <a:lnTo>
                  <a:pt x="484" y="222"/>
                </a:lnTo>
                <a:lnTo>
                  <a:pt x="478" y="220"/>
                </a:lnTo>
                <a:lnTo>
                  <a:pt x="472" y="222"/>
                </a:lnTo>
                <a:lnTo>
                  <a:pt x="472" y="222"/>
                </a:lnTo>
                <a:lnTo>
                  <a:pt x="474" y="220"/>
                </a:lnTo>
                <a:lnTo>
                  <a:pt x="474" y="220"/>
                </a:lnTo>
                <a:lnTo>
                  <a:pt x="476" y="220"/>
                </a:lnTo>
                <a:lnTo>
                  <a:pt x="476" y="220"/>
                </a:lnTo>
                <a:lnTo>
                  <a:pt x="478" y="216"/>
                </a:lnTo>
                <a:lnTo>
                  <a:pt x="470" y="216"/>
                </a:lnTo>
                <a:lnTo>
                  <a:pt x="470" y="216"/>
                </a:lnTo>
                <a:lnTo>
                  <a:pt x="472" y="214"/>
                </a:lnTo>
                <a:lnTo>
                  <a:pt x="472" y="214"/>
                </a:lnTo>
                <a:lnTo>
                  <a:pt x="464" y="212"/>
                </a:lnTo>
                <a:lnTo>
                  <a:pt x="458" y="210"/>
                </a:lnTo>
                <a:lnTo>
                  <a:pt x="458" y="210"/>
                </a:lnTo>
                <a:close/>
                <a:moveTo>
                  <a:pt x="148" y="186"/>
                </a:moveTo>
                <a:lnTo>
                  <a:pt x="148" y="186"/>
                </a:lnTo>
                <a:lnTo>
                  <a:pt x="146" y="188"/>
                </a:lnTo>
                <a:lnTo>
                  <a:pt x="146" y="188"/>
                </a:lnTo>
                <a:lnTo>
                  <a:pt x="148" y="188"/>
                </a:lnTo>
                <a:lnTo>
                  <a:pt x="148" y="188"/>
                </a:lnTo>
                <a:lnTo>
                  <a:pt x="150" y="188"/>
                </a:lnTo>
                <a:lnTo>
                  <a:pt x="152" y="186"/>
                </a:lnTo>
                <a:lnTo>
                  <a:pt x="152" y="186"/>
                </a:lnTo>
                <a:lnTo>
                  <a:pt x="148" y="186"/>
                </a:lnTo>
                <a:lnTo>
                  <a:pt x="148" y="186"/>
                </a:lnTo>
                <a:close/>
                <a:moveTo>
                  <a:pt x="512" y="184"/>
                </a:moveTo>
                <a:lnTo>
                  <a:pt x="512" y="184"/>
                </a:lnTo>
                <a:lnTo>
                  <a:pt x="510" y="186"/>
                </a:lnTo>
                <a:lnTo>
                  <a:pt x="510" y="186"/>
                </a:lnTo>
                <a:lnTo>
                  <a:pt x="512" y="186"/>
                </a:lnTo>
                <a:lnTo>
                  <a:pt x="512" y="186"/>
                </a:lnTo>
                <a:lnTo>
                  <a:pt x="512" y="186"/>
                </a:lnTo>
                <a:lnTo>
                  <a:pt x="512" y="184"/>
                </a:lnTo>
                <a:lnTo>
                  <a:pt x="512" y="184"/>
                </a:lnTo>
                <a:close/>
                <a:moveTo>
                  <a:pt x="498" y="180"/>
                </a:moveTo>
                <a:lnTo>
                  <a:pt x="498" y="180"/>
                </a:lnTo>
                <a:lnTo>
                  <a:pt x="498" y="182"/>
                </a:lnTo>
                <a:lnTo>
                  <a:pt x="498" y="186"/>
                </a:lnTo>
                <a:lnTo>
                  <a:pt x="498" y="186"/>
                </a:lnTo>
                <a:lnTo>
                  <a:pt x="500" y="186"/>
                </a:lnTo>
                <a:lnTo>
                  <a:pt x="500" y="186"/>
                </a:lnTo>
                <a:lnTo>
                  <a:pt x="504" y="186"/>
                </a:lnTo>
                <a:lnTo>
                  <a:pt x="504" y="186"/>
                </a:lnTo>
                <a:lnTo>
                  <a:pt x="504" y="182"/>
                </a:lnTo>
                <a:lnTo>
                  <a:pt x="504" y="182"/>
                </a:lnTo>
                <a:lnTo>
                  <a:pt x="500" y="182"/>
                </a:lnTo>
                <a:lnTo>
                  <a:pt x="500" y="182"/>
                </a:lnTo>
                <a:lnTo>
                  <a:pt x="500" y="180"/>
                </a:lnTo>
                <a:lnTo>
                  <a:pt x="500" y="180"/>
                </a:lnTo>
                <a:lnTo>
                  <a:pt x="498" y="180"/>
                </a:lnTo>
                <a:lnTo>
                  <a:pt x="498" y="180"/>
                </a:lnTo>
                <a:close/>
                <a:moveTo>
                  <a:pt x="478" y="174"/>
                </a:moveTo>
                <a:lnTo>
                  <a:pt x="478" y="174"/>
                </a:lnTo>
                <a:lnTo>
                  <a:pt x="480" y="174"/>
                </a:lnTo>
                <a:lnTo>
                  <a:pt x="480" y="176"/>
                </a:lnTo>
                <a:lnTo>
                  <a:pt x="480" y="180"/>
                </a:lnTo>
                <a:lnTo>
                  <a:pt x="480" y="180"/>
                </a:lnTo>
                <a:lnTo>
                  <a:pt x="478" y="180"/>
                </a:lnTo>
                <a:lnTo>
                  <a:pt x="478" y="180"/>
                </a:lnTo>
                <a:lnTo>
                  <a:pt x="478" y="176"/>
                </a:lnTo>
                <a:lnTo>
                  <a:pt x="478" y="174"/>
                </a:lnTo>
                <a:lnTo>
                  <a:pt x="478" y="174"/>
                </a:lnTo>
                <a:lnTo>
                  <a:pt x="478" y="174"/>
                </a:lnTo>
                <a:close/>
                <a:moveTo>
                  <a:pt x="512" y="166"/>
                </a:moveTo>
                <a:lnTo>
                  <a:pt x="512" y="166"/>
                </a:lnTo>
                <a:lnTo>
                  <a:pt x="512" y="168"/>
                </a:lnTo>
                <a:lnTo>
                  <a:pt x="512" y="168"/>
                </a:lnTo>
                <a:lnTo>
                  <a:pt x="508" y="168"/>
                </a:lnTo>
                <a:lnTo>
                  <a:pt x="508" y="168"/>
                </a:lnTo>
                <a:lnTo>
                  <a:pt x="510" y="176"/>
                </a:lnTo>
                <a:lnTo>
                  <a:pt x="512" y="178"/>
                </a:lnTo>
                <a:lnTo>
                  <a:pt x="516" y="178"/>
                </a:lnTo>
                <a:lnTo>
                  <a:pt x="516" y="178"/>
                </a:lnTo>
                <a:lnTo>
                  <a:pt x="518" y="176"/>
                </a:lnTo>
                <a:lnTo>
                  <a:pt x="518" y="176"/>
                </a:lnTo>
                <a:lnTo>
                  <a:pt x="520" y="176"/>
                </a:lnTo>
                <a:lnTo>
                  <a:pt x="520" y="176"/>
                </a:lnTo>
                <a:lnTo>
                  <a:pt x="520" y="176"/>
                </a:lnTo>
                <a:lnTo>
                  <a:pt x="520" y="176"/>
                </a:lnTo>
                <a:lnTo>
                  <a:pt x="522" y="176"/>
                </a:lnTo>
                <a:lnTo>
                  <a:pt x="522" y="176"/>
                </a:lnTo>
                <a:lnTo>
                  <a:pt x="522" y="172"/>
                </a:lnTo>
                <a:lnTo>
                  <a:pt x="522" y="172"/>
                </a:lnTo>
                <a:lnTo>
                  <a:pt x="520" y="174"/>
                </a:lnTo>
                <a:lnTo>
                  <a:pt x="520" y="174"/>
                </a:lnTo>
                <a:lnTo>
                  <a:pt x="516" y="172"/>
                </a:lnTo>
                <a:lnTo>
                  <a:pt x="516" y="172"/>
                </a:lnTo>
                <a:lnTo>
                  <a:pt x="514" y="166"/>
                </a:lnTo>
                <a:lnTo>
                  <a:pt x="512" y="166"/>
                </a:lnTo>
                <a:close/>
                <a:moveTo>
                  <a:pt x="506" y="150"/>
                </a:moveTo>
                <a:lnTo>
                  <a:pt x="506" y="150"/>
                </a:lnTo>
                <a:lnTo>
                  <a:pt x="504" y="152"/>
                </a:lnTo>
                <a:lnTo>
                  <a:pt x="504" y="152"/>
                </a:lnTo>
                <a:lnTo>
                  <a:pt x="508" y="156"/>
                </a:lnTo>
                <a:lnTo>
                  <a:pt x="510" y="160"/>
                </a:lnTo>
                <a:lnTo>
                  <a:pt x="508" y="158"/>
                </a:lnTo>
                <a:lnTo>
                  <a:pt x="508" y="158"/>
                </a:lnTo>
                <a:lnTo>
                  <a:pt x="508" y="154"/>
                </a:lnTo>
                <a:lnTo>
                  <a:pt x="508" y="154"/>
                </a:lnTo>
                <a:lnTo>
                  <a:pt x="506" y="152"/>
                </a:lnTo>
                <a:lnTo>
                  <a:pt x="506" y="152"/>
                </a:lnTo>
                <a:lnTo>
                  <a:pt x="508" y="150"/>
                </a:lnTo>
                <a:lnTo>
                  <a:pt x="506" y="150"/>
                </a:lnTo>
                <a:close/>
                <a:moveTo>
                  <a:pt x="12" y="132"/>
                </a:moveTo>
                <a:lnTo>
                  <a:pt x="12" y="132"/>
                </a:lnTo>
                <a:lnTo>
                  <a:pt x="12" y="132"/>
                </a:lnTo>
                <a:lnTo>
                  <a:pt x="14" y="132"/>
                </a:lnTo>
                <a:lnTo>
                  <a:pt x="12" y="132"/>
                </a:lnTo>
                <a:lnTo>
                  <a:pt x="12" y="132"/>
                </a:lnTo>
                <a:lnTo>
                  <a:pt x="12" y="132"/>
                </a:lnTo>
                <a:lnTo>
                  <a:pt x="12" y="132"/>
                </a:lnTo>
                <a:close/>
                <a:moveTo>
                  <a:pt x="2" y="130"/>
                </a:moveTo>
                <a:lnTo>
                  <a:pt x="2" y="130"/>
                </a:lnTo>
                <a:lnTo>
                  <a:pt x="0" y="132"/>
                </a:lnTo>
                <a:lnTo>
                  <a:pt x="0" y="132"/>
                </a:lnTo>
                <a:lnTo>
                  <a:pt x="2" y="132"/>
                </a:lnTo>
                <a:lnTo>
                  <a:pt x="2" y="132"/>
                </a:lnTo>
                <a:lnTo>
                  <a:pt x="4" y="132"/>
                </a:lnTo>
                <a:lnTo>
                  <a:pt x="6" y="130"/>
                </a:lnTo>
                <a:lnTo>
                  <a:pt x="6" y="130"/>
                </a:lnTo>
                <a:lnTo>
                  <a:pt x="2" y="130"/>
                </a:lnTo>
                <a:lnTo>
                  <a:pt x="2" y="130"/>
                </a:lnTo>
                <a:close/>
                <a:moveTo>
                  <a:pt x="500" y="76"/>
                </a:moveTo>
                <a:lnTo>
                  <a:pt x="500" y="76"/>
                </a:lnTo>
                <a:lnTo>
                  <a:pt x="500" y="80"/>
                </a:lnTo>
                <a:lnTo>
                  <a:pt x="500" y="80"/>
                </a:lnTo>
                <a:lnTo>
                  <a:pt x="504" y="78"/>
                </a:lnTo>
                <a:lnTo>
                  <a:pt x="500" y="76"/>
                </a:lnTo>
                <a:lnTo>
                  <a:pt x="500" y="76"/>
                </a:lnTo>
                <a:close/>
                <a:moveTo>
                  <a:pt x="438" y="66"/>
                </a:moveTo>
                <a:lnTo>
                  <a:pt x="438" y="66"/>
                </a:lnTo>
                <a:lnTo>
                  <a:pt x="442" y="66"/>
                </a:lnTo>
                <a:lnTo>
                  <a:pt x="440" y="66"/>
                </a:lnTo>
                <a:lnTo>
                  <a:pt x="434" y="70"/>
                </a:lnTo>
                <a:lnTo>
                  <a:pt x="434" y="70"/>
                </a:lnTo>
                <a:lnTo>
                  <a:pt x="430" y="68"/>
                </a:lnTo>
                <a:lnTo>
                  <a:pt x="430" y="68"/>
                </a:lnTo>
                <a:lnTo>
                  <a:pt x="434" y="68"/>
                </a:lnTo>
                <a:lnTo>
                  <a:pt x="434" y="68"/>
                </a:lnTo>
                <a:lnTo>
                  <a:pt x="438" y="66"/>
                </a:lnTo>
                <a:lnTo>
                  <a:pt x="438" y="66"/>
                </a:lnTo>
                <a:close/>
                <a:moveTo>
                  <a:pt x="508" y="40"/>
                </a:moveTo>
                <a:lnTo>
                  <a:pt x="508" y="40"/>
                </a:lnTo>
                <a:lnTo>
                  <a:pt x="508" y="42"/>
                </a:lnTo>
                <a:lnTo>
                  <a:pt x="508" y="42"/>
                </a:lnTo>
                <a:lnTo>
                  <a:pt x="508" y="42"/>
                </a:lnTo>
                <a:lnTo>
                  <a:pt x="508" y="42"/>
                </a:lnTo>
                <a:lnTo>
                  <a:pt x="508" y="40"/>
                </a:lnTo>
                <a:lnTo>
                  <a:pt x="508" y="40"/>
                </a:lnTo>
                <a:close/>
                <a:moveTo>
                  <a:pt x="500" y="40"/>
                </a:moveTo>
                <a:lnTo>
                  <a:pt x="500" y="40"/>
                </a:lnTo>
                <a:lnTo>
                  <a:pt x="500" y="44"/>
                </a:lnTo>
                <a:lnTo>
                  <a:pt x="500" y="44"/>
                </a:lnTo>
                <a:lnTo>
                  <a:pt x="500" y="44"/>
                </a:lnTo>
                <a:lnTo>
                  <a:pt x="500" y="40"/>
                </a:lnTo>
                <a:lnTo>
                  <a:pt x="500" y="40"/>
                </a:lnTo>
                <a:close/>
                <a:moveTo>
                  <a:pt x="182" y="32"/>
                </a:moveTo>
                <a:lnTo>
                  <a:pt x="182" y="32"/>
                </a:lnTo>
                <a:lnTo>
                  <a:pt x="184" y="38"/>
                </a:lnTo>
                <a:lnTo>
                  <a:pt x="184" y="38"/>
                </a:lnTo>
                <a:lnTo>
                  <a:pt x="186" y="40"/>
                </a:lnTo>
                <a:lnTo>
                  <a:pt x="192" y="44"/>
                </a:lnTo>
                <a:lnTo>
                  <a:pt x="204" y="46"/>
                </a:lnTo>
                <a:lnTo>
                  <a:pt x="204" y="46"/>
                </a:lnTo>
                <a:lnTo>
                  <a:pt x="206" y="46"/>
                </a:lnTo>
                <a:lnTo>
                  <a:pt x="206" y="46"/>
                </a:lnTo>
                <a:lnTo>
                  <a:pt x="206" y="44"/>
                </a:lnTo>
                <a:lnTo>
                  <a:pt x="206" y="44"/>
                </a:lnTo>
                <a:lnTo>
                  <a:pt x="204" y="42"/>
                </a:lnTo>
                <a:lnTo>
                  <a:pt x="204" y="42"/>
                </a:lnTo>
                <a:lnTo>
                  <a:pt x="198" y="40"/>
                </a:lnTo>
                <a:lnTo>
                  <a:pt x="198" y="40"/>
                </a:lnTo>
                <a:lnTo>
                  <a:pt x="194" y="40"/>
                </a:lnTo>
                <a:lnTo>
                  <a:pt x="194" y="40"/>
                </a:lnTo>
                <a:lnTo>
                  <a:pt x="192" y="36"/>
                </a:lnTo>
                <a:lnTo>
                  <a:pt x="192" y="36"/>
                </a:lnTo>
                <a:lnTo>
                  <a:pt x="188" y="36"/>
                </a:lnTo>
                <a:lnTo>
                  <a:pt x="188" y="36"/>
                </a:lnTo>
                <a:lnTo>
                  <a:pt x="182" y="32"/>
                </a:lnTo>
                <a:lnTo>
                  <a:pt x="182" y="32"/>
                </a:lnTo>
                <a:close/>
                <a:moveTo>
                  <a:pt x="358" y="18"/>
                </a:moveTo>
                <a:lnTo>
                  <a:pt x="358" y="18"/>
                </a:lnTo>
                <a:lnTo>
                  <a:pt x="360" y="20"/>
                </a:lnTo>
                <a:lnTo>
                  <a:pt x="360" y="20"/>
                </a:lnTo>
                <a:lnTo>
                  <a:pt x="356" y="22"/>
                </a:lnTo>
                <a:lnTo>
                  <a:pt x="356" y="22"/>
                </a:lnTo>
                <a:lnTo>
                  <a:pt x="356" y="24"/>
                </a:lnTo>
                <a:lnTo>
                  <a:pt x="356" y="24"/>
                </a:lnTo>
                <a:lnTo>
                  <a:pt x="350" y="22"/>
                </a:lnTo>
                <a:lnTo>
                  <a:pt x="350" y="22"/>
                </a:lnTo>
                <a:lnTo>
                  <a:pt x="350" y="24"/>
                </a:lnTo>
                <a:lnTo>
                  <a:pt x="350" y="24"/>
                </a:lnTo>
                <a:lnTo>
                  <a:pt x="350" y="24"/>
                </a:lnTo>
                <a:lnTo>
                  <a:pt x="350" y="22"/>
                </a:lnTo>
                <a:lnTo>
                  <a:pt x="350" y="20"/>
                </a:lnTo>
                <a:lnTo>
                  <a:pt x="350" y="20"/>
                </a:lnTo>
                <a:lnTo>
                  <a:pt x="358" y="18"/>
                </a:lnTo>
                <a:lnTo>
                  <a:pt x="358" y="18"/>
                </a:lnTo>
                <a:close/>
                <a:moveTo>
                  <a:pt x="402" y="16"/>
                </a:moveTo>
                <a:lnTo>
                  <a:pt x="402" y="16"/>
                </a:lnTo>
                <a:lnTo>
                  <a:pt x="410" y="16"/>
                </a:lnTo>
                <a:lnTo>
                  <a:pt x="410" y="16"/>
                </a:lnTo>
                <a:lnTo>
                  <a:pt x="420" y="16"/>
                </a:lnTo>
                <a:lnTo>
                  <a:pt x="420" y="16"/>
                </a:lnTo>
                <a:lnTo>
                  <a:pt x="430" y="16"/>
                </a:lnTo>
                <a:lnTo>
                  <a:pt x="430" y="16"/>
                </a:lnTo>
                <a:lnTo>
                  <a:pt x="410" y="18"/>
                </a:lnTo>
                <a:lnTo>
                  <a:pt x="410" y="18"/>
                </a:lnTo>
                <a:lnTo>
                  <a:pt x="404" y="18"/>
                </a:lnTo>
                <a:lnTo>
                  <a:pt x="398" y="18"/>
                </a:lnTo>
                <a:lnTo>
                  <a:pt x="398" y="20"/>
                </a:lnTo>
                <a:lnTo>
                  <a:pt x="398" y="20"/>
                </a:lnTo>
                <a:lnTo>
                  <a:pt x="392" y="20"/>
                </a:lnTo>
                <a:lnTo>
                  <a:pt x="388" y="20"/>
                </a:lnTo>
                <a:lnTo>
                  <a:pt x="388" y="18"/>
                </a:lnTo>
                <a:lnTo>
                  <a:pt x="388" y="18"/>
                </a:lnTo>
                <a:lnTo>
                  <a:pt x="390" y="18"/>
                </a:lnTo>
                <a:lnTo>
                  <a:pt x="390" y="18"/>
                </a:lnTo>
                <a:lnTo>
                  <a:pt x="402" y="16"/>
                </a:lnTo>
                <a:lnTo>
                  <a:pt x="402" y="16"/>
                </a:lnTo>
                <a:close/>
                <a:moveTo>
                  <a:pt x="368" y="12"/>
                </a:moveTo>
                <a:lnTo>
                  <a:pt x="370" y="12"/>
                </a:lnTo>
                <a:lnTo>
                  <a:pt x="370" y="12"/>
                </a:lnTo>
                <a:lnTo>
                  <a:pt x="370" y="16"/>
                </a:lnTo>
                <a:lnTo>
                  <a:pt x="370" y="16"/>
                </a:lnTo>
                <a:lnTo>
                  <a:pt x="372" y="18"/>
                </a:lnTo>
                <a:lnTo>
                  <a:pt x="372" y="18"/>
                </a:lnTo>
                <a:lnTo>
                  <a:pt x="380" y="18"/>
                </a:lnTo>
                <a:lnTo>
                  <a:pt x="386" y="20"/>
                </a:lnTo>
                <a:lnTo>
                  <a:pt x="386" y="20"/>
                </a:lnTo>
                <a:lnTo>
                  <a:pt x="380" y="18"/>
                </a:lnTo>
                <a:lnTo>
                  <a:pt x="380" y="18"/>
                </a:lnTo>
                <a:lnTo>
                  <a:pt x="372" y="20"/>
                </a:lnTo>
                <a:lnTo>
                  <a:pt x="372" y="20"/>
                </a:lnTo>
                <a:lnTo>
                  <a:pt x="372" y="22"/>
                </a:lnTo>
                <a:lnTo>
                  <a:pt x="372" y="22"/>
                </a:lnTo>
                <a:lnTo>
                  <a:pt x="372" y="22"/>
                </a:lnTo>
                <a:lnTo>
                  <a:pt x="370" y="22"/>
                </a:lnTo>
                <a:lnTo>
                  <a:pt x="370" y="22"/>
                </a:lnTo>
                <a:lnTo>
                  <a:pt x="370" y="20"/>
                </a:lnTo>
                <a:lnTo>
                  <a:pt x="370" y="20"/>
                </a:lnTo>
                <a:lnTo>
                  <a:pt x="366" y="20"/>
                </a:lnTo>
                <a:lnTo>
                  <a:pt x="366" y="18"/>
                </a:lnTo>
                <a:lnTo>
                  <a:pt x="366" y="18"/>
                </a:lnTo>
                <a:lnTo>
                  <a:pt x="368" y="18"/>
                </a:lnTo>
                <a:lnTo>
                  <a:pt x="368" y="14"/>
                </a:lnTo>
                <a:lnTo>
                  <a:pt x="368" y="12"/>
                </a:lnTo>
                <a:lnTo>
                  <a:pt x="368" y="12"/>
                </a:lnTo>
                <a:close/>
                <a:moveTo>
                  <a:pt x="482" y="36"/>
                </a:moveTo>
                <a:lnTo>
                  <a:pt x="482" y="36"/>
                </a:lnTo>
                <a:lnTo>
                  <a:pt x="486" y="34"/>
                </a:lnTo>
                <a:lnTo>
                  <a:pt x="488" y="32"/>
                </a:lnTo>
                <a:lnTo>
                  <a:pt x="488" y="32"/>
                </a:lnTo>
                <a:lnTo>
                  <a:pt x="490" y="32"/>
                </a:lnTo>
                <a:lnTo>
                  <a:pt x="490" y="32"/>
                </a:lnTo>
                <a:lnTo>
                  <a:pt x="496" y="30"/>
                </a:lnTo>
                <a:lnTo>
                  <a:pt x="496" y="30"/>
                </a:lnTo>
                <a:lnTo>
                  <a:pt x="494" y="28"/>
                </a:lnTo>
                <a:lnTo>
                  <a:pt x="494" y="28"/>
                </a:lnTo>
                <a:lnTo>
                  <a:pt x="492" y="26"/>
                </a:lnTo>
                <a:lnTo>
                  <a:pt x="488" y="26"/>
                </a:lnTo>
                <a:lnTo>
                  <a:pt x="488" y="26"/>
                </a:lnTo>
                <a:lnTo>
                  <a:pt x="486" y="24"/>
                </a:lnTo>
                <a:lnTo>
                  <a:pt x="486" y="24"/>
                </a:lnTo>
                <a:lnTo>
                  <a:pt x="480" y="24"/>
                </a:lnTo>
                <a:lnTo>
                  <a:pt x="474" y="24"/>
                </a:lnTo>
                <a:lnTo>
                  <a:pt x="474" y="24"/>
                </a:lnTo>
                <a:lnTo>
                  <a:pt x="474" y="22"/>
                </a:lnTo>
                <a:lnTo>
                  <a:pt x="474" y="22"/>
                </a:lnTo>
                <a:lnTo>
                  <a:pt x="470" y="20"/>
                </a:lnTo>
                <a:lnTo>
                  <a:pt x="470" y="20"/>
                </a:lnTo>
                <a:lnTo>
                  <a:pt x="468" y="20"/>
                </a:lnTo>
                <a:lnTo>
                  <a:pt x="468" y="20"/>
                </a:lnTo>
                <a:lnTo>
                  <a:pt x="466" y="22"/>
                </a:lnTo>
                <a:lnTo>
                  <a:pt x="466" y="22"/>
                </a:lnTo>
                <a:lnTo>
                  <a:pt x="466" y="18"/>
                </a:lnTo>
                <a:lnTo>
                  <a:pt x="466" y="18"/>
                </a:lnTo>
                <a:lnTo>
                  <a:pt x="464" y="18"/>
                </a:lnTo>
                <a:lnTo>
                  <a:pt x="464" y="18"/>
                </a:lnTo>
                <a:lnTo>
                  <a:pt x="458" y="22"/>
                </a:lnTo>
                <a:lnTo>
                  <a:pt x="450" y="24"/>
                </a:lnTo>
                <a:lnTo>
                  <a:pt x="450" y="22"/>
                </a:lnTo>
                <a:lnTo>
                  <a:pt x="450" y="22"/>
                </a:lnTo>
                <a:lnTo>
                  <a:pt x="458" y="20"/>
                </a:lnTo>
                <a:lnTo>
                  <a:pt x="458" y="20"/>
                </a:lnTo>
                <a:lnTo>
                  <a:pt x="458" y="18"/>
                </a:lnTo>
                <a:lnTo>
                  <a:pt x="458" y="18"/>
                </a:lnTo>
                <a:lnTo>
                  <a:pt x="458" y="16"/>
                </a:lnTo>
                <a:lnTo>
                  <a:pt x="458" y="16"/>
                </a:lnTo>
                <a:lnTo>
                  <a:pt x="454" y="12"/>
                </a:lnTo>
                <a:lnTo>
                  <a:pt x="450" y="10"/>
                </a:lnTo>
                <a:lnTo>
                  <a:pt x="450" y="10"/>
                </a:lnTo>
                <a:lnTo>
                  <a:pt x="448" y="12"/>
                </a:lnTo>
                <a:lnTo>
                  <a:pt x="446" y="14"/>
                </a:lnTo>
                <a:lnTo>
                  <a:pt x="446" y="14"/>
                </a:lnTo>
                <a:lnTo>
                  <a:pt x="440" y="16"/>
                </a:lnTo>
                <a:lnTo>
                  <a:pt x="432" y="16"/>
                </a:lnTo>
                <a:lnTo>
                  <a:pt x="432" y="16"/>
                </a:lnTo>
                <a:lnTo>
                  <a:pt x="436" y="10"/>
                </a:lnTo>
                <a:lnTo>
                  <a:pt x="436" y="10"/>
                </a:lnTo>
                <a:lnTo>
                  <a:pt x="442" y="10"/>
                </a:lnTo>
                <a:lnTo>
                  <a:pt x="442" y="10"/>
                </a:lnTo>
                <a:lnTo>
                  <a:pt x="442" y="6"/>
                </a:lnTo>
                <a:lnTo>
                  <a:pt x="442" y="6"/>
                </a:lnTo>
                <a:lnTo>
                  <a:pt x="438" y="4"/>
                </a:lnTo>
                <a:lnTo>
                  <a:pt x="438" y="4"/>
                </a:lnTo>
                <a:lnTo>
                  <a:pt x="422" y="4"/>
                </a:lnTo>
                <a:lnTo>
                  <a:pt x="422" y="4"/>
                </a:lnTo>
                <a:lnTo>
                  <a:pt x="418" y="4"/>
                </a:lnTo>
                <a:lnTo>
                  <a:pt x="412" y="2"/>
                </a:lnTo>
                <a:lnTo>
                  <a:pt x="412" y="2"/>
                </a:lnTo>
                <a:lnTo>
                  <a:pt x="412" y="4"/>
                </a:lnTo>
                <a:lnTo>
                  <a:pt x="412" y="4"/>
                </a:lnTo>
                <a:lnTo>
                  <a:pt x="406" y="4"/>
                </a:lnTo>
                <a:lnTo>
                  <a:pt x="406" y="4"/>
                </a:lnTo>
                <a:lnTo>
                  <a:pt x="404" y="4"/>
                </a:lnTo>
                <a:lnTo>
                  <a:pt x="398" y="6"/>
                </a:lnTo>
                <a:lnTo>
                  <a:pt x="398" y="6"/>
                </a:lnTo>
                <a:lnTo>
                  <a:pt x="392" y="2"/>
                </a:lnTo>
                <a:lnTo>
                  <a:pt x="388" y="2"/>
                </a:lnTo>
                <a:lnTo>
                  <a:pt x="386" y="0"/>
                </a:lnTo>
                <a:lnTo>
                  <a:pt x="386" y="0"/>
                </a:lnTo>
                <a:lnTo>
                  <a:pt x="382" y="2"/>
                </a:lnTo>
                <a:lnTo>
                  <a:pt x="382" y="2"/>
                </a:lnTo>
                <a:lnTo>
                  <a:pt x="378" y="2"/>
                </a:lnTo>
                <a:lnTo>
                  <a:pt x="374" y="2"/>
                </a:lnTo>
                <a:lnTo>
                  <a:pt x="374" y="2"/>
                </a:lnTo>
                <a:lnTo>
                  <a:pt x="366" y="2"/>
                </a:lnTo>
                <a:lnTo>
                  <a:pt x="358" y="2"/>
                </a:lnTo>
                <a:lnTo>
                  <a:pt x="358" y="2"/>
                </a:lnTo>
                <a:lnTo>
                  <a:pt x="348" y="2"/>
                </a:lnTo>
                <a:lnTo>
                  <a:pt x="338" y="0"/>
                </a:lnTo>
                <a:lnTo>
                  <a:pt x="338" y="0"/>
                </a:lnTo>
                <a:lnTo>
                  <a:pt x="338" y="2"/>
                </a:lnTo>
                <a:lnTo>
                  <a:pt x="338" y="4"/>
                </a:lnTo>
                <a:lnTo>
                  <a:pt x="338" y="4"/>
                </a:lnTo>
                <a:lnTo>
                  <a:pt x="328" y="2"/>
                </a:lnTo>
                <a:lnTo>
                  <a:pt x="328" y="2"/>
                </a:lnTo>
                <a:lnTo>
                  <a:pt x="328" y="4"/>
                </a:lnTo>
                <a:lnTo>
                  <a:pt x="328" y="4"/>
                </a:lnTo>
                <a:lnTo>
                  <a:pt x="330" y="6"/>
                </a:lnTo>
                <a:lnTo>
                  <a:pt x="330" y="6"/>
                </a:lnTo>
                <a:lnTo>
                  <a:pt x="326" y="6"/>
                </a:lnTo>
                <a:lnTo>
                  <a:pt x="320" y="6"/>
                </a:lnTo>
                <a:lnTo>
                  <a:pt x="320" y="6"/>
                </a:lnTo>
                <a:lnTo>
                  <a:pt x="320" y="4"/>
                </a:lnTo>
                <a:lnTo>
                  <a:pt x="318" y="4"/>
                </a:lnTo>
                <a:lnTo>
                  <a:pt x="318" y="4"/>
                </a:lnTo>
                <a:lnTo>
                  <a:pt x="318" y="8"/>
                </a:lnTo>
                <a:lnTo>
                  <a:pt x="318" y="8"/>
                </a:lnTo>
                <a:lnTo>
                  <a:pt x="316" y="8"/>
                </a:lnTo>
                <a:lnTo>
                  <a:pt x="316" y="10"/>
                </a:lnTo>
                <a:lnTo>
                  <a:pt x="316" y="10"/>
                </a:lnTo>
                <a:lnTo>
                  <a:pt x="316" y="10"/>
                </a:lnTo>
                <a:lnTo>
                  <a:pt x="320" y="10"/>
                </a:lnTo>
                <a:lnTo>
                  <a:pt x="320" y="12"/>
                </a:lnTo>
                <a:lnTo>
                  <a:pt x="320" y="12"/>
                </a:lnTo>
                <a:lnTo>
                  <a:pt x="312" y="12"/>
                </a:lnTo>
                <a:lnTo>
                  <a:pt x="310" y="14"/>
                </a:lnTo>
                <a:lnTo>
                  <a:pt x="312" y="16"/>
                </a:lnTo>
                <a:lnTo>
                  <a:pt x="316" y="20"/>
                </a:lnTo>
                <a:lnTo>
                  <a:pt x="316" y="20"/>
                </a:lnTo>
                <a:lnTo>
                  <a:pt x="312" y="20"/>
                </a:lnTo>
                <a:lnTo>
                  <a:pt x="312" y="20"/>
                </a:lnTo>
                <a:lnTo>
                  <a:pt x="308" y="14"/>
                </a:lnTo>
                <a:lnTo>
                  <a:pt x="308" y="14"/>
                </a:lnTo>
                <a:lnTo>
                  <a:pt x="304" y="14"/>
                </a:lnTo>
                <a:lnTo>
                  <a:pt x="304" y="14"/>
                </a:lnTo>
                <a:lnTo>
                  <a:pt x="304" y="16"/>
                </a:lnTo>
                <a:lnTo>
                  <a:pt x="306" y="16"/>
                </a:lnTo>
                <a:lnTo>
                  <a:pt x="306" y="16"/>
                </a:lnTo>
                <a:lnTo>
                  <a:pt x="308" y="18"/>
                </a:lnTo>
                <a:lnTo>
                  <a:pt x="308" y="18"/>
                </a:lnTo>
                <a:lnTo>
                  <a:pt x="304" y="16"/>
                </a:lnTo>
                <a:lnTo>
                  <a:pt x="302" y="22"/>
                </a:lnTo>
                <a:lnTo>
                  <a:pt x="302" y="22"/>
                </a:lnTo>
                <a:lnTo>
                  <a:pt x="296" y="20"/>
                </a:lnTo>
                <a:lnTo>
                  <a:pt x="294" y="16"/>
                </a:lnTo>
                <a:lnTo>
                  <a:pt x="294" y="16"/>
                </a:lnTo>
                <a:lnTo>
                  <a:pt x="294" y="12"/>
                </a:lnTo>
                <a:lnTo>
                  <a:pt x="294" y="12"/>
                </a:lnTo>
                <a:lnTo>
                  <a:pt x="288" y="10"/>
                </a:lnTo>
                <a:lnTo>
                  <a:pt x="280" y="10"/>
                </a:lnTo>
                <a:lnTo>
                  <a:pt x="280" y="10"/>
                </a:lnTo>
                <a:lnTo>
                  <a:pt x="280" y="12"/>
                </a:lnTo>
                <a:lnTo>
                  <a:pt x="280" y="12"/>
                </a:lnTo>
                <a:lnTo>
                  <a:pt x="280" y="14"/>
                </a:lnTo>
                <a:lnTo>
                  <a:pt x="280" y="14"/>
                </a:lnTo>
                <a:lnTo>
                  <a:pt x="280" y="14"/>
                </a:lnTo>
                <a:lnTo>
                  <a:pt x="272" y="14"/>
                </a:lnTo>
                <a:lnTo>
                  <a:pt x="272" y="14"/>
                </a:lnTo>
                <a:lnTo>
                  <a:pt x="272" y="14"/>
                </a:lnTo>
                <a:lnTo>
                  <a:pt x="272" y="14"/>
                </a:lnTo>
                <a:lnTo>
                  <a:pt x="272" y="14"/>
                </a:lnTo>
                <a:lnTo>
                  <a:pt x="272" y="14"/>
                </a:lnTo>
                <a:lnTo>
                  <a:pt x="272" y="16"/>
                </a:lnTo>
                <a:lnTo>
                  <a:pt x="272" y="16"/>
                </a:lnTo>
                <a:lnTo>
                  <a:pt x="274" y="18"/>
                </a:lnTo>
                <a:lnTo>
                  <a:pt x="274" y="18"/>
                </a:lnTo>
                <a:lnTo>
                  <a:pt x="274" y="18"/>
                </a:lnTo>
                <a:lnTo>
                  <a:pt x="274" y="18"/>
                </a:lnTo>
                <a:lnTo>
                  <a:pt x="272" y="18"/>
                </a:lnTo>
                <a:lnTo>
                  <a:pt x="272" y="18"/>
                </a:lnTo>
                <a:lnTo>
                  <a:pt x="272" y="22"/>
                </a:lnTo>
                <a:lnTo>
                  <a:pt x="272" y="22"/>
                </a:lnTo>
                <a:lnTo>
                  <a:pt x="278" y="24"/>
                </a:lnTo>
                <a:lnTo>
                  <a:pt x="280" y="24"/>
                </a:lnTo>
                <a:lnTo>
                  <a:pt x="280" y="24"/>
                </a:lnTo>
                <a:lnTo>
                  <a:pt x="284" y="24"/>
                </a:lnTo>
                <a:lnTo>
                  <a:pt x="286" y="24"/>
                </a:lnTo>
                <a:lnTo>
                  <a:pt x="288" y="24"/>
                </a:lnTo>
                <a:lnTo>
                  <a:pt x="288" y="24"/>
                </a:lnTo>
                <a:lnTo>
                  <a:pt x="290" y="28"/>
                </a:lnTo>
                <a:lnTo>
                  <a:pt x="290" y="30"/>
                </a:lnTo>
                <a:lnTo>
                  <a:pt x="290" y="30"/>
                </a:lnTo>
                <a:lnTo>
                  <a:pt x="294" y="34"/>
                </a:lnTo>
                <a:lnTo>
                  <a:pt x="294" y="34"/>
                </a:lnTo>
                <a:lnTo>
                  <a:pt x="290" y="30"/>
                </a:lnTo>
                <a:lnTo>
                  <a:pt x="290" y="30"/>
                </a:lnTo>
                <a:lnTo>
                  <a:pt x="290" y="30"/>
                </a:lnTo>
                <a:lnTo>
                  <a:pt x="288" y="28"/>
                </a:lnTo>
                <a:lnTo>
                  <a:pt x="284" y="26"/>
                </a:lnTo>
                <a:lnTo>
                  <a:pt x="278" y="24"/>
                </a:lnTo>
                <a:lnTo>
                  <a:pt x="278" y="24"/>
                </a:lnTo>
                <a:lnTo>
                  <a:pt x="268" y="24"/>
                </a:lnTo>
                <a:lnTo>
                  <a:pt x="264" y="26"/>
                </a:lnTo>
                <a:lnTo>
                  <a:pt x="264" y="26"/>
                </a:lnTo>
                <a:lnTo>
                  <a:pt x="266" y="30"/>
                </a:lnTo>
                <a:lnTo>
                  <a:pt x="266" y="30"/>
                </a:lnTo>
                <a:lnTo>
                  <a:pt x="268" y="30"/>
                </a:lnTo>
                <a:lnTo>
                  <a:pt x="268" y="30"/>
                </a:lnTo>
                <a:lnTo>
                  <a:pt x="270" y="34"/>
                </a:lnTo>
                <a:lnTo>
                  <a:pt x="270" y="34"/>
                </a:lnTo>
                <a:lnTo>
                  <a:pt x="262" y="28"/>
                </a:lnTo>
                <a:lnTo>
                  <a:pt x="262" y="28"/>
                </a:lnTo>
                <a:lnTo>
                  <a:pt x="258" y="26"/>
                </a:lnTo>
                <a:lnTo>
                  <a:pt x="256" y="26"/>
                </a:lnTo>
                <a:lnTo>
                  <a:pt x="250" y="28"/>
                </a:lnTo>
                <a:lnTo>
                  <a:pt x="250" y="28"/>
                </a:lnTo>
                <a:lnTo>
                  <a:pt x="242" y="28"/>
                </a:lnTo>
                <a:lnTo>
                  <a:pt x="242" y="28"/>
                </a:lnTo>
                <a:lnTo>
                  <a:pt x="242" y="30"/>
                </a:lnTo>
                <a:lnTo>
                  <a:pt x="242" y="30"/>
                </a:lnTo>
                <a:lnTo>
                  <a:pt x="244" y="32"/>
                </a:lnTo>
                <a:lnTo>
                  <a:pt x="244" y="32"/>
                </a:lnTo>
                <a:lnTo>
                  <a:pt x="246" y="36"/>
                </a:lnTo>
                <a:lnTo>
                  <a:pt x="246" y="36"/>
                </a:lnTo>
                <a:lnTo>
                  <a:pt x="248" y="36"/>
                </a:lnTo>
                <a:lnTo>
                  <a:pt x="248" y="36"/>
                </a:lnTo>
                <a:lnTo>
                  <a:pt x="250" y="40"/>
                </a:lnTo>
                <a:lnTo>
                  <a:pt x="250" y="40"/>
                </a:lnTo>
                <a:lnTo>
                  <a:pt x="256" y="44"/>
                </a:lnTo>
                <a:lnTo>
                  <a:pt x="256" y="44"/>
                </a:lnTo>
                <a:lnTo>
                  <a:pt x="260" y="48"/>
                </a:lnTo>
                <a:lnTo>
                  <a:pt x="260" y="48"/>
                </a:lnTo>
                <a:lnTo>
                  <a:pt x="266" y="50"/>
                </a:lnTo>
                <a:lnTo>
                  <a:pt x="272" y="52"/>
                </a:lnTo>
                <a:lnTo>
                  <a:pt x="272" y="52"/>
                </a:lnTo>
                <a:lnTo>
                  <a:pt x="274" y="56"/>
                </a:lnTo>
                <a:lnTo>
                  <a:pt x="274" y="56"/>
                </a:lnTo>
                <a:lnTo>
                  <a:pt x="270" y="52"/>
                </a:lnTo>
                <a:lnTo>
                  <a:pt x="270" y="52"/>
                </a:lnTo>
                <a:lnTo>
                  <a:pt x="266" y="54"/>
                </a:lnTo>
                <a:lnTo>
                  <a:pt x="264" y="52"/>
                </a:lnTo>
                <a:lnTo>
                  <a:pt x="264" y="52"/>
                </a:lnTo>
                <a:lnTo>
                  <a:pt x="262" y="52"/>
                </a:lnTo>
                <a:lnTo>
                  <a:pt x="260" y="52"/>
                </a:lnTo>
                <a:lnTo>
                  <a:pt x="256" y="58"/>
                </a:lnTo>
                <a:lnTo>
                  <a:pt x="256" y="58"/>
                </a:lnTo>
                <a:lnTo>
                  <a:pt x="252" y="56"/>
                </a:lnTo>
                <a:lnTo>
                  <a:pt x="252" y="56"/>
                </a:lnTo>
                <a:lnTo>
                  <a:pt x="250" y="54"/>
                </a:lnTo>
                <a:lnTo>
                  <a:pt x="250" y="54"/>
                </a:lnTo>
                <a:lnTo>
                  <a:pt x="248" y="54"/>
                </a:lnTo>
                <a:lnTo>
                  <a:pt x="246" y="54"/>
                </a:lnTo>
                <a:lnTo>
                  <a:pt x="246" y="54"/>
                </a:lnTo>
                <a:lnTo>
                  <a:pt x="238" y="46"/>
                </a:lnTo>
                <a:lnTo>
                  <a:pt x="238" y="46"/>
                </a:lnTo>
                <a:lnTo>
                  <a:pt x="238" y="40"/>
                </a:lnTo>
                <a:lnTo>
                  <a:pt x="236" y="40"/>
                </a:lnTo>
                <a:lnTo>
                  <a:pt x="236" y="40"/>
                </a:lnTo>
                <a:lnTo>
                  <a:pt x="232" y="36"/>
                </a:lnTo>
                <a:lnTo>
                  <a:pt x="226" y="30"/>
                </a:lnTo>
                <a:lnTo>
                  <a:pt x="226" y="30"/>
                </a:lnTo>
                <a:lnTo>
                  <a:pt x="216" y="28"/>
                </a:lnTo>
                <a:lnTo>
                  <a:pt x="216" y="28"/>
                </a:lnTo>
                <a:lnTo>
                  <a:pt x="214" y="28"/>
                </a:lnTo>
                <a:lnTo>
                  <a:pt x="214" y="28"/>
                </a:lnTo>
                <a:lnTo>
                  <a:pt x="214" y="36"/>
                </a:lnTo>
                <a:lnTo>
                  <a:pt x="214" y="36"/>
                </a:lnTo>
                <a:lnTo>
                  <a:pt x="216" y="40"/>
                </a:lnTo>
                <a:lnTo>
                  <a:pt x="216" y="40"/>
                </a:lnTo>
                <a:lnTo>
                  <a:pt x="216" y="42"/>
                </a:lnTo>
                <a:lnTo>
                  <a:pt x="214" y="42"/>
                </a:lnTo>
                <a:lnTo>
                  <a:pt x="214" y="42"/>
                </a:lnTo>
                <a:lnTo>
                  <a:pt x="214" y="42"/>
                </a:lnTo>
                <a:lnTo>
                  <a:pt x="214" y="40"/>
                </a:lnTo>
                <a:lnTo>
                  <a:pt x="212" y="40"/>
                </a:lnTo>
                <a:lnTo>
                  <a:pt x="212" y="40"/>
                </a:lnTo>
                <a:lnTo>
                  <a:pt x="212" y="44"/>
                </a:lnTo>
                <a:lnTo>
                  <a:pt x="212" y="44"/>
                </a:lnTo>
                <a:lnTo>
                  <a:pt x="214" y="46"/>
                </a:lnTo>
                <a:lnTo>
                  <a:pt x="214" y="46"/>
                </a:lnTo>
                <a:lnTo>
                  <a:pt x="214" y="50"/>
                </a:lnTo>
                <a:lnTo>
                  <a:pt x="214" y="52"/>
                </a:lnTo>
                <a:lnTo>
                  <a:pt x="214" y="52"/>
                </a:lnTo>
                <a:lnTo>
                  <a:pt x="212" y="54"/>
                </a:lnTo>
                <a:lnTo>
                  <a:pt x="212" y="54"/>
                </a:lnTo>
                <a:lnTo>
                  <a:pt x="210" y="54"/>
                </a:lnTo>
                <a:lnTo>
                  <a:pt x="210" y="54"/>
                </a:lnTo>
                <a:lnTo>
                  <a:pt x="206" y="50"/>
                </a:lnTo>
                <a:lnTo>
                  <a:pt x="200" y="48"/>
                </a:lnTo>
                <a:lnTo>
                  <a:pt x="200" y="48"/>
                </a:lnTo>
                <a:lnTo>
                  <a:pt x="198" y="48"/>
                </a:lnTo>
                <a:lnTo>
                  <a:pt x="198" y="46"/>
                </a:lnTo>
                <a:lnTo>
                  <a:pt x="198" y="46"/>
                </a:lnTo>
                <a:lnTo>
                  <a:pt x="196" y="46"/>
                </a:lnTo>
                <a:lnTo>
                  <a:pt x="196" y="48"/>
                </a:lnTo>
                <a:lnTo>
                  <a:pt x="196" y="48"/>
                </a:lnTo>
                <a:lnTo>
                  <a:pt x="194" y="48"/>
                </a:lnTo>
                <a:lnTo>
                  <a:pt x="192" y="46"/>
                </a:lnTo>
                <a:lnTo>
                  <a:pt x="188" y="44"/>
                </a:lnTo>
                <a:lnTo>
                  <a:pt x="188" y="44"/>
                </a:lnTo>
                <a:lnTo>
                  <a:pt x="186" y="46"/>
                </a:lnTo>
                <a:lnTo>
                  <a:pt x="186" y="46"/>
                </a:lnTo>
                <a:lnTo>
                  <a:pt x="180" y="52"/>
                </a:lnTo>
                <a:lnTo>
                  <a:pt x="180" y="52"/>
                </a:lnTo>
                <a:lnTo>
                  <a:pt x="180" y="52"/>
                </a:lnTo>
                <a:lnTo>
                  <a:pt x="180" y="54"/>
                </a:lnTo>
                <a:lnTo>
                  <a:pt x="180" y="54"/>
                </a:lnTo>
                <a:lnTo>
                  <a:pt x="180" y="54"/>
                </a:lnTo>
                <a:lnTo>
                  <a:pt x="178" y="40"/>
                </a:lnTo>
                <a:lnTo>
                  <a:pt x="176" y="36"/>
                </a:lnTo>
                <a:lnTo>
                  <a:pt x="174" y="34"/>
                </a:lnTo>
                <a:lnTo>
                  <a:pt x="170" y="32"/>
                </a:lnTo>
                <a:lnTo>
                  <a:pt x="170" y="32"/>
                </a:lnTo>
                <a:lnTo>
                  <a:pt x="164" y="36"/>
                </a:lnTo>
                <a:lnTo>
                  <a:pt x="164" y="40"/>
                </a:lnTo>
                <a:lnTo>
                  <a:pt x="164" y="40"/>
                </a:lnTo>
                <a:lnTo>
                  <a:pt x="160" y="36"/>
                </a:lnTo>
                <a:lnTo>
                  <a:pt x="160" y="36"/>
                </a:lnTo>
                <a:lnTo>
                  <a:pt x="158" y="36"/>
                </a:lnTo>
                <a:lnTo>
                  <a:pt x="158" y="36"/>
                </a:lnTo>
                <a:lnTo>
                  <a:pt x="158" y="36"/>
                </a:lnTo>
                <a:lnTo>
                  <a:pt x="156" y="40"/>
                </a:lnTo>
                <a:lnTo>
                  <a:pt x="156" y="40"/>
                </a:lnTo>
                <a:lnTo>
                  <a:pt x="154" y="40"/>
                </a:lnTo>
                <a:lnTo>
                  <a:pt x="154" y="40"/>
                </a:lnTo>
                <a:lnTo>
                  <a:pt x="154" y="38"/>
                </a:lnTo>
                <a:lnTo>
                  <a:pt x="152" y="36"/>
                </a:lnTo>
                <a:lnTo>
                  <a:pt x="152" y="36"/>
                </a:lnTo>
                <a:lnTo>
                  <a:pt x="146" y="38"/>
                </a:lnTo>
                <a:lnTo>
                  <a:pt x="140" y="38"/>
                </a:lnTo>
                <a:lnTo>
                  <a:pt x="140" y="38"/>
                </a:lnTo>
                <a:lnTo>
                  <a:pt x="134" y="40"/>
                </a:lnTo>
                <a:lnTo>
                  <a:pt x="126" y="40"/>
                </a:lnTo>
                <a:lnTo>
                  <a:pt x="126" y="40"/>
                </a:lnTo>
                <a:lnTo>
                  <a:pt x="120" y="44"/>
                </a:lnTo>
                <a:lnTo>
                  <a:pt x="120" y="44"/>
                </a:lnTo>
                <a:lnTo>
                  <a:pt x="116" y="44"/>
                </a:lnTo>
                <a:lnTo>
                  <a:pt x="116" y="44"/>
                </a:lnTo>
                <a:lnTo>
                  <a:pt x="118" y="46"/>
                </a:lnTo>
                <a:lnTo>
                  <a:pt x="118" y="46"/>
                </a:lnTo>
                <a:lnTo>
                  <a:pt x="120" y="50"/>
                </a:lnTo>
                <a:lnTo>
                  <a:pt x="120" y="54"/>
                </a:lnTo>
                <a:lnTo>
                  <a:pt x="120" y="54"/>
                </a:lnTo>
                <a:lnTo>
                  <a:pt x="122" y="56"/>
                </a:lnTo>
                <a:lnTo>
                  <a:pt x="122" y="56"/>
                </a:lnTo>
                <a:lnTo>
                  <a:pt x="118" y="52"/>
                </a:lnTo>
                <a:lnTo>
                  <a:pt x="118" y="52"/>
                </a:lnTo>
                <a:lnTo>
                  <a:pt x="116" y="48"/>
                </a:lnTo>
                <a:lnTo>
                  <a:pt x="114" y="46"/>
                </a:lnTo>
                <a:lnTo>
                  <a:pt x="114" y="46"/>
                </a:lnTo>
                <a:lnTo>
                  <a:pt x="110" y="44"/>
                </a:lnTo>
                <a:lnTo>
                  <a:pt x="110" y="44"/>
                </a:lnTo>
                <a:lnTo>
                  <a:pt x="108" y="44"/>
                </a:lnTo>
                <a:lnTo>
                  <a:pt x="106" y="46"/>
                </a:lnTo>
                <a:lnTo>
                  <a:pt x="106" y="46"/>
                </a:lnTo>
                <a:lnTo>
                  <a:pt x="102" y="54"/>
                </a:lnTo>
                <a:lnTo>
                  <a:pt x="102" y="54"/>
                </a:lnTo>
                <a:lnTo>
                  <a:pt x="102" y="54"/>
                </a:lnTo>
                <a:lnTo>
                  <a:pt x="102" y="56"/>
                </a:lnTo>
                <a:lnTo>
                  <a:pt x="102" y="56"/>
                </a:lnTo>
                <a:lnTo>
                  <a:pt x="106" y="60"/>
                </a:lnTo>
                <a:lnTo>
                  <a:pt x="106" y="60"/>
                </a:lnTo>
                <a:lnTo>
                  <a:pt x="104" y="62"/>
                </a:lnTo>
                <a:lnTo>
                  <a:pt x="104" y="62"/>
                </a:lnTo>
                <a:lnTo>
                  <a:pt x="102" y="62"/>
                </a:lnTo>
                <a:lnTo>
                  <a:pt x="102" y="62"/>
                </a:lnTo>
                <a:lnTo>
                  <a:pt x="102" y="60"/>
                </a:lnTo>
                <a:lnTo>
                  <a:pt x="100" y="58"/>
                </a:lnTo>
                <a:lnTo>
                  <a:pt x="100" y="58"/>
                </a:lnTo>
                <a:lnTo>
                  <a:pt x="90" y="56"/>
                </a:lnTo>
                <a:lnTo>
                  <a:pt x="90" y="56"/>
                </a:lnTo>
                <a:lnTo>
                  <a:pt x="84" y="58"/>
                </a:lnTo>
                <a:lnTo>
                  <a:pt x="78" y="60"/>
                </a:lnTo>
                <a:lnTo>
                  <a:pt x="68" y="66"/>
                </a:lnTo>
                <a:lnTo>
                  <a:pt x="68" y="66"/>
                </a:lnTo>
                <a:lnTo>
                  <a:pt x="58" y="68"/>
                </a:lnTo>
                <a:lnTo>
                  <a:pt x="54" y="68"/>
                </a:lnTo>
                <a:lnTo>
                  <a:pt x="52" y="70"/>
                </a:lnTo>
                <a:lnTo>
                  <a:pt x="52" y="70"/>
                </a:lnTo>
                <a:lnTo>
                  <a:pt x="50" y="74"/>
                </a:lnTo>
                <a:lnTo>
                  <a:pt x="50" y="74"/>
                </a:lnTo>
                <a:lnTo>
                  <a:pt x="48" y="78"/>
                </a:lnTo>
                <a:lnTo>
                  <a:pt x="50" y="80"/>
                </a:lnTo>
                <a:lnTo>
                  <a:pt x="50" y="80"/>
                </a:lnTo>
                <a:lnTo>
                  <a:pt x="56" y="78"/>
                </a:lnTo>
                <a:lnTo>
                  <a:pt x="62" y="78"/>
                </a:lnTo>
                <a:lnTo>
                  <a:pt x="62" y="78"/>
                </a:lnTo>
                <a:lnTo>
                  <a:pt x="66" y="82"/>
                </a:lnTo>
                <a:lnTo>
                  <a:pt x="66" y="82"/>
                </a:lnTo>
                <a:lnTo>
                  <a:pt x="70" y="78"/>
                </a:lnTo>
                <a:lnTo>
                  <a:pt x="70" y="78"/>
                </a:lnTo>
                <a:lnTo>
                  <a:pt x="74" y="80"/>
                </a:lnTo>
                <a:lnTo>
                  <a:pt x="74" y="80"/>
                </a:lnTo>
                <a:lnTo>
                  <a:pt x="82" y="78"/>
                </a:lnTo>
                <a:lnTo>
                  <a:pt x="82" y="78"/>
                </a:lnTo>
                <a:lnTo>
                  <a:pt x="80" y="80"/>
                </a:lnTo>
                <a:lnTo>
                  <a:pt x="82" y="84"/>
                </a:lnTo>
                <a:lnTo>
                  <a:pt x="82" y="84"/>
                </a:lnTo>
                <a:lnTo>
                  <a:pt x="80" y="86"/>
                </a:lnTo>
                <a:lnTo>
                  <a:pt x="78" y="86"/>
                </a:lnTo>
                <a:lnTo>
                  <a:pt x="78" y="86"/>
                </a:lnTo>
                <a:lnTo>
                  <a:pt x="80" y="88"/>
                </a:lnTo>
                <a:lnTo>
                  <a:pt x="80" y="92"/>
                </a:lnTo>
                <a:lnTo>
                  <a:pt x="70" y="100"/>
                </a:lnTo>
                <a:lnTo>
                  <a:pt x="70" y="100"/>
                </a:lnTo>
                <a:lnTo>
                  <a:pt x="68" y="100"/>
                </a:lnTo>
                <a:lnTo>
                  <a:pt x="68" y="100"/>
                </a:lnTo>
                <a:lnTo>
                  <a:pt x="66" y="104"/>
                </a:lnTo>
                <a:lnTo>
                  <a:pt x="66" y="104"/>
                </a:lnTo>
                <a:lnTo>
                  <a:pt x="64" y="102"/>
                </a:lnTo>
                <a:lnTo>
                  <a:pt x="62" y="100"/>
                </a:lnTo>
                <a:lnTo>
                  <a:pt x="62" y="100"/>
                </a:lnTo>
                <a:lnTo>
                  <a:pt x="50" y="100"/>
                </a:lnTo>
                <a:lnTo>
                  <a:pt x="50" y="100"/>
                </a:lnTo>
                <a:lnTo>
                  <a:pt x="44" y="104"/>
                </a:lnTo>
                <a:lnTo>
                  <a:pt x="38" y="106"/>
                </a:lnTo>
                <a:lnTo>
                  <a:pt x="38" y="106"/>
                </a:lnTo>
                <a:lnTo>
                  <a:pt x="32" y="104"/>
                </a:lnTo>
                <a:lnTo>
                  <a:pt x="32" y="104"/>
                </a:lnTo>
                <a:lnTo>
                  <a:pt x="22" y="106"/>
                </a:lnTo>
                <a:lnTo>
                  <a:pt x="22" y="106"/>
                </a:lnTo>
                <a:lnTo>
                  <a:pt x="16" y="106"/>
                </a:lnTo>
                <a:lnTo>
                  <a:pt x="16" y="108"/>
                </a:lnTo>
                <a:lnTo>
                  <a:pt x="16" y="108"/>
                </a:lnTo>
                <a:lnTo>
                  <a:pt x="12" y="108"/>
                </a:lnTo>
                <a:lnTo>
                  <a:pt x="6" y="108"/>
                </a:lnTo>
                <a:lnTo>
                  <a:pt x="6" y="108"/>
                </a:lnTo>
                <a:lnTo>
                  <a:pt x="2" y="114"/>
                </a:lnTo>
                <a:lnTo>
                  <a:pt x="2" y="114"/>
                </a:lnTo>
                <a:lnTo>
                  <a:pt x="2" y="116"/>
                </a:lnTo>
                <a:lnTo>
                  <a:pt x="2" y="116"/>
                </a:lnTo>
                <a:lnTo>
                  <a:pt x="4" y="116"/>
                </a:lnTo>
                <a:lnTo>
                  <a:pt x="4" y="116"/>
                </a:lnTo>
                <a:lnTo>
                  <a:pt x="6" y="120"/>
                </a:lnTo>
                <a:lnTo>
                  <a:pt x="6" y="120"/>
                </a:lnTo>
                <a:lnTo>
                  <a:pt x="8" y="122"/>
                </a:lnTo>
                <a:lnTo>
                  <a:pt x="8" y="122"/>
                </a:lnTo>
                <a:lnTo>
                  <a:pt x="8" y="124"/>
                </a:lnTo>
                <a:lnTo>
                  <a:pt x="8" y="124"/>
                </a:lnTo>
                <a:lnTo>
                  <a:pt x="14" y="124"/>
                </a:lnTo>
                <a:lnTo>
                  <a:pt x="14" y="126"/>
                </a:lnTo>
                <a:lnTo>
                  <a:pt x="14" y="126"/>
                </a:lnTo>
                <a:lnTo>
                  <a:pt x="14" y="126"/>
                </a:lnTo>
                <a:lnTo>
                  <a:pt x="16" y="126"/>
                </a:lnTo>
                <a:lnTo>
                  <a:pt x="16" y="126"/>
                </a:lnTo>
                <a:lnTo>
                  <a:pt x="16" y="128"/>
                </a:lnTo>
                <a:lnTo>
                  <a:pt x="16" y="128"/>
                </a:lnTo>
                <a:lnTo>
                  <a:pt x="22" y="128"/>
                </a:lnTo>
                <a:lnTo>
                  <a:pt x="22" y="128"/>
                </a:lnTo>
                <a:lnTo>
                  <a:pt x="30" y="130"/>
                </a:lnTo>
                <a:lnTo>
                  <a:pt x="30" y="128"/>
                </a:lnTo>
                <a:lnTo>
                  <a:pt x="32" y="124"/>
                </a:lnTo>
                <a:lnTo>
                  <a:pt x="32" y="124"/>
                </a:lnTo>
                <a:lnTo>
                  <a:pt x="36" y="124"/>
                </a:lnTo>
                <a:lnTo>
                  <a:pt x="36" y="124"/>
                </a:lnTo>
                <a:lnTo>
                  <a:pt x="38" y="130"/>
                </a:lnTo>
                <a:lnTo>
                  <a:pt x="38" y="130"/>
                </a:lnTo>
                <a:lnTo>
                  <a:pt x="50" y="128"/>
                </a:lnTo>
                <a:lnTo>
                  <a:pt x="64" y="128"/>
                </a:lnTo>
                <a:lnTo>
                  <a:pt x="64" y="128"/>
                </a:lnTo>
                <a:lnTo>
                  <a:pt x="66" y="132"/>
                </a:lnTo>
                <a:lnTo>
                  <a:pt x="66" y="132"/>
                </a:lnTo>
                <a:lnTo>
                  <a:pt x="62" y="132"/>
                </a:lnTo>
                <a:lnTo>
                  <a:pt x="62" y="134"/>
                </a:lnTo>
                <a:lnTo>
                  <a:pt x="60" y="134"/>
                </a:lnTo>
                <a:lnTo>
                  <a:pt x="60" y="134"/>
                </a:lnTo>
                <a:lnTo>
                  <a:pt x="58" y="132"/>
                </a:lnTo>
                <a:lnTo>
                  <a:pt x="58" y="132"/>
                </a:lnTo>
                <a:lnTo>
                  <a:pt x="46" y="132"/>
                </a:lnTo>
                <a:lnTo>
                  <a:pt x="46" y="134"/>
                </a:lnTo>
                <a:lnTo>
                  <a:pt x="46" y="134"/>
                </a:lnTo>
                <a:lnTo>
                  <a:pt x="38" y="132"/>
                </a:lnTo>
                <a:lnTo>
                  <a:pt x="38" y="132"/>
                </a:lnTo>
                <a:lnTo>
                  <a:pt x="24" y="138"/>
                </a:lnTo>
                <a:lnTo>
                  <a:pt x="24" y="138"/>
                </a:lnTo>
                <a:lnTo>
                  <a:pt x="24" y="140"/>
                </a:lnTo>
                <a:lnTo>
                  <a:pt x="24" y="140"/>
                </a:lnTo>
                <a:lnTo>
                  <a:pt x="28" y="140"/>
                </a:lnTo>
                <a:lnTo>
                  <a:pt x="28" y="140"/>
                </a:lnTo>
                <a:lnTo>
                  <a:pt x="20" y="140"/>
                </a:lnTo>
                <a:lnTo>
                  <a:pt x="20" y="140"/>
                </a:lnTo>
                <a:lnTo>
                  <a:pt x="16" y="140"/>
                </a:lnTo>
                <a:lnTo>
                  <a:pt x="16" y="138"/>
                </a:lnTo>
                <a:lnTo>
                  <a:pt x="14" y="138"/>
                </a:lnTo>
                <a:lnTo>
                  <a:pt x="8" y="140"/>
                </a:lnTo>
                <a:lnTo>
                  <a:pt x="8" y="140"/>
                </a:lnTo>
                <a:lnTo>
                  <a:pt x="12" y="146"/>
                </a:lnTo>
                <a:lnTo>
                  <a:pt x="12" y="146"/>
                </a:lnTo>
                <a:lnTo>
                  <a:pt x="14" y="146"/>
                </a:lnTo>
                <a:lnTo>
                  <a:pt x="16" y="146"/>
                </a:lnTo>
                <a:lnTo>
                  <a:pt x="16" y="146"/>
                </a:lnTo>
                <a:lnTo>
                  <a:pt x="18" y="148"/>
                </a:lnTo>
                <a:lnTo>
                  <a:pt x="18" y="148"/>
                </a:lnTo>
                <a:lnTo>
                  <a:pt x="22" y="148"/>
                </a:lnTo>
                <a:lnTo>
                  <a:pt x="26" y="148"/>
                </a:lnTo>
                <a:lnTo>
                  <a:pt x="26" y="148"/>
                </a:lnTo>
                <a:lnTo>
                  <a:pt x="22" y="152"/>
                </a:lnTo>
                <a:lnTo>
                  <a:pt x="22" y="152"/>
                </a:lnTo>
                <a:lnTo>
                  <a:pt x="26" y="156"/>
                </a:lnTo>
                <a:lnTo>
                  <a:pt x="28" y="158"/>
                </a:lnTo>
                <a:lnTo>
                  <a:pt x="30" y="160"/>
                </a:lnTo>
                <a:lnTo>
                  <a:pt x="30" y="160"/>
                </a:lnTo>
                <a:lnTo>
                  <a:pt x="32" y="160"/>
                </a:lnTo>
                <a:lnTo>
                  <a:pt x="36" y="160"/>
                </a:lnTo>
                <a:lnTo>
                  <a:pt x="36" y="160"/>
                </a:lnTo>
                <a:lnTo>
                  <a:pt x="46" y="162"/>
                </a:lnTo>
                <a:lnTo>
                  <a:pt x="46" y="162"/>
                </a:lnTo>
                <a:lnTo>
                  <a:pt x="44" y="156"/>
                </a:lnTo>
                <a:lnTo>
                  <a:pt x="46" y="152"/>
                </a:lnTo>
                <a:lnTo>
                  <a:pt x="46" y="152"/>
                </a:lnTo>
                <a:lnTo>
                  <a:pt x="54" y="156"/>
                </a:lnTo>
                <a:lnTo>
                  <a:pt x="54" y="156"/>
                </a:lnTo>
                <a:lnTo>
                  <a:pt x="54" y="154"/>
                </a:lnTo>
                <a:lnTo>
                  <a:pt x="54" y="154"/>
                </a:lnTo>
                <a:lnTo>
                  <a:pt x="58" y="152"/>
                </a:lnTo>
                <a:lnTo>
                  <a:pt x="64" y="152"/>
                </a:lnTo>
                <a:lnTo>
                  <a:pt x="64" y="152"/>
                </a:lnTo>
                <a:lnTo>
                  <a:pt x="64" y="154"/>
                </a:lnTo>
                <a:lnTo>
                  <a:pt x="64" y="154"/>
                </a:lnTo>
                <a:lnTo>
                  <a:pt x="66" y="156"/>
                </a:lnTo>
                <a:lnTo>
                  <a:pt x="68" y="158"/>
                </a:lnTo>
                <a:lnTo>
                  <a:pt x="68" y="158"/>
                </a:lnTo>
                <a:lnTo>
                  <a:pt x="70" y="154"/>
                </a:lnTo>
                <a:lnTo>
                  <a:pt x="70" y="154"/>
                </a:lnTo>
                <a:lnTo>
                  <a:pt x="74" y="154"/>
                </a:lnTo>
                <a:lnTo>
                  <a:pt x="74" y="154"/>
                </a:lnTo>
                <a:lnTo>
                  <a:pt x="76" y="154"/>
                </a:lnTo>
                <a:lnTo>
                  <a:pt x="76" y="154"/>
                </a:lnTo>
                <a:lnTo>
                  <a:pt x="80" y="154"/>
                </a:lnTo>
                <a:lnTo>
                  <a:pt x="84" y="154"/>
                </a:lnTo>
                <a:lnTo>
                  <a:pt x="84" y="154"/>
                </a:lnTo>
                <a:lnTo>
                  <a:pt x="84" y="152"/>
                </a:lnTo>
                <a:lnTo>
                  <a:pt x="84" y="152"/>
                </a:lnTo>
                <a:lnTo>
                  <a:pt x="90" y="148"/>
                </a:lnTo>
                <a:lnTo>
                  <a:pt x="90" y="148"/>
                </a:lnTo>
                <a:lnTo>
                  <a:pt x="90" y="152"/>
                </a:lnTo>
                <a:lnTo>
                  <a:pt x="90" y="152"/>
                </a:lnTo>
                <a:lnTo>
                  <a:pt x="90" y="156"/>
                </a:lnTo>
                <a:lnTo>
                  <a:pt x="90" y="156"/>
                </a:lnTo>
                <a:lnTo>
                  <a:pt x="96" y="150"/>
                </a:lnTo>
                <a:lnTo>
                  <a:pt x="96" y="150"/>
                </a:lnTo>
                <a:lnTo>
                  <a:pt x="100" y="150"/>
                </a:lnTo>
                <a:lnTo>
                  <a:pt x="102" y="154"/>
                </a:lnTo>
                <a:lnTo>
                  <a:pt x="102" y="154"/>
                </a:lnTo>
                <a:lnTo>
                  <a:pt x="108" y="154"/>
                </a:lnTo>
                <a:lnTo>
                  <a:pt x="116" y="156"/>
                </a:lnTo>
                <a:lnTo>
                  <a:pt x="116" y="156"/>
                </a:lnTo>
                <a:lnTo>
                  <a:pt x="116" y="158"/>
                </a:lnTo>
                <a:lnTo>
                  <a:pt x="116" y="158"/>
                </a:lnTo>
                <a:lnTo>
                  <a:pt x="122" y="162"/>
                </a:lnTo>
                <a:lnTo>
                  <a:pt x="122" y="162"/>
                </a:lnTo>
                <a:lnTo>
                  <a:pt x="124" y="164"/>
                </a:lnTo>
                <a:lnTo>
                  <a:pt x="124" y="164"/>
                </a:lnTo>
                <a:lnTo>
                  <a:pt x="128" y="164"/>
                </a:lnTo>
                <a:lnTo>
                  <a:pt x="132" y="164"/>
                </a:lnTo>
                <a:lnTo>
                  <a:pt x="132" y="164"/>
                </a:lnTo>
                <a:lnTo>
                  <a:pt x="138" y="168"/>
                </a:lnTo>
                <a:lnTo>
                  <a:pt x="138" y="168"/>
                </a:lnTo>
                <a:lnTo>
                  <a:pt x="138" y="170"/>
                </a:lnTo>
                <a:lnTo>
                  <a:pt x="138" y="172"/>
                </a:lnTo>
                <a:lnTo>
                  <a:pt x="138" y="172"/>
                </a:lnTo>
                <a:lnTo>
                  <a:pt x="140" y="172"/>
                </a:lnTo>
                <a:lnTo>
                  <a:pt x="140" y="172"/>
                </a:lnTo>
                <a:lnTo>
                  <a:pt x="146" y="176"/>
                </a:lnTo>
                <a:lnTo>
                  <a:pt x="146" y="176"/>
                </a:lnTo>
                <a:lnTo>
                  <a:pt x="150" y="182"/>
                </a:lnTo>
                <a:lnTo>
                  <a:pt x="150" y="182"/>
                </a:lnTo>
                <a:lnTo>
                  <a:pt x="154" y="182"/>
                </a:lnTo>
                <a:lnTo>
                  <a:pt x="154" y="182"/>
                </a:lnTo>
                <a:lnTo>
                  <a:pt x="156" y="184"/>
                </a:lnTo>
                <a:lnTo>
                  <a:pt x="156" y="184"/>
                </a:lnTo>
                <a:lnTo>
                  <a:pt x="156" y="184"/>
                </a:lnTo>
                <a:lnTo>
                  <a:pt x="156" y="184"/>
                </a:lnTo>
                <a:lnTo>
                  <a:pt x="156" y="184"/>
                </a:lnTo>
                <a:lnTo>
                  <a:pt x="156" y="184"/>
                </a:lnTo>
                <a:lnTo>
                  <a:pt x="156" y="186"/>
                </a:lnTo>
                <a:lnTo>
                  <a:pt x="156" y="186"/>
                </a:lnTo>
                <a:lnTo>
                  <a:pt x="154" y="186"/>
                </a:lnTo>
                <a:lnTo>
                  <a:pt x="154" y="186"/>
                </a:lnTo>
                <a:lnTo>
                  <a:pt x="156" y="190"/>
                </a:lnTo>
                <a:lnTo>
                  <a:pt x="156" y="190"/>
                </a:lnTo>
                <a:lnTo>
                  <a:pt x="154" y="192"/>
                </a:lnTo>
                <a:lnTo>
                  <a:pt x="154" y="192"/>
                </a:lnTo>
                <a:lnTo>
                  <a:pt x="150" y="192"/>
                </a:lnTo>
                <a:lnTo>
                  <a:pt x="150" y="192"/>
                </a:lnTo>
                <a:lnTo>
                  <a:pt x="150" y="194"/>
                </a:lnTo>
                <a:lnTo>
                  <a:pt x="150" y="194"/>
                </a:lnTo>
                <a:lnTo>
                  <a:pt x="156" y="192"/>
                </a:lnTo>
                <a:lnTo>
                  <a:pt x="156" y="192"/>
                </a:lnTo>
                <a:lnTo>
                  <a:pt x="156" y="194"/>
                </a:lnTo>
                <a:lnTo>
                  <a:pt x="156" y="194"/>
                </a:lnTo>
                <a:lnTo>
                  <a:pt x="164" y="202"/>
                </a:lnTo>
                <a:lnTo>
                  <a:pt x="164" y="202"/>
                </a:lnTo>
                <a:lnTo>
                  <a:pt x="164" y="204"/>
                </a:lnTo>
                <a:lnTo>
                  <a:pt x="162" y="204"/>
                </a:lnTo>
                <a:lnTo>
                  <a:pt x="162" y="206"/>
                </a:lnTo>
                <a:lnTo>
                  <a:pt x="162" y="206"/>
                </a:lnTo>
                <a:lnTo>
                  <a:pt x="166" y="208"/>
                </a:lnTo>
                <a:lnTo>
                  <a:pt x="168" y="210"/>
                </a:lnTo>
                <a:lnTo>
                  <a:pt x="168" y="210"/>
                </a:lnTo>
                <a:lnTo>
                  <a:pt x="166" y="214"/>
                </a:lnTo>
                <a:lnTo>
                  <a:pt x="166" y="214"/>
                </a:lnTo>
                <a:lnTo>
                  <a:pt x="170" y="214"/>
                </a:lnTo>
                <a:lnTo>
                  <a:pt x="170" y="214"/>
                </a:lnTo>
                <a:lnTo>
                  <a:pt x="170" y="214"/>
                </a:lnTo>
                <a:lnTo>
                  <a:pt x="170" y="216"/>
                </a:lnTo>
                <a:lnTo>
                  <a:pt x="170" y="216"/>
                </a:lnTo>
                <a:lnTo>
                  <a:pt x="170" y="216"/>
                </a:lnTo>
                <a:lnTo>
                  <a:pt x="170" y="218"/>
                </a:lnTo>
                <a:lnTo>
                  <a:pt x="170" y="218"/>
                </a:lnTo>
                <a:lnTo>
                  <a:pt x="168" y="220"/>
                </a:lnTo>
                <a:lnTo>
                  <a:pt x="170" y="222"/>
                </a:lnTo>
                <a:lnTo>
                  <a:pt x="170" y="222"/>
                </a:lnTo>
                <a:lnTo>
                  <a:pt x="170" y="222"/>
                </a:lnTo>
                <a:lnTo>
                  <a:pt x="162" y="224"/>
                </a:lnTo>
                <a:lnTo>
                  <a:pt x="162" y="224"/>
                </a:lnTo>
                <a:lnTo>
                  <a:pt x="162" y="224"/>
                </a:lnTo>
                <a:lnTo>
                  <a:pt x="164" y="224"/>
                </a:lnTo>
                <a:lnTo>
                  <a:pt x="164" y="224"/>
                </a:lnTo>
                <a:lnTo>
                  <a:pt x="164" y="228"/>
                </a:lnTo>
                <a:lnTo>
                  <a:pt x="162" y="230"/>
                </a:lnTo>
                <a:lnTo>
                  <a:pt x="162" y="230"/>
                </a:lnTo>
                <a:lnTo>
                  <a:pt x="160" y="232"/>
                </a:lnTo>
                <a:lnTo>
                  <a:pt x="160" y="232"/>
                </a:lnTo>
                <a:lnTo>
                  <a:pt x="160" y="234"/>
                </a:lnTo>
                <a:lnTo>
                  <a:pt x="160" y="234"/>
                </a:lnTo>
                <a:lnTo>
                  <a:pt x="164" y="234"/>
                </a:lnTo>
                <a:lnTo>
                  <a:pt x="164" y="234"/>
                </a:lnTo>
                <a:lnTo>
                  <a:pt x="162" y="238"/>
                </a:lnTo>
                <a:lnTo>
                  <a:pt x="162" y="238"/>
                </a:lnTo>
                <a:lnTo>
                  <a:pt x="160" y="238"/>
                </a:lnTo>
                <a:lnTo>
                  <a:pt x="160" y="240"/>
                </a:lnTo>
                <a:lnTo>
                  <a:pt x="160" y="240"/>
                </a:lnTo>
                <a:lnTo>
                  <a:pt x="166" y="244"/>
                </a:lnTo>
                <a:lnTo>
                  <a:pt x="168" y="244"/>
                </a:lnTo>
                <a:lnTo>
                  <a:pt x="172" y="242"/>
                </a:lnTo>
                <a:lnTo>
                  <a:pt x="172" y="242"/>
                </a:lnTo>
                <a:lnTo>
                  <a:pt x="174" y="236"/>
                </a:lnTo>
                <a:lnTo>
                  <a:pt x="176" y="236"/>
                </a:lnTo>
                <a:lnTo>
                  <a:pt x="176" y="236"/>
                </a:lnTo>
                <a:lnTo>
                  <a:pt x="176" y="240"/>
                </a:lnTo>
                <a:lnTo>
                  <a:pt x="176" y="240"/>
                </a:lnTo>
                <a:lnTo>
                  <a:pt x="184" y="240"/>
                </a:lnTo>
                <a:lnTo>
                  <a:pt x="192" y="242"/>
                </a:lnTo>
                <a:lnTo>
                  <a:pt x="192" y="242"/>
                </a:lnTo>
                <a:lnTo>
                  <a:pt x="192" y="242"/>
                </a:lnTo>
                <a:lnTo>
                  <a:pt x="192" y="242"/>
                </a:lnTo>
                <a:lnTo>
                  <a:pt x="192" y="244"/>
                </a:lnTo>
                <a:lnTo>
                  <a:pt x="192" y="244"/>
                </a:lnTo>
                <a:lnTo>
                  <a:pt x="200" y="244"/>
                </a:lnTo>
                <a:lnTo>
                  <a:pt x="200" y="244"/>
                </a:lnTo>
                <a:lnTo>
                  <a:pt x="202" y="242"/>
                </a:lnTo>
                <a:lnTo>
                  <a:pt x="202" y="242"/>
                </a:lnTo>
                <a:lnTo>
                  <a:pt x="204" y="242"/>
                </a:lnTo>
                <a:lnTo>
                  <a:pt x="204" y="242"/>
                </a:lnTo>
                <a:lnTo>
                  <a:pt x="200" y="246"/>
                </a:lnTo>
                <a:lnTo>
                  <a:pt x="200" y="246"/>
                </a:lnTo>
                <a:lnTo>
                  <a:pt x="198" y="246"/>
                </a:lnTo>
                <a:lnTo>
                  <a:pt x="202" y="248"/>
                </a:lnTo>
                <a:lnTo>
                  <a:pt x="208" y="248"/>
                </a:lnTo>
                <a:lnTo>
                  <a:pt x="208" y="248"/>
                </a:lnTo>
                <a:lnTo>
                  <a:pt x="208" y="250"/>
                </a:lnTo>
                <a:lnTo>
                  <a:pt x="208" y="250"/>
                </a:lnTo>
                <a:lnTo>
                  <a:pt x="202" y="250"/>
                </a:lnTo>
                <a:lnTo>
                  <a:pt x="202" y="250"/>
                </a:lnTo>
                <a:lnTo>
                  <a:pt x="206" y="252"/>
                </a:lnTo>
                <a:lnTo>
                  <a:pt x="206" y="252"/>
                </a:lnTo>
                <a:lnTo>
                  <a:pt x="208" y="254"/>
                </a:lnTo>
                <a:lnTo>
                  <a:pt x="206" y="254"/>
                </a:lnTo>
                <a:lnTo>
                  <a:pt x="202" y="254"/>
                </a:lnTo>
                <a:lnTo>
                  <a:pt x="202" y="256"/>
                </a:lnTo>
                <a:lnTo>
                  <a:pt x="202" y="256"/>
                </a:lnTo>
                <a:lnTo>
                  <a:pt x="202" y="256"/>
                </a:lnTo>
                <a:lnTo>
                  <a:pt x="202" y="256"/>
                </a:lnTo>
                <a:lnTo>
                  <a:pt x="206" y="256"/>
                </a:lnTo>
                <a:lnTo>
                  <a:pt x="206" y="256"/>
                </a:lnTo>
                <a:lnTo>
                  <a:pt x="208" y="258"/>
                </a:lnTo>
                <a:lnTo>
                  <a:pt x="208" y="258"/>
                </a:lnTo>
                <a:lnTo>
                  <a:pt x="208" y="258"/>
                </a:lnTo>
                <a:lnTo>
                  <a:pt x="204" y="260"/>
                </a:lnTo>
                <a:lnTo>
                  <a:pt x="202" y="260"/>
                </a:lnTo>
                <a:lnTo>
                  <a:pt x="208" y="264"/>
                </a:lnTo>
                <a:lnTo>
                  <a:pt x="208" y="264"/>
                </a:lnTo>
                <a:lnTo>
                  <a:pt x="208" y="266"/>
                </a:lnTo>
                <a:lnTo>
                  <a:pt x="208" y="266"/>
                </a:lnTo>
                <a:lnTo>
                  <a:pt x="200" y="264"/>
                </a:lnTo>
                <a:lnTo>
                  <a:pt x="194" y="260"/>
                </a:lnTo>
                <a:lnTo>
                  <a:pt x="194" y="260"/>
                </a:lnTo>
                <a:lnTo>
                  <a:pt x="190" y="258"/>
                </a:lnTo>
                <a:lnTo>
                  <a:pt x="190" y="258"/>
                </a:lnTo>
                <a:lnTo>
                  <a:pt x="180" y="256"/>
                </a:lnTo>
                <a:lnTo>
                  <a:pt x="170" y="256"/>
                </a:lnTo>
                <a:lnTo>
                  <a:pt x="170" y="256"/>
                </a:lnTo>
                <a:lnTo>
                  <a:pt x="168" y="258"/>
                </a:lnTo>
                <a:lnTo>
                  <a:pt x="168" y="258"/>
                </a:lnTo>
                <a:lnTo>
                  <a:pt x="170" y="262"/>
                </a:lnTo>
                <a:lnTo>
                  <a:pt x="170" y="262"/>
                </a:lnTo>
                <a:lnTo>
                  <a:pt x="174" y="262"/>
                </a:lnTo>
                <a:lnTo>
                  <a:pt x="174" y="262"/>
                </a:lnTo>
                <a:lnTo>
                  <a:pt x="174" y="262"/>
                </a:lnTo>
                <a:lnTo>
                  <a:pt x="178" y="264"/>
                </a:lnTo>
                <a:lnTo>
                  <a:pt x="178" y="266"/>
                </a:lnTo>
                <a:lnTo>
                  <a:pt x="178" y="266"/>
                </a:lnTo>
                <a:lnTo>
                  <a:pt x="178" y="266"/>
                </a:lnTo>
                <a:lnTo>
                  <a:pt x="176" y="268"/>
                </a:lnTo>
                <a:lnTo>
                  <a:pt x="172" y="266"/>
                </a:lnTo>
                <a:lnTo>
                  <a:pt x="172" y="266"/>
                </a:lnTo>
                <a:lnTo>
                  <a:pt x="168" y="266"/>
                </a:lnTo>
                <a:lnTo>
                  <a:pt x="168" y="266"/>
                </a:lnTo>
                <a:lnTo>
                  <a:pt x="166" y="268"/>
                </a:lnTo>
                <a:lnTo>
                  <a:pt x="166" y="268"/>
                </a:lnTo>
                <a:lnTo>
                  <a:pt x="168" y="274"/>
                </a:lnTo>
                <a:lnTo>
                  <a:pt x="164" y="276"/>
                </a:lnTo>
                <a:lnTo>
                  <a:pt x="164" y="276"/>
                </a:lnTo>
                <a:lnTo>
                  <a:pt x="164" y="280"/>
                </a:lnTo>
                <a:lnTo>
                  <a:pt x="164" y="280"/>
                </a:lnTo>
                <a:lnTo>
                  <a:pt x="162" y="280"/>
                </a:lnTo>
                <a:lnTo>
                  <a:pt x="162" y="282"/>
                </a:lnTo>
                <a:lnTo>
                  <a:pt x="162" y="282"/>
                </a:lnTo>
                <a:lnTo>
                  <a:pt x="164" y="284"/>
                </a:lnTo>
                <a:lnTo>
                  <a:pt x="164" y="284"/>
                </a:lnTo>
                <a:lnTo>
                  <a:pt x="168" y="284"/>
                </a:lnTo>
                <a:lnTo>
                  <a:pt x="170" y="284"/>
                </a:lnTo>
                <a:lnTo>
                  <a:pt x="170" y="284"/>
                </a:lnTo>
                <a:lnTo>
                  <a:pt x="172" y="284"/>
                </a:lnTo>
                <a:lnTo>
                  <a:pt x="174" y="284"/>
                </a:lnTo>
                <a:lnTo>
                  <a:pt x="174" y="284"/>
                </a:lnTo>
                <a:lnTo>
                  <a:pt x="174" y="284"/>
                </a:lnTo>
                <a:lnTo>
                  <a:pt x="176" y="284"/>
                </a:lnTo>
                <a:lnTo>
                  <a:pt x="176" y="284"/>
                </a:lnTo>
                <a:lnTo>
                  <a:pt x="176" y="286"/>
                </a:lnTo>
                <a:lnTo>
                  <a:pt x="168" y="286"/>
                </a:lnTo>
                <a:lnTo>
                  <a:pt x="168" y="288"/>
                </a:lnTo>
                <a:lnTo>
                  <a:pt x="168" y="288"/>
                </a:lnTo>
                <a:lnTo>
                  <a:pt x="172" y="292"/>
                </a:lnTo>
                <a:lnTo>
                  <a:pt x="172" y="292"/>
                </a:lnTo>
                <a:lnTo>
                  <a:pt x="178" y="290"/>
                </a:lnTo>
                <a:lnTo>
                  <a:pt x="180" y="290"/>
                </a:lnTo>
                <a:lnTo>
                  <a:pt x="180" y="290"/>
                </a:lnTo>
                <a:lnTo>
                  <a:pt x="186" y="288"/>
                </a:lnTo>
                <a:lnTo>
                  <a:pt x="194" y="284"/>
                </a:lnTo>
                <a:lnTo>
                  <a:pt x="194" y="284"/>
                </a:lnTo>
                <a:lnTo>
                  <a:pt x="194" y="280"/>
                </a:lnTo>
                <a:lnTo>
                  <a:pt x="194" y="280"/>
                </a:lnTo>
                <a:lnTo>
                  <a:pt x="188" y="276"/>
                </a:lnTo>
                <a:lnTo>
                  <a:pt x="188" y="276"/>
                </a:lnTo>
                <a:lnTo>
                  <a:pt x="186" y="270"/>
                </a:lnTo>
                <a:lnTo>
                  <a:pt x="186" y="270"/>
                </a:lnTo>
                <a:lnTo>
                  <a:pt x="180" y="268"/>
                </a:lnTo>
                <a:lnTo>
                  <a:pt x="180" y="268"/>
                </a:lnTo>
                <a:lnTo>
                  <a:pt x="180" y="266"/>
                </a:lnTo>
                <a:lnTo>
                  <a:pt x="178" y="264"/>
                </a:lnTo>
                <a:lnTo>
                  <a:pt x="178" y="264"/>
                </a:lnTo>
                <a:lnTo>
                  <a:pt x="184" y="266"/>
                </a:lnTo>
                <a:lnTo>
                  <a:pt x="188" y="268"/>
                </a:lnTo>
                <a:lnTo>
                  <a:pt x="188" y="268"/>
                </a:lnTo>
                <a:lnTo>
                  <a:pt x="192" y="272"/>
                </a:lnTo>
                <a:lnTo>
                  <a:pt x="194" y="272"/>
                </a:lnTo>
                <a:lnTo>
                  <a:pt x="198" y="272"/>
                </a:lnTo>
                <a:lnTo>
                  <a:pt x="198" y="272"/>
                </a:lnTo>
                <a:lnTo>
                  <a:pt x="200" y="270"/>
                </a:lnTo>
                <a:lnTo>
                  <a:pt x="202" y="272"/>
                </a:lnTo>
                <a:lnTo>
                  <a:pt x="202" y="272"/>
                </a:lnTo>
                <a:lnTo>
                  <a:pt x="208" y="272"/>
                </a:lnTo>
                <a:lnTo>
                  <a:pt x="208" y="272"/>
                </a:lnTo>
                <a:lnTo>
                  <a:pt x="208" y="272"/>
                </a:lnTo>
                <a:lnTo>
                  <a:pt x="208" y="274"/>
                </a:lnTo>
                <a:lnTo>
                  <a:pt x="208" y="274"/>
                </a:lnTo>
                <a:lnTo>
                  <a:pt x="208" y="276"/>
                </a:lnTo>
                <a:lnTo>
                  <a:pt x="208" y="278"/>
                </a:lnTo>
                <a:lnTo>
                  <a:pt x="208" y="278"/>
                </a:lnTo>
                <a:lnTo>
                  <a:pt x="206" y="278"/>
                </a:lnTo>
                <a:lnTo>
                  <a:pt x="206" y="278"/>
                </a:lnTo>
                <a:lnTo>
                  <a:pt x="206" y="282"/>
                </a:lnTo>
                <a:lnTo>
                  <a:pt x="206" y="282"/>
                </a:lnTo>
                <a:lnTo>
                  <a:pt x="208" y="282"/>
                </a:lnTo>
                <a:lnTo>
                  <a:pt x="208" y="282"/>
                </a:lnTo>
                <a:lnTo>
                  <a:pt x="206" y="284"/>
                </a:lnTo>
                <a:lnTo>
                  <a:pt x="206" y="286"/>
                </a:lnTo>
                <a:lnTo>
                  <a:pt x="206" y="286"/>
                </a:lnTo>
                <a:lnTo>
                  <a:pt x="210" y="286"/>
                </a:lnTo>
                <a:lnTo>
                  <a:pt x="210" y="290"/>
                </a:lnTo>
                <a:lnTo>
                  <a:pt x="210" y="290"/>
                </a:lnTo>
                <a:lnTo>
                  <a:pt x="212" y="290"/>
                </a:lnTo>
                <a:lnTo>
                  <a:pt x="212" y="290"/>
                </a:lnTo>
                <a:lnTo>
                  <a:pt x="212" y="292"/>
                </a:lnTo>
                <a:lnTo>
                  <a:pt x="212" y="292"/>
                </a:lnTo>
                <a:lnTo>
                  <a:pt x="210" y="294"/>
                </a:lnTo>
                <a:lnTo>
                  <a:pt x="210" y="296"/>
                </a:lnTo>
                <a:lnTo>
                  <a:pt x="208" y="294"/>
                </a:lnTo>
                <a:lnTo>
                  <a:pt x="208" y="294"/>
                </a:lnTo>
                <a:lnTo>
                  <a:pt x="208" y="292"/>
                </a:lnTo>
                <a:lnTo>
                  <a:pt x="208" y="290"/>
                </a:lnTo>
                <a:lnTo>
                  <a:pt x="208" y="290"/>
                </a:lnTo>
                <a:lnTo>
                  <a:pt x="204" y="290"/>
                </a:lnTo>
                <a:lnTo>
                  <a:pt x="204" y="290"/>
                </a:lnTo>
                <a:lnTo>
                  <a:pt x="204" y="298"/>
                </a:lnTo>
                <a:lnTo>
                  <a:pt x="204" y="298"/>
                </a:lnTo>
                <a:lnTo>
                  <a:pt x="204" y="298"/>
                </a:lnTo>
                <a:lnTo>
                  <a:pt x="206" y="300"/>
                </a:lnTo>
                <a:lnTo>
                  <a:pt x="206" y="300"/>
                </a:lnTo>
                <a:lnTo>
                  <a:pt x="206" y="304"/>
                </a:lnTo>
                <a:lnTo>
                  <a:pt x="206" y="304"/>
                </a:lnTo>
                <a:lnTo>
                  <a:pt x="202" y="304"/>
                </a:lnTo>
                <a:lnTo>
                  <a:pt x="196" y="304"/>
                </a:lnTo>
                <a:lnTo>
                  <a:pt x="196" y="304"/>
                </a:lnTo>
                <a:lnTo>
                  <a:pt x="194" y="304"/>
                </a:lnTo>
                <a:lnTo>
                  <a:pt x="194" y="304"/>
                </a:lnTo>
                <a:lnTo>
                  <a:pt x="194" y="304"/>
                </a:lnTo>
                <a:lnTo>
                  <a:pt x="194" y="306"/>
                </a:lnTo>
                <a:lnTo>
                  <a:pt x="194" y="306"/>
                </a:lnTo>
                <a:lnTo>
                  <a:pt x="190" y="308"/>
                </a:lnTo>
                <a:lnTo>
                  <a:pt x="190" y="308"/>
                </a:lnTo>
                <a:lnTo>
                  <a:pt x="186" y="308"/>
                </a:lnTo>
                <a:lnTo>
                  <a:pt x="186" y="310"/>
                </a:lnTo>
                <a:lnTo>
                  <a:pt x="186" y="310"/>
                </a:lnTo>
                <a:lnTo>
                  <a:pt x="198" y="310"/>
                </a:lnTo>
                <a:lnTo>
                  <a:pt x="202" y="308"/>
                </a:lnTo>
                <a:lnTo>
                  <a:pt x="206" y="306"/>
                </a:lnTo>
                <a:lnTo>
                  <a:pt x="206" y="306"/>
                </a:lnTo>
                <a:lnTo>
                  <a:pt x="208" y="312"/>
                </a:lnTo>
                <a:lnTo>
                  <a:pt x="202" y="312"/>
                </a:lnTo>
                <a:lnTo>
                  <a:pt x="202" y="312"/>
                </a:lnTo>
                <a:lnTo>
                  <a:pt x="198" y="312"/>
                </a:lnTo>
                <a:lnTo>
                  <a:pt x="194" y="312"/>
                </a:lnTo>
                <a:lnTo>
                  <a:pt x="194" y="312"/>
                </a:lnTo>
                <a:lnTo>
                  <a:pt x="192" y="310"/>
                </a:lnTo>
                <a:lnTo>
                  <a:pt x="192" y="310"/>
                </a:lnTo>
                <a:lnTo>
                  <a:pt x="188" y="310"/>
                </a:lnTo>
                <a:lnTo>
                  <a:pt x="188" y="312"/>
                </a:lnTo>
                <a:lnTo>
                  <a:pt x="188" y="312"/>
                </a:lnTo>
                <a:lnTo>
                  <a:pt x="192" y="314"/>
                </a:lnTo>
                <a:lnTo>
                  <a:pt x="194" y="316"/>
                </a:lnTo>
                <a:lnTo>
                  <a:pt x="194" y="316"/>
                </a:lnTo>
                <a:lnTo>
                  <a:pt x="194" y="316"/>
                </a:lnTo>
                <a:lnTo>
                  <a:pt x="192" y="316"/>
                </a:lnTo>
                <a:lnTo>
                  <a:pt x="192" y="316"/>
                </a:lnTo>
                <a:lnTo>
                  <a:pt x="188" y="314"/>
                </a:lnTo>
                <a:lnTo>
                  <a:pt x="188" y="314"/>
                </a:lnTo>
                <a:lnTo>
                  <a:pt x="186" y="314"/>
                </a:lnTo>
                <a:lnTo>
                  <a:pt x="184" y="314"/>
                </a:lnTo>
                <a:lnTo>
                  <a:pt x="182" y="318"/>
                </a:lnTo>
                <a:lnTo>
                  <a:pt x="182" y="318"/>
                </a:lnTo>
                <a:lnTo>
                  <a:pt x="180" y="320"/>
                </a:lnTo>
                <a:lnTo>
                  <a:pt x="180" y="320"/>
                </a:lnTo>
                <a:lnTo>
                  <a:pt x="180" y="324"/>
                </a:lnTo>
                <a:lnTo>
                  <a:pt x="180" y="324"/>
                </a:lnTo>
                <a:lnTo>
                  <a:pt x="186" y="320"/>
                </a:lnTo>
                <a:lnTo>
                  <a:pt x="186" y="318"/>
                </a:lnTo>
                <a:lnTo>
                  <a:pt x="186" y="318"/>
                </a:lnTo>
                <a:lnTo>
                  <a:pt x="190" y="320"/>
                </a:lnTo>
                <a:lnTo>
                  <a:pt x="190" y="320"/>
                </a:lnTo>
                <a:lnTo>
                  <a:pt x="198" y="316"/>
                </a:lnTo>
                <a:lnTo>
                  <a:pt x="198" y="316"/>
                </a:lnTo>
                <a:lnTo>
                  <a:pt x="196" y="318"/>
                </a:lnTo>
                <a:lnTo>
                  <a:pt x="200" y="320"/>
                </a:lnTo>
                <a:lnTo>
                  <a:pt x="200" y="322"/>
                </a:lnTo>
                <a:lnTo>
                  <a:pt x="200" y="322"/>
                </a:lnTo>
                <a:lnTo>
                  <a:pt x="206" y="320"/>
                </a:lnTo>
                <a:lnTo>
                  <a:pt x="206" y="320"/>
                </a:lnTo>
                <a:lnTo>
                  <a:pt x="204" y="316"/>
                </a:lnTo>
                <a:lnTo>
                  <a:pt x="204" y="316"/>
                </a:lnTo>
                <a:lnTo>
                  <a:pt x="210" y="316"/>
                </a:lnTo>
                <a:lnTo>
                  <a:pt x="210" y="316"/>
                </a:lnTo>
                <a:lnTo>
                  <a:pt x="208" y="318"/>
                </a:lnTo>
                <a:lnTo>
                  <a:pt x="208" y="320"/>
                </a:lnTo>
                <a:lnTo>
                  <a:pt x="208" y="318"/>
                </a:lnTo>
                <a:lnTo>
                  <a:pt x="208" y="318"/>
                </a:lnTo>
                <a:lnTo>
                  <a:pt x="208" y="320"/>
                </a:lnTo>
                <a:lnTo>
                  <a:pt x="208" y="320"/>
                </a:lnTo>
                <a:lnTo>
                  <a:pt x="208" y="320"/>
                </a:lnTo>
                <a:lnTo>
                  <a:pt x="206" y="324"/>
                </a:lnTo>
                <a:lnTo>
                  <a:pt x="206" y="324"/>
                </a:lnTo>
                <a:lnTo>
                  <a:pt x="200" y="324"/>
                </a:lnTo>
                <a:lnTo>
                  <a:pt x="200" y="324"/>
                </a:lnTo>
                <a:lnTo>
                  <a:pt x="194" y="322"/>
                </a:lnTo>
                <a:lnTo>
                  <a:pt x="190" y="320"/>
                </a:lnTo>
                <a:lnTo>
                  <a:pt x="186" y="320"/>
                </a:lnTo>
                <a:lnTo>
                  <a:pt x="186" y="320"/>
                </a:lnTo>
                <a:lnTo>
                  <a:pt x="186" y="320"/>
                </a:lnTo>
                <a:lnTo>
                  <a:pt x="184" y="324"/>
                </a:lnTo>
                <a:lnTo>
                  <a:pt x="184" y="326"/>
                </a:lnTo>
                <a:lnTo>
                  <a:pt x="184" y="326"/>
                </a:lnTo>
                <a:lnTo>
                  <a:pt x="180" y="326"/>
                </a:lnTo>
                <a:lnTo>
                  <a:pt x="180" y="326"/>
                </a:lnTo>
                <a:lnTo>
                  <a:pt x="178" y="328"/>
                </a:lnTo>
                <a:lnTo>
                  <a:pt x="178" y="328"/>
                </a:lnTo>
                <a:lnTo>
                  <a:pt x="180" y="330"/>
                </a:lnTo>
                <a:lnTo>
                  <a:pt x="180" y="330"/>
                </a:lnTo>
                <a:lnTo>
                  <a:pt x="180" y="332"/>
                </a:lnTo>
                <a:lnTo>
                  <a:pt x="180" y="332"/>
                </a:lnTo>
                <a:lnTo>
                  <a:pt x="182" y="334"/>
                </a:lnTo>
                <a:lnTo>
                  <a:pt x="184" y="334"/>
                </a:lnTo>
                <a:lnTo>
                  <a:pt x="184" y="334"/>
                </a:lnTo>
                <a:lnTo>
                  <a:pt x="184" y="336"/>
                </a:lnTo>
                <a:lnTo>
                  <a:pt x="186" y="336"/>
                </a:lnTo>
                <a:lnTo>
                  <a:pt x="186" y="336"/>
                </a:lnTo>
                <a:lnTo>
                  <a:pt x="184" y="340"/>
                </a:lnTo>
                <a:lnTo>
                  <a:pt x="184" y="340"/>
                </a:lnTo>
                <a:lnTo>
                  <a:pt x="182" y="340"/>
                </a:lnTo>
                <a:lnTo>
                  <a:pt x="182" y="340"/>
                </a:lnTo>
                <a:lnTo>
                  <a:pt x="182" y="342"/>
                </a:lnTo>
                <a:lnTo>
                  <a:pt x="182" y="344"/>
                </a:lnTo>
                <a:lnTo>
                  <a:pt x="182" y="344"/>
                </a:lnTo>
                <a:lnTo>
                  <a:pt x="184" y="342"/>
                </a:lnTo>
                <a:lnTo>
                  <a:pt x="184" y="342"/>
                </a:lnTo>
                <a:lnTo>
                  <a:pt x="184" y="344"/>
                </a:lnTo>
                <a:lnTo>
                  <a:pt x="184" y="344"/>
                </a:lnTo>
                <a:lnTo>
                  <a:pt x="180" y="344"/>
                </a:lnTo>
                <a:lnTo>
                  <a:pt x="180" y="346"/>
                </a:lnTo>
                <a:lnTo>
                  <a:pt x="180" y="346"/>
                </a:lnTo>
                <a:lnTo>
                  <a:pt x="182" y="350"/>
                </a:lnTo>
                <a:lnTo>
                  <a:pt x="182" y="350"/>
                </a:lnTo>
                <a:lnTo>
                  <a:pt x="188" y="348"/>
                </a:lnTo>
                <a:lnTo>
                  <a:pt x="188" y="348"/>
                </a:lnTo>
                <a:lnTo>
                  <a:pt x="184" y="350"/>
                </a:lnTo>
                <a:lnTo>
                  <a:pt x="184" y="350"/>
                </a:lnTo>
                <a:lnTo>
                  <a:pt x="184" y="354"/>
                </a:lnTo>
                <a:lnTo>
                  <a:pt x="184" y="354"/>
                </a:lnTo>
                <a:lnTo>
                  <a:pt x="188" y="352"/>
                </a:lnTo>
                <a:lnTo>
                  <a:pt x="188" y="352"/>
                </a:lnTo>
                <a:lnTo>
                  <a:pt x="190" y="354"/>
                </a:lnTo>
                <a:lnTo>
                  <a:pt x="192" y="354"/>
                </a:lnTo>
                <a:lnTo>
                  <a:pt x="192" y="354"/>
                </a:lnTo>
                <a:lnTo>
                  <a:pt x="192" y="352"/>
                </a:lnTo>
                <a:lnTo>
                  <a:pt x="192" y="352"/>
                </a:lnTo>
                <a:lnTo>
                  <a:pt x="196" y="350"/>
                </a:lnTo>
                <a:lnTo>
                  <a:pt x="196" y="350"/>
                </a:lnTo>
                <a:lnTo>
                  <a:pt x="190" y="356"/>
                </a:lnTo>
                <a:lnTo>
                  <a:pt x="190" y="356"/>
                </a:lnTo>
                <a:lnTo>
                  <a:pt x="194" y="358"/>
                </a:lnTo>
                <a:lnTo>
                  <a:pt x="194" y="360"/>
                </a:lnTo>
                <a:lnTo>
                  <a:pt x="194" y="360"/>
                </a:lnTo>
                <a:lnTo>
                  <a:pt x="192" y="360"/>
                </a:lnTo>
                <a:lnTo>
                  <a:pt x="192" y="360"/>
                </a:lnTo>
                <a:lnTo>
                  <a:pt x="192" y="364"/>
                </a:lnTo>
                <a:lnTo>
                  <a:pt x="192" y="364"/>
                </a:lnTo>
                <a:lnTo>
                  <a:pt x="196" y="364"/>
                </a:lnTo>
                <a:lnTo>
                  <a:pt x="196" y="364"/>
                </a:lnTo>
                <a:lnTo>
                  <a:pt x="196" y="366"/>
                </a:lnTo>
                <a:lnTo>
                  <a:pt x="196" y="366"/>
                </a:lnTo>
                <a:lnTo>
                  <a:pt x="198" y="366"/>
                </a:lnTo>
                <a:lnTo>
                  <a:pt x="198" y="366"/>
                </a:lnTo>
                <a:lnTo>
                  <a:pt x="196" y="370"/>
                </a:lnTo>
                <a:lnTo>
                  <a:pt x="196" y="374"/>
                </a:lnTo>
                <a:lnTo>
                  <a:pt x="202" y="368"/>
                </a:lnTo>
                <a:lnTo>
                  <a:pt x="202" y="368"/>
                </a:lnTo>
                <a:lnTo>
                  <a:pt x="204" y="368"/>
                </a:lnTo>
                <a:lnTo>
                  <a:pt x="206" y="368"/>
                </a:lnTo>
                <a:lnTo>
                  <a:pt x="206" y="368"/>
                </a:lnTo>
                <a:lnTo>
                  <a:pt x="206" y="366"/>
                </a:lnTo>
                <a:lnTo>
                  <a:pt x="206" y="366"/>
                </a:lnTo>
                <a:lnTo>
                  <a:pt x="208" y="366"/>
                </a:lnTo>
                <a:lnTo>
                  <a:pt x="210" y="366"/>
                </a:lnTo>
                <a:lnTo>
                  <a:pt x="210" y="366"/>
                </a:lnTo>
                <a:lnTo>
                  <a:pt x="210" y="370"/>
                </a:lnTo>
                <a:lnTo>
                  <a:pt x="210" y="372"/>
                </a:lnTo>
                <a:lnTo>
                  <a:pt x="210" y="372"/>
                </a:lnTo>
                <a:lnTo>
                  <a:pt x="208" y="372"/>
                </a:lnTo>
                <a:lnTo>
                  <a:pt x="206" y="370"/>
                </a:lnTo>
                <a:lnTo>
                  <a:pt x="206" y="370"/>
                </a:lnTo>
                <a:lnTo>
                  <a:pt x="206" y="372"/>
                </a:lnTo>
                <a:lnTo>
                  <a:pt x="206" y="372"/>
                </a:lnTo>
                <a:lnTo>
                  <a:pt x="208" y="374"/>
                </a:lnTo>
                <a:lnTo>
                  <a:pt x="208" y="374"/>
                </a:lnTo>
                <a:lnTo>
                  <a:pt x="208" y="374"/>
                </a:lnTo>
                <a:lnTo>
                  <a:pt x="198" y="376"/>
                </a:lnTo>
                <a:lnTo>
                  <a:pt x="198" y="378"/>
                </a:lnTo>
                <a:lnTo>
                  <a:pt x="198" y="378"/>
                </a:lnTo>
                <a:lnTo>
                  <a:pt x="204" y="378"/>
                </a:lnTo>
                <a:lnTo>
                  <a:pt x="204" y="380"/>
                </a:lnTo>
                <a:lnTo>
                  <a:pt x="204" y="380"/>
                </a:lnTo>
                <a:lnTo>
                  <a:pt x="200" y="380"/>
                </a:lnTo>
                <a:lnTo>
                  <a:pt x="200" y="380"/>
                </a:lnTo>
                <a:lnTo>
                  <a:pt x="198" y="380"/>
                </a:lnTo>
                <a:lnTo>
                  <a:pt x="198" y="380"/>
                </a:lnTo>
                <a:lnTo>
                  <a:pt x="198" y="380"/>
                </a:lnTo>
                <a:lnTo>
                  <a:pt x="198" y="380"/>
                </a:lnTo>
                <a:lnTo>
                  <a:pt x="200" y="382"/>
                </a:lnTo>
                <a:lnTo>
                  <a:pt x="200" y="382"/>
                </a:lnTo>
                <a:lnTo>
                  <a:pt x="200" y="382"/>
                </a:lnTo>
                <a:lnTo>
                  <a:pt x="202" y="382"/>
                </a:lnTo>
                <a:lnTo>
                  <a:pt x="200" y="386"/>
                </a:lnTo>
                <a:lnTo>
                  <a:pt x="200" y="386"/>
                </a:lnTo>
                <a:lnTo>
                  <a:pt x="200" y="386"/>
                </a:lnTo>
                <a:lnTo>
                  <a:pt x="202" y="388"/>
                </a:lnTo>
                <a:lnTo>
                  <a:pt x="206" y="386"/>
                </a:lnTo>
                <a:lnTo>
                  <a:pt x="206" y="386"/>
                </a:lnTo>
                <a:lnTo>
                  <a:pt x="206" y="390"/>
                </a:lnTo>
                <a:lnTo>
                  <a:pt x="206" y="390"/>
                </a:lnTo>
                <a:lnTo>
                  <a:pt x="204" y="390"/>
                </a:lnTo>
                <a:lnTo>
                  <a:pt x="204" y="392"/>
                </a:lnTo>
                <a:lnTo>
                  <a:pt x="204" y="392"/>
                </a:lnTo>
                <a:lnTo>
                  <a:pt x="204" y="392"/>
                </a:lnTo>
                <a:lnTo>
                  <a:pt x="208" y="392"/>
                </a:lnTo>
                <a:lnTo>
                  <a:pt x="208" y="392"/>
                </a:lnTo>
                <a:lnTo>
                  <a:pt x="206" y="394"/>
                </a:lnTo>
                <a:lnTo>
                  <a:pt x="206" y="394"/>
                </a:lnTo>
                <a:lnTo>
                  <a:pt x="206" y="398"/>
                </a:lnTo>
                <a:lnTo>
                  <a:pt x="206" y="398"/>
                </a:lnTo>
                <a:lnTo>
                  <a:pt x="208" y="396"/>
                </a:lnTo>
                <a:lnTo>
                  <a:pt x="208" y="396"/>
                </a:lnTo>
                <a:lnTo>
                  <a:pt x="208" y="396"/>
                </a:lnTo>
                <a:lnTo>
                  <a:pt x="208" y="396"/>
                </a:lnTo>
                <a:lnTo>
                  <a:pt x="208" y="394"/>
                </a:lnTo>
                <a:lnTo>
                  <a:pt x="208" y="394"/>
                </a:lnTo>
                <a:lnTo>
                  <a:pt x="212" y="394"/>
                </a:lnTo>
                <a:lnTo>
                  <a:pt x="212" y="394"/>
                </a:lnTo>
                <a:lnTo>
                  <a:pt x="212" y="400"/>
                </a:lnTo>
                <a:lnTo>
                  <a:pt x="212" y="402"/>
                </a:lnTo>
                <a:lnTo>
                  <a:pt x="216" y="400"/>
                </a:lnTo>
                <a:lnTo>
                  <a:pt x="216" y="400"/>
                </a:lnTo>
                <a:lnTo>
                  <a:pt x="216" y="404"/>
                </a:lnTo>
                <a:lnTo>
                  <a:pt x="216" y="406"/>
                </a:lnTo>
                <a:lnTo>
                  <a:pt x="216" y="406"/>
                </a:lnTo>
                <a:lnTo>
                  <a:pt x="218" y="406"/>
                </a:lnTo>
                <a:lnTo>
                  <a:pt x="222" y="404"/>
                </a:lnTo>
                <a:lnTo>
                  <a:pt x="222" y="404"/>
                </a:lnTo>
                <a:lnTo>
                  <a:pt x="224" y="404"/>
                </a:lnTo>
                <a:lnTo>
                  <a:pt x="224" y="404"/>
                </a:lnTo>
                <a:lnTo>
                  <a:pt x="224" y="406"/>
                </a:lnTo>
                <a:lnTo>
                  <a:pt x="224" y="408"/>
                </a:lnTo>
                <a:lnTo>
                  <a:pt x="224" y="408"/>
                </a:lnTo>
                <a:lnTo>
                  <a:pt x="224" y="408"/>
                </a:lnTo>
                <a:lnTo>
                  <a:pt x="224" y="408"/>
                </a:lnTo>
                <a:lnTo>
                  <a:pt x="224" y="410"/>
                </a:lnTo>
                <a:lnTo>
                  <a:pt x="224" y="410"/>
                </a:lnTo>
                <a:lnTo>
                  <a:pt x="228" y="408"/>
                </a:lnTo>
                <a:lnTo>
                  <a:pt x="228" y="408"/>
                </a:lnTo>
                <a:lnTo>
                  <a:pt x="228" y="410"/>
                </a:lnTo>
                <a:lnTo>
                  <a:pt x="228" y="410"/>
                </a:lnTo>
                <a:lnTo>
                  <a:pt x="226" y="412"/>
                </a:lnTo>
                <a:lnTo>
                  <a:pt x="226" y="412"/>
                </a:lnTo>
                <a:lnTo>
                  <a:pt x="226" y="412"/>
                </a:lnTo>
                <a:lnTo>
                  <a:pt x="228" y="412"/>
                </a:lnTo>
                <a:lnTo>
                  <a:pt x="230" y="412"/>
                </a:lnTo>
                <a:lnTo>
                  <a:pt x="230" y="416"/>
                </a:lnTo>
                <a:lnTo>
                  <a:pt x="230" y="416"/>
                </a:lnTo>
                <a:lnTo>
                  <a:pt x="228" y="418"/>
                </a:lnTo>
                <a:lnTo>
                  <a:pt x="228" y="418"/>
                </a:lnTo>
                <a:lnTo>
                  <a:pt x="230" y="420"/>
                </a:lnTo>
                <a:lnTo>
                  <a:pt x="230" y="420"/>
                </a:lnTo>
                <a:lnTo>
                  <a:pt x="232" y="416"/>
                </a:lnTo>
                <a:lnTo>
                  <a:pt x="232" y="416"/>
                </a:lnTo>
                <a:lnTo>
                  <a:pt x="234" y="418"/>
                </a:lnTo>
                <a:lnTo>
                  <a:pt x="234" y="418"/>
                </a:lnTo>
                <a:lnTo>
                  <a:pt x="234" y="418"/>
                </a:lnTo>
                <a:lnTo>
                  <a:pt x="234" y="418"/>
                </a:lnTo>
                <a:lnTo>
                  <a:pt x="234" y="418"/>
                </a:lnTo>
                <a:lnTo>
                  <a:pt x="234" y="418"/>
                </a:lnTo>
                <a:lnTo>
                  <a:pt x="232" y="418"/>
                </a:lnTo>
                <a:lnTo>
                  <a:pt x="234" y="420"/>
                </a:lnTo>
                <a:lnTo>
                  <a:pt x="234" y="420"/>
                </a:lnTo>
                <a:lnTo>
                  <a:pt x="232" y="420"/>
                </a:lnTo>
                <a:lnTo>
                  <a:pt x="230" y="420"/>
                </a:lnTo>
                <a:lnTo>
                  <a:pt x="230" y="422"/>
                </a:lnTo>
                <a:lnTo>
                  <a:pt x="230" y="422"/>
                </a:lnTo>
                <a:lnTo>
                  <a:pt x="234" y="422"/>
                </a:lnTo>
                <a:lnTo>
                  <a:pt x="234" y="422"/>
                </a:lnTo>
                <a:lnTo>
                  <a:pt x="234" y="422"/>
                </a:lnTo>
                <a:lnTo>
                  <a:pt x="232" y="424"/>
                </a:lnTo>
                <a:lnTo>
                  <a:pt x="232" y="424"/>
                </a:lnTo>
                <a:lnTo>
                  <a:pt x="232" y="426"/>
                </a:lnTo>
                <a:lnTo>
                  <a:pt x="232" y="426"/>
                </a:lnTo>
                <a:lnTo>
                  <a:pt x="236" y="426"/>
                </a:lnTo>
                <a:lnTo>
                  <a:pt x="236" y="430"/>
                </a:lnTo>
                <a:lnTo>
                  <a:pt x="236" y="430"/>
                </a:lnTo>
                <a:lnTo>
                  <a:pt x="238" y="430"/>
                </a:lnTo>
                <a:lnTo>
                  <a:pt x="238" y="430"/>
                </a:lnTo>
                <a:lnTo>
                  <a:pt x="240" y="430"/>
                </a:lnTo>
                <a:lnTo>
                  <a:pt x="240" y="428"/>
                </a:lnTo>
                <a:lnTo>
                  <a:pt x="240" y="426"/>
                </a:lnTo>
                <a:lnTo>
                  <a:pt x="240" y="426"/>
                </a:lnTo>
                <a:lnTo>
                  <a:pt x="242" y="428"/>
                </a:lnTo>
                <a:lnTo>
                  <a:pt x="242" y="428"/>
                </a:lnTo>
                <a:lnTo>
                  <a:pt x="242" y="428"/>
                </a:lnTo>
                <a:lnTo>
                  <a:pt x="248" y="426"/>
                </a:lnTo>
                <a:lnTo>
                  <a:pt x="248" y="426"/>
                </a:lnTo>
                <a:lnTo>
                  <a:pt x="252" y="420"/>
                </a:lnTo>
                <a:lnTo>
                  <a:pt x="252" y="420"/>
                </a:lnTo>
                <a:lnTo>
                  <a:pt x="254" y="420"/>
                </a:lnTo>
                <a:lnTo>
                  <a:pt x="254" y="420"/>
                </a:lnTo>
                <a:lnTo>
                  <a:pt x="252" y="426"/>
                </a:lnTo>
                <a:lnTo>
                  <a:pt x="252" y="426"/>
                </a:lnTo>
                <a:lnTo>
                  <a:pt x="254" y="426"/>
                </a:lnTo>
                <a:lnTo>
                  <a:pt x="254" y="428"/>
                </a:lnTo>
                <a:lnTo>
                  <a:pt x="254" y="428"/>
                </a:lnTo>
                <a:lnTo>
                  <a:pt x="252" y="428"/>
                </a:lnTo>
                <a:lnTo>
                  <a:pt x="252" y="428"/>
                </a:lnTo>
                <a:lnTo>
                  <a:pt x="256" y="428"/>
                </a:lnTo>
                <a:lnTo>
                  <a:pt x="256" y="428"/>
                </a:lnTo>
                <a:lnTo>
                  <a:pt x="258" y="428"/>
                </a:lnTo>
                <a:lnTo>
                  <a:pt x="258" y="428"/>
                </a:lnTo>
                <a:lnTo>
                  <a:pt x="256" y="432"/>
                </a:lnTo>
                <a:lnTo>
                  <a:pt x="256" y="432"/>
                </a:lnTo>
                <a:lnTo>
                  <a:pt x="258" y="432"/>
                </a:lnTo>
                <a:lnTo>
                  <a:pt x="258" y="432"/>
                </a:lnTo>
                <a:lnTo>
                  <a:pt x="260" y="432"/>
                </a:lnTo>
                <a:lnTo>
                  <a:pt x="260" y="432"/>
                </a:lnTo>
                <a:lnTo>
                  <a:pt x="262" y="428"/>
                </a:lnTo>
                <a:lnTo>
                  <a:pt x="262" y="428"/>
                </a:lnTo>
                <a:lnTo>
                  <a:pt x="262" y="428"/>
                </a:lnTo>
                <a:lnTo>
                  <a:pt x="264" y="430"/>
                </a:lnTo>
                <a:lnTo>
                  <a:pt x="264" y="430"/>
                </a:lnTo>
                <a:lnTo>
                  <a:pt x="264" y="430"/>
                </a:lnTo>
                <a:lnTo>
                  <a:pt x="266" y="428"/>
                </a:lnTo>
                <a:lnTo>
                  <a:pt x="266" y="428"/>
                </a:lnTo>
                <a:lnTo>
                  <a:pt x="266" y="432"/>
                </a:lnTo>
                <a:lnTo>
                  <a:pt x="266" y="432"/>
                </a:lnTo>
                <a:lnTo>
                  <a:pt x="264" y="434"/>
                </a:lnTo>
                <a:lnTo>
                  <a:pt x="264" y="434"/>
                </a:lnTo>
                <a:lnTo>
                  <a:pt x="264" y="436"/>
                </a:lnTo>
                <a:lnTo>
                  <a:pt x="264" y="436"/>
                </a:lnTo>
                <a:lnTo>
                  <a:pt x="268" y="432"/>
                </a:lnTo>
                <a:lnTo>
                  <a:pt x="268" y="432"/>
                </a:lnTo>
                <a:lnTo>
                  <a:pt x="268" y="436"/>
                </a:lnTo>
                <a:lnTo>
                  <a:pt x="268" y="438"/>
                </a:lnTo>
                <a:lnTo>
                  <a:pt x="268" y="438"/>
                </a:lnTo>
                <a:lnTo>
                  <a:pt x="268" y="438"/>
                </a:lnTo>
                <a:lnTo>
                  <a:pt x="270" y="438"/>
                </a:lnTo>
                <a:lnTo>
                  <a:pt x="270" y="438"/>
                </a:lnTo>
                <a:lnTo>
                  <a:pt x="272" y="434"/>
                </a:lnTo>
                <a:lnTo>
                  <a:pt x="272" y="434"/>
                </a:lnTo>
                <a:lnTo>
                  <a:pt x="272" y="434"/>
                </a:lnTo>
                <a:lnTo>
                  <a:pt x="274" y="436"/>
                </a:lnTo>
                <a:lnTo>
                  <a:pt x="274" y="436"/>
                </a:lnTo>
                <a:lnTo>
                  <a:pt x="272" y="436"/>
                </a:lnTo>
                <a:lnTo>
                  <a:pt x="272" y="436"/>
                </a:lnTo>
                <a:lnTo>
                  <a:pt x="272" y="440"/>
                </a:lnTo>
                <a:lnTo>
                  <a:pt x="272" y="440"/>
                </a:lnTo>
                <a:lnTo>
                  <a:pt x="278" y="442"/>
                </a:lnTo>
                <a:lnTo>
                  <a:pt x="278" y="442"/>
                </a:lnTo>
                <a:lnTo>
                  <a:pt x="280" y="440"/>
                </a:lnTo>
                <a:lnTo>
                  <a:pt x="280" y="440"/>
                </a:lnTo>
                <a:lnTo>
                  <a:pt x="282" y="440"/>
                </a:lnTo>
                <a:lnTo>
                  <a:pt x="282" y="440"/>
                </a:lnTo>
                <a:lnTo>
                  <a:pt x="280" y="440"/>
                </a:lnTo>
                <a:lnTo>
                  <a:pt x="280" y="440"/>
                </a:lnTo>
                <a:lnTo>
                  <a:pt x="284" y="438"/>
                </a:lnTo>
                <a:lnTo>
                  <a:pt x="284" y="438"/>
                </a:lnTo>
                <a:lnTo>
                  <a:pt x="282" y="436"/>
                </a:lnTo>
                <a:lnTo>
                  <a:pt x="282" y="436"/>
                </a:lnTo>
                <a:lnTo>
                  <a:pt x="280" y="436"/>
                </a:lnTo>
                <a:lnTo>
                  <a:pt x="280" y="434"/>
                </a:lnTo>
                <a:lnTo>
                  <a:pt x="280" y="434"/>
                </a:lnTo>
                <a:lnTo>
                  <a:pt x="280" y="434"/>
                </a:lnTo>
                <a:lnTo>
                  <a:pt x="282" y="432"/>
                </a:lnTo>
                <a:lnTo>
                  <a:pt x="280" y="430"/>
                </a:lnTo>
                <a:lnTo>
                  <a:pt x="280" y="430"/>
                </a:lnTo>
                <a:lnTo>
                  <a:pt x="280" y="430"/>
                </a:lnTo>
                <a:lnTo>
                  <a:pt x="276" y="430"/>
                </a:lnTo>
                <a:lnTo>
                  <a:pt x="276" y="428"/>
                </a:lnTo>
                <a:lnTo>
                  <a:pt x="276" y="428"/>
                </a:lnTo>
                <a:lnTo>
                  <a:pt x="280" y="428"/>
                </a:lnTo>
                <a:lnTo>
                  <a:pt x="280" y="428"/>
                </a:lnTo>
                <a:lnTo>
                  <a:pt x="282" y="426"/>
                </a:lnTo>
                <a:lnTo>
                  <a:pt x="280" y="426"/>
                </a:lnTo>
                <a:lnTo>
                  <a:pt x="282" y="426"/>
                </a:lnTo>
                <a:lnTo>
                  <a:pt x="282" y="426"/>
                </a:lnTo>
                <a:lnTo>
                  <a:pt x="282" y="422"/>
                </a:lnTo>
                <a:lnTo>
                  <a:pt x="282" y="420"/>
                </a:lnTo>
                <a:lnTo>
                  <a:pt x="286" y="418"/>
                </a:lnTo>
                <a:lnTo>
                  <a:pt x="286" y="418"/>
                </a:lnTo>
                <a:lnTo>
                  <a:pt x="286" y="416"/>
                </a:lnTo>
                <a:lnTo>
                  <a:pt x="284" y="414"/>
                </a:lnTo>
                <a:lnTo>
                  <a:pt x="284" y="414"/>
                </a:lnTo>
                <a:lnTo>
                  <a:pt x="288" y="412"/>
                </a:lnTo>
                <a:lnTo>
                  <a:pt x="288" y="412"/>
                </a:lnTo>
                <a:lnTo>
                  <a:pt x="290" y="408"/>
                </a:lnTo>
                <a:lnTo>
                  <a:pt x="290" y="408"/>
                </a:lnTo>
                <a:lnTo>
                  <a:pt x="288" y="406"/>
                </a:lnTo>
                <a:lnTo>
                  <a:pt x="288" y="406"/>
                </a:lnTo>
                <a:lnTo>
                  <a:pt x="288" y="406"/>
                </a:lnTo>
                <a:lnTo>
                  <a:pt x="288" y="400"/>
                </a:lnTo>
                <a:lnTo>
                  <a:pt x="288" y="400"/>
                </a:lnTo>
                <a:lnTo>
                  <a:pt x="290" y="400"/>
                </a:lnTo>
                <a:lnTo>
                  <a:pt x="290" y="400"/>
                </a:lnTo>
                <a:lnTo>
                  <a:pt x="290" y="402"/>
                </a:lnTo>
                <a:lnTo>
                  <a:pt x="292" y="402"/>
                </a:lnTo>
                <a:lnTo>
                  <a:pt x="292" y="402"/>
                </a:lnTo>
                <a:lnTo>
                  <a:pt x="292" y="400"/>
                </a:lnTo>
                <a:lnTo>
                  <a:pt x="292" y="398"/>
                </a:lnTo>
                <a:lnTo>
                  <a:pt x="292" y="398"/>
                </a:lnTo>
                <a:lnTo>
                  <a:pt x="292" y="396"/>
                </a:lnTo>
                <a:lnTo>
                  <a:pt x="292" y="396"/>
                </a:lnTo>
                <a:lnTo>
                  <a:pt x="290" y="396"/>
                </a:lnTo>
                <a:lnTo>
                  <a:pt x="290" y="396"/>
                </a:lnTo>
                <a:lnTo>
                  <a:pt x="290" y="394"/>
                </a:lnTo>
                <a:lnTo>
                  <a:pt x="290" y="394"/>
                </a:lnTo>
                <a:lnTo>
                  <a:pt x="292" y="394"/>
                </a:lnTo>
                <a:lnTo>
                  <a:pt x="292" y="392"/>
                </a:lnTo>
                <a:lnTo>
                  <a:pt x="292" y="392"/>
                </a:lnTo>
                <a:lnTo>
                  <a:pt x="298" y="394"/>
                </a:lnTo>
                <a:lnTo>
                  <a:pt x="298" y="394"/>
                </a:lnTo>
                <a:lnTo>
                  <a:pt x="296" y="390"/>
                </a:lnTo>
                <a:lnTo>
                  <a:pt x="298" y="390"/>
                </a:lnTo>
                <a:lnTo>
                  <a:pt x="298" y="390"/>
                </a:lnTo>
                <a:lnTo>
                  <a:pt x="298" y="386"/>
                </a:lnTo>
                <a:lnTo>
                  <a:pt x="296" y="382"/>
                </a:lnTo>
                <a:lnTo>
                  <a:pt x="296" y="382"/>
                </a:lnTo>
                <a:lnTo>
                  <a:pt x="298" y="382"/>
                </a:lnTo>
                <a:lnTo>
                  <a:pt x="298" y="382"/>
                </a:lnTo>
                <a:lnTo>
                  <a:pt x="300" y="386"/>
                </a:lnTo>
                <a:lnTo>
                  <a:pt x="300" y="386"/>
                </a:lnTo>
                <a:lnTo>
                  <a:pt x="302" y="386"/>
                </a:lnTo>
                <a:lnTo>
                  <a:pt x="302" y="384"/>
                </a:lnTo>
                <a:lnTo>
                  <a:pt x="302" y="382"/>
                </a:lnTo>
                <a:lnTo>
                  <a:pt x="302" y="382"/>
                </a:lnTo>
                <a:lnTo>
                  <a:pt x="302" y="378"/>
                </a:lnTo>
                <a:lnTo>
                  <a:pt x="304" y="374"/>
                </a:lnTo>
                <a:lnTo>
                  <a:pt x="304" y="374"/>
                </a:lnTo>
                <a:lnTo>
                  <a:pt x="296" y="372"/>
                </a:lnTo>
                <a:lnTo>
                  <a:pt x="296" y="370"/>
                </a:lnTo>
                <a:lnTo>
                  <a:pt x="296" y="370"/>
                </a:lnTo>
                <a:lnTo>
                  <a:pt x="300" y="372"/>
                </a:lnTo>
                <a:lnTo>
                  <a:pt x="300" y="372"/>
                </a:lnTo>
                <a:lnTo>
                  <a:pt x="306" y="372"/>
                </a:lnTo>
                <a:lnTo>
                  <a:pt x="306" y="372"/>
                </a:lnTo>
                <a:lnTo>
                  <a:pt x="306" y="364"/>
                </a:lnTo>
                <a:lnTo>
                  <a:pt x="304" y="360"/>
                </a:lnTo>
                <a:lnTo>
                  <a:pt x="302" y="358"/>
                </a:lnTo>
                <a:lnTo>
                  <a:pt x="302" y="356"/>
                </a:lnTo>
                <a:lnTo>
                  <a:pt x="302" y="356"/>
                </a:lnTo>
                <a:lnTo>
                  <a:pt x="304" y="356"/>
                </a:lnTo>
                <a:lnTo>
                  <a:pt x="304" y="356"/>
                </a:lnTo>
                <a:lnTo>
                  <a:pt x="304" y="356"/>
                </a:lnTo>
                <a:lnTo>
                  <a:pt x="306" y="356"/>
                </a:lnTo>
                <a:lnTo>
                  <a:pt x="306" y="356"/>
                </a:lnTo>
                <a:lnTo>
                  <a:pt x="308" y="356"/>
                </a:lnTo>
                <a:lnTo>
                  <a:pt x="308" y="356"/>
                </a:lnTo>
                <a:lnTo>
                  <a:pt x="310" y="354"/>
                </a:lnTo>
                <a:lnTo>
                  <a:pt x="310" y="354"/>
                </a:lnTo>
                <a:lnTo>
                  <a:pt x="310" y="350"/>
                </a:lnTo>
                <a:lnTo>
                  <a:pt x="310" y="350"/>
                </a:lnTo>
                <a:lnTo>
                  <a:pt x="310" y="350"/>
                </a:lnTo>
                <a:lnTo>
                  <a:pt x="314" y="350"/>
                </a:lnTo>
                <a:lnTo>
                  <a:pt x="316" y="350"/>
                </a:lnTo>
                <a:lnTo>
                  <a:pt x="316" y="350"/>
                </a:lnTo>
                <a:lnTo>
                  <a:pt x="318" y="350"/>
                </a:lnTo>
                <a:lnTo>
                  <a:pt x="318" y="350"/>
                </a:lnTo>
                <a:lnTo>
                  <a:pt x="316" y="350"/>
                </a:lnTo>
                <a:lnTo>
                  <a:pt x="318" y="348"/>
                </a:lnTo>
                <a:lnTo>
                  <a:pt x="318" y="348"/>
                </a:lnTo>
                <a:lnTo>
                  <a:pt x="322" y="348"/>
                </a:lnTo>
                <a:lnTo>
                  <a:pt x="326" y="350"/>
                </a:lnTo>
                <a:lnTo>
                  <a:pt x="326" y="350"/>
                </a:lnTo>
                <a:lnTo>
                  <a:pt x="328" y="348"/>
                </a:lnTo>
                <a:lnTo>
                  <a:pt x="330" y="346"/>
                </a:lnTo>
                <a:lnTo>
                  <a:pt x="330" y="346"/>
                </a:lnTo>
                <a:lnTo>
                  <a:pt x="334" y="344"/>
                </a:lnTo>
                <a:lnTo>
                  <a:pt x="334" y="344"/>
                </a:lnTo>
                <a:lnTo>
                  <a:pt x="336" y="350"/>
                </a:lnTo>
                <a:lnTo>
                  <a:pt x="336" y="352"/>
                </a:lnTo>
                <a:lnTo>
                  <a:pt x="336" y="352"/>
                </a:lnTo>
                <a:lnTo>
                  <a:pt x="338" y="352"/>
                </a:lnTo>
                <a:lnTo>
                  <a:pt x="336" y="350"/>
                </a:lnTo>
                <a:lnTo>
                  <a:pt x="336" y="350"/>
                </a:lnTo>
                <a:lnTo>
                  <a:pt x="338" y="350"/>
                </a:lnTo>
                <a:lnTo>
                  <a:pt x="338" y="350"/>
                </a:lnTo>
                <a:lnTo>
                  <a:pt x="338" y="350"/>
                </a:lnTo>
                <a:lnTo>
                  <a:pt x="340" y="348"/>
                </a:lnTo>
                <a:lnTo>
                  <a:pt x="340" y="348"/>
                </a:lnTo>
                <a:lnTo>
                  <a:pt x="342" y="344"/>
                </a:lnTo>
                <a:lnTo>
                  <a:pt x="342" y="344"/>
                </a:lnTo>
                <a:lnTo>
                  <a:pt x="346" y="344"/>
                </a:lnTo>
                <a:lnTo>
                  <a:pt x="346" y="344"/>
                </a:lnTo>
                <a:lnTo>
                  <a:pt x="346" y="344"/>
                </a:lnTo>
                <a:lnTo>
                  <a:pt x="348" y="346"/>
                </a:lnTo>
                <a:lnTo>
                  <a:pt x="348" y="346"/>
                </a:lnTo>
                <a:lnTo>
                  <a:pt x="348" y="346"/>
                </a:lnTo>
                <a:lnTo>
                  <a:pt x="348" y="346"/>
                </a:lnTo>
                <a:lnTo>
                  <a:pt x="350" y="344"/>
                </a:lnTo>
                <a:lnTo>
                  <a:pt x="350" y="344"/>
                </a:lnTo>
                <a:lnTo>
                  <a:pt x="350" y="340"/>
                </a:lnTo>
                <a:lnTo>
                  <a:pt x="350" y="340"/>
                </a:lnTo>
                <a:lnTo>
                  <a:pt x="354" y="338"/>
                </a:lnTo>
                <a:lnTo>
                  <a:pt x="354" y="338"/>
                </a:lnTo>
                <a:lnTo>
                  <a:pt x="356" y="336"/>
                </a:lnTo>
                <a:lnTo>
                  <a:pt x="356" y="332"/>
                </a:lnTo>
                <a:lnTo>
                  <a:pt x="356" y="332"/>
                </a:lnTo>
                <a:lnTo>
                  <a:pt x="360" y="332"/>
                </a:lnTo>
                <a:lnTo>
                  <a:pt x="360" y="332"/>
                </a:lnTo>
                <a:lnTo>
                  <a:pt x="364" y="328"/>
                </a:lnTo>
                <a:lnTo>
                  <a:pt x="364" y="328"/>
                </a:lnTo>
                <a:lnTo>
                  <a:pt x="370" y="326"/>
                </a:lnTo>
                <a:lnTo>
                  <a:pt x="370" y="326"/>
                </a:lnTo>
                <a:lnTo>
                  <a:pt x="374" y="322"/>
                </a:lnTo>
                <a:lnTo>
                  <a:pt x="374" y="318"/>
                </a:lnTo>
                <a:lnTo>
                  <a:pt x="378" y="316"/>
                </a:lnTo>
                <a:lnTo>
                  <a:pt x="378" y="316"/>
                </a:lnTo>
                <a:lnTo>
                  <a:pt x="378" y="316"/>
                </a:lnTo>
                <a:lnTo>
                  <a:pt x="380" y="318"/>
                </a:lnTo>
                <a:lnTo>
                  <a:pt x="382" y="316"/>
                </a:lnTo>
                <a:lnTo>
                  <a:pt x="382" y="314"/>
                </a:lnTo>
                <a:lnTo>
                  <a:pt x="382" y="314"/>
                </a:lnTo>
                <a:lnTo>
                  <a:pt x="382" y="310"/>
                </a:lnTo>
                <a:lnTo>
                  <a:pt x="382" y="310"/>
                </a:lnTo>
                <a:lnTo>
                  <a:pt x="380" y="308"/>
                </a:lnTo>
                <a:lnTo>
                  <a:pt x="380" y="308"/>
                </a:lnTo>
                <a:lnTo>
                  <a:pt x="378" y="304"/>
                </a:lnTo>
                <a:lnTo>
                  <a:pt x="378" y="298"/>
                </a:lnTo>
                <a:lnTo>
                  <a:pt x="378" y="298"/>
                </a:lnTo>
                <a:lnTo>
                  <a:pt x="380" y="304"/>
                </a:lnTo>
                <a:lnTo>
                  <a:pt x="384" y="306"/>
                </a:lnTo>
                <a:lnTo>
                  <a:pt x="390" y="308"/>
                </a:lnTo>
                <a:lnTo>
                  <a:pt x="396" y="308"/>
                </a:lnTo>
                <a:lnTo>
                  <a:pt x="396" y="306"/>
                </a:lnTo>
                <a:lnTo>
                  <a:pt x="396" y="306"/>
                </a:lnTo>
                <a:lnTo>
                  <a:pt x="400" y="306"/>
                </a:lnTo>
                <a:lnTo>
                  <a:pt x="400" y="306"/>
                </a:lnTo>
                <a:lnTo>
                  <a:pt x="400" y="304"/>
                </a:lnTo>
                <a:lnTo>
                  <a:pt x="400" y="302"/>
                </a:lnTo>
                <a:lnTo>
                  <a:pt x="400" y="302"/>
                </a:lnTo>
                <a:lnTo>
                  <a:pt x="402" y="302"/>
                </a:lnTo>
                <a:lnTo>
                  <a:pt x="402" y="302"/>
                </a:lnTo>
                <a:lnTo>
                  <a:pt x="402" y="306"/>
                </a:lnTo>
                <a:lnTo>
                  <a:pt x="402" y="306"/>
                </a:lnTo>
                <a:lnTo>
                  <a:pt x="406" y="304"/>
                </a:lnTo>
                <a:lnTo>
                  <a:pt x="406" y="304"/>
                </a:lnTo>
                <a:lnTo>
                  <a:pt x="408" y="304"/>
                </a:lnTo>
                <a:lnTo>
                  <a:pt x="408" y="304"/>
                </a:lnTo>
                <a:lnTo>
                  <a:pt x="410" y="302"/>
                </a:lnTo>
                <a:lnTo>
                  <a:pt x="410" y="302"/>
                </a:lnTo>
                <a:lnTo>
                  <a:pt x="412" y="302"/>
                </a:lnTo>
                <a:lnTo>
                  <a:pt x="412" y="302"/>
                </a:lnTo>
                <a:lnTo>
                  <a:pt x="412" y="304"/>
                </a:lnTo>
                <a:lnTo>
                  <a:pt x="412" y="304"/>
                </a:lnTo>
                <a:lnTo>
                  <a:pt x="416" y="302"/>
                </a:lnTo>
                <a:lnTo>
                  <a:pt x="420" y="302"/>
                </a:lnTo>
                <a:lnTo>
                  <a:pt x="420" y="300"/>
                </a:lnTo>
                <a:lnTo>
                  <a:pt x="420" y="300"/>
                </a:lnTo>
                <a:lnTo>
                  <a:pt x="422" y="300"/>
                </a:lnTo>
                <a:lnTo>
                  <a:pt x="424" y="302"/>
                </a:lnTo>
                <a:lnTo>
                  <a:pt x="424" y="302"/>
                </a:lnTo>
                <a:lnTo>
                  <a:pt x="428" y="298"/>
                </a:lnTo>
                <a:lnTo>
                  <a:pt x="428" y="298"/>
                </a:lnTo>
                <a:lnTo>
                  <a:pt x="430" y="298"/>
                </a:lnTo>
                <a:lnTo>
                  <a:pt x="430" y="298"/>
                </a:lnTo>
                <a:lnTo>
                  <a:pt x="438" y="296"/>
                </a:lnTo>
                <a:lnTo>
                  <a:pt x="438" y="290"/>
                </a:lnTo>
                <a:lnTo>
                  <a:pt x="438" y="290"/>
                </a:lnTo>
                <a:lnTo>
                  <a:pt x="440" y="290"/>
                </a:lnTo>
                <a:lnTo>
                  <a:pt x="442" y="292"/>
                </a:lnTo>
                <a:lnTo>
                  <a:pt x="442" y="292"/>
                </a:lnTo>
                <a:lnTo>
                  <a:pt x="444" y="292"/>
                </a:lnTo>
                <a:lnTo>
                  <a:pt x="444" y="292"/>
                </a:lnTo>
                <a:lnTo>
                  <a:pt x="448" y="286"/>
                </a:lnTo>
                <a:lnTo>
                  <a:pt x="448" y="286"/>
                </a:lnTo>
                <a:lnTo>
                  <a:pt x="452" y="286"/>
                </a:lnTo>
                <a:lnTo>
                  <a:pt x="452" y="286"/>
                </a:lnTo>
                <a:lnTo>
                  <a:pt x="452" y="288"/>
                </a:lnTo>
                <a:lnTo>
                  <a:pt x="452" y="288"/>
                </a:lnTo>
                <a:lnTo>
                  <a:pt x="454" y="286"/>
                </a:lnTo>
                <a:lnTo>
                  <a:pt x="454" y="286"/>
                </a:lnTo>
                <a:lnTo>
                  <a:pt x="456" y="286"/>
                </a:lnTo>
                <a:lnTo>
                  <a:pt x="456" y="286"/>
                </a:lnTo>
                <a:lnTo>
                  <a:pt x="458" y="284"/>
                </a:lnTo>
                <a:lnTo>
                  <a:pt x="458" y="284"/>
                </a:lnTo>
                <a:lnTo>
                  <a:pt x="460" y="284"/>
                </a:lnTo>
                <a:lnTo>
                  <a:pt x="462" y="284"/>
                </a:lnTo>
                <a:lnTo>
                  <a:pt x="462" y="284"/>
                </a:lnTo>
                <a:lnTo>
                  <a:pt x="466" y="282"/>
                </a:lnTo>
                <a:lnTo>
                  <a:pt x="466" y="282"/>
                </a:lnTo>
                <a:lnTo>
                  <a:pt x="470" y="282"/>
                </a:lnTo>
                <a:lnTo>
                  <a:pt x="470" y="282"/>
                </a:lnTo>
                <a:lnTo>
                  <a:pt x="470" y="278"/>
                </a:lnTo>
                <a:lnTo>
                  <a:pt x="474" y="278"/>
                </a:lnTo>
                <a:lnTo>
                  <a:pt x="474" y="278"/>
                </a:lnTo>
                <a:lnTo>
                  <a:pt x="474" y="274"/>
                </a:lnTo>
                <a:lnTo>
                  <a:pt x="474" y="274"/>
                </a:lnTo>
                <a:lnTo>
                  <a:pt x="476" y="270"/>
                </a:lnTo>
                <a:lnTo>
                  <a:pt x="476" y="270"/>
                </a:lnTo>
                <a:lnTo>
                  <a:pt x="480" y="270"/>
                </a:lnTo>
                <a:lnTo>
                  <a:pt x="480" y="270"/>
                </a:lnTo>
                <a:lnTo>
                  <a:pt x="482" y="268"/>
                </a:lnTo>
                <a:lnTo>
                  <a:pt x="482" y="268"/>
                </a:lnTo>
                <a:lnTo>
                  <a:pt x="482" y="268"/>
                </a:lnTo>
                <a:lnTo>
                  <a:pt x="474" y="268"/>
                </a:lnTo>
                <a:lnTo>
                  <a:pt x="466" y="266"/>
                </a:lnTo>
                <a:lnTo>
                  <a:pt x="466" y="266"/>
                </a:lnTo>
                <a:lnTo>
                  <a:pt x="462" y="264"/>
                </a:lnTo>
                <a:lnTo>
                  <a:pt x="462" y="264"/>
                </a:lnTo>
                <a:lnTo>
                  <a:pt x="460" y="264"/>
                </a:lnTo>
                <a:lnTo>
                  <a:pt x="458" y="264"/>
                </a:lnTo>
                <a:lnTo>
                  <a:pt x="458" y="262"/>
                </a:lnTo>
                <a:lnTo>
                  <a:pt x="458" y="262"/>
                </a:lnTo>
                <a:lnTo>
                  <a:pt x="454" y="264"/>
                </a:lnTo>
                <a:lnTo>
                  <a:pt x="450" y="266"/>
                </a:lnTo>
                <a:lnTo>
                  <a:pt x="450" y="266"/>
                </a:lnTo>
                <a:lnTo>
                  <a:pt x="438" y="266"/>
                </a:lnTo>
                <a:lnTo>
                  <a:pt x="438" y="266"/>
                </a:lnTo>
                <a:lnTo>
                  <a:pt x="440" y="264"/>
                </a:lnTo>
                <a:lnTo>
                  <a:pt x="442" y="262"/>
                </a:lnTo>
                <a:lnTo>
                  <a:pt x="436" y="260"/>
                </a:lnTo>
                <a:lnTo>
                  <a:pt x="422" y="262"/>
                </a:lnTo>
                <a:lnTo>
                  <a:pt x="422" y="262"/>
                </a:lnTo>
                <a:lnTo>
                  <a:pt x="420" y="258"/>
                </a:lnTo>
                <a:lnTo>
                  <a:pt x="420" y="258"/>
                </a:lnTo>
                <a:lnTo>
                  <a:pt x="420" y="258"/>
                </a:lnTo>
                <a:lnTo>
                  <a:pt x="420" y="256"/>
                </a:lnTo>
                <a:lnTo>
                  <a:pt x="420" y="256"/>
                </a:lnTo>
                <a:lnTo>
                  <a:pt x="422" y="256"/>
                </a:lnTo>
                <a:lnTo>
                  <a:pt x="422" y="256"/>
                </a:lnTo>
                <a:lnTo>
                  <a:pt x="422" y="256"/>
                </a:lnTo>
                <a:lnTo>
                  <a:pt x="422" y="262"/>
                </a:lnTo>
                <a:lnTo>
                  <a:pt x="422" y="262"/>
                </a:lnTo>
                <a:lnTo>
                  <a:pt x="432" y="260"/>
                </a:lnTo>
                <a:lnTo>
                  <a:pt x="442" y="258"/>
                </a:lnTo>
                <a:lnTo>
                  <a:pt x="442" y="258"/>
                </a:lnTo>
                <a:lnTo>
                  <a:pt x="444" y="260"/>
                </a:lnTo>
                <a:lnTo>
                  <a:pt x="448" y="260"/>
                </a:lnTo>
                <a:lnTo>
                  <a:pt x="448" y="260"/>
                </a:lnTo>
                <a:lnTo>
                  <a:pt x="450" y="258"/>
                </a:lnTo>
                <a:lnTo>
                  <a:pt x="450" y="258"/>
                </a:lnTo>
                <a:lnTo>
                  <a:pt x="448" y="254"/>
                </a:lnTo>
                <a:lnTo>
                  <a:pt x="448" y="254"/>
                </a:lnTo>
                <a:lnTo>
                  <a:pt x="440" y="254"/>
                </a:lnTo>
                <a:lnTo>
                  <a:pt x="430" y="254"/>
                </a:lnTo>
                <a:lnTo>
                  <a:pt x="430" y="254"/>
                </a:lnTo>
                <a:lnTo>
                  <a:pt x="426" y="256"/>
                </a:lnTo>
                <a:lnTo>
                  <a:pt x="422" y="256"/>
                </a:lnTo>
                <a:lnTo>
                  <a:pt x="424" y="254"/>
                </a:lnTo>
                <a:lnTo>
                  <a:pt x="424" y="254"/>
                </a:lnTo>
                <a:lnTo>
                  <a:pt x="426" y="252"/>
                </a:lnTo>
                <a:lnTo>
                  <a:pt x="426" y="250"/>
                </a:lnTo>
                <a:lnTo>
                  <a:pt x="426" y="250"/>
                </a:lnTo>
                <a:lnTo>
                  <a:pt x="428" y="252"/>
                </a:lnTo>
                <a:lnTo>
                  <a:pt x="428" y="252"/>
                </a:lnTo>
                <a:lnTo>
                  <a:pt x="428" y="252"/>
                </a:lnTo>
                <a:lnTo>
                  <a:pt x="442" y="254"/>
                </a:lnTo>
                <a:lnTo>
                  <a:pt x="442" y="254"/>
                </a:lnTo>
                <a:lnTo>
                  <a:pt x="444" y="250"/>
                </a:lnTo>
                <a:lnTo>
                  <a:pt x="444" y="250"/>
                </a:lnTo>
                <a:lnTo>
                  <a:pt x="450" y="250"/>
                </a:lnTo>
                <a:lnTo>
                  <a:pt x="450" y="250"/>
                </a:lnTo>
                <a:lnTo>
                  <a:pt x="450" y="250"/>
                </a:lnTo>
                <a:lnTo>
                  <a:pt x="450" y="248"/>
                </a:lnTo>
                <a:lnTo>
                  <a:pt x="450" y="246"/>
                </a:lnTo>
                <a:lnTo>
                  <a:pt x="450" y="246"/>
                </a:lnTo>
                <a:lnTo>
                  <a:pt x="442" y="244"/>
                </a:lnTo>
                <a:lnTo>
                  <a:pt x="442" y="242"/>
                </a:lnTo>
                <a:lnTo>
                  <a:pt x="442" y="242"/>
                </a:lnTo>
                <a:lnTo>
                  <a:pt x="432" y="244"/>
                </a:lnTo>
                <a:lnTo>
                  <a:pt x="422" y="244"/>
                </a:lnTo>
                <a:lnTo>
                  <a:pt x="420" y="244"/>
                </a:lnTo>
                <a:lnTo>
                  <a:pt x="420" y="244"/>
                </a:lnTo>
                <a:lnTo>
                  <a:pt x="426" y="242"/>
                </a:lnTo>
                <a:lnTo>
                  <a:pt x="426" y="242"/>
                </a:lnTo>
                <a:lnTo>
                  <a:pt x="426" y="242"/>
                </a:lnTo>
                <a:lnTo>
                  <a:pt x="426" y="240"/>
                </a:lnTo>
                <a:lnTo>
                  <a:pt x="422" y="238"/>
                </a:lnTo>
                <a:lnTo>
                  <a:pt x="422" y="238"/>
                </a:lnTo>
                <a:lnTo>
                  <a:pt x="424" y="238"/>
                </a:lnTo>
                <a:lnTo>
                  <a:pt x="424" y="236"/>
                </a:lnTo>
                <a:lnTo>
                  <a:pt x="424" y="236"/>
                </a:lnTo>
                <a:lnTo>
                  <a:pt x="428" y="240"/>
                </a:lnTo>
                <a:lnTo>
                  <a:pt x="428" y="240"/>
                </a:lnTo>
                <a:lnTo>
                  <a:pt x="434" y="240"/>
                </a:lnTo>
                <a:lnTo>
                  <a:pt x="442" y="240"/>
                </a:lnTo>
                <a:lnTo>
                  <a:pt x="442" y="242"/>
                </a:lnTo>
                <a:lnTo>
                  <a:pt x="442" y="242"/>
                </a:lnTo>
                <a:lnTo>
                  <a:pt x="446" y="242"/>
                </a:lnTo>
                <a:lnTo>
                  <a:pt x="446" y="242"/>
                </a:lnTo>
                <a:lnTo>
                  <a:pt x="450" y="244"/>
                </a:lnTo>
                <a:lnTo>
                  <a:pt x="450" y="244"/>
                </a:lnTo>
                <a:lnTo>
                  <a:pt x="454" y="246"/>
                </a:lnTo>
                <a:lnTo>
                  <a:pt x="458" y="246"/>
                </a:lnTo>
                <a:lnTo>
                  <a:pt x="458" y="246"/>
                </a:lnTo>
                <a:lnTo>
                  <a:pt x="458" y="250"/>
                </a:lnTo>
                <a:lnTo>
                  <a:pt x="458" y="250"/>
                </a:lnTo>
                <a:lnTo>
                  <a:pt x="462" y="256"/>
                </a:lnTo>
                <a:lnTo>
                  <a:pt x="468" y="262"/>
                </a:lnTo>
                <a:lnTo>
                  <a:pt x="468" y="262"/>
                </a:lnTo>
                <a:lnTo>
                  <a:pt x="474" y="264"/>
                </a:lnTo>
                <a:lnTo>
                  <a:pt x="474" y="264"/>
                </a:lnTo>
                <a:lnTo>
                  <a:pt x="474" y="264"/>
                </a:lnTo>
                <a:lnTo>
                  <a:pt x="476" y="264"/>
                </a:lnTo>
                <a:lnTo>
                  <a:pt x="476" y="262"/>
                </a:lnTo>
                <a:lnTo>
                  <a:pt x="476" y="262"/>
                </a:lnTo>
                <a:lnTo>
                  <a:pt x="480" y="264"/>
                </a:lnTo>
                <a:lnTo>
                  <a:pt x="484" y="266"/>
                </a:lnTo>
                <a:lnTo>
                  <a:pt x="486" y="266"/>
                </a:lnTo>
                <a:lnTo>
                  <a:pt x="486" y="266"/>
                </a:lnTo>
                <a:lnTo>
                  <a:pt x="488" y="264"/>
                </a:lnTo>
                <a:lnTo>
                  <a:pt x="488" y="262"/>
                </a:lnTo>
                <a:lnTo>
                  <a:pt x="484" y="260"/>
                </a:lnTo>
                <a:lnTo>
                  <a:pt x="484" y="260"/>
                </a:lnTo>
                <a:lnTo>
                  <a:pt x="486" y="258"/>
                </a:lnTo>
                <a:lnTo>
                  <a:pt x="486" y="258"/>
                </a:lnTo>
                <a:lnTo>
                  <a:pt x="486" y="258"/>
                </a:lnTo>
                <a:lnTo>
                  <a:pt x="486" y="258"/>
                </a:lnTo>
                <a:lnTo>
                  <a:pt x="486" y="258"/>
                </a:lnTo>
                <a:lnTo>
                  <a:pt x="486" y="256"/>
                </a:lnTo>
                <a:lnTo>
                  <a:pt x="486" y="252"/>
                </a:lnTo>
                <a:lnTo>
                  <a:pt x="484" y="248"/>
                </a:lnTo>
                <a:lnTo>
                  <a:pt x="482" y="248"/>
                </a:lnTo>
                <a:lnTo>
                  <a:pt x="482" y="248"/>
                </a:lnTo>
                <a:lnTo>
                  <a:pt x="482" y="244"/>
                </a:lnTo>
                <a:lnTo>
                  <a:pt x="482" y="244"/>
                </a:lnTo>
                <a:lnTo>
                  <a:pt x="480" y="244"/>
                </a:lnTo>
                <a:lnTo>
                  <a:pt x="480" y="244"/>
                </a:lnTo>
                <a:lnTo>
                  <a:pt x="480" y="246"/>
                </a:lnTo>
                <a:lnTo>
                  <a:pt x="478" y="246"/>
                </a:lnTo>
                <a:lnTo>
                  <a:pt x="478" y="246"/>
                </a:lnTo>
                <a:lnTo>
                  <a:pt x="478" y="242"/>
                </a:lnTo>
                <a:lnTo>
                  <a:pt x="478" y="242"/>
                </a:lnTo>
                <a:lnTo>
                  <a:pt x="480" y="242"/>
                </a:lnTo>
                <a:lnTo>
                  <a:pt x="480" y="242"/>
                </a:lnTo>
                <a:lnTo>
                  <a:pt x="480" y="242"/>
                </a:lnTo>
                <a:lnTo>
                  <a:pt x="476" y="242"/>
                </a:lnTo>
                <a:lnTo>
                  <a:pt x="476" y="242"/>
                </a:lnTo>
                <a:lnTo>
                  <a:pt x="476" y="240"/>
                </a:lnTo>
                <a:lnTo>
                  <a:pt x="476" y="238"/>
                </a:lnTo>
                <a:lnTo>
                  <a:pt x="476" y="238"/>
                </a:lnTo>
                <a:lnTo>
                  <a:pt x="472" y="236"/>
                </a:lnTo>
                <a:lnTo>
                  <a:pt x="472" y="236"/>
                </a:lnTo>
                <a:lnTo>
                  <a:pt x="468" y="234"/>
                </a:lnTo>
                <a:lnTo>
                  <a:pt x="468" y="234"/>
                </a:lnTo>
                <a:lnTo>
                  <a:pt x="466" y="232"/>
                </a:lnTo>
                <a:lnTo>
                  <a:pt x="462" y="230"/>
                </a:lnTo>
                <a:lnTo>
                  <a:pt x="462" y="230"/>
                </a:lnTo>
                <a:lnTo>
                  <a:pt x="456" y="230"/>
                </a:lnTo>
                <a:lnTo>
                  <a:pt x="452" y="230"/>
                </a:lnTo>
                <a:lnTo>
                  <a:pt x="452" y="230"/>
                </a:lnTo>
                <a:lnTo>
                  <a:pt x="452" y="230"/>
                </a:lnTo>
                <a:lnTo>
                  <a:pt x="458" y="228"/>
                </a:lnTo>
                <a:lnTo>
                  <a:pt x="458" y="228"/>
                </a:lnTo>
                <a:lnTo>
                  <a:pt x="456" y="224"/>
                </a:lnTo>
                <a:lnTo>
                  <a:pt x="452" y="222"/>
                </a:lnTo>
                <a:lnTo>
                  <a:pt x="452" y="222"/>
                </a:lnTo>
                <a:lnTo>
                  <a:pt x="452" y="224"/>
                </a:lnTo>
                <a:lnTo>
                  <a:pt x="452" y="224"/>
                </a:lnTo>
                <a:lnTo>
                  <a:pt x="450" y="226"/>
                </a:lnTo>
                <a:lnTo>
                  <a:pt x="450" y="226"/>
                </a:lnTo>
                <a:lnTo>
                  <a:pt x="444" y="226"/>
                </a:lnTo>
                <a:lnTo>
                  <a:pt x="444" y="226"/>
                </a:lnTo>
                <a:lnTo>
                  <a:pt x="444" y="228"/>
                </a:lnTo>
                <a:lnTo>
                  <a:pt x="444" y="228"/>
                </a:lnTo>
                <a:lnTo>
                  <a:pt x="440" y="228"/>
                </a:lnTo>
                <a:lnTo>
                  <a:pt x="440" y="228"/>
                </a:lnTo>
                <a:lnTo>
                  <a:pt x="442" y="224"/>
                </a:lnTo>
                <a:lnTo>
                  <a:pt x="442" y="224"/>
                </a:lnTo>
                <a:lnTo>
                  <a:pt x="438" y="224"/>
                </a:lnTo>
                <a:lnTo>
                  <a:pt x="438" y="224"/>
                </a:lnTo>
                <a:lnTo>
                  <a:pt x="436" y="224"/>
                </a:lnTo>
                <a:lnTo>
                  <a:pt x="436" y="224"/>
                </a:lnTo>
                <a:lnTo>
                  <a:pt x="436" y="222"/>
                </a:lnTo>
                <a:lnTo>
                  <a:pt x="436" y="222"/>
                </a:lnTo>
                <a:lnTo>
                  <a:pt x="434" y="220"/>
                </a:lnTo>
                <a:lnTo>
                  <a:pt x="434" y="220"/>
                </a:lnTo>
                <a:lnTo>
                  <a:pt x="434" y="220"/>
                </a:lnTo>
                <a:lnTo>
                  <a:pt x="434" y="218"/>
                </a:lnTo>
                <a:lnTo>
                  <a:pt x="434" y="218"/>
                </a:lnTo>
                <a:lnTo>
                  <a:pt x="434" y="218"/>
                </a:lnTo>
                <a:lnTo>
                  <a:pt x="436" y="216"/>
                </a:lnTo>
                <a:lnTo>
                  <a:pt x="436" y="216"/>
                </a:lnTo>
                <a:lnTo>
                  <a:pt x="438" y="216"/>
                </a:lnTo>
                <a:lnTo>
                  <a:pt x="438" y="214"/>
                </a:lnTo>
                <a:lnTo>
                  <a:pt x="438" y="214"/>
                </a:lnTo>
                <a:lnTo>
                  <a:pt x="436" y="214"/>
                </a:lnTo>
                <a:lnTo>
                  <a:pt x="436" y="214"/>
                </a:lnTo>
                <a:lnTo>
                  <a:pt x="436" y="214"/>
                </a:lnTo>
                <a:lnTo>
                  <a:pt x="446" y="214"/>
                </a:lnTo>
                <a:lnTo>
                  <a:pt x="446" y="214"/>
                </a:lnTo>
                <a:lnTo>
                  <a:pt x="450" y="210"/>
                </a:lnTo>
                <a:lnTo>
                  <a:pt x="450" y="210"/>
                </a:lnTo>
                <a:lnTo>
                  <a:pt x="452" y="210"/>
                </a:lnTo>
                <a:lnTo>
                  <a:pt x="452" y="210"/>
                </a:lnTo>
                <a:lnTo>
                  <a:pt x="454" y="208"/>
                </a:lnTo>
                <a:lnTo>
                  <a:pt x="454" y="208"/>
                </a:lnTo>
                <a:lnTo>
                  <a:pt x="458" y="208"/>
                </a:lnTo>
                <a:lnTo>
                  <a:pt x="458" y="208"/>
                </a:lnTo>
                <a:lnTo>
                  <a:pt x="458" y="202"/>
                </a:lnTo>
                <a:lnTo>
                  <a:pt x="458" y="202"/>
                </a:lnTo>
                <a:lnTo>
                  <a:pt x="462" y="202"/>
                </a:lnTo>
                <a:lnTo>
                  <a:pt x="462" y="202"/>
                </a:lnTo>
                <a:lnTo>
                  <a:pt x="460" y="206"/>
                </a:lnTo>
                <a:lnTo>
                  <a:pt x="460" y="208"/>
                </a:lnTo>
                <a:lnTo>
                  <a:pt x="462" y="208"/>
                </a:lnTo>
                <a:lnTo>
                  <a:pt x="462" y="208"/>
                </a:lnTo>
                <a:lnTo>
                  <a:pt x="464" y="210"/>
                </a:lnTo>
                <a:lnTo>
                  <a:pt x="468" y="210"/>
                </a:lnTo>
                <a:lnTo>
                  <a:pt x="470" y="210"/>
                </a:lnTo>
                <a:lnTo>
                  <a:pt x="470" y="210"/>
                </a:lnTo>
                <a:lnTo>
                  <a:pt x="476" y="210"/>
                </a:lnTo>
                <a:lnTo>
                  <a:pt x="476" y="210"/>
                </a:lnTo>
                <a:lnTo>
                  <a:pt x="478" y="214"/>
                </a:lnTo>
                <a:lnTo>
                  <a:pt x="478" y="214"/>
                </a:lnTo>
                <a:lnTo>
                  <a:pt x="484" y="212"/>
                </a:lnTo>
                <a:lnTo>
                  <a:pt x="488" y="210"/>
                </a:lnTo>
                <a:lnTo>
                  <a:pt x="488" y="210"/>
                </a:lnTo>
                <a:lnTo>
                  <a:pt x="488" y="208"/>
                </a:lnTo>
                <a:lnTo>
                  <a:pt x="488" y="208"/>
                </a:lnTo>
                <a:lnTo>
                  <a:pt x="496" y="206"/>
                </a:lnTo>
                <a:lnTo>
                  <a:pt x="496" y="206"/>
                </a:lnTo>
                <a:lnTo>
                  <a:pt x="496" y="202"/>
                </a:lnTo>
                <a:lnTo>
                  <a:pt x="496" y="200"/>
                </a:lnTo>
                <a:lnTo>
                  <a:pt x="496" y="200"/>
                </a:lnTo>
                <a:lnTo>
                  <a:pt x="492" y="200"/>
                </a:lnTo>
                <a:lnTo>
                  <a:pt x="492" y="200"/>
                </a:lnTo>
                <a:lnTo>
                  <a:pt x="486" y="198"/>
                </a:lnTo>
                <a:lnTo>
                  <a:pt x="486" y="200"/>
                </a:lnTo>
                <a:lnTo>
                  <a:pt x="484" y="202"/>
                </a:lnTo>
                <a:lnTo>
                  <a:pt x="484" y="202"/>
                </a:lnTo>
                <a:lnTo>
                  <a:pt x="482" y="198"/>
                </a:lnTo>
                <a:lnTo>
                  <a:pt x="482" y="198"/>
                </a:lnTo>
                <a:lnTo>
                  <a:pt x="480" y="198"/>
                </a:lnTo>
                <a:lnTo>
                  <a:pt x="480" y="198"/>
                </a:lnTo>
                <a:lnTo>
                  <a:pt x="478" y="198"/>
                </a:lnTo>
                <a:lnTo>
                  <a:pt x="478" y="196"/>
                </a:lnTo>
                <a:lnTo>
                  <a:pt x="480" y="192"/>
                </a:lnTo>
                <a:lnTo>
                  <a:pt x="480" y="192"/>
                </a:lnTo>
                <a:lnTo>
                  <a:pt x="480" y="188"/>
                </a:lnTo>
                <a:lnTo>
                  <a:pt x="480" y="188"/>
                </a:lnTo>
                <a:lnTo>
                  <a:pt x="486" y="190"/>
                </a:lnTo>
                <a:lnTo>
                  <a:pt x="486" y="190"/>
                </a:lnTo>
                <a:lnTo>
                  <a:pt x="492" y="190"/>
                </a:lnTo>
                <a:lnTo>
                  <a:pt x="498" y="192"/>
                </a:lnTo>
                <a:lnTo>
                  <a:pt x="498" y="192"/>
                </a:lnTo>
                <a:lnTo>
                  <a:pt x="502" y="194"/>
                </a:lnTo>
                <a:lnTo>
                  <a:pt x="504" y="194"/>
                </a:lnTo>
                <a:lnTo>
                  <a:pt x="506" y="194"/>
                </a:lnTo>
                <a:lnTo>
                  <a:pt x="506" y="194"/>
                </a:lnTo>
                <a:lnTo>
                  <a:pt x="508" y="192"/>
                </a:lnTo>
                <a:lnTo>
                  <a:pt x="508" y="192"/>
                </a:lnTo>
                <a:lnTo>
                  <a:pt x="510" y="192"/>
                </a:lnTo>
                <a:lnTo>
                  <a:pt x="510" y="190"/>
                </a:lnTo>
                <a:lnTo>
                  <a:pt x="510" y="190"/>
                </a:lnTo>
                <a:lnTo>
                  <a:pt x="504" y="188"/>
                </a:lnTo>
                <a:lnTo>
                  <a:pt x="502" y="190"/>
                </a:lnTo>
                <a:lnTo>
                  <a:pt x="502" y="190"/>
                </a:lnTo>
                <a:lnTo>
                  <a:pt x="492" y="190"/>
                </a:lnTo>
                <a:lnTo>
                  <a:pt x="494" y="188"/>
                </a:lnTo>
                <a:lnTo>
                  <a:pt x="494" y="188"/>
                </a:lnTo>
                <a:lnTo>
                  <a:pt x="494" y="186"/>
                </a:lnTo>
                <a:lnTo>
                  <a:pt x="496" y="184"/>
                </a:lnTo>
                <a:lnTo>
                  <a:pt x="494" y="184"/>
                </a:lnTo>
                <a:lnTo>
                  <a:pt x="490" y="184"/>
                </a:lnTo>
                <a:lnTo>
                  <a:pt x="490" y="186"/>
                </a:lnTo>
                <a:lnTo>
                  <a:pt x="490" y="186"/>
                </a:lnTo>
                <a:lnTo>
                  <a:pt x="486" y="186"/>
                </a:lnTo>
                <a:lnTo>
                  <a:pt x="486" y="186"/>
                </a:lnTo>
                <a:lnTo>
                  <a:pt x="488" y="184"/>
                </a:lnTo>
                <a:lnTo>
                  <a:pt x="490" y="182"/>
                </a:lnTo>
                <a:lnTo>
                  <a:pt x="490" y="182"/>
                </a:lnTo>
                <a:lnTo>
                  <a:pt x="492" y="180"/>
                </a:lnTo>
                <a:lnTo>
                  <a:pt x="492" y="180"/>
                </a:lnTo>
                <a:lnTo>
                  <a:pt x="488" y="176"/>
                </a:lnTo>
                <a:lnTo>
                  <a:pt x="482" y="174"/>
                </a:lnTo>
                <a:lnTo>
                  <a:pt x="484" y="172"/>
                </a:lnTo>
                <a:lnTo>
                  <a:pt x="484" y="172"/>
                </a:lnTo>
                <a:lnTo>
                  <a:pt x="484" y="172"/>
                </a:lnTo>
                <a:lnTo>
                  <a:pt x="486" y="172"/>
                </a:lnTo>
                <a:lnTo>
                  <a:pt x="486" y="172"/>
                </a:lnTo>
                <a:lnTo>
                  <a:pt x="488" y="174"/>
                </a:lnTo>
                <a:lnTo>
                  <a:pt x="488" y="174"/>
                </a:lnTo>
                <a:lnTo>
                  <a:pt x="494" y="174"/>
                </a:lnTo>
                <a:lnTo>
                  <a:pt x="494" y="174"/>
                </a:lnTo>
                <a:lnTo>
                  <a:pt x="496" y="172"/>
                </a:lnTo>
                <a:lnTo>
                  <a:pt x="498" y="172"/>
                </a:lnTo>
                <a:lnTo>
                  <a:pt x="498" y="172"/>
                </a:lnTo>
                <a:lnTo>
                  <a:pt x="498" y="174"/>
                </a:lnTo>
                <a:lnTo>
                  <a:pt x="498" y="176"/>
                </a:lnTo>
                <a:lnTo>
                  <a:pt x="498" y="176"/>
                </a:lnTo>
                <a:lnTo>
                  <a:pt x="498" y="176"/>
                </a:lnTo>
                <a:lnTo>
                  <a:pt x="502" y="176"/>
                </a:lnTo>
                <a:lnTo>
                  <a:pt x="502" y="176"/>
                </a:lnTo>
                <a:lnTo>
                  <a:pt x="502" y="168"/>
                </a:lnTo>
                <a:lnTo>
                  <a:pt x="500" y="160"/>
                </a:lnTo>
                <a:lnTo>
                  <a:pt x="498" y="160"/>
                </a:lnTo>
                <a:lnTo>
                  <a:pt x="498" y="160"/>
                </a:lnTo>
                <a:lnTo>
                  <a:pt x="498" y="158"/>
                </a:lnTo>
                <a:lnTo>
                  <a:pt x="500" y="158"/>
                </a:lnTo>
                <a:lnTo>
                  <a:pt x="500" y="158"/>
                </a:lnTo>
                <a:lnTo>
                  <a:pt x="500" y="156"/>
                </a:lnTo>
                <a:lnTo>
                  <a:pt x="498" y="154"/>
                </a:lnTo>
                <a:lnTo>
                  <a:pt x="498" y="154"/>
                </a:lnTo>
                <a:lnTo>
                  <a:pt x="494" y="154"/>
                </a:lnTo>
                <a:lnTo>
                  <a:pt x="490" y="158"/>
                </a:lnTo>
                <a:lnTo>
                  <a:pt x="490" y="158"/>
                </a:lnTo>
                <a:lnTo>
                  <a:pt x="488" y="156"/>
                </a:lnTo>
                <a:lnTo>
                  <a:pt x="488" y="156"/>
                </a:lnTo>
                <a:lnTo>
                  <a:pt x="488" y="156"/>
                </a:lnTo>
                <a:lnTo>
                  <a:pt x="484" y="156"/>
                </a:lnTo>
                <a:lnTo>
                  <a:pt x="484" y="156"/>
                </a:lnTo>
                <a:lnTo>
                  <a:pt x="484" y="152"/>
                </a:lnTo>
                <a:lnTo>
                  <a:pt x="484" y="152"/>
                </a:lnTo>
                <a:lnTo>
                  <a:pt x="488" y="154"/>
                </a:lnTo>
                <a:lnTo>
                  <a:pt x="488" y="154"/>
                </a:lnTo>
                <a:lnTo>
                  <a:pt x="490" y="152"/>
                </a:lnTo>
                <a:lnTo>
                  <a:pt x="490" y="152"/>
                </a:lnTo>
                <a:lnTo>
                  <a:pt x="492" y="150"/>
                </a:lnTo>
                <a:lnTo>
                  <a:pt x="490" y="146"/>
                </a:lnTo>
                <a:lnTo>
                  <a:pt x="490" y="146"/>
                </a:lnTo>
                <a:lnTo>
                  <a:pt x="492" y="146"/>
                </a:lnTo>
                <a:lnTo>
                  <a:pt x="490" y="146"/>
                </a:lnTo>
                <a:lnTo>
                  <a:pt x="490" y="146"/>
                </a:lnTo>
                <a:lnTo>
                  <a:pt x="490" y="142"/>
                </a:lnTo>
                <a:lnTo>
                  <a:pt x="490" y="142"/>
                </a:lnTo>
                <a:lnTo>
                  <a:pt x="498" y="144"/>
                </a:lnTo>
                <a:lnTo>
                  <a:pt x="504" y="144"/>
                </a:lnTo>
                <a:lnTo>
                  <a:pt x="504" y="144"/>
                </a:lnTo>
                <a:lnTo>
                  <a:pt x="508" y="148"/>
                </a:lnTo>
                <a:lnTo>
                  <a:pt x="508" y="148"/>
                </a:lnTo>
                <a:lnTo>
                  <a:pt x="516" y="146"/>
                </a:lnTo>
                <a:lnTo>
                  <a:pt x="514" y="146"/>
                </a:lnTo>
                <a:lnTo>
                  <a:pt x="514" y="146"/>
                </a:lnTo>
                <a:lnTo>
                  <a:pt x="514" y="142"/>
                </a:lnTo>
                <a:lnTo>
                  <a:pt x="514" y="140"/>
                </a:lnTo>
                <a:lnTo>
                  <a:pt x="514" y="140"/>
                </a:lnTo>
                <a:lnTo>
                  <a:pt x="512" y="136"/>
                </a:lnTo>
                <a:lnTo>
                  <a:pt x="512" y="136"/>
                </a:lnTo>
                <a:lnTo>
                  <a:pt x="510" y="134"/>
                </a:lnTo>
                <a:lnTo>
                  <a:pt x="510" y="134"/>
                </a:lnTo>
                <a:lnTo>
                  <a:pt x="508" y="132"/>
                </a:lnTo>
                <a:lnTo>
                  <a:pt x="508" y="132"/>
                </a:lnTo>
                <a:lnTo>
                  <a:pt x="506" y="132"/>
                </a:lnTo>
                <a:lnTo>
                  <a:pt x="506" y="132"/>
                </a:lnTo>
                <a:lnTo>
                  <a:pt x="506" y="136"/>
                </a:lnTo>
                <a:lnTo>
                  <a:pt x="506" y="136"/>
                </a:lnTo>
                <a:lnTo>
                  <a:pt x="504" y="136"/>
                </a:lnTo>
                <a:lnTo>
                  <a:pt x="502" y="134"/>
                </a:lnTo>
                <a:lnTo>
                  <a:pt x="502" y="134"/>
                </a:lnTo>
                <a:lnTo>
                  <a:pt x="496" y="136"/>
                </a:lnTo>
                <a:lnTo>
                  <a:pt x="496" y="136"/>
                </a:lnTo>
                <a:lnTo>
                  <a:pt x="496" y="128"/>
                </a:lnTo>
                <a:lnTo>
                  <a:pt x="496" y="128"/>
                </a:lnTo>
                <a:lnTo>
                  <a:pt x="504" y="128"/>
                </a:lnTo>
                <a:lnTo>
                  <a:pt x="504" y="128"/>
                </a:lnTo>
                <a:lnTo>
                  <a:pt x="506" y="128"/>
                </a:lnTo>
                <a:lnTo>
                  <a:pt x="506" y="126"/>
                </a:lnTo>
                <a:lnTo>
                  <a:pt x="500" y="124"/>
                </a:lnTo>
                <a:lnTo>
                  <a:pt x="500" y="124"/>
                </a:lnTo>
                <a:lnTo>
                  <a:pt x="498" y="122"/>
                </a:lnTo>
                <a:lnTo>
                  <a:pt x="498" y="122"/>
                </a:lnTo>
                <a:lnTo>
                  <a:pt x="496" y="122"/>
                </a:lnTo>
                <a:lnTo>
                  <a:pt x="494" y="124"/>
                </a:lnTo>
                <a:lnTo>
                  <a:pt x="494" y="124"/>
                </a:lnTo>
                <a:lnTo>
                  <a:pt x="490" y="122"/>
                </a:lnTo>
                <a:lnTo>
                  <a:pt x="486" y="120"/>
                </a:lnTo>
                <a:lnTo>
                  <a:pt x="486" y="120"/>
                </a:lnTo>
                <a:lnTo>
                  <a:pt x="484" y="122"/>
                </a:lnTo>
                <a:lnTo>
                  <a:pt x="484" y="122"/>
                </a:lnTo>
                <a:lnTo>
                  <a:pt x="482" y="120"/>
                </a:lnTo>
                <a:lnTo>
                  <a:pt x="484" y="120"/>
                </a:lnTo>
                <a:lnTo>
                  <a:pt x="484" y="120"/>
                </a:lnTo>
                <a:lnTo>
                  <a:pt x="484" y="116"/>
                </a:lnTo>
                <a:lnTo>
                  <a:pt x="484" y="116"/>
                </a:lnTo>
                <a:lnTo>
                  <a:pt x="492" y="118"/>
                </a:lnTo>
                <a:lnTo>
                  <a:pt x="498" y="120"/>
                </a:lnTo>
                <a:lnTo>
                  <a:pt x="498" y="120"/>
                </a:lnTo>
                <a:lnTo>
                  <a:pt x="500" y="114"/>
                </a:lnTo>
                <a:lnTo>
                  <a:pt x="500" y="114"/>
                </a:lnTo>
                <a:lnTo>
                  <a:pt x="502" y="112"/>
                </a:lnTo>
                <a:lnTo>
                  <a:pt x="506" y="110"/>
                </a:lnTo>
                <a:lnTo>
                  <a:pt x="506" y="110"/>
                </a:lnTo>
                <a:lnTo>
                  <a:pt x="506" y="108"/>
                </a:lnTo>
                <a:lnTo>
                  <a:pt x="506" y="106"/>
                </a:lnTo>
                <a:lnTo>
                  <a:pt x="506" y="106"/>
                </a:lnTo>
                <a:lnTo>
                  <a:pt x="506" y="106"/>
                </a:lnTo>
                <a:lnTo>
                  <a:pt x="506" y="104"/>
                </a:lnTo>
                <a:lnTo>
                  <a:pt x="506" y="104"/>
                </a:lnTo>
                <a:lnTo>
                  <a:pt x="510" y="98"/>
                </a:lnTo>
                <a:lnTo>
                  <a:pt x="508" y="98"/>
                </a:lnTo>
                <a:lnTo>
                  <a:pt x="506" y="94"/>
                </a:lnTo>
                <a:lnTo>
                  <a:pt x="506" y="94"/>
                </a:lnTo>
                <a:lnTo>
                  <a:pt x="520" y="94"/>
                </a:lnTo>
                <a:lnTo>
                  <a:pt x="520" y="94"/>
                </a:lnTo>
                <a:lnTo>
                  <a:pt x="520" y="90"/>
                </a:lnTo>
                <a:lnTo>
                  <a:pt x="520" y="90"/>
                </a:lnTo>
                <a:lnTo>
                  <a:pt x="524" y="86"/>
                </a:lnTo>
                <a:lnTo>
                  <a:pt x="524" y="84"/>
                </a:lnTo>
                <a:lnTo>
                  <a:pt x="524" y="82"/>
                </a:lnTo>
                <a:lnTo>
                  <a:pt x="518" y="80"/>
                </a:lnTo>
                <a:lnTo>
                  <a:pt x="518" y="80"/>
                </a:lnTo>
                <a:lnTo>
                  <a:pt x="514" y="80"/>
                </a:lnTo>
                <a:lnTo>
                  <a:pt x="508" y="80"/>
                </a:lnTo>
                <a:lnTo>
                  <a:pt x="508" y="80"/>
                </a:lnTo>
                <a:lnTo>
                  <a:pt x="506" y="82"/>
                </a:lnTo>
                <a:lnTo>
                  <a:pt x="506" y="82"/>
                </a:lnTo>
                <a:lnTo>
                  <a:pt x="498" y="86"/>
                </a:lnTo>
                <a:lnTo>
                  <a:pt x="498" y="86"/>
                </a:lnTo>
                <a:lnTo>
                  <a:pt x="498" y="82"/>
                </a:lnTo>
                <a:lnTo>
                  <a:pt x="498" y="82"/>
                </a:lnTo>
                <a:lnTo>
                  <a:pt x="496" y="80"/>
                </a:lnTo>
                <a:lnTo>
                  <a:pt x="496" y="78"/>
                </a:lnTo>
                <a:lnTo>
                  <a:pt x="498" y="76"/>
                </a:lnTo>
                <a:lnTo>
                  <a:pt x="498" y="76"/>
                </a:lnTo>
                <a:lnTo>
                  <a:pt x="502" y="74"/>
                </a:lnTo>
                <a:lnTo>
                  <a:pt x="508" y="76"/>
                </a:lnTo>
                <a:lnTo>
                  <a:pt x="520" y="78"/>
                </a:lnTo>
                <a:lnTo>
                  <a:pt x="520" y="78"/>
                </a:lnTo>
                <a:lnTo>
                  <a:pt x="528" y="78"/>
                </a:lnTo>
                <a:lnTo>
                  <a:pt x="528" y="78"/>
                </a:lnTo>
                <a:lnTo>
                  <a:pt x="530" y="78"/>
                </a:lnTo>
                <a:lnTo>
                  <a:pt x="530" y="78"/>
                </a:lnTo>
                <a:lnTo>
                  <a:pt x="540" y="70"/>
                </a:lnTo>
                <a:lnTo>
                  <a:pt x="540" y="70"/>
                </a:lnTo>
                <a:lnTo>
                  <a:pt x="540" y="68"/>
                </a:lnTo>
                <a:lnTo>
                  <a:pt x="540" y="66"/>
                </a:lnTo>
                <a:lnTo>
                  <a:pt x="540" y="66"/>
                </a:lnTo>
                <a:lnTo>
                  <a:pt x="532" y="66"/>
                </a:lnTo>
                <a:lnTo>
                  <a:pt x="532" y="66"/>
                </a:lnTo>
                <a:lnTo>
                  <a:pt x="530" y="70"/>
                </a:lnTo>
                <a:lnTo>
                  <a:pt x="530" y="70"/>
                </a:lnTo>
                <a:lnTo>
                  <a:pt x="524" y="68"/>
                </a:lnTo>
                <a:lnTo>
                  <a:pt x="524" y="68"/>
                </a:lnTo>
                <a:lnTo>
                  <a:pt x="520" y="70"/>
                </a:lnTo>
                <a:lnTo>
                  <a:pt x="514" y="70"/>
                </a:lnTo>
                <a:lnTo>
                  <a:pt x="514" y="70"/>
                </a:lnTo>
                <a:lnTo>
                  <a:pt x="508" y="66"/>
                </a:lnTo>
                <a:lnTo>
                  <a:pt x="508" y="66"/>
                </a:lnTo>
                <a:lnTo>
                  <a:pt x="514" y="66"/>
                </a:lnTo>
                <a:lnTo>
                  <a:pt x="518" y="66"/>
                </a:lnTo>
                <a:lnTo>
                  <a:pt x="518" y="66"/>
                </a:lnTo>
                <a:lnTo>
                  <a:pt x="520" y="64"/>
                </a:lnTo>
                <a:lnTo>
                  <a:pt x="520" y="64"/>
                </a:lnTo>
                <a:lnTo>
                  <a:pt x="526" y="64"/>
                </a:lnTo>
                <a:lnTo>
                  <a:pt x="532" y="66"/>
                </a:lnTo>
                <a:lnTo>
                  <a:pt x="532" y="66"/>
                </a:lnTo>
                <a:lnTo>
                  <a:pt x="536" y="64"/>
                </a:lnTo>
                <a:lnTo>
                  <a:pt x="536" y="64"/>
                </a:lnTo>
                <a:lnTo>
                  <a:pt x="540" y="64"/>
                </a:lnTo>
                <a:lnTo>
                  <a:pt x="544" y="66"/>
                </a:lnTo>
                <a:lnTo>
                  <a:pt x="544" y="66"/>
                </a:lnTo>
                <a:lnTo>
                  <a:pt x="544" y="62"/>
                </a:lnTo>
                <a:lnTo>
                  <a:pt x="544" y="62"/>
                </a:lnTo>
                <a:lnTo>
                  <a:pt x="554" y="62"/>
                </a:lnTo>
                <a:lnTo>
                  <a:pt x="554" y="62"/>
                </a:lnTo>
                <a:lnTo>
                  <a:pt x="554" y="58"/>
                </a:lnTo>
                <a:lnTo>
                  <a:pt x="554" y="58"/>
                </a:lnTo>
                <a:lnTo>
                  <a:pt x="554" y="58"/>
                </a:lnTo>
                <a:lnTo>
                  <a:pt x="558" y="58"/>
                </a:lnTo>
                <a:lnTo>
                  <a:pt x="558" y="58"/>
                </a:lnTo>
                <a:lnTo>
                  <a:pt x="562" y="54"/>
                </a:lnTo>
                <a:lnTo>
                  <a:pt x="562" y="54"/>
                </a:lnTo>
                <a:lnTo>
                  <a:pt x="566" y="54"/>
                </a:lnTo>
                <a:lnTo>
                  <a:pt x="568" y="54"/>
                </a:lnTo>
                <a:lnTo>
                  <a:pt x="568" y="54"/>
                </a:lnTo>
                <a:lnTo>
                  <a:pt x="570" y="52"/>
                </a:lnTo>
                <a:lnTo>
                  <a:pt x="570" y="52"/>
                </a:lnTo>
                <a:lnTo>
                  <a:pt x="568" y="50"/>
                </a:lnTo>
                <a:lnTo>
                  <a:pt x="566" y="46"/>
                </a:lnTo>
                <a:lnTo>
                  <a:pt x="566" y="46"/>
                </a:lnTo>
                <a:lnTo>
                  <a:pt x="560" y="48"/>
                </a:lnTo>
                <a:lnTo>
                  <a:pt x="554" y="48"/>
                </a:lnTo>
                <a:lnTo>
                  <a:pt x="554" y="48"/>
                </a:lnTo>
                <a:lnTo>
                  <a:pt x="538" y="44"/>
                </a:lnTo>
                <a:lnTo>
                  <a:pt x="538" y="44"/>
                </a:lnTo>
                <a:lnTo>
                  <a:pt x="534" y="44"/>
                </a:lnTo>
                <a:lnTo>
                  <a:pt x="528" y="46"/>
                </a:lnTo>
                <a:lnTo>
                  <a:pt x="528" y="46"/>
                </a:lnTo>
                <a:lnTo>
                  <a:pt x="524" y="44"/>
                </a:lnTo>
                <a:lnTo>
                  <a:pt x="520" y="44"/>
                </a:lnTo>
                <a:lnTo>
                  <a:pt x="520" y="48"/>
                </a:lnTo>
                <a:lnTo>
                  <a:pt x="520" y="48"/>
                </a:lnTo>
                <a:lnTo>
                  <a:pt x="510" y="50"/>
                </a:lnTo>
                <a:lnTo>
                  <a:pt x="510" y="50"/>
                </a:lnTo>
                <a:lnTo>
                  <a:pt x="510" y="52"/>
                </a:lnTo>
                <a:lnTo>
                  <a:pt x="510" y="52"/>
                </a:lnTo>
                <a:lnTo>
                  <a:pt x="508" y="52"/>
                </a:lnTo>
                <a:lnTo>
                  <a:pt x="506" y="52"/>
                </a:lnTo>
                <a:lnTo>
                  <a:pt x="506" y="52"/>
                </a:lnTo>
                <a:lnTo>
                  <a:pt x="502" y="50"/>
                </a:lnTo>
                <a:lnTo>
                  <a:pt x="500" y="52"/>
                </a:lnTo>
                <a:lnTo>
                  <a:pt x="500" y="52"/>
                </a:lnTo>
                <a:lnTo>
                  <a:pt x="496" y="46"/>
                </a:lnTo>
                <a:lnTo>
                  <a:pt x="496" y="46"/>
                </a:lnTo>
                <a:lnTo>
                  <a:pt x="492" y="52"/>
                </a:lnTo>
                <a:lnTo>
                  <a:pt x="488" y="54"/>
                </a:lnTo>
                <a:lnTo>
                  <a:pt x="488" y="54"/>
                </a:lnTo>
                <a:lnTo>
                  <a:pt x="484" y="54"/>
                </a:lnTo>
                <a:lnTo>
                  <a:pt x="484" y="54"/>
                </a:lnTo>
                <a:lnTo>
                  <a:pt x="480" y="58"/>
                </a:lnTo>
                <a:lnTo>
                  <a:pt x="480" y="58"/>
                </a:lnTo>
                <a:lnTo>
                  <a:pt x="474" y="60"/>
                </a:lnTo>
                <a:lnTo>
                  <a:pt x="466" y="62"/>
                </a:lnTo>
                <a:lnTo>
                  <a:pt x="466" y="62"/>
                </a:lnTo>
                <a:lnTo>
                  <a:pt x="462" y="60"/>
                </a:lnTo>
                <a:lnTo>
                  <a:pt x="462" y="60"/>
                </a:lnTo>
                <a:lnTo>
                  <a:pt x="460" y="62"/>
                </a:lnTo>
                <a:lnTo>
                  <a:pt x="460" y="62"/>
                </a:lnTo>
                <a:lnTo>
                  <a:pt x="456" y="60"/>
                </a:lnTo>
                <a:lnTo>
                  <a:pt x="456" y="60"/>
                </a:lnTo>
                <a:lnTo>
                  <a:pt x="460" y="58"/>
                </a:lnTo>
                <a:lnTo>
                  <a:pt x="464" y="56"/>
                </a:lnTo>
                <a:lnTo>
                  <a:pt x="464" y="56"/>
                </a:lnTo>
                <a:lnTo>
                  <a:pt x="468" y="56"/>
                </a:lnTo>
                <a:lnTo>
                  <a:pt x="468" y="56"/>
                </a:lnTo>
                <a:lnTo>
                  <a:pt x="468" y="54"/>
                </a:lnTo>
                <a:lnTo>
                  <a:pt x="468" y="54"/>
                </a:lnTo>
                <a:lnTo>
                  <a:pt x="474" y="52"/>
                </a:lnTo>
                <a:lnTo>
                  <a:pt x="474" y="52"/>
                </a:lnTo>
                <a:lnTo>
                  <a:pt x="480" y="44"/>
                </a:lnTo>
                <a:lnTo>
                  <a:pt x="480" y="44"/>
                </a:lnTo>
                <a:lnTo>
                  <a:pt x="480" y="42"/>
                </a:lnTo>
                <a:lnTo>
                  <a:pt x="480" y="40"/>
                </a:lnTo>
                <a:lnTo>
                  <a:pt x="480" y="40"/>
                </a:lnTo>
                <a:lnTo>
                  <a:pt x="468" y="42"/>
                </a:lnTo>
                <a:lnTo>
                  <a:pt x="468" y="42"/>
                </a:lnTo>
                <a:lnTo>
                  <a:pt x="466" y="40"/>
                </a:lnTo>
                <a:lnTo>
                  <a:pt x="462" y="40"/>
                </a:lnTo>
                <a:lnTo>
                  <a:pt x="462" y="40"/>
                </a:lnTo>
                <a:lnTo>
                  <a:pt x="460" y="42"/>
                </a:lnTo>
                <a:lnTo>
                  <a:pt x="460" y="42"/>
                </a:lnTo>
                <a:lnTo>
                  <a:pt x="460" y="48"/>
                </a:lnTo>
                <a:lnTo>
                  <a:pt x="460" y="48"/>
                </a:lnTo>
                <a:lnTo>
                  <a:pt x="438" y="48"/>
                </a:lnTo>
                <a:lnTo>
                  <a:pt x="438" y="48"/>
                </a:lnTo>
                <a:lnTo>
                  <a:pt x="440" y="46"/>
                </a:lnTo>
                <a:lnTo>
                  <a:pt x="440" y="46"/>
                </a:lnTo>
                <a:lnTo>
                  <a:pt x="440" y="42"/>
                </a:lnTo>
                <a:lnTo>
                  <a:pt x="440" y="42"/>
                </a:lnTo>
                <a:lnTo>
                  <a:pt x="440" y="42"/>
                </a:lnTo>
                <a:lnTo>
                  <a:pt x="438" y="40"/>
                </a:lnTo>
                <a:lnTo>
                  <a:pt x="438" y="40"/>
                </a:lnTo>
                <a:lnTo>
                  <a:pt x="414" y="42"/>
                </a:lnTo>
                <a:lnTo>
                  <a:pt x="414" y="42"/>
                </a:lnTo>
                <a:lnTo>
                  <a:pt x="410" y="42"/>
                </a:lnTo>
                <a:lnTo>
                  <a:pt x="410" y="42"/>
                </a:lnTo>
                <a:lnTo>
                  <a:pt x="406" y="42"/>
                </a:lnTo>
                <a:lnTo>
                  <a:pt x="404" y="42"/>
                </a:lnTo>
                <a:lnTo>
                  <a:pt x="404" y="42"/>
                </a:lnTo>
                <a:lnTo>
                  <a:pt x="400" y="42"/>
                </a:lnTo>
                <a:lnTo>
                  <a:pt x="398" y="42"/>
                </a:lnTo>
                <a:lnTo>
                  <a:pt x="398" y="42"/>
                </a:lnTo>
                <a:lnTo>
                  <a:pt x="398" y="42"/>
                </a:lnTo>
                <a:lnTo>
                  <a:pt x="396" y="42"/>
                </a:lnTo>
                <a:lnTo>
                  <a:pt x="396" y="42"/>
                </a:lnTo>
                <a:lnTo>
                  <a:pt x="390" y="44"/>
                </a:lnTo>
                <a:lnTo>
                  <a:pt x="384" y="46"/>
                </a:lnTo>
                <a:lnTo>
                  <a:pt x="384" y="46"/>
                </a:lnTo>
                <a:lnTo>
                  <a:pt x="380" y="46"/>
                </a:lnTo>
                <a:lnTo>
                  <a:pt x="376" y="46"/>
                </a:lnTo>
                <a:lnTo>
                  <a:pt x="376" y="46"/>
                </a:lnTo>
                <a:lnTo>
                  <a:pt x="374" y="48"/>
                </a:lnTo>
                <a:lnTo>
                  <a:pt x="374" y="50"/>
                </a:lnTo>
                <a:lnTo>
                  <a:pt x="374" y="50"/>
                </a:lnTo>
                <a:lnTo>
                  <a:pt x="370" y="50"/>
                </a:lnTo>
                <a:lnTo>
                  <a:pt x="370" y="50"/>
                </a:lnTo>
                <a:lnTo>
                  <a:pt x="372" y="46"/>
                </a:lnTo>
                <a:lnTo>
                  <a:pt x="372" y="46"/>
                </a:lnTo>
                <a:lnTo>
                  <a:pt x="378" y="46"/>
                </a:lnTo>
                <a:lnTo>
                  <a:pt x="384" y="44"/>
                </a:lnTo>
                <a:lnTo>
                  <a:pt x="384" y="44"/>
                </a:lnTo>
                <a:lnTo>
                  <a:pt x="386" y="42"/>
                </a:lnTo>
                <a:lnTo>
                  <a:pt x="386" y="42"/>
                </a:lnTo>
                <a:lnTo>
                  <a:pt x="386" y="42"/>
                </a:lnTo>
                <a:lnTo>
                  <a:pt x="390" y="42"/>
                </a:lnTo>
                <a:lnTo>
                  <a:pt x="394" y="42"/>
                </a:lnTo>
                <a:lnTo>
                  <a:pt x="394" y="42"/>
                </a:lnTo>
                <a:lnTo>
                  <a:pt x="394" y="38"/>
                </a:lnTo>
                <a:lnTo>
                  <a:pt x="394" y="38"/>
                </a:lnTo>
                <a:lnTo>
                  <a:pt x="400" y="36"/>
                </a:lnTo>
                <a:lnTo>
                  <a:pt x="400" y="36"/>
                </a:lnTo>
                <a:lnTo>
                  <a:pt x="408" y="36"/>
                </a:lnTo>
                <a:lnTo>
                  <a:pt x="408" y="36"/>
                </a:lnTo>
                <a:lnTo>
                  <a:pt x="424" y="36"/>
                </a:lnTo>
                <a:lnTo>
                  <a:pt x="428" y="38"/>
                </a:lnTo>
                <a:lnTo>
                  <a:pt x="428" y="38"/>
                </a:lnTo>
                <a:lnTo>
                  <a:pt x="440" y="36"/>
                </a:lnTo>
                <a:lnTo>
                  <a:pt x="454" y="36"/>
                </a:lnTo>
                <a:lnTo>
                  <a:pt x="454" y="36"/>
                </a:lnTo>
                <a:lnTo>
                  <a:pt x="458" y="38"/>
                </a:lnTo>
                <a:lnTo>
                  <a:pt x="464" y="38"/>
                </a:lnTo>
                <a:lnTo>
                  <a:pt x="464" y="38"/>
                </a:lnTo>
                <a:lnTo>
                  <a:pt x="472" y="36"/>
                </a:lnTo>
                <a:lnTo>
                  <a:pt x="472" y="36"/>
                </a:lnTo>
                <a:lnTo>
                  <a:pt x="478" y="36"/>
                </a:lnTo>
                <a:lnTo>
                  <a:pt x="482" y="36"/>
                </a:lnTo>
                <a:lnTo>
                  <a:pt x="482"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9" name="Freeform 123">
            <a:extLst>
              <a:ext uri="{FF2B5EF4-FFF2-40B4-BE49-F238E27FC236}">
                <a16:creationId xmlns:a16="http://schemas.microsoft.com/office/drawing/2014/main" id="{74111564-CF28-492E-86A0-E0CD63A74852}"/>
              </a:ext>
            </a:extLst>
          </p:cNvPr>
          <p:cNvSpPr>
            <a:spLocks/>
          </p:cNvSpPr>
          <p:nvPr userDrawn="1"/>
        </p:nvSpPr>
        <p:spPr bwMode="auto">
          <a:xfrm>
            <a:off x="8651435" y="2393658"/>
            <a:ext cx="134163" cy="192190"/>
          </a:xfrm>
          <a:custGeom>
            <a:avLst/>
            <a:gdLst>
              <a:gd name="T0" fmla="*/ 50 w 80"/>
              <a:gd name="T1" fmla="*/ 100 h 112"/>
              <a:gd name="T2" fmla="*/ 46 w 80"/>
              <a:gd name="T3" fmla="*/ 96 h 112"/>
              <a:gd name="T4" fmla="*/ 46 w 80"/>
              <a:gd name="T5" fmla="*/ 88 h 112"/>
              <a:gd name="T6" fmla="*/ 32 w 80"/>
              <a:gd name="T7" fmla="*/ 82 h 112"/>
              <a:gd name="T8" fmla="*/ 34 w 80"/>
              <a:gd name="T9" fmla="*/ 78 h 112"/>
              <a:gd name="T10" fmla="*/ 36 w 80"/>
              <a:gd name="T11" fmla="*/ 76 h 112"/>
              <a:gd name="T12" fmla="*/ 36 w 80"/>
              <a:gd name="T13" fmla="*/ 68 h 112"/>
              <a:gd name="T14" fmla="*/ 40 w 80"/>
              <a:gd name="T15" fmla="*/ 66 h 112"/>
              <a:gd name="T16" fmla="*/ 46 w 80"/>
              <a:gd name="T17" fmla="*/ 64 h 112"/>
              <a:gd name="T18" fmla="*/ 52 w 80"/>
              <a:gd name="T19" fmla="*/ 54 h 112"/>
              <a:gd name="T20" fmla="*/ 56 w 80"/>
              <a:gd name="T21" fmla="*/ 54 h 112"/>
              <a:gd name="T22" fmla="*/ 58 w 80"/>
              <a:gd name="T23" fmla="*/ 54 h 112"/>
              <a:gd name="T24" fmla="*/ 62 w 80"/>
              <a:gd name="T25" fmla="*/ 48 h 112"/>
              <a:gd name="T26" fmla="*/ 66 w 80"/>
              <a:gd name="T27" fmla="*/ 48 h 112"/>
              <a:gd name="T28" fmla="*/ 66 w 80"/>
              <a:gd name="T29" fmla="*/ 44 h 112"/>
              <a:gd name="T30" fmla="*/ 62 w 80"/>
              <a:gd name="T31" fmla="*/ 34 h 112"/>
              <a:gd name="T32" fmla="*/ 64 w 80"/>
              <a:gd name="T33" fmla="*/ 30 h 112"/>
              <a:gd name="T34" fmla="*/ 66 w 80"/>
              <a:gd name="T35" fmla="*/ 28 h 112"/>
              <a:gd name="T36" fmla="*/ 68 w 80"/>
              <a:gd name="T37" fmla="*/ 24 h 112"/>
              <a:gd name="T38" fmla="*/ 70 w 80"/>
              <a:gd name="T39" fmla="*/ 24 h 112"/>
              <a:gd name="T40" fmla="*/ 72 w 80"/>
              <a:gd name="T41" fmla="*/ 24 h 112"/>
              <a:gd name="T42" fmla="*/ 80 w 80"/>
              <a:gd name="T43" fmla="*/ 14 h 112"/>
              <a:gd name="T44" fmla="*/ 70 w 80"/>
              <a:gd name="T45" fmla="*/ 10 h 112"/>
              <a:gd name="T46" fmla="*/ 64 w 80"/>
              <a:gd name="T47" fmla="*/ 16 h 112"/>
              <a:gd name="T48" fmla="*/ 54 w 80"/>
              <a:gd name="T49" fmla="*/ 18 h 112"/>
              <a:gd name="T50" fmla="*/ 50 w 80"/>
              <a:gd name="T51" fmla="*/ 26 h 112"/>
              <a:gd name="T52" fmla="*/ 42 w 80"/>
              <a:gd name="T53" fmla="*/ 30 h 112"/>
              <a:gd name="T54" fmla="*/ 34 w 80"/>
              <a:gd name="T55" fmla="*/ 22 h 112"/>
              <a:gd name="T56" fmla="*/ 28 w 80"/>
              <a:gd name="T57" fmla="*/ 32 h 112"/>
              <a:gd name="T58" fmla="*/ 16 w 80"/>
              <a:gd name="T59" fmla="*/ 46 h 112"/>
              <a:gd name="T60" fmla="*/ 6 w 80"/>
              <a:gd name="T61" fmla="*/ 60 h 112"/>
              <a:gd name="T62" fmla="*/ 0 w 80"/>
              <a:gd name="T63" fmla="*/ 70 h 112"/>
              <a:gd name="T64" fmla="*/ 2 w 80"/>
              <a:gd name="T65" fmla="*/ 72 h 112"/>
              <a:gd name="T66" fmla="*/ 8 w 80"/>
              <a:gd name="T67" fmla="*/ 76 h 112"/>
              <a:gd name="T68" fmla="*/ 10 w 80"/>
              <a:gd name="T69" fmla="*/ 88 h 112"/>
              <a:gd name="T70" fmla="*/ 6 w 80"/>
              <a:gd name="T71" fmla="*/ 90 h 112"/>
              <a:gd name="T72" fmla="*/ 0 w 80"/>
              <a:gd name="T73" fmla="*/ 100 h 112"/>
              <a:gd name="T74" fmla="*/ 8 w 80"/>
              <a:gd name="T75" fmla="*/ 102 h 112"/>
              <a:gd name="T76" fmla="*/ 6 w 80"/>
              <a:gd name="T77" fmla="*/ 106 h 112"/>
              <a:gd name="T78" fmla="*/ 10 w 80"/>
              <a:gd name="T79" fmla="*/ 112 h 112"/>
              <a:gd name="T80" fmla="*/ 14 w 80"/>
              <a:gd name="T81" fmla="*/ 110 h 112"/>
              <a:gd name="T82" fmla="*/ 16 w 80"/>
              <a:gd name="T83" fmla="*/ 108 h 112"/>
              <a:gd name="T84" fmla="*/ 24 w 80"/>
              <a:gd name="T85" fmla="*/ 108 h 112"/>
              <a:gd name="T86" fmla="*/ 36 w 80"/>
              <a:gd name="T87" fmla="*/ 98 h 112"/>
              <a:gd name="T88" fmla="*/ 42 w 80"/>
              <a:gd name="T89" fmla="*/ 102 h 112"/>
              <a:gd name="T90" fmla="*/ 50 w 80"/>
              <a:gd name="T91" fmla="*/ 10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112">
                <a:moveTo>
                  <a:pt x="50" y="100"/>
                </a:moveTo>
                <a:lnTo>
                  <a:pt x="50" y="100"/>
                </a:lnTo>
                <a:lnTo>
                  <a:pt x="46" y="96"/>
                </a:lnTo>
                <a:lnTo>
                  <a:pt x="46" y="96"/>
                </a:lnTo>
                <a:lnTo>
                  <a:pt x="46" y="88"/>
                </a:lnTo>
                <a:lnTo>
                  <a:pt x="46" y="88"/>
                </a:lnTo>
                <a:lnTo>
                  <a:pt x="40" y="84"/>
                </a:lnTo>
                <a:lnTo>
                  <a:pt x="32" y="82"/>
                </a:lnTo>
                <a:lnTo>
                  <a:pt x="32" y="82"/>
                </a:lnTo>
                <a:lnTo>
                  <a:pt x="34" y="78"/>
                </a:lnTo>
                <a:lnTo>
                  <a:pt x="36" y="76"/>
                </a:lnTo>
                <a:lnTo>
                  <a:pt x="36" y="76"/>
                </a:lnTo>
                <a:lnTo>
                  <a:pt x="36" y="72"/>
                </a:lnTo>
                <a:lnTo>
                  <a:pt x="36" y="68"/>
                </a:lnTo>
                <a:lnTo>
                  <a:pt x="36" y="68"/>
                </a:lnTo>
                <a:lnTo>
                  <a:pt x="40" y="66"/>
                </a:lnTo>
                <a:lnTo>
                  <a:pt x="46" y="64"/>
                </a:lnTo>
                <a:lnTo>
                  <a:pt x="46" y="64"/>
                </a:lnTo>
                <a:lnTo>
                  <a:pt x="50" y="60"/>
                </a:lnTo>
                <a:lnTo>
                  <a:pt x="52" y="54"/>
                </a:lnTo>
                <a:lnTo>
                  <a:pt x="52" y="54"/>
                </a:lnTo>
                <a:lnTo>
                  <a:pt x="56" y="54"/>
                </a:lnTo>
                <a:lnTo>
                  <a:pt x="58" y="54"/>
                </a:lnTo>
                <a:lnTo>
                  <a:pt x="58" y="54"/>
                </a:lnTo>
                <a:lnTo>
                  <a:pt x="60" y="50"/>
                </a:lnTo>
                <a:lnTo>
                  <a:pt x="62" y="48"/>
                </a:lnTo>
                <a:lnTo>
                  <a:pt x="62" y="48"/>
                </a:lnTo>
                <a:lnTo>
                  <a:pt x="66" y="48"/>
                </a:lnTo>
                <a:lnTo>
                  <a:pt x="66" y="48"/>
                </a:lnTo>
                <a:lnTo>
                  <a:pt x="66" y="44"/>
                </a:lnTo>
                <a:lnTo>
                  <a:pt x="64" y="38"/>
                </a:lnTo>
                <a:lnTo>
                  <a:pt x="62" y="34"/>
                </a:lnTo>
                <a:lnTo>
                  <a:pt x="64" y="30"/>
                </a:lnTo>
                <a:lnTo>
                  <a:pt x="64" y="30"/>
                </a:lnTo>
                <a:lnTo>
                  <a:pt x="64" y="30"/>
                </a:lnTo>
                <a:lnTo>
                  <a:pt x="66" y="28"/>
                </a:lnTo>
                <a:lnTo>
                  <a:pt x="66" y="28"/>
                </a:lnTo>
                <a:lnTo>
                  <a:pt x="68" y="24"/>
                </a:lnTo>
                <a:lnTo>
                  <a:pt x="68" y="24"/>
                </a:lnTo>
                <a:lnTo>
                  <a:pt x="70" y="24"/>
                </a:lnTo>
                <a:lnTo>
                  <a:pt x="72" y="24"/>
                </a:lnTo>
                <a:lnTo>
                  <a:pt x="72" y="24"/>
                </a:lnTo>
                <a:lnTo>
                  <a:pt x="80" y="14"/>
                </a:lnTo>
                <a:lnTo>
                  <a:pt x="80" y="14"/>
                </a:lnTo>
                <a:lnTo>
                  <a:pt x="70" y="0"/>
                </a:lnTo>
                <a:lnTo>
                  <a:pt x="70" y="10"/>
                </a:lnTo>
                <a:lnTo>
                  <a:pt x="64" y="12"/>
                </a:lnTo>
                <a:lnTo>
                  <a:pt x="64" y="16"/>
                </a:lnTo>
                <a:lnTo>
                  <a:pt x="60" y="18"/>
                </a:lnTo>
                <a:lnTo>
                  <a:pt x="54" y="18"/>
                </a:lnTo>
                <a:lnTo>
                  <a:pt x="50" y="22"/>
                </a:lnTo>
                <a:lnTo>
                  <a:pt x="50" y="26"/>
                </a:lnTo>
                <a:lnTo>
                  <a:pt x="50" y="32"/>
                </a:lnTo>
                <a:lnTo>
                  <a:pt x="42" y="30"/>
                </a:lnTo>
                <a:lnTo>
                  <a:pt x="38" y="28"/>
                </a:lnTo>
                <a:lnTo>
                  <a:pt x="34" y="22"/>
                </a:lnTo>
                <a:lnTo>
                  <a:pt x="28" y="24"/>
                </a:lnTo>
                <a:lnTo>
                  <a:pt x="28" y="32"/>
                </a:lnTo>
                <a:lnTo>
                  <a:pt x="20" y="40"/>
                </a:lnTo>
                <a:lnTo>
                  <a:pt x="16" y="46"/>
                </a:lnTo>
                <a:lnTo>
                  <a:pt x="10" y="54"/>
                </a:lnTo>
                <a:lnTo>
                  <a:pt x="6" y="60"/>
                </a:lnTo>
                <a:lnTo>
                  <a:pt x="0" y="70"/>
                </a:lnTo>
                <a:lnTo>
                  <a:pt x="0" y="70"/>
                </a:lnTo>
                <a:lnTo>
                  <a:pt x="2" y="72"/>
                </a:lnTo>
                <a:lnTo>
                  <a:pt x="2" y="72"/>
                </a:lnTo>
                <a:lnTo>
                  <a:pt x="8" y="76"/>
                </a:lnTo>
                <a:lnTo>
                  <a:pt x="8" y="76"/>
                </a:lnTo>
                <a:lnTo>
                  <a:pt x="6" y="82"/>
                </a:lnTo>
                <a:lnTo>
                  <a:pt x="10" y="88"/>
                </a:lnTo>
                <a:lnTo>
                  <a:pt x="10" y="88"/>
                </a:lnTo>
                <a:lnTo>
                  <a:pt x="6" y="90"/>
                </a:lnTo>
                <a:lnTo>
                  <a:pt x="2" y="92"/>
                </a:lnTo>
                <a:lnTo>
                  <a:pt x="0" y="100"/>
                </a:lnTo>
                <a:lnTo>
                  <a:pt x="0" y="100"/>
                </a:lnTo>
                <a:lnTo>
                  <a:pt x="8" y="102"/>
                </a:lnTo>
                <a:lnTo>
                  <a:pt x="8" y="102"/>
                </a:lnTo>
                <a:lnTo>
                  <a:pt x="6" y="106"/>
                </a:lnTo>
                <a:lnTo>
                  <a:pt x="8" y="110"/>
                </a:lnTo>
                <a:lnTo>
                  <a:pt x="10" y="112"/>
                </a:lnTo>
                <a:lnTo>
                  <a:pt x="10" y="112"/>
                </a:lnTo>
                <a:lnTo>
                  <a:pt x="14" y="110"/>
                </a:lnTo>
                <a:lnTo>
                  <a:pt x="16" y="108"/>
                </a:lnTo>
                <a:lnTo>
                  <a:pt x="16" y="108"/>
                </a:lnTo>
                <a:lnTo>
                  <a:pt x="20" y="108"/>
                </a:lnTo>
                <a:lnTo>
                  <a:pt x="24" y="108"/>
                </a:lnTo>
                <a:lnTo>
                  <a:pt x="32" y="100"/>
                </a:lnTo>
                <a:lnTo>
                  <a:pt x="36" y="98"/>
                </a:lnTo>
                <a:lnTo>
                  <a:pt x="36" y="98"/>
                </a:lnTo>
                <a:lnTo>
                  <a:pt x="42" y="102"/>
                </a:lnTo>
                <a:lnTo>
                  <a:pt x="42" y="102"/>
                </a:lnTo>
                <a:lnTo>
                  <a:pt x="50" y="100"/>
                </a:lnTo>
                <a:lnTo>
                  <a:pt x="50"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0" name="Freeform 124">
            <a:extLst>
              <a:ext uri="{FF2B5EF4-FFF2-40B4-BE49-F238E27FC236}">
                <a16:creationId xmlns:a16="http://schemas.microsoft.com/office/drawing/2014/main" id="{A2315E0C-7357-4E90-B16A-A53B7FDB7310}"/>
              </a:ext>
            </a:extLst>
          </p:cNvPr>
          <p:cNvSpPr>
            <a:spLocks/>
          </p:cNvSpPr>
          <p:nvPr userDrawn="1"/>
        </p:nvSpPr>
        <p:spPr bwMode="auto">
          <a:xfrm>
            <a:off x="5909481" y="3275674"/>
            <a:ext cx="273357" cy="288286"/>
          </a:xfrm>
          <a:custGeom>
            <a:avLst/>
            <a:gdLst>
              <a:gd name="T0" fmla="*/ 80 w 163"/>
              <a:gd name="T1" fmla="*/ 150 h 168"/>
              <a:gd name="T2" fmla="*/ 78 w 163"/>
              <a:gd name="T3" fmla="*/ 142 h 168"/>
              <a:gd name="T4" fmla="*/ 80 w 163"/>
              <a:gd name="T5" fmla="*/ 138 h 168"/>
              <a:gd name="T6" fmla="*/ 86 w 163"/>
              <a:gd name="T7" fmla="*/ 130 h 168"/>
              <a:gd name="T8" fmla="*/ 96 w 163"/>
              <a:gd name="T9" fmla="*/ 126 h 168"/>
              <a:gd name="T10" fmla="*/ 102 w 163"/>
              <a:gd name="T11" fmla="*/ 128 h 168"/>
              <a:gd name="T12" fmla="*/ 106 w 163"/>
              <a:gd name="T13" fmla="*/ 136 h 168"/>
              <a:gd name="T14" fmla="*/ 113 w 163"/>
              <a:gd name="T15" fmla="*/ 128 h 168"/>
              <a:gd name="T16" fmla="*/ 113 w 163"/>
              <a:gd name="T17" fmla="*/ 122 h 168"/>
              <a:gd name="T18" fmla="*/ 119 w 163"/>
              <a:gd name="T19" fmla="*/ 110 h 168"/>
              <a:gd name="T20" fmla="*/ 125 w 163"/>
              <a:gd name="T21" fmla="*/ 98 h 168"/>
              <a:gd name="T22" fmla="*/ 127 w 163"/>
              <a:gd name="T23" fmla="*/ 90 h 168"/>
              <a:gd name="T24" fmla="*/ 141 w 163"/>
              <a:gd name="T25" fmla="*/ 80 h 168"/>
              <a:gd name="T26" fmla="*/ 141 w 163"/>
              <a:gd name="T27" fmla="*/ 72 h 168"/>
              <a:gd name="T28" fmla="*/ 143 w 163"/>
              <a:gd name="T29" fmla="*/ 66 h 168"/>
              <a:gd name="T30" fmla="*/ 147 w 163"/>
              <a:gd name="T31" fmla="*/ 56 h 168"/>
              <a:gd name="T32" fmla="*/ 151 w 163"/>
              <a:gd name="T33" fmla="*/ 50 h 168"/>
              <a:gd name="T34" fmla="*/ 157 w 163"/>
              <a:gd name="T35" fmla="*/ 42 h 168"/>
              <a:gd name="T36" fmla="*/ 163 w 163"/>
              <a:gd name="T37" fmla="*/ 30 h 168"/>
              <a:gd name="T38" fmla="*/ 159 w 163"/>
              <a:gd name="T39" fmla="*/ 14 h 168"/>
              <a:gd name="T40" fmla="*/ 141 w 163"/>
              <a:gd name="T41" fmla="*/ 6 h 168"/>
              <a:gd name="T42" fmla="*/ 129 w 163"/>
              <a:gd name="T43" fmla="*/ 10 h 168"/>
              <a:gd name="T44" fmla="*/ 106 w 163"/>
              <a:gd name="T45" fmla="*/ 8 h 168"/>
              <a:gd name="T46" fmla="*/ 98 w 163"/>
              <a:gd name="T47" fmla="*/ 14 h 168"/>
              <a:gd name="T48" fmla="*/ 84 w 163"/>
              <a:gd name="T49" fmla="*/ 14 h 168"/>
              <a:gd name="T50" fmla="*/ 76 w 163"/>
              <a:gd name="T51" fmla="*/ 8 h 168"/>
              <a:gd name="T52" fmla="*/ 62 w 163"/>
              <a:gd name="T53" fmla="*/ 12 h 168"/>
              <a:gd name="T54" fmla="*/ 54 w 163"/>
              <a:gd name="T55" fmla="*/ 6 h 168"/>
              <a:gd name="T56" fmla="*/ 46 w 163"/>
              <a:gd name="T57" fmla="*/ 0 h 168"/>
              <a:gd name="T58" fmla="*/ 34 w 163"/>
              <a:gd name="T59" fmla="*/ 2 h 168"/>
              <a:gd name="T60" fmla="*/ 20 w 163"/>
              <a:gd name="T61" fmla="*/ 16 h 168"/>
              <a:gd name="T62" fmla="*/ 10 w 163"/>
              <a:gd name="T63" fmla="*/ 36 h 168"/>
              <a:gd name="T64" fmla="*/ 10 w 163"/>
              <a:gd name="T65" fmla="*/ 44 h 168"/>
              <a:gd name="T66" fmla="*/ 14 w 163"/>
              <a:gd name="T67" fmla="*/ 52 h 168"/>
              <a:gd name="T68" fmla="*/ 12 w 163"/>
              <a:gd name="T69" fmla="*/ 62 h 168"/>
              <a:gd name="T70" fmla="*/ 10 w 163"/>
              <a:gd name="T71" fmla="*/ 66 h 168"/>
              <a:gd name="T72" fmla="*/ 8 w 163"/>
              <a:gd name="T73" fmla="*/ 78 h 168"/>
              <a:gd name="T74" fmla="*/ 6 w 163"/>
              <a:gd name="T75" fmla="*/ 84 h 168"/>
              <a:gd name="T76" fmla="*/ 4 w 163"/>
              <a:gd name="T77" fmla="*/ 88 h 168"/>
              <a:gd name="T78" fmla="*/ 2 w 163"/>
              <a:gd name="T79" fmla="*/ 94 h 168"/>
              <a:gd name="T80" fmla="*/ 2 w 163"/>
              <a:gd name="T81" fmla="*/ 112 h 168"/>
              <a:gd name="T82" fmla="*/ 4 w 163"/>
              <a:gd name="T83" fmla="*/ 122 h 168"/>
              <a:gd name="T84" fmla="*/ 12 w 163"/>
              <a:gd name="T85" fmla="*/ 130 h 168"/>
              <a:gd name="T86" fmla="*/ 26 w 163"/>
              <a:gd name="T87" fmla="*/ 132 h 168"/>
              <a:gd name="T88" fmla="*/ 34 w 163"/>
              <a:gd name="T89" fmla="*/ 142 h 168"/>
              <a:gd name="T90" fmla="*/ 40 w 163"/>
              <a:gd name="T91" fmla="*/ 146 h 168"/>
              <a:gd name="T92" fmla="*/ 42 w 163"/>
              <a:gd name="T93" fmla="*/ 152 h 168"/>
              <a:gd name="T94" fmla="*/ 46 w 163"/>
              <a:gd name="T95" fmla="*/ 168 h 168"/>
              <a:gd name="T96" fmla="*/ 58 w 163"/>
              <a:gd name="T97" fmla="*/ 166 h 168"/>
              <a:gd name="T98" fmla="*/ 64 w 163"/>
              <a:gd name="T99" fmla="*/ 164 h 168"/>
              <a:gd name="T100" fmla="*/ 68 w 163"/>
              <a:gd name="T101" fmla="*/ 164 h 168"/>
              <a:gd name="T102" fmla="*/ 74 w 163"/>
              <a:gd name="T103" fmla="*/ 160 h 168"/>
              <a:gd name="T104" fmla="*/ 76 w 163"/>
              <a:gd name="T105"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 h="168">
                <a:moveTo>
                  <a:pt x="78" y="160"/>
                </a:moveTo>
                <a:lnTo>
                  <a:pt x="78" y="156"/>
                </a:lnTo>
                <a:lnTo>
                  <a:pt x="80" y="150"/>
                </a:lnTo>
                <a:lnTo>
                  <a:pt x="80" y="150"/>
                </a:lnTo>
                <a:lnTo>
                  <a:pt x="78" y="148"/>
                </a:lnTo>
                <a:lnTo>
                  <a:pt x="78" y="146"/>
                </a:lnTo>
                <a:lnTo>
                  <a:pt x="78" y="146"/>
                </a:lnTo>
                <a:lnTo>
                  <a:pt x="78" y="142"/>
                </a:lnTo>
                <a:lnTo>
                  <a:pt x="78" y="142"/>
                </a:lnTo>
                <a:lnTo>
                  <a:pt x="78" y="142"/>
                </a:lnTo>
                <a:lnTo>
                  <a:pt x="80" y="140"/>
                </a:lnTo>
                <a:lnTo>
                  <a:pt x="80" y="138"/>
                </a:lnTo>
                <a:lnTo>
                  <a:pt x="82" y="132"/>
                </a:lnTo>
                <a:lnTo>
                  <a:pt x="82" y="132"/>
                </a:lnTo>
                <a:lnTo>
                  <a:pt x="84" y="130"/>
                </a:lnTo>
                <a:lnTo>
                  <a:pt x="86" y="130"/>
                </a:lnTo>
                <a:lnTo>
                  <a:pt x="92" y="128"/>
                </a:lnTo>
                <a:lnTo>
                  <a:pt x="92" y="128"/>
                </a:lnTo>
                <a:lnTo>
                  <a:pt x="96" y="126"/>
                </a:lnTo>
                <a:lnTo>
                  <a:pt x="96" y="126"/>
                </a:lnTo>
                <a:lnTo>
                  <a:pt x="96" y="126"/>
                </a:lnTo>
                <a:lnTo>
                  <a:pt x="102" y="128"/>
                </a:lnTo>
                <a:lnTo>
                  <a:pt x="102" y="128"/>
                </a:lnTo>
                <a:lnTo>
                  <a:pt x="102" y="128"/>
                </a:lnTo>
                <a:lnTo>
                  <a:pt x="104" y="130"/>
                </a:lnTo>
                <a:lnTo>
                  <a:pt x="102" y="136"/>
                </a:lnTo>
                <a:lnTo>
                  <a:pt x="102" y="136"/>
                </a:lnTo>
                <a:lnTo>
                  <a:pt x="106" y="136"/>
                </a:lnTo>
                <a:lnTo>
                  <a:pt x="108" y="134"/>
                </a:lnTo>
                <a:lnTo>
                  <a:pt x="110" y="130"/>
                </a:lnTo>
                <a:lnTo>
                  <a:pt x="113" y="128"/>
                </a:lnTo>
                <a:lnTo>
                  <a:pt x="113" y="128"/>
                </a:lnTo>
                <a:lnTo>
                  <a:pt x="115" y="126"/>
                </a:lnTo>
                <a:lnTo>
                  <a:pt x="115" y="126"/>
                </a:lnTo>
                <a:lnTo>
                  <a:pt x="113" y="122"/>
                </a:lnTo>
                <a:lnTo>
                  <a:pt x="113" y="122"/>
                </a:lnTo>
                <a:lnTo>
                  <a:pt x="115" y="116"/>
                </a:lnTo>
                <a:lnTo>
                  <a:pt x="117" y="112"/>
                </a:lnTo>
                <a:lnTo>
                  <a:pt x="117" y="112"/>
                </a:lnTo>
                <a:lnTo>
                  <a:pt x="119" y="110"/>
                </a:lnTo>
                <a:lnTo>
                  <a:pt x="123" y="106"/>
                </a:lnTo>
                <a:lnTo>
                  <a:pt x="123" y="106"/>
                </a:lnTo>
                <a:lnTo>
                  <a:pt x="123" y="102"/>
                </a:lnTo>
                <a:lnTo>
                  <a:pt x="125" y="98"/>
                </a:lnTo>
                <a:lnTo>
                  <a:pt x="125" y="98"/>
                </a:lnTo>
                <a:lnTo>
                  <a:pt x="127" y="94"/>
                </a:lnTo>
                <a:lnTo>
                  <a:pt x="127" y="90"/>
                </a:lnTo>
                <a:lnTo>
                  <a:pt x="127" y="90"/>
                </a:lnTo>
                <a:lnTo>
                  <a:pt x="129" y="86"/>
                </a:lnTo>
                <a:lnTo>
                  <a:pt x="131" y="84"/>
                </a:lnTo>
                <a:lnTo>
                  <a:pt x="131" y="84"/>
                </a:lnTo>
                <a:lnTo>
                  <a:pt x="141" y="80"/>
                </a:lnTo>
                <a:lnTo>
                  <a:pt x="141" y="80"/>
                </a:lnTo>
                <a:lnTo>
                  <a:pt x="143" y="78"/>
                </a:lnTo>
                <a:lnTo>
                  <a:pt x="143" y="76"/>
                </a:lnTo>
                <a:lnTo>
                  <a:pt x="141" y="72"/>
                </a:lnTo>
                <a:lnTo>
                  <a:pt x="141" y="72"/>
                </a:lnTo>
                <a:lnTo>
                  <a:pt x="141" y="70"/>
                </a:lnTo>
                <a:lnTo>
                  <a:pt x="143" y="66"/>
                </a:lnTo>
                <a:lnTo>
                  <a:pt x="143" y="66"/>
                </a:lnTo>
                <a:lnTo>
                  <a:pt x="145" y="64"/>
                </a:lnTo>
                <a:lnTo>
                  <a:pt x="147" y="60"/>
                </a:lnTo>
                <a:lnTo>
                  <a:pt x="147" y="60"/>
                </a:lnTo>
                <a:lnTo>
                  <a:pt x="147" y="56"/>
                </a:lnTo>
                <a:lnTo>
                  <a:pt x="147" y="56"/>
                </a:lnTo>
                <a:lnTo>
                  <a:pt x="147" y="54"/>
                </a:lnTo>
                <a:lnTo>
                  <a:pt x="147" y="54"/>
                </a:lnTo>
                <a:lnTo>
                  <a:pt x="151" y="50"/>
                </a:lnTo>
                <a:lnTo>
                  <a:pt x="153" y="46"/>
                </a:lnTo>
                <a:lnTo>
                  <a:pt x="153" y="46"/>
                </a:lnTo>
                <a:lnTo>
                  <a:pt x="155" y="44"/>
                </a:lnTo>
                <a:lnTo>
                  <a:pt x="157" y="42"/>
                </a:lnTo>
                <a:lnTo>
                  <a:pt x="157" y="42"/>
                </a:lnTo>
                <a:lnTo>
                  <a:pt x="159" y="42"/>
                </a:lnTo>
                <a:lnTo>
                  <a:pt x="161" y="38"/>
                </a:lnTo>
                <a:lnTo>
                  <a:pt x="163" y="30"/>
                </a:lnTo>
                <a:lnTo>
                  <a:pt x="163" y="30"/>
                </a:lnTo>
                <a:lnTo>
                  <a:pt x="161" y="28"/>
                </a:lnTo>
                <a:lnTo>
                  <a:pt x="159" y="26"/>
                </a:lnTo>
                <a:lnTo>
                  <a:pt x="159" y="14"/>
                </a:lnTo>
                <a:lnTo>
                  <a:pt x="153" y="0"/>
                </a:lnTo>
                <a:lnTo>
                  <a:pt x="143" y="4"/>
                </a:lnTo>
                <a:lnTo>
                  <a:pt x="143" y="4"/>
                </a:lnTo>
                <a:lnTo>
                  <a:pt x="141" y="6"/>
                </a:lnTo>
                <a:lnTo>
                  <a:pt x="139" y="8"/>
                </a:lnTo>
                <a:lnTo>
                  <a:pt x="137" y="10"/>
                </a:lnTo>
                <a:lnTo>
                  <a:pt x="137" y="10"/>
                </a:lnTo>
                <a:lnTo>
                  <a:pt x="129" y="10"/>
                </a:lnTo>
                <a:lnTo>
                  <a:pt x="121" y="10"/>
                </a:lnTo>
                <a:lnTo>
                  <a:pt x="121" y="10"/>
                </a:lnTo>
                <a:lnTo>
                  <a:pt x="113" y="8"/>
                </a:lnTo>
                <a:lnTo>
                  <a:pt x="106" y="8"/>
                </a:lnTo>
                <a:lnTo>
                  <a:pt x="106" y="8"/>
                </a:lnTo>
                <a:lnTo>
                  <a:pt x="100" y="10"/>
                </a:lnTo>
                <a:lnTo>
                  <a:pt x="98" y="14"/>
                </a:lnTo>
                <a:lnTo>
                  <a:pt x="98" y="14"/>
                </a:lnTo>
                <a:lnTo>
                  <a:pt x="96" y="14"/>
                </a:lnTo>
                <a:lnTo>
                  <a:pt x="94" y="14"/>
                </a:lnTo>
                <a:lnTo>
                  <a:pt x="84" y="14"/>
                </a:lnTo>
                <a:lnTo>
                  <a:pt x="84" y="14"/>
                </a:lnTo>
                <a:lnTo>
                  <a:pt x="78" y="12"/>
                </a:lnTo>
                <a:lnTo>
                  <a:pt x="78" y="10"/>
                </a:lnTo>
                <a:lnTo>
                  <a:pt x="78" y="10"/>
                </a:lnTo>
                <a:lnTo>
                  <a:pt x="76" y="8"/>
                </a:lnTo>
                <a:lnTo>
                  <a:pt x="72" y="8"/>
                </a:lnTo>
                <a:lnTo>
                  <a:pt x="68" y="12"/>
                </a:lnTo>
                <a:lnTo>
                  <a:pt x="68" y="12"/>
                </a:lnTo>
                <a:lnTo>
                  <a:pt x="62" y="12"/>
                </a:lnTo>
                <a:lnTo>
                  <a:pt x="58" y="12"/>
                </a:lnTo>
                <a:lnTo>
                  <a:pt x="58" y="12"/>
                </a:lnTo>
                <a:lnTo>
                  <a:pt x="56" y="8"/>
                </a:lnTo>
                <a:lnTo>
                  <a:pt x="54" y="6"/>
                </a:lnTo>
                <a:lnTo>
                  <a:pt x="52" y="4"/>
                </a:lnTo>
                <a:lnTo>
                  <a:pt x="52" y="4"/>
                </a:lnTo>
                <a:lnTo>
                  <a:pt x="48" y="2"/>
                </a:lnTo>
                <a:lnTo>
                  <a:pt x="46" y="0"/>
                </a:lnTo>
                <a:lnTo>
                  <a:pt x="46" y="0"/>
                </a:lnTo>
                <a:lnTo>
                  <a:pt x="40" y="2"/>
                </a:lnTo>
                <a:lnTo>
                  <a:pt x="34" y="2"/>
                </a:lnTo>
                <a:lnTo>
                  <a:pt x="34" y="2"/>
                </a:lnTo>
                <a:lnTo>
                  <a:pt x="20" y="10"/>
                </a:lnTo>
                <a:lnTo>
                  <a:pt x="20" y="10"/>
                </a:lnTo>
                <a:lnTo>
                  <a:pt x="20" y="16"/>
                </a:lnTo>
                <a:lnTo>
                  <a:pt x="20" y="16"/>
                </a:lnTo>
                <a:lnTo>
                  <a:pt x="18" y="22"/>
                </a:lnTo>
                <a:lnTo>
                  <a:pt x="14" y="24"/>
                </a:lnTo>
                <a:lnTo>
                  <a:pt x="10" y="36"/>
                </a:lnTo>
                <a:lnTo>
                  <a:pt x="10" y="36"/>
                </a:lnTo>
                <a:lnTo>
                  <a:pt x="10" y="38"/>
                </a:lnTo>
                <a:lnTo>
                  <a:pt x="10" y="42"/>
                </a:lnTo>
                <a:lnTo>
                  <a:pt x="10" y="44"/>
                </a:lnTo>
                <a:lnTo>
                  <a:pt x="10" y="44"/>
                </a:lnTo>
                <a:lnTo>
                  <a:pt x="8" y="46"/>
                </a:lnTo>
                <a:lnTo>
                  <a:pt x="12" y="48"/>
                </a:lnTo>
                <a:lnTo>
                  <a:pt x="12" y="48"/>
                </a:lnTo>
                <a:lnTo>
                  <a:pt x="14" y="52"/>
                </a:lnTo>
                <a:lnTo>
                  <a:pt x="12" y="56"/>
                </a:lnTo>
                <a:lnTo>
                  <a:pt x="12" y="56"/>
                </a:lnTo>
                <a:lnTo>
                  <a:pt x="12" y="60"/>
                </a:lnTo>
                <a:lnTo>
                  <a:pt x="12" y="62"/>
                </a:lnTo>
                <a:lnTo>
                  <a:pt x="14" y="64"/>
                </a:lnTo>
                <a:lnTo>
                  <a:pt x="12" y="64"/>
                </a:lnTo>
                <a:lnTo>
                  <a:pt x="12" y="64"/>
                </a:lnTo>
                <a:lnTo>
                  <a:pt x="10" y="66"/>
                </a:lnTo>
                <a:lnTo>
                  <a:pt x="10" y="70"/>
                </a:lnTo>
                <a:lnTo>
                  <a:pt x="10" y="70"/>
                </a:lnTo>
                <a:lnTo>
                  <a:pt x="10" y="74"/>
                </a:lnTo>
                <a:lnTo>
                  <a:pt x="8" y="78"/>
                </a:lnTo>
                <a:lnTo>
                  <a:pt x="8" y="78"/>
                </a:lnTo>
                <a:lnTo>
                  <a:pt x="6" y="80"/>
                </a:lnTo>
                <a:lnTo>
                  <a:pt x="6" y="84"/>
                </a:lnTo>
                <a:lnTo>
                  <a:pt x="6" y="84"/>
                </a:lnTo>
                <a:lnTo>
                  <a:pt x="6" y="88"/>
                </a:lnTo>
                <a:lnTo>
                  <a:pt x="6" y="88"/>
                </a:lnTo>
                <a:lnTo>
                  <a:pt x="4" y="88"/>
                </a:lnTo>
                <a:lnTo>
                  <a:pt x="4" y="88"/>
                </a:lnTo>
                <a:lnTo>
                  <a:pt x="2" y="88"/>
                </a:lnTo>
                <a:lnTo>
                  <a:pt x="2" y="90"/>
                </a:lnTo>
                <a:lnTo>
                  <a:pt x="2" y="94"/>
                </a:lnTo>
                <a:lnTo>
                  <a:pt x="2" y="94"/>
                </a:lnTo>
                <a:lnTo>
                  <a:pt x="2" y="98"/>
                </a:lnTo>
                <a:lnTo>
                  <a:pt x="2" y="102"/>
                </a:lnTo>
                <a:lnTo>
                  <a:pt x="0" y="108"/>
                </a:lnTo>
                <a:lnTo>
                  <a:pt x="2" y="112"/>
                </a:lnTo>
                <a:lnTo>
                  <a:pt x="2" y="112"/>
                </a:lnTo>
                <a:lnTo>
                  <a:pt x="4" y="116"/>
                </a:lnTo>
                <a:lnTo>
                  <a:pt x="4" y="122"/>
                </a:lnTo>
                <a:lnTo>
                  <a:pt x="4" y="122"/>
                </a:lnTo>
                <a:lnTo>
                  <a:pt x="2" y="132"/>
                </a:lnTo>
                <a:lnTo>
                  <a:pt x="2" y="132"/>
                </a:lnTo>
                <a:lnTo>
                  <a:pt x="12" y="130"/>
                </a:lnTo>
                <a:lnTo>
                  <a:pt x="12" y="130"/>
                </a:lnTo>
                <a:lnTo>
                  <a:pt x="10" y="132"/>
                </a:lnTo>
                <a:lnTo>
                  <a:pt x="10" y="132"/>
                </a:lnTo>
                <a:lnTo>
                  <a:pt x="18" y="132"/>
                </a:lnTo>
                <a:lnTo>
                  <a:pt x="26" y="132"/>
                </a:lnTo>
                <a:lnTo>
                  <a:pt x="26" y="132"/>
                </a:lnTo>
                <a:lnTo>
                  <a:pt x="30" y="136"/>
                </a:lnTo>
                <a:lnTo>
                  <a:pt x="34" y="142"/>
                </a:lnTo>
                <a:lnTo>
                  <a:pt x="34" y="142"/>
                </a:lnTo>
                <a:lnTo>
                  <a:pt x="38" y="142"/>
                </a:lnTo>
                <a:lnTo>
                  <a:pt x="38" y="142"/>
                </a:lnTo>
                <a:lnTo>
                  <a:pt x="38" y="146"/>
                </a:lnTo>
                <a:lnTo>
                  <a:pt x="40" y="146"/>
                </a:lnTo>
                <a:lnTo>
                  <a:pt x="40" y="146"/>
                </a:lnTo>
                <a:lnTo>
                  <a:pt x="42" y="152"/>
                </a:lnTo>
                <a:lnTo>
                  <a:pt x="42" y="152"/>
                </a:lnTo>
                <a:lnTo>
                  <a:pt x="42" y="152"/>
                </a:lnTo>
                <a:lnTo>
                  <a:pt x="42" y="152"/>
                </a:lnTo>
                <a:lnTo>
                  <a:pt x="38" y="154"/>
                </a:lnTo>
                <a:lnTo>
                  <a:pt x="38" y="154"/>
                </a:lnTo>
                <a:lnTo>
                  <a:pt x="46" y="168"/>
                </a:lnTo>
                <a:lnTo>
                  <a:pt x="46" y="168"/>
                </a:lnTo>
                <a:lnTo>
                  <a:pt x="58" y="168"/>
                </a:lnTo>
                <a:lnTo>
                  <a:pt x="58" y="166"/>
                </a:lnTo>
                <a:lnTo>
                  <a:pt x="58" y="166"/>
                </a:lnTo>
                <a:lnTo>
                  <a:pt x="60" y="166"/>
                </a:lnTo>
                <a:lnTo>
                  <a:pt x="62" y="166"/>
                </a:lnTo>
                <a:lnTo>
                  <a:pt x="64" y="164"/>
                </a:lnTo>
                <a:lnTo>
                  <a:pt x="64" y="164"/>
                </a:lnTo>
                <a:lnTo>
                  <a:pt x="64" y="166"/>
                </a:lnTo>
                <a:lnTo>
                  <a:pt x="66" y="166"/>
                </a:lnTo>
                <a:lnTo>
                  <a:pt x="66" y="166"/>
                </a:lnTo>
                <a:lnTo>
                  <a:pt x="68" y="164"/>
                </a:lnTo>
                <a:lnTo>
                  <a:pt x="70" y="160"/>
                </a:lnTo>
                <a:lnTo>
                  <a:pt x="70" y="160"/>
                </a:lnTo>
                <a:lnTo>
                  <a:pt x="74" y="160"/>
                </a:lnTo>
                <a:lnTo>
                  <a:pt x="74" y="160"/>
                </a:lnTo>
                <a:lnTo>
                  <a:pt x="76" y="164"/>
                </a:lnTo>
                <a:lnTo>
                  <a:pt x="76" y="164"/>
                </a:lnTo>
                <a:lnTo>
                  <a:pt x="76" y="162"/>
                </a:lnTo>
                <a:lnTo>
                  <a:pt x="76" y="160"/>
                </a:lnTo>
                <a:lnTo>
                  <a:pt x="78" y="160"/>
                </a:lnTo>
                <a:lnTo>
                  <a:pt x="78"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1" name="Freeform 125">
            <a:extLst>
              <a:ext uri="{FF2B5EF4-FFF2-40B4-BE49-F238E27FC236}">
                <a16:creationId xmlns:a16="http://schemas.microsoft.com/office/drawing/2014/main" id="{2B3360BE-FB59-46C4-BABB-2A4B0DF82C08}"/>
              </a:ext>
            </a:extLst>
          </p:cNvPr>
          <p:cNvSpPr>
            <a:spLocks/>
          </p:cNvSpPr>
          <p:nvPr userDrawn="1"/>
        </p:nvSpPr>
        <p:spPr bwMode="auto">
          <a:xfrm>
            <a:off x="5845753" y="3004549"/>
            <a:ext cx="360563" cy="332902"/>
          </a:xfrm>
          <a:custGeom>
            <a:avLst/>
            <a:gdLst>
              <a:gd name="T0" fmla="*/ 191 w 215"/>
              <a:gd name="T1" fmla="*/ 16 h 194"/>
              <a:gd name="T2" fmla="*/ 159 w 215"/>
              <a:gd name="T3" fmla="*/ 0 h 194"/>
              <a:gd name="T4" fmla="*/ 78 w 215"/>
              <a:gd name="T5" fmla="*/ 68 h 194"/>
              <a:gd name="T6" fmla="*/ 60 w 215"/>
              <a:gd name="T7" fmla="*/ 110 h 194"/>
              <a:gd name="T8" fmla="*/ 56 w 215"/>
              <a:gd name="T9" fmla="*/ 114 h 194"/>
              <a:gd name="T10" fmla="*/ 56 w 215"/>
              <a:gd name="T11" fmla="*/ 120 h 194"/>
              <a:gd name="T12" fmla="*/ 46 w 215"/>
              <a:gd name="T13" fmla="*/ 124 h 194"/>
              <a:gd name="T14" fmla="*/ 40 w 215"/>
              <a:gd name="T15" fmla="*/ 128 h 194"/>
              <a:gd name="T16" fmla="*/ 28 w 215"/>
              <a:gd name="T17" fmla="*/ 130 h 194"/>
              <a:gd name="T18" fmla="*/ 14 w 215"/>
              <a:gd name="T19" fmla="*/ 134 h 194"/>
              <a:gd name="T20" fmla="*/ 10 w 215"/>
              <a:gd name="T21" fmla="*/ 134 h 194"/>
              <a:gd name="T22" fmla="*/ 4 w 215"/>
              <a:gd name="T23" fmla="*/ 138 h 194"/>
              <a:gd name="T24" fmla="*/ 0 w 215"/>
              <a:gd name="T25" fmla="*/ 142 h 194"/>
              <a:gd name="T26" fmla="*/ 14 w 215"/>
              <a:gd name="T27" fmla="*/ 154 h 194"/>
              <a:gd name="T28" fmla="*/ 20 w 215"/>
              <a:gd name="T29" fmla="*/ 172 h 194"/>
              <a:gd name="T30" fmla="*/ 22 w 215"/>
              <a:gd name="T31" fmla="*/ 170 h 194"/>
              <a:gd name="T32" fmla="*/ 24 w 215"/>
              <a:gd name="T33" fmla="*/ 172 h 194"/>
              <a:gd name="T34" fmla="*/ 24 w 215"/>
              <a:gd name="T35" fmla="*/ 176 h 194"/>
              <a:gd name="T36" fmla="*/ 26 w 215"/>
              <a:gd name="T37" fmla="*/ 192 h 194"/>
              <a:gd name="T38" fmla="*/ 32 w 215"/>
              <a:gd name="T39" fmla="*/ 184 h 194"/>
              <a:gd name="T40" fmla="*/ 38 w 215"/>
              <a:gd name="T41" fmla="*/ 186 h 194"/>
              <a:gd name="T42" fmla="*/ 40 w 215"/>
              <a:gd name="T43" fmla="*/ 188 h 194"/>
              <a:gd name="T44" fmla="*/ 48 w 215"/>
              <a:gd name="T45" fmla="*/ 194 h 194"/>
              <a:gd name="T46" fmla="*/ 52 w 215"/>
              <a:gd name="T47" fmla="*/ 182 h 194"/>
              <a:gd name="T48" fmla="*/ 58 w 215"/>
              <a:gd name="T49" fmla="*/ 174 h 194"/>
              <a:gd name="T50" fmla="*/ 58 w 215"/>
              <a:gd name="T51" fmla="*/ 168 h 194"/>
              <a:gd name="T52" fmla="*/ 72 w 215"/>
              <a:gd name="T53" fmla="*/ 160 h 194"/>
              <a:gd name="T54" fmla="*/ 78 w 215"/>
              <a:gd name="T55" fmla="*/ 160 h 194"/>
              <a:gd name="T56" fmla="*/ 84 w 215"/>
              <a:gd name="T57" fmla="*/ 158 h 194"/>
              <a:gd name="T58" fmla="*/ 90 w 215"/>
              <a:gd name="T59" fmla="*/ 162 h 194"/>
              <a:gd name="T60" fmla="*/ 92 w 215"/>
              <a:gd name="T61" fmla="*/ 164 h 194"/>
              <a:gd name="T62" fmla="*/ 96 w 215"/>
              <a:gd name="T63" fmla="*/ 170 h 194"/>
              <a:gd name="T64" fmla="*/ 100 w 215"/>
              <a:gd name="T65" fmla="*/ 170 h 194"/>
              <a:gd name="T66" fmla="*/ 106 w 215"/>
              <a:gd name="T67" fmla="*/ 170 h 194"/>
              <a:gd name="T68" fmla="*/ 114 w 215"/>
              <a:gd name="T69" fmla="*/ 166 h 194"/>
              <a:gd name="T70" fmla="*/ 116 w 215"/>
              <a:gd name="T71" fmla="*/ 168 h 194"/>
              <a:gd name="T72" fmla="*/ 122 w 215"/>
              <a:gd name="T73" fmla="*/ 172 h 194"/>
              <a:gd name="T74" fmla="*/ 132 w 215"/>
              <a:gd name="T75" fmla="*/ 172 h 194"/>
              <a:gd name="T76" fmla="*/ 136 w 215"/>
              <a:gd name="T77" fmla="*/ 172 h 194"/>
              <a:gd name="T78" fmla="*/ 138 w 215"/>
              <a:gd name="T79" fmla="*/ 168 h 194"/>
              <a:gd name="T80" fmla="*/ 144 w 215"/>
              <a:gd name="T81" fmla="*/ 166 h 194"/>
              <a:gd name="T82" fmla="*/ 159 w 215"/>
              <a:gd name="T83" fmla="*/ 168 h 194"/>
              <a:gd name="T84" fmla="*/ 167 w 215"/>
              <a:gd name="T85" fmla="*/ 168 h 194"/>
              <a:gd name="T86" fmla="*/ 175 w 215"/>
              <a:gd name="T87" fmla="*/ 168 h 194"/>
              <a:gd name="T88" fmla="*/ 179 w 215"/>
              <a:gd name="T89" fmla="*/ 164 h 194"/>
              <a:gd name="T90" fmla="*/ 189 w 215"/>
              <a:gd name="T91" fmla="*/ 158 h 194"/>
              <a:gd name="T92" fmla="*/ 211 w 215"/>
              <a:gd name="T93" fmla="*/ 126 h 194"/>
              <a:gd name="T94" fmla="*/ 209 w 215"/>
              <a:gd name="T95" fmla="*/ 100 h 194"/>
              <a:gd name="T96" fmla="*/ 211 w 215"/>
              <a:gd name="T97" fmla="*/ 70 h 194"/>
              <a:gd name="T98" fmla="*/ 215 w 215"/>
              <a:gd name="T99" fmla="*/ 56 h 194"/>
              <a:gd name="T100" fmla="*/ 215 w 215"/>
              <a:gd name="T101" fmla="*/ 52 h 194"/>
              <a:gd name="T102" fmla="*/ 209 w 215"/>
              <a:gd name="T103" fmla="*/ 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5" h="194">
                <a:moveTo>
                  <a:pt x="201" y="8"/>
                </a:moveTo>
                <a:lnTo>
                  <a:pt x="191" y="16"/>
                </a:lnTo>
                <a:lnTo>
                  <a:pt x="191" y="18"/>
                </a:lnTo>
                <a:lnTo>
                  <a:pt x="159" y="0"/>
                </a:lnTo>
                <a:lnTo>
                  <a:pt x="86" y="54"/>
                </a:lnTo>
                <a:lnTo>
                  <a:pt x="78" y="68"/>
                </a:lnTo>
                <a:lnTo>
                  <a:pt x="58" y="72"/>
                </a:lnTo>
                <a:lnTo>
                  <a:pt x="60" y="110"/>
                </a:lnTo>
                <a:lnTo>
                  <a:pt x="56" y="114"/>
                </a:lnTo>
                <a:lnTo>
                  <a:pt x="56" y="114"/>
                </a:lnTo>
                <a:lnTo>
                  <a:pt x="56" y="120"/>
                </a:lnTo>
                <a:lnTo>
                  <a:pt x="56" y="120"/>
                </a:lnTo>
                <a:lnTo>
                  <a:pt x="54" y="124"/>
                </a:lnTo>
                <a:lnTo>
                  <a:pt x="46" y="124"/>
                </a:lnTo>
                <a:lnTo>
                  <a:pt x="46" y="124"/>
                </a:lnTo>
                <a:lnTo>
                  <a:pt x="40" y="128"/>
                </a:lnTo>
                <a:lnTo>
                  <a:pt x="28" y="130"/>
                </a:lnTo>
                <a:lnTo>
                  <a:pt x="28" y="130"/>
                </a:lnTo>
                <a:lnTo>
                  <a:pt x="22" y="132"/>
                </a:lnTo>
                <a:lnTo>
                  <a:pt x="14" y="134"/>
                </a:lnTo>
                <a:lnTo>
                  <a:pt x="14" y="134"/>
                </a:lnTo>
                <a:lnTo>
                  <a:pt x="10" y="134"/>
                </a:lnTo>
                <a:lnTo>
                  <a:pt x="6" y="134"/>
                </a:lnTo>
                <a:lnTo>
                  <a:pt x="4" y="138"/>
                </a:lnTo>
                <a:lnTo>
                  <a:pt x="2" y="136"/>
                </a:lnTo>
                <a:lnTo>
                  <a:pt x="0" y="142"/>
                </a:lnTo>
                <a:lnTo>
                  <a:pt x="4" y="148"/>
                </a:lnTo>
                <a:lnTo>
                  <a:pt x="14" y="154"/>
                </a:lnTo>
                <a:lnTo>
                  <a:pt x="14" y="158"/>
                </a:lnTo>
                <a:lnTo>
                  <a:pt x="20" y="172"/>
                </a:lnTo>
                <a:lnTo>
                  <a:pt x="20" y="172"/>
                </a:lnTo>
                <a:lnTo>
                  <a:pt x="22" y="170"/>
                </a:lnTo>
                <a:lnTo>
                  <a:pt x="24" y="172"/>
                </a:lnTo>
                <a:lnTo>
                  <a:pt x="24" y="172"/>
                </a:lnTo>
                <a:lnTo>
                  <a:pt x="24" y="172"/>
                </a:lnTo>
                <a:lnTo>
                  <a:pt x="24" y="176"/>
                </a:lnTo>
                <a:lnTo>
                  <a:pt x="22" y="178"/>
                </a:lnTo>
                <a:lnTo>
                  <a:pt x="26" y="192"/>
                </a:lnTo>
                <a:lnTo>
                  <a:pt x="32" y="184"/>
                </a:lnTo>
                <a:lnTo>
                  <a:pt x="32" y="184"/>
                </a:lnTo>
                <a:lnTo>
                  <a:pt x="34" y="184"/>
                </a:lnTo>
                <a:lnTo>
                  <a:pt x="38" y="186"/>
                </a:lnTo>
                <a:lnTo>
                  <a:pt x="38" y="186"/>
                </a:lnTo>
                <a:lnTo>
                  <a:pt x="40" y="188"/>
                </a:lnTo>
                <a:lnTo>
                  <a:pt x="40" y="190"/>
                </a:lnTo>
                <a:lnTo>
                  <a:pt x="48" y="194"/>
                </a:lnTo>
                <a:lnTo>
                  <a:pt x="52" y="182"/>
                </a:lnTo>
                <a:lnTo>
                  <a:pt x="52" y="182"/>
                </a:lnTo>
                <a:lnTo>
                  <a:pt x="56" y="180"/>
                </a:lnTo>
                <a:lnTo>
                  <a:pt x="58" y="174"/>
                </a:lnTo>
                <a:lnTo>
                  <a:pt x="58" y="174"/>
                </a:lnTo>
                <a:lnTo>
                  <a:pt x="58" y="168"/>
                </a:lnTo>
                <a:lnTo>
                  <a:pt x="58" y="168"/>
                </a:lnTo>
                <a:lnTo>
                  <a:pt x="72" y="160"/>
                </a:lnTo>
                <a:lnTo>
                  <a:pt x="72" y="160"/>
                </a:lnTo>
                <a:lnTo>
                  <a:pt x="78" y="160"/>
                </a:lnTo>
                <a:lnTo>
                  <a:pt x="84" y="158"/>
                </a:lnTo>
                <a:lnTo>
                  <a:pt x="84" y="158"/>
                </a:lnTo>
                <a:lnTo>
                  <a:pt x="86" y="160"/>
                </a:lnTo>
                <a:lnTo>
                  <a:pt x="90" y="162"/>
                </a:lnTo>
                <a:lnTo>
                  <a:pt x="90" y="162"/>
                </a:lnTo>
                <a:lnTo>
                  <a:pt x="92" y="164"/>
                </a:lnTo>
                <a:lnTo>
                  <a:pt x="94" y="166"/>
                </a:lnTo>
                <a:lnTo>
                  <a:pt x="96" y="170"/>
                </a:lnTo>
                <a:lnTo>
                  <a:pt x="96" y="170"/>
                </a:lnTo>
                <a:lnTo>
                  <a:pt x="100" y="170"/>
                </a:lnTo>
                <a:lnTo>
                  <a:pt x="106" y="170"/>
                </a:lnTo>
                <a:lnTo>
                  <a:pt x="106" y="170"/>
                </a:lnTo>
                <a:lnTo>
                  <a:pt x="110" y="166"/>
                </a:lnTo>
                <a:lnTo>
                  <a:pt x="114" y="166"/>
                </a:lnTo>
                <a:lnTo>
                  <a:pt x="116" y="168"/>
                </a:lnTo>
                <a:lnTo>
                  <a:pt x="116" y="168"/>
                </a:lnTo>
                <a:lnTo>
                  <a:pt x="116" y="170"/>
                </a:lnTo>
                <a:lnTo>
                  <a:pt x="122" y="172"/>
                </a:lnTo>
                <a:lnTo>
                  <a:pt x="122" y="172"/>
                </a:lnTo>
                <a:lnTo>
                  <a:pt x="132" y="172"/>
                </a:lnTo>
                <a:lnTo>
                  <a:pt x="134" y="172"/>
                </a:lnTo>
                <a:lnTo>
                  <a:pt x="136" y="172"/>
                </a:lnTo>
                <a:lnTo>
                  <a:pt x="136" y="172"/>
                </a:lnTo>
                <a:lnTo>
                  <a:pt x="138" y="168"/>
                </a:lnTo>
                <a:lnTo>
                  <a:pt x="144" y="166"/>
                </a:lnTo>
                <a:lnTo>
                  <a:pt x="144" y="166"/>
                </a:lnTo>
                <a:lnTo>
                  <a:pt x="151" y="166"/>
                </a:lnTo>
                <a:lnTo>
                  <a:pt x="159" y="168"/>
                </a:lnTo>
                <a:lnTo>
                  <a:pt x="159" y="168"/>
                </a:lnTo>
                <a:lnTo>
                  <a:pt x="167" y="168"/>
                </a:lnTo>
                <a:lnTo>
                  <a:pt x="175" y="168"/>
                </a:lnTo>
                <a:lnTo>
                  <a:pt x="175" y="168"/>
                </a:lnTo>
                <a:lnTo>
                  <a:pt x="177" y="166"/>
                </a:lnTo>
                <a:lnTo>
                  <a:pt x="179" y="164"/>
                </a:lnTo>
                <a:lnTo>
                  <a:pt x="181" y="162"/>
                </a:lnTo>
                <a:lnTo>
                  <a:pt x="189" y="158"/>
                </a:lnTo>
                <a:lnTo>
                  <a:pt x="189" y="144"/>
                </a:lnTo>
                <a:lnTo>
                  <a:pt x="211" y="126"/>
                </a:lnTo>
                <a:lnTo>
                  <a:pt x="211" y="126"/>
                </a:lnTo>
                <a:lnTo>
                  <a:pt x="209" y="100"/>
                </a:lnTo>
                <a:lnTo>
                  <a:pt x="211" y="70"/>
                </a:lnTo>
                <a:lnTo>
                  <a:pt x="211" y="70"/>
                </a:lnTo>
                <a:lnTo>
                  <a:pt x="211" y="62"/>
                </a:lnTo>
                <a:lnTo>
                  <a:pt x="215" y="56"/>
                </a:lnTo>
                <a:lnTo>
                  <a:pt x="215" y="56"/>
                </a:lnTo>
                <a:lnTo>
                  <a:pt x="215" y="52"/>
                </a:lnTo>
                <a:lnTo>
                  <a:pt x="213" y="48"/>
                </a:lnTo>
                <a:lnTo>
                  <a:pt x="209" y="42"/>
                </a:lnTo>
                <a:lnTo>
                  <a:pt x="201"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2" name="Freeform 126">
            <a:extLst>
              <a:ext uri="{FF2B5EF4-FFF2-40B4-BE49-F238E27FC236}">
                <a16:creationId xmlns:a16="http://schemas.microsoft.com/office/drawing/2014/main" id="{D9E33F6C-4872-4C72-9FB6-A02615D9375E}"/>
              </a:ext>
            </a:extLst>
          </p:cNvPr>
          <p:cNvSpPr>
            <a:spLocks/>
          </p:cNvSpPr>
          <p:nvPr userDrawn="1"/>
        </p:nvSpPr>
        <p:spPr bwMode="auto">
          <a:xfrm>
            <a:off x="3893683" y="3258514"/>
            <a:ext cx="93914" cy="109823"/>
          </a:xfrm>
          <a:custGeom>
            <a:avLst/>
            <a:gdLst>
              <a:gd name="T0" fmla="*/ 0 w 56"/>
              <a:gd name="T1" fmla="*/ 30 h 64"/>
              <a:gd name="T2" fmla="*/ 0 w 56"/>
              <a:gd name="T3" fmla="*/ 34 h 64"/>
              <a:gd name="T4" fmla="*/ 8 w 56"/>
              <a:gd name="T5" fmla="*/ 40 h 64"/>
              <a:gd name="T6" fmla="*/ 10 w 56"/>
              <a:gd name="T7" fmla="*/ 46 h 64"/>
              <a:gd name="T8" fmla="*/ 12 w 56"/>
              <a:gd name="T9" fmla="*/ 52 h 64"/>
              <a:gd name="T10" fmla="*/ 18 w 56"/>
              <a:gd name="T11" fmla="*/ 58 h 64"/>
              <a:gd name="T12" fmla="*/ 24 w 56"/>
              <a:gd name="T13" fmla="*/ 58 h 64"/>
              <a:gd name="T14" fmla="*/ 22 w 56"/>
              <a:gd name="T15" fmla="*/ 54 h 64"/>
              <a:gd name="T16" fmla="*/ 20 w 56"/>
              <a:gd name="T17" fmla="*/ 52 h 64"/>
              <a:gd name="T18" fmla="*/ 22 w 56"/>
              <a:gd name="T19" fmla="*/ 44 h 64"/>
              <a:gd name="T20" fmla="*/ 26 w 56"/>
              <a:gd name="T21" fmla="*/ 52 h 64"/>
              <a:gd name="T22" fmla="*/ 28 w 56"/>
              <a:gd name="T23" fmla="*/ 52 h 64"/>
              <a:gd name="T24" fmla="*/ 32 w 56"/>
              <a:gd name="T25" fmla="*/ 56 h 64"/>
              <a:gd name="T26" fmla="*/ 34 w 56"/>
              <a:gd name="T27" fmla="*/ 62 h 64"/>
              <a:gd name="T28" fmla="*/ 40 w 56"/>
              <a:gd name="T29" fmla="*/ 62 h 64"/>
              <a:gd name="T30" fmla="*/ 42 w 56"/>
              <a:gd name="T31" fmla="*/ 62 h 64"/>
              <a:gd name="T32" fmla="*/ 44 w 56"/>
              <a:gd name="T33" fmla="*/ 64 h 64"/>
              <a:gd name="T34" fmla="*/ 50 w 56"/>
              <a:gd name="T35" fmla="*/ 64 h 64"/>
              <a:gd name="T36" fmla="*/ 46 w 56"/>
              <a:gd name="T37" fmla="*/ 60 h 64"/>
              <a:gd name="T38" fmla="*/ 46 w 56"/>
              <a:gd name="T39" fmla="*/ 58 h 64"/>
              <a:gd name="T40" fmla="*/ 48 w 56"/>
              <a:gd name="T41" fmla="*/ 56 h 64"/>
              <a:gd name="T42" fmla="*/ 46 w 56"/>
              <a:gd name="T43" fmla="*/ 48 h 64"/>
              <a:gd name="T44" fmla="*/ 48 w 56"/>
              <a:gd name="T45" fmla="*/ 36 h 64"/>
              <a:gd name="T46" fmla="*/ 50 w 56"/>
              <a:gd name="T47" fmla="*/ 36 h 64"/>
              <a:gd name="T48" fmla="*/ 50 w 56"/>
              <a:gd name="T49" fmla="*/ 22 h 64"/>
              <a:gd name="T50" fmla="*/ 52 w 56"/>
              <a:gd name="T51" fmla="*/ 16 h 64"/>
              <a:gd name="T52" fmla="*/ 56 w 56"/>
              <a:gd name="T53" fmla="*/ 8 h 64"/>
              <a:gd name="T54" fmla="*/ 54 w 56"/>
              <a:gd name="T55" fmla="*/ 0 h 64"/>
              <a:gd name="T56" fmla="*/ 46 w 56"/>
              <a:gd name="T57" fmla="*/ 2 h 64"/>
              <a:gd name="T58" fmla="*/ 40 w 56"/>
              <a:gd name="T59" fmla="*/ 8 h 64"/>
              <a:gd name="T60" fmla="*/ 40 w 56"/>
              <a:gd name="T61" fmla="*/ 10 h 64"/>
              <a:gd name="T62" fmla="*/ 30 w 56"/>
              <a:gd name="T63" fmla="*/ 12 h 64"/>
              <a:gd name="T64" fmla="*/ 26 w 56"/>
              <a:gd name="T65" fmla="*/ 12 h 64"/>
              <a:gd name="T66" fmla="*/ 24 w 56"/>
              <a:gd name="T67" fmla="*/ 12 h 64"/>
              <a:gd name="T68" fmla="*/ 22 w 56"/>
              <a:gd name="T69" fmla="*/ 10 h 64"/>
              <a:gd name="T70" fmla="*/ 16 w 56"/>
              <a:gd name="T71" fmla="*/ 10 h 64"/>
              <a:gd name="T72" fmla="*/ 6 w 56"/>
              <a:gd name="T73" fmla="*/ 14 h 64"/>
              <a:gd name="T74" fmla="*/ 6 w 56"/>
              <a:gd name="T75" fmla="*/ 28 h 64"/>
              <a:gd name="T76" fmla="*/ 4 w 56"/>
              <a:gd name="T77" fmla="*/ 28 h 64"/>
              <a:gd name="T78" fmla="*/ 0 w 56"/>
              <a:gd name="T79"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4">
                <a:moveTo>
                  <a:pt x="0" y="30"/>
                </a:moveTo>
                <a:lnTo>
                  <a:pt x="0" y="30"/>
                </a:lnTo>
                <a:lnTo>
                  <a:pt x="0" y="34"/>
                </a:lnTo>
                <a:lnTo>
                  <a:pt x="0" y="34"/>
                </a:lnTo>
                <a:lnTo>
                  <a:pt x="4" y="36"/>
                </a:lnTo>
                <a:lnTo>
                  <a:pt x="8" y="40"/>
                </a:lnTo>
                <a:lnTo>
                  <a:pt x="8" y="40"/>
                </a:lnTo>
                <a:lnTo>
                  <a:pt x="10" y="46"/>
                </a:lnTo>
                <a:lnTo>
                  <a:pt x="12" y="52"/>
                </a:lnTo>
                <a:lnTo>
                  <a:pt x="12" y="52"/>
                </a:lnTo>
                <a:lnTo>
                  <a:pt x="18" y="58"/>
                </a:lnTo>
                <a:lnTo>
                  <a:pt x="18" y="58"/>
                </a:lnTo>
                <a:lnTo>
                  <a:pt x="20" y="56"/>
                </a:lnTo>
                <a:lnTo>
                  <a:pt x="24" y="58"/>
                </a:lnTo>
                <a:lnTo>
                  <a:pt x="24" y="58"/>
                </a:lnTo>
                <a:lnTo>
                  <a:pt x="22" y="54"/>
                </a:lnTo>
                <a:lnTo>
                  <a:pt x="22" y="54"/>
                </a:lnTo>
                <a:lnTo>
                  <a:pt x="20" y="52"/>
                </a:lnTo>
                <a:lnTo>
                  <a:pt x="20" y="48"/>
                </a:lnTo>
                <a:lnTo>
                  <a:pt x="22" y="44"/>
                </a:lnTo>
                <a:lnTo>
                  <a:pt x="22" y="44"/>
                </a:lnTo>
                <a:lnTo>
                  <a:pt x="26" y="52"/>
                </a:lnTo>
                <a:lnTo>
                  <a:pt x="26" y="52"/>
                </a:lnTo>
                <a:lnTo>
                  <a:pt x="28" y="52"/>
                </a:lnTo>
                <a:lnTo>
                  <a:pt x="32" y="56"/>
                </a:lnTo>
                <a:lnTo>
                  <a:pt x="32" y="56"/>
                </a:lnTo>
                <a:lnTo>
                  <a:pt x="34" y="62"/>
                </a:lnTo>
                <a:lnTo>
                  <a:pt x="34" y="62"/>
                </a:lnTo>
                <a:lnTo>
                  <a:pt x="38" y="62"/>
                </a:lnTo>
                <a:lnTo>
                  <a:pt x="40" y="62"/>
                </a:lnTo>
                <a:lnTo>
                  <a:pt x="40" y="62"/>
                </a:lnTo>
                <a:lnTo>
                  <a:pt x="42" y="62"/>
                </a:lnTo>
                <a:lnTo>
                  <a:pt x="44" y="64"/>
                </a:lnTo>
                <a:lnTo>
                  <a:pt x="44" y="64"/>
                </a:lnTo>
                <a:lnTo>
                  <a:pt x="50" y="64"/>
                </a:lnTo>
                <a:lnTo>
                  <a:pt x="50" y="64"/>
                </a:lnTo>
                <a:lnTo>
                  <a:pt x="48" y="62"/>
                </a:lnTo>
                <a:lnTo>
                  <a:pt x="46" y="60"/>
                </a:lnTo>
                <a:lnTo>
                  <a:pt x="46" y="60"/>
                </a:lnTo>
                <a:lnTo>
                  <a:pt x="46" y="58"/>
                </a:lnTo>
                <a:lnTo>
                  <a:pt x="48" y="56"/>
                </a:lnTo>
                <a:lnTo>
                  <a:pt x="48" y="56"/>
                </a:lnTo>
                <a:lnTo>
                  <a:pt x="48" y="52"/>
                </a:lnTo>
                <a:lnTo>
                  <a:pt x="46" y="48"/>
                </a:lnTo>
                <a:lnTo>
                  <a:pt x="46" y="48"/>
                </a:lnTo>
                <a:lnTo>
                  <a:pt x="48" y="36"/>
                </a:lnTo>
                <a:lnTo>
                  <a:pt x="50" y="36"/>
                </a:lnTo>
                <a:lnTo>
                  <a:pt x="50" y="36"/>
                </a:lnTo>
                <a:lnTo>
                  <a:pt x="50" y="26"/>
                </a:lnTo>
                <a:lnTo>
                  <a:pt x="50" y="22"/>
                </a:lnTo>
                <a:lnTo>
                  <a:pt x="52" y="16"/>
                </a:lnTo>
                <a:lnTo>
                  <a:pt x="52" y="16"/>
                </a:lnTo>
                <a:lnTo>
                  <a:pt x="54" y="12"/>
                </a:lnTo>
                <a:lnTo>
                  <a:pt x="56" y="8"/>
                </a:lnTo>
                <a:lnTo>
                  <a:pt x="56" y="8"/>
                </a:lnTo>
                <a:lnTo>
                  <a:pt x="54" y="0"/>
                </a:lnTo>
                <a:lnTo>
                  <a:pt x="46" y="2"/>
                </a:lnTo>
                <a:lnTo>
                  <a:pt x="46" y="2"/>
                </a:lnTo>
                <a:lnTo>
                  <a:pt x="42" y="4"/>
                </a:lnTo>
                <a:lnTo>
                  <a:pt x="40" y="8"/>
                </a:lnTo>
                <a:lnTo>
                  <a:pt x="40" y="8"/>
                </a:lnTo>
                <a:lnTo>
                  <a:pt x="40" y="10"/>
                </a:lnTo>
                <a:lnTo>
                  <a:pt x="36" y="10"/>
                </a:lnTo>
                <a:lnTo>
                  <a:pt x="30" y="12"/>
                </a:lnTo>
                <a:lnTo>
                  <a:pt x="30" y="12"/>
                </a:lnTo>
                <a:lnTo>
                  <a:pt x="26" y="12"/>
                </a:lnTo>
                <a:lnTo>
                  <a:pt x="26" y="14"/>
                </a:lnTo>
                <a:lnTo>
                  <a:pt x="24" y="12"/>
                </a:lnTo>
                <a:lnTo>
                  <a:pt x="24" y="12"/>
                </a:lnTo>
                <a:lnTo>
                  <a:pt x="22" y="10"/>
                </a:lnTo>
                <a:lnTo>
                  <a:pt x="16" y="10"/>
                </a:lnTo>
                <a:lnTo>
                  <a:pt x="16" y="10"/>
                </a:lnTo>
                <a:lnTo>
                  <a:pt x="6" y="14"/>
                </a:lnTo>
                <a:lnTo>
                  <a:pt x="6" y="14"/>
                </a:lnTo>
                <a:lnTo>
                  <a:pt x="6" y="20"/>
                </a:lnTo>
                <a:lnTo>
                  <a:pt x="6" y="28"/>
                </a:lnTo>
                <a:lnTo>
                  <a:pt x="6" y="28"/>
                </a:lnTo>
                <a:lnTo>
                  <a:pt x="4" y="28"/>
                </a:lnTo>
                <a:lnTo>
                  <a:pt x="2" y="30"/>
                </a:lnTo>
                <a:lnTo>
                  <a:pt x="0" y="30"/>
                </a:lnTo>
                <a:lnTo>
                  <a:pt x="0" y="3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3" name="Freeform 127">
            <a:extLst>
              <a:ext uri="{FF2B5EF4-FFF2-40B4-BE49-F238E27FC236}">
                <a16:creationId xmlns:a16="http://schemas.microsoft.com/office/drawing/2014/main" id="{AAE15A44-981C-4B53-97ED-1056CFDE8A0A}"/>
              </a:ext>
            </a:extLst>
          </p:cNvPr>
          <p:cNvSpPr>
            <a:spLocks/>
          </p:cNvSpPr>
          <p:nvPr userDrawn="1"/>
        </p:nvSpPr>
        <p:spPr bwMode="auto">
          <a:xfrm>
            <a:off x="9741508" y="4916158"/>
            <a:ext cx="3354" cy="3432"/>
          </a:xfrm>
          <a:custGeom>
            <a:avLst/>
            <a:gdLst>
              <a:gd name="T0" fmla="*/ 0 w 2"/>
              <a:gd name="T1" fmla="*/ 0 h 2"/>
              <a:gd name="T2" fmla="*/ 2 w 2"/>
              <a:gd name="T3" fmla="*/ 2 h 2"/>
              <a:gd name="T4" fmla="*/ 2 w 2"/>
              <a:gd name="T5" fmla="*/ 2 h 2"/>
              <a:gd name="T6" fmla="*/ 2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4" name="Freeform 128">
            <a:extLst>
              <a:ext uri="{FF2B5EF4-FFF2-40B4-BE49-F238E27FC236}">
                <a16:creationId xmlns:a16="http://schemas.microsoft.com/office/drawing/2014/main" id="{D705E208-4025-4429-AEFB-0BA8B4A5152A}"/>
              </a:ext>
            </a:extLst>
          </p:cNvPr>
          <p:cNvSpPr>
            <a:spLocks noEditPoints="1"/>
          </p:cNvSpPr>
          <p:nvPr userDrawn="1"/>
        </p:nvSpPr>
        <p:spPr bwMode="auto">
          <a:xfrm>
            <a:off x="9577158" y="4710239"/>
            <a:ext cx="278388" cy="418701"/>
          </a:xfrm>
          <a:custGeom>
            <a:avLst/>
            <a:gdLst>
              <a:gd name="T0" fmla="*/ 24 w 166"/>
              <a:gd name="T1" fmla="*/ 242 h 244"/>
              <a:gd name="T2" fmla="*/ 22 w 166"/>
              <a:gd name="T3" fmla="*/ 234 h 244"/>
              <a:gd name="T4" fmla="*/ 82 w 166"/>
              <a:gd name="T5" fmla="*/ 112 h 244"/>
              <a:gd name="T6" fmla="*/ 76 w 166"/>
              <a:gd name="T7" fmla="*/ 128 h 244"/>
              <a:gd name="T8" fmla="*/ 70 w 166"/>
              <a:gd name="T9" fmla="*/ 142 h 244"/>
              <a:gd name="T10" fmla="*/ 64 w 166"/>
              <a:gd name="T11" fmla="*/ 152 h 244"/>
              <a:gd name="T12" fmla="*/ 56 w 166"/>
              <a:gd name="T13" fmla="*/ 166 h 244"/>
              <a:gd name="T14" fmla="*/ 50 w 166"/>
              <a:gd name="T15" fmla="*/ 170 h 244"/>
              <a:gd name="T16" fmla="*/ 32 w 166"/>
              <a:gd name="T17" fmla="*/ 180 h 244"/>
              <a:gd name="T18" fmla="*/ 20 w 166"/>
              <a:gd name="T19" fmla="*/ 192 h 244"/>
              <a:gd name="T20" fmla="*/ 14 w 166"/>
              <a:gd name="T21" fmla="*/ 196 h 244"/>
              <a:gd name="T22" fmla="*/ 8 w 166"/>
              <a:gd name="T23" fmla="*/ 202 h 244"/>
              <a:gd name="T24" fmla="*/ 6 w 166"/>
              <a:gd name="T25" fmla="*/ 204 h 244"/>
              <a:gd name="T26" fmla="*/ 4 w 166"/>
              <a:gd name="T27" fmla="*/ 210 h 244"/>
              <a:gd name="T28" fmla="*/ 0 w 166"/>
              <a:gd name="T29" fmla="*/ 218 h 244"/>
              <a:gd name="T30" fmla="*/ 10 w 166"/>
              <a:gd name="T31" fmla="*/ 224 h 244"/>
              <a:gd name="T32" fmla="*/ 24 w 166"/>
              <a:gd name="T33" fmla="*/ 228 h 244"/>
              <a:gd name="T34" fmla="*/ 38 w 166"/>
              <a:gd name="T35" fmla="*/ 232 h 244"/>
              <a:gd name="T36" fmla="*/ 48 w 166"/>
              <a:gd name="T37" fmla="*/ 220 h 244"/>
              <a:gd name="T38" fmla="*/ 56 w 166"/>
              <a:gd name="T39" fmla="*/ 212 h 244"/>
              <a:gd name="T40" fmla="*/ 64 w 166"/>
              <a:gd name="T41" fmla="*/ 186 h 244"/>
              <a:gd name="T42" fmla="*/ 72 w 166"/>
              <a:gd name="T43" fmla="*/ 184 h 244"/>
              <a:gd name="T44" fmla="*/ 84 w 166"/>
              <a:gd name="T45" fmla="*/ 178 h 244"/>
              <a:gd name="T46" fmla="*/ 86 w 166"/>
              <a:gd name="T47" fmla="*/ 168 h 244"/>
              <a:gd name="T48" fmla="*/ 92 w 166"/>
              <a:gd name="T49" fmla="*/ 162 h 244"/>
              <a:gd name="T50" fmla="*/ 100 w 166"/>
              <a:gd name="T51" fmla="*/ 150 h 244"/>
              <a:gd name="T52" fmla="*/ 104 w 166"/>
              <a:gd name="T53" fmla="*/ 138 h 244"/>
              <a:gd name="T54" fmla="*/ 108 w 166"/>
              <a:gd name="T55" fmla="*/ 128 h 244"/>
              <a:gd name="T56" fmla="*/ 102 w 166"/>
              <a:gd name="T57" fmla="*/ 126 h 244"/>
              <a:gd name="T58" fmla="*/ 100 w 166"/>
              <a:gd name="T59" fmla="*/ 124 h 244"/>
              <a:gd name="T60" fmla="*/ 94 w 166"/>
              <a:gd name="T61" fmla="*/ 126 h 244"/>
              <a:gd name="T62" fmla="*/ 90 w 166"/>
              <a:gd name="T63" fmla="*/ 120 h 244"/>
              <a:gd name="T64" fmla="*/ 86 w 166"/>
              <a:gd name="T65" fmla="*/ 118 h 244"/>
              <a:gd name="T66" fmla="*/ 86 w 166"/>
              <a:gd name="T67" fmla="*/ 114 h 244"/>
              <a:gd name="T68" fmla="*/ 84 w 166"/>
              <a:gd name="T69" fmla="*/ 0 h 244"/>
              <a:gd name="T70" fmla="*/ 88 w 166"/>
              <a:gd name="T71" fmla="*/ 8 h 244"/>
              <a:gd name="T72" fmla="*/ 104 w 166"/>
              <a:gd name="T73" fmla="*/ 34 h 244"/>
              <a:gd name="T74" fmla="*/ 108 w 166"/>
              <a:gd name="T75" fmla="*/ 38 h 244"/>
              <a:gd name="T76" fmla="*/ 108 w 166"/>
              <a:gd name="T77" fmla="*/ 46 h 244"/>
              <a:gd name="T78" fmla="*/ 112 w 166"/>
              <a:gd name="T79" fmla="*/ 54 h 244"/>
              <a:gd name="T80" fmla="*/ 112 w 166"/>
              <a:gd name="T81" fmla="*/ 74 h 244"/>
              <a:gd name="T82" fmla="*/ 100 w 166"/>
              <a:gd name="T83" fmla="*/ 88 h 244"/>
              <a:gd name="T84" fmla="*/ 98 w 166"/>
              <a:gd name="T85" fmla="*/ 94 h 244"/>
              <a:gd name="T86" fmla="*/ 118 w 166"/>
              <a:gd name="T87" fmla="*/ 112 h 244"/>
              <a:gd name="T88" fmla="*/ 112 w 166"/>
              <a:gd name="T89" fmla="*/ 126 h 244"/>
              <a:gd name="T90" fmla="*/ 124 w 166"/>
              <a:gd name="T91" fmla="*/ 134 h 244"/>
              <a:gd name="T92" fmla="*/ 136 w 166"/>
              <a:gd name="T93" fmla="*/ 120 h 244"/>
              <a:gd name="T94" fmla="*/ 144 w 166"/>
              <a:gd name="T95" fmla="*/ 110 h 244"/>
              <a:gd name="T96" fmla="*/ 146 w 166"/>
              <a:gd name="T97" fmla="*/ 100 h 244"/>
              <a:gd name="T98" fmla="*/ 154 w 166"/>
              <a:gd name="T99" fmla="*/ 92 h 244"/>
              <a:gd name="T100" fmla="*/ 156 w 166"/>
              <a:gd name="T101" fmla="*/ 86 h 244"/>
              <a:gd name="T102" fmla="*/ 160 w 166"/>
              <a:gd name="T103" fmla="*/ 66 h 244"/>
              <a:gd name="T104" fmla="*/ 136 w 166"/>
              <a:gd name="T105" fmla="*/ 68 h 244"/>
              <a:gd name="T106" fmla="*/ 132 w 166"/>
              <a:gd name="T107" fmla="*/ 58 h 244"/>
              <a:gd name="T108" fmla="*/ 126 w 166"/>
              <a:gd name="T109" fmla="*/ 46 h 244"/>
              <a:gd name="T110" fmla="*/ 122 w 166"/>
              <a:gd name="T111" fmla="*/ 54 h 244"/>
              <a:gd name="T112" fmla="*/ 116 w 166"/>
              <a:gd name="T113" fmla="*/ 50 h 244"/>
              <a:gd name="T114" fmla="*/ 112 w 166"/>
              <a:gd name="T115" fmla="*/ 30 h 244"/>
              <a:gd name="T116" fmla="*/ 112 w 166"/>
              <a:gd name="T117" fmla="*/ 20 h 244"/>
              <a:gd name="T118" fmla="*/ 108 w 166"/>
              <a:gd name="T119" fmla="*/ 16 h 244"/>
              <a:gd name="T120" fmla="*/ 98 w 166"/>
              <a:gd name="T121" fmla="*/ 10 h 244"/>
              <a:gd name="T122" fmla="*/ 92 w 166"/>
              <a:gd name="T123" fmla="*/ 8 h 244"/>
              <a:gd name="T124" fmla="*/ 88 w 166"/>
              <a:gd name="T12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 h="244">
                <a:moveTo>
                  <a:pt x="16" y="230"/>
                </a:moveTo>
                <a:lnTo>
                  <a:pt x="16" y="230"/>
                </a:lnTo>
                <a:lnTo>
                  <a:pt x="14" y="244"/>
                </a:lnTo>
                <a:lnTo>
                  <a:pt x="14" y="244"/>
                </a:lnTo>
                <a:lnTo>
                  <a:pt x="24" y="242"/>
                </a:lnTo>
                <a:lnTo>
                  <a:pt x="24" y="242"/>
                </a:lnTo>
                <a:lnTo>
                  <a:pt x="26" y="238"/>
                </a:lnTo>
                <a:lnTo>
                  <a:pt x="22" y="238"/>
                </a:lnTo>
                <a:lnTo>
                  <a:pt x="22" y="238"/>
                </a:lnTo>
                <a:lnTo>
                  <a:pt x="22" y="234"/>
                </a:lnTo>
                <a:lnTo>
                  <a:pt x="22" y="234"/>
                </a:lnTo>
                <a:lnTo>
                  <a:pt x="16" y="230"/>
                </a:lnTo>
                <a:lnTo>
                  <a:pt x="16" y="230"/>
                </a:lnTo>
                <a:close/>
                <a:moveTo>
                  <a:pt x="82" y="112"/>
                </a:moveTo>
                <a:lnTo>
                  <a:pt x="82" y="112"/>
                </a:lnTo>
                <a:lnTo>
                  <a:pt x="80" y="116"/>
                </a:lnTo>
                <a:lnTo>
                  <a:pt x="80" y="116"/>
                </a:lnTo>
                <a:lnTo>
                  <a:pt x="76" y="122"/>
                </a:lnTo>
                <a:lnTo>
                  <a:pt x="76" y="124"/>
                </a:lnTo>
                <a:lnTo>
                  <a:pt x="76" y="128"/>
                </a:lnTo>
                <a:lnTo>
                  <a:pt x="74" y="134"/>
                </a:lnTo>
                <a:lnTo>
                  <a:pt x="74" y="134"/>
                </a:lnTo>
                <a:lnTo>
                  <a:pt x="70" y="138"/>
                </a:lnTo>
                <a:lnTo>
                  <a:pt x="70" y="138"/>
                </a:lnTo>
                <a:lnTo>
                  <a:pt x="70" y="142"/>
                </a:lnTo>
                <a:lnTo>
                  <a:pt x="70" y="142"/>
                </a:lnTo>
                <a:lnTo>
                  <a:pt x="66" y="144"/>
                </a:lnTo>
                <a:lnTo>
                  <a:pt x="66" y="144"/>
                </a:lnTo>
                <a:lnTo>
                  <a:pt x="64" y="152"/>
                </a:lnTo>
                <a:lnTo>
                  <a:pt x="64" y="152"/>
                </a:lnTo>
                <a:lnTo>
                  <a:pt x="62" y="152"/>
                </a:lnTo>
                <a:lnTo>
                  <a:pt x="62" y="152"/>
                </a:lnTo>
                <a:lnTo>
                  <a:pt x="60" y="160"/>
                </a:lnTo>
                <a:lnTo>
                  <a:pt x="56" y="166"/>
                </a:lnTo>
                <a:lnTo>
                  <a:pt x="56" y="166"/>
                </a:lnTo>
                <a:lnTo>
                  <a:pt x="54" y="166"/>
                </a:lnTo>
                <a:lnTo>
                  <a:pt x="50" y="168"/>
                </a:lnTo>
                <a:lnTo>
                  <a:pt x="50" y="168"/>
                </a:lnTo>
                <a:lnTo>
                  <a:pt x="50" y="170"/>
                </a:lnTo>
                <a:lnTo>
                  <a:pt x="50" y="170"/>
                </a:lnTo>
                <a:lnTo>
                  <a:pt x="40" y="176"/>
                </a:lnTo>
                <a:lnTo>
                  <a:pt x="40" y="176"/>
                </a:lnTo>
                <a:lnTo>
                  <a:pt x="38" y="180"/>
                </a:lnTo>
                <a:lnTo>
                  <a:pt x="38" y="180"/>
                </a:lnTo>
                <a:lnTo>
                  <a:pt x="32" y="180"/>
                </a:lnTo>
                <a:lnTo>
                  <a:pt x="28" y="182"/>
                </a:lnTo>
                <a:lnTo>
                  <a:pt x="28" y="182"/>
                </a:lnTo>
                <a:lnTo>
                  <a:pt x="24" y="186"/>
                </a:lnTo>
                <a:lnTo>
                  <a:pt x="20" y="192"/>
                </a:lnTo>
                <a:lnTo>
                  <a:pt x="20" y="192"/>
                </a:lnTo>
                <a:lnTo>
                  <a:pt x="18" y="192"/>
                </a:lnTo>
                <a:lnTo>
                  <a:pt x="14" y="192"/>
                </a:lnTo>
                <a:lnTo>
                  <a:pt x="14" y="192"/>
                </a:lnTo>
                <a:lnTo>
                  <a:pt x="14" y="196"/>
                </a:lnTo>
                <a:lnTo>
                  <a:pt x="14" y="196"/>
                </a:lnTo>
                <a:lnTo>
                  <a:pt x="10" y="198"/>
                </a:lnTo>
                <a:lnTo>
                  <a:pt x="10" y="198"/>
                </a:lnTo>
                <a:lnTo>
                  <a:pt x="8" y="200"/>
                </a:lnTo>
                <a:lnTo>
                  <a:pt x="8" y="202"/>
                </a:lnTo>
                <a:lnTo>
                  <a:pt x="8" y="202"/>
                </a:lnTo>
                <a:lnTo>
                  <a:pt x="4" y="202"/>
                </a:lnTo>
                <a:lnTo>
                  <a:pt x="4" y="202"/>
                </a:lnTo>
                <a:lnTo>
                  <a:pt x="4" y="204"/>
                </a:lnTo>
                <a:lnTo>
                  <a:pt x="4" y="204"/>
                </a:lnTo>
                <a:lnTo>
                  <a:pt x="6" y="204"/>
                </a:lnTo>
                <a:lnTo>
                  <a:pt x="6" y="204"/>
                </a:lnTo>
                <a:lnTo>
                  <a:pt x="6" y="206"/>
                </a:lnTo>
                <a:lnTo>
                  <a:pt x="6" y="206"/>
                </a:lnTo>
                <a:lnTo>
                  <a:pt x="4" y="210"/>
                </a:lnTo>
                <a:lnTo>
                  <a:pt x="4" y="210"/>
                </a:lnTo>
                <a:lnTo>
                  <a:pt x="4" y="214"/>
                </a:lnTo>
                <a:lnTo>
                  <a:pt x="0" y="214"/>
                </a:lnTo>
                <a:lnTo>
                  <a:pt x="0" y="214"/>
                </a:lnTo>
                <a:lnTo>
                  <a:pt x="0" y="218"/>
                </a:lnTo>
                <a:lnTo>
                  <a:pt x="0" y="218"/>
                </a:lnTo>
                <a:lnTo>
                  <a:pt x="2" y="220"/>
                </a:lnTo>
                <a:lnTo>
                  <a:pt x="6" y="222"/>
                </a:lnTo>
                <a:lnTo>
                  <a:pt x="8" y="224"/>
                </a:lnTo>
                <a:lnTo>
                  <a:pt x="8" y="224"/>
                </a:lnTo>
                <a:lnTo>
                  <a:pt x="10" y="224"/>
                </a:lnTo>
                <a:lnTo>
                  <a:pt x="12" y="222"/>
                </a:lnTo>
                <a:lnTo>
                  <a:pt x="16" y="222"/>
                </a:lnTo>
                <a:lnTo>
                  <a:pt x="18" y="228"/>
                </a:lnTo>
                <a:lnTo>
                  <a:pt x="18" y="228"/>
                </a:lnTo>
                <a:lnTo>
                  <a:pt x="24" y="228"/>
                </a:lnTo>
                <a:lnTo>
                  <a:pt x="24" y="228"/>
                </a:lnTo>
                <a:lnTo>
                  <a:pt x="26" y="230"/>
                </a:lnTo>
                <a:lnTo>
                  <a:pt x="26" y="230"/>
                </a:lnTo>
                <a:lnTo>
                  <a:pt x="38" y="232"/>
                </a:lnTo>
                <a:lnTo>
                  <a:pt x="38" y="232"/>
                </a:lnTo>
                <a:lnTo>
                  <a:pt x="44" y="226"/>
                </a:lnTo>
                <a:lnTo>
                  <a:pt x="44" y="224"/>
                </a:lnTo>
                <a:lnTo>
                  <a:pt x="44" y="224"/>
                </a:lnTo>
                <a:lnTo>
                  <a:pt x="48" y="222"/>
                </a:lnTo>
                <a:lnTo>
                  <a:pt x="48" y="220"/>
                </a:lnTo>
                <a:lnTo>
                  <a:pt x="48" y="220"/>
                </a:lnTo>
                <a:lnTo>
                  <a:pt x="52" y="218"/>
                </a:lnTo>
                <a:lnTo>
                  <a:pt x="54" y="216"/>
                </a:lnTo>
                <a:lnTo>
                  <a:pt x="54" y="216"/>
                </a:lnTo>
                <a:lnTo>
                  <a:pt x="56" y="212"/>
                </a:lnTo>
                <a:lnTo>
                  <a:pt x="56" y="208"/>
                </a:lnTo>
                <a:lnTo>
                  <a:pt x="56" y="208"/>
                </a:lnTo>
                <a:lnTo>
                  <a:pt x="60" y="198"/>
                </a:lnTo>
                <a:lnTo>
                  <a:pt x="64" y="186"/>
                </a:lnTo>
                <a:lnTo>
                  <a:pt x="64" y="186"/>
                </a:lnTo>
                <a:lnTo>
                  <a:pt x="64" y="186"/>
                </a:lnTo>
                <a:lnTo>
                  <a:pt x="66" y="184"/>
                </a:lnTo>
                <a:lnTo>
                  <a:pt x="66" y="184"/>
                </a:lnTo>
                <a:lnTo>
                  <a:pt x="70" y="184"/>
                </a:lnTo>
                <a:lnTo>
                  <a:pt x="72" y="184"/>
                </a:lnTo>
                <a:lnTo>
                  <a:pt x="76" y="182"/>
                </a:lnTo>
                <a:lnTo>
                  <a:pt x="76" y="182"/>
                </a:lnTo>
                <a:lnTo>
                  <a:pt x="78" y="178"/>
                </a:lnTo>
                <a:lnTo>
                  <a:pt x="78" y="178"/>
                </a:lnTo>
                <a:lnTo>
                  <a:pt x="84" y="178"/>
                </a:lnTo>
                <a:lnTo>
                  <a:pt x="90" y="178"/>
                </a:lnTo>
                <a:lnTo>
                  <a:pt x="90" y="178"/>
                </a:lnTo>
                <a:lnTo>
                  <a:pt x="84" y="178"/>
                </a:lnTo>
                <a:lnTo>
                  <a:pt x="84" y="178"/>
                </a:lnTo>
                <a:lnTo>
                  <a:pt x="86" y="168"/>
                </a:lnTo>
                <a:lnTo>
                  <a:pt x="86" y="166"/>
                </a:lnTo>
                <a:lnTo>
                  <a:pt x="90" y="164"/>
                </a:lnTo>
                <a:lnTo>
                  <a:pt x="90" y="164"/>
                </a:lnTo>
                <a:lnTo>
                  <a:pt x="92" y="162"/>
                </a:lnTo>
                <a:lnTo>
                  <a:pt x="92" y="162"/>
                </a:lnTo>
                <a:lnTo>
                  <a:pt x="92" y="162"/>
                </a:lnTo>
                <a:lnTo>
                  <a:pt x="94" y="158"/>
                </a:lnTo>
                <a:lnTo>
                  <a:pt x="96" y="154"/>
                </a:lnTo>
                <a:lnTo>
                  <a:pt x="96" y="154"/>
                </a:lnTo>
                <a:lnTo>
                  <a:pt x="100" y="150"/>
                </a:lnTo>
                <a:lnTo>
                  <a:pt x="100" y="150"/>
                </a:lnTo>
                <a:lnTo>
                  <a:pt x="104" y="142"/>
                </a:lnTo>
                <a:lnTo>
                  <a:pt x="106" y="142"/>
                </a:lnTo>
                <a:lnTo>
                  <a:pt x="106" y="142"/>
                </a:lnTo>
                <a:lnTo>
                  <a:pt x="104" y="138"/>
                </a:lnTo>
                <a:lnTo>
                  <a:pt x="104" y="134"/>
                </a:lnTo>
                <a:lnTo>
                  <a:pt x="104" y="134"/>
                </a:lnTo>
                <a:lnTo>
                  <a:pt x="106" y="132"/>
                </a:lnTo>
                <a:lnTo>
                  <a:pt x="106" y="132"/>
                </a:lnTo>
                <a:lnTo>
                  <a:pt x="108" y="128"/>
                </a:lnTo>
                <a:lnTo>
                  <a:pt x="106" y="124"/>
                </a:lnTo>
                <a:lnTo>
                  <a:pt x="106" y="124"/>
                </a:lnTo>
                <a:lnTo>
                  <a:pt x="102" y="126"/>
                </a:lnTo>
                <a:lnTo>
                  <a:pt x="102" y="126"/>
                </a:lnTo>
                <a:lnTo>
                  <a:pt x="102" y="126"/>
                </a:lnTo>
                <a:lnTo>
                  <a:pt x="102" y="126"/>
                </a:lnTo>
                <a:lnTo>
                  <a:pt x="100" y="128"/>
                </a:lnTo>
                <a:lnTo>
                  <a:pt x="100" y="128"/>
                </a:lnTo>
                <a:lnTo>
                  <a:pt x="100" y="126"/>
                </a:lnTo>
                <a:lnTo>
                  <a:pt x="100" y="124"/>
                </a:lnTo>
                <a:lnTo>
                  <a:pt x="100" y="124"/>
                </a:lnTo>
                <a:lnTo>
                  <a:pt x="96" y="124"/>
                </a:lnTo>
                <a:lnTo>
                  <a:pt x="96" y="126"/>
                </a:lnTo>
                <a:lnTo>
                  <a:pt x="96" y="126"/>
                </a:lnTo>
                <a:lnTo>
                  <a:pt x="94" y="126"/>
                </a:lnTo>
                <a:lnTo>
                  <a:pt x="96" y="128"/>
                </a:lnTo>
                <a:lnTo>
                  <a:pt x="96" y="128"/>
                </a:lnTo>
                <a:lnTo>
                  <a:pt x="90" y="128"/>
                </a:lnTo>
                <a:lnTo>
                  <a:pt x="90" y="128"/>
                </a:lnTo>
                <a:lnTo>
                  <a:pt x="90" y="120"/>
                </a:lnTo>
                <a:lnTo>
                  <a:pt x="88" y="120"/>
                </a:lnTo>
                <a:lnTo>
                  <a:pt x="88" y="120"/>
                </a:lnTo>
                <a:lnTo>
                  <a:pt x="88" y="120"/>
                </a:lnTo>
                <a:lnTo>
                  <a:pt x="86" y="118"/>
                </a:lnTo>
                <a:lnTo>
                  <a:pt x="86" y="118"/>
                </a:lnTo>
                <a:lnTo>
                  <a:pt x="86" y="118"/>
                </a:lnTo>
                <a:lnTo>
                  <a:pt x="84" y="118"/>
                </a:lnTo>
                <a:lnTo>
                  <a:pt x="84" y="116"/>
                </a:lnTo>
                <a:lnTo>
                  <a:pt x="84" y="116"/>
                </a:lnTo>
                <a:lnTo>
                  <a:pt x="86" y="114"/>
                </a:lnTo>
                <a:lnTo>
                  <a:pt x="88" y="112"/>
                </a:lnTo>
                <a:lnTo>
                  <a:pt x="88" y="112"/>
                </a:lnTo>
                <a:lnTo>
                  <a:pt x="82" y="112"/>
                </a:lnTo>
                <a:lnTo>
                  <a:pt x="82" y="112"/>
                </a:lnTo>
                <a:close/>
                <a:moveTo>
                  <a:pt x="84" y="0"/>
                </a:moveTo>
                <a:lnTo>
                  <a:pt x="84" y="0"/>
                </a:lnTo>
                <a:lnTo>
                  <a:pt x="84" y="2"/>
                </a:lnTo>
                <a:lnTo>
                  <a:pt x="84" y="4"/>
                </a:lnTo>
                <a:lnTo>
                  <a:pt x="84" y="4"/>
                </a:lnTo>
                <a:lnTo>
                  <a:pt x="88" y="8"/>
                </a:lnTo>
                <a:lnTo>
                  <a:pt x="92" y="12"/>
                </a:lnTo>
                <a:lnTo>
                  <a:pt x="92" y="12"/>
                </a:lnTo>
                <a:lnTo>
                  <a:pt x="96" y="24"/>
                </a:lnTo>
                <a:lnTo>
                  <a:pt x="96" y="24"/>
                </a:lnTo>
                <a:lnTo>
                  <a:pt x="104" y="34"/>
                </a:lnTo>
                <a:lnTo>
                  <a:pt x="104" y="34"/>
                </a:lnTo>
                <a:lnTo>
                  <a:pt x="104" y="36"/>
                </a:lnTo>
                <a:lnTo>
                  <a:pt x="104" y="36"/>
                </a:lnTo>
                <a:lnTo>
                  <a:pt x="104" y="36"/>
                </a:lnTo>
                <a:lnTo>
                  <a:pt x="108" y="38"/>
                </a:lnTo>
                <a:lnTo>
                  <a:pt x="108" y="38"/>
                </a:lnTo>
                <a:lnTo>
                  <a:pt x="110" y="42"/>
                </a:lnTo>
                <a:lnTo>
                  <a:pt x="110" y="42"/>
                </a:lnTo>
                <a:lnTo>
                  <a:pt x="108" y="44"/>
                </a:lnTo>
                <a:lnTo>
                  <a:pt x="108" y="46"/>
                </a:lnTo>
                <a:lnTo>
                  <a:pt x="108" y="50"/>
                </a:lnTo>
                <a:lnTo>
                  <a:pt x="108" y="50"/>
                </a:lnTo>
                <a:lnTo>
                  <a:pt x="114" y="52"/>
                </a:lnTo>
                <a:lnTo>
                  <a:pt x="114" y="52"/>
                </a:lnTo>
                <a:lnTo>
                  <a:pt x="112" y="54"/>
                </a:lnTo>
                <a:lnTo>
                  <a:pt x="112" y="54"/>
                </a:lnTo>
                <a:lnTo>
                  <a:pt x="114" y="64"/>
                </a:lnTo>
                <a:lnTo>
                  <a:pt x="114" y="70"/>
                </a:lnTo>
                <a:lnTo>
                  <a:pt x="112" y="74"/>
                </a:lnTo>
                <a:lnTo>
                  <a:pt x="112" y="74"/>
                </a:lnTo>
                <a:lnTo>
                  <a:pt x="110" y="78"/>
                </a:lnTo>
                <a:lnTo>
                  <a:pt x="110" y="78"/>
                </a:lnTo>
                <a:lnTo>
                  <a:pt x="108" y="86"/>
                </a:lnTo>
                <a:lnTo>
                  <a:pt x="108" y="86"/>
                </a:lnTo>
                <a:lnTo>
                  <a:pt x="100" y="88"/>
                </a:lnTo>
                <a:lnTo>
                  <a:pt x="100" y="88"/>
                </a:lnTo>
                <a:lnTo>
                  <a:pt x="100" y="90"/>
                </a:lnTo>
                <a:lnTo>
                  <a:pt x="98" y="90"/>
                </a:lnTo>
                <a:lnTo>
                  <a:pt x="98" y="90"/>
                </a:lnTo>
                <a:lnTo>
                  <a:pt x="98" y="94"/>
                </a:lnTo>
                <a:lnTo>
                  <a:pt x="98" y="94"/>
                </a:lnTo>
                <a:lnTo>
                  <a:pt x="104" y="96"/>
                </a:lnTo>
                <a:lnTo>
                  <a:pt x="112" y="102"/>
                </a:lnTo>
                <a:lnTo>
                  <a:pt x="116" y="108"/>
                </a:lnTo>
                <a:lnTo>
                  <a:pt x="118" y="112"/>
                </a:lnTo>
                <a:lnTo>
                  <a:pt x="118" y="118"/>
                </a:lnTo>
                <a:lnTo>
                  <a:pt x="118" y="118"/>
                </a:lnTo>
                <a:lnTo>
                  <a:pt x="116" y="122"/>
                </a:lnTo>
                <a:lnTo>
                  <a:pt x="112" y="126"/>
                </a:lnTo>
                <a:lnTo>
                  <a:pt x="112" y="126"/>
                </a:lnTo>
                <a:lnTo>
                  <a:pt x="112" y="128"/>
                </a:lnTo>
                <a:lnTo>
                  <a:pt x="112" y="128"/>
                </a:lnTo>
                <a:lnTo>
                  <a:pt x="120" y="130"/>
                </a:lnTo>
                <a:lnTo>
                  <a:pt x="120" y="130"/>
                </a:lnTo>
                <a:lnTo>
                  <a:pt x="124" y="134"/>
                </a:lnTo>
                <a:lnTo>
                  <a:pt x="124" y="134"/>
                </a:lnTo>
                <a:lnTo>
                  <a:pt x="130" y="130"/>
                </a:lnTo>
                <a:lnTo>
                  <a:pt x="132" y="126"/>
                </a:lnTo>
                <a:lnTo>
                  <a:pt x="132" y="126"/>
                </a:lnTo>
                <a:lnTo>
                  <a:pt x="136" y="120"/>
                </a:lnTo>
                <a:lnTo>
                  <a:pt x="136" y="120"/>
                </a:lnTo>
                <a:lnTo>
                  <a:pt x="136" y="116"/>
                </a:lnTo>
                <a:lnTo>
                  <a:pt x="136" y="116"/>
                </a:lnTo>
                <a:lnTo>
                  <a:pt x="140" y="114"/>
                </a:lnTo>
                <a:lnTo>
                  <a:pt x="144" y="110"/>
                </a:lnTo>
                <a:lnTo>
                  <a:pt x="144" y="110"/>
                </a:lnTo>
                <a:lnTo>
                  <a:pt x="144" y="108"/>
                </a:lnTo>
                <a:lnTo>
                  <a:pt x="144" y="104"/>
                </a:lnTo>
                <a:lnTo>
                  <a:pt x="144" y="104"/>
                </a:lnTo>
                <a:lnTo>
                  <a:pt x="146" y="100"/>
                </a:lnTo>
                <a:lnTo>
                  <a:pt x="146" y="100"/>
                </a:lnTo>
                <a:lnTo>
                  <a:pt x="144" y="96"/>
                </a:lnTo>
                <a:lnTo>
                  <a:pt x="144" y="96"/>
                </a:lnTo>
                <a:lnTo>
                  <a:pt x="150" y="92"/>
                </a:lnTo>
                <a:lnTo>
                  <a:pt x="154" y="92"/>
                </a:lnTo>
                <a:lnTo>
                  <a:pt x="158" y="94"/>
                </a:lnTo>
                <a:lnTo>
                  <a:pt x="158" y="94"/>
                </a:lnTo>
                <a:lnTo>
                  <a:pt x="156" y="90"/>
                </a:lnTo>
                <a:lnTo>
                  <a:pt x="156" y="86"/>
                </a:lnTo>
                <a:lnTo>
                  <a:pt x="156" y="86"/>
                </a:lnTo>
                <a:lnTo>
                  <a:pt x="158" y="84"/>
                </a:lnTo>
                <a:lnTo>
                  <a:pt x="158" y="84"/>
                </a:lnTo>
                <a:lnTo>
                  <a:pt x="166" y="70"/>
                </a:lnTo>
                <a:lnTo>
                  <a:pt x="166" y="70"/>
                </a:lnTo>
                <a:lnTo>
                  <a:pt x="160" y="66"/>
                </a:lnTo>
                <a:lnTo>
                  <a:pt x="158" y="64"/>
                </a:lnTo>
                <a:lnTo>
                  <a:pt x="148" y="70"/>
                </a:lnTo>
                <a:lnTo>
                  <a:pt x="146" y="72"/>
                </a:lnTo>
                <a:lnTo>
                  <a:pt x="146" y="72"/>
                </a:lnTo>
                <a:lnTo>
                  <a:pt x="136" y="68"/>
                </a:lnTo>
                <a:lnTo>
                  <a:pt x="136" y="68"/>
                </a:lnTo>
                <a:lnTo>
                  <a:pt x="134" y="66"/>
                </a:lnTo>
                <a:lnTo>
                  <a:pt x="132" y="64"/>
                </a:lnTo>
                <a:lnTo>
                  <a:pt x="132" y="58"/>
                </a:lnTo>
                <a:lnTo>
                  <a:pt x="132" y="58"/>
                </a:lnTo>
                <a:lnTo>
                  <a:pt x="130" y="48"/>
                </a:lnTo>
                <a:lnTo>
                  <a:pt x="130" y="48"/>
                </a:lnTo>
                <a:lnTo>
                  <a:pt x="126" y="50"/>
                </a:lnTo>
                <a:lnTo>
                  <a:pt x="126" y="50"/>
                </a:lnTo>
                <a:lnTo>
                  <a:pt x="126" y="46"/>
                </a:lnTo>
                <a:lnTo>
                  <a:pt x="126" y="42"/>
                </a:lnTo>
                <a:lnTo>
                  <a:pt x="124" y="42"/>
                </a:lnTo>
                <a:lnTo>
                  <a:pt x="124" y="42"/>
                </a:lnTo>
                <a:lnTo>
                  <a:pt x="122" y="54"/>
                </a:lnTo>
                <a:lnTo>
                  <a:pt x="122" y="54"/>
                </a:lnTo>
                <a:lnTo>
                  <a:pt x="120" y="54"/>
                </a:lnTo>
                <a:lnTo>
                  <a:pt x="120" y="52"/>
                </a:lnTo>
                <a:lnTo>
                  <a:pt x="120" y="52"/>
                </a:lnTo>
                <a:lnTo>
                  <a:pt x="116" y="50"/>
                </a:lnTo>
                <a:lnTo>
                  <a:pt x="116" y="50"/>
                </a:lnTo>
                <a:lnTo>
                  <a:pt x="116" y="38"/>
                </a:lnTo>
                <a:lnTo>
                  <a:pt x="116" y="38"/>
                </a:lnTo>
                <a:lnTo>
                  <a:pt x="114" y="34"/>
                </a:lnTo>
                <a:lnTo>
                  <a:pt x="112" y="30"/>
                </a:lnTo>
                <a:lnTo>
                  <a:pt x="112" y="30"/>
                </a:lnTo>
                <a:lnTo>
                  <a:pt x="114" y="28"/>
                </a:lnTo>
                <a:lnTo>
                  <a:pt x="114" y="28"/>
                </a:lnTo>
                <a:lnTo>
                  <a:pt x="114" y="24"/>
                </a:lnTo>
                <a:lnTo>
                  <a:pt x="112" y="20"/>
                </a:lnTo>
                <a:lnTo>
                  <a:pt x="112" y="20"/>
                </a:lnTo>
                <a:lnTo>
                  <a:pt x="110" y="20"/>
                </a:lnTo>
                <a:lnTo>
                  <a:pt x="108" y="22"/>
                </a:lnTo>
                <a:lnTo>
                  <a:pt x="108" y="22"/>
                </a:lnTo>
                <a:lnTo>
                  <a:pt x="108" y="16"/>
                </a:lnTo>
                <a:lnTo>
                  <a:pt x="108" y="16"/>
                </a:lnTo>
                <a:lnTo>
                  <a:pt x="104" y="12"/>
                </a:lnTo>
                <a:lnTo>
                  <a:pt x="104" y="12"/>
                </a:lnTo>
                <a:lnTo>
                  <a:pt x="100" y="12"/>
                </a:lnTo>
                <a:lnTo>
                  <a:pt x="100" y="12"/>
                </a:lnTo>
                <a:lnTo>
                  <a:pt x="98" y="10"/>
                </a:lnTo>
                <a:lnTo>
                  <a:pt x="98" y="8"/>
                </a:lnTo>
                <a:lnTo>
                  <a:pt x="98" y="8"/>
                </a:lnTo>
                <a:lnTo>
                  <a:pt x="96" y="10"/>
                </a:lnTo>
                <a:lnTo>
                  <a:pt x="96" y="12"/>
                </a:lnTo>
                <a:lnTo>
                  <a:pt x="92" y="8"/>
                </a:lnTo>
                <a:lnTo>
                  <a:pt x="92" y="8"/>
                </a:lnTo>
                <a:lnTo>
                  <a:pt x="88" y="4"/>
                </a:lnTo>
                <a:lnTo>
                  <a:pt x="88" y="4"/>
                </a:lnTo>
                <a:lnTo>
                  <a:pt x="88" y="2"/>
                </a:lnTo>
                <a:lnTo>
                  <a:pt x="88" y="0"/>
                </a:lnTo>
                <a:lnTo>
                  <a:pt x="88" y="0"/>
                </a:lnTo>
                <a:lnTo>
                  <a:pt x="84" y="0"/>
                </a:lnTo>
                <a:lnTo>
                  <a:pt x="8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5" name="Freeform 129">
            <a:extLst>
              <a:ext uri="{FF2B5EF4-FFF2-40B4-BE49-F238E27FC236}">
                <a16:creationId xmlns:a16="http://schemas.microsoft.com/office/drawing/2014/main" id="{134E70F3-653C-47FE-97B1-B80E2E33C34E}"/>
              </a:ext>
            </a:extLst>
          </p:cNvPr>
          <p:cNvSpPr>
            <a:spLocks/>
          </p:cNvSpPr>
          <p:nvPr userDrawn="1"/>
        </p:nvSpPr>
        <p:spPr bwMode="auto">
          <a:xfrm>
            <a:off x="5929605" y="2060756"/>
            <a:ext cx="97269" cy="78935"/>
          </a:xfrm>
          <a:custGeom>
            <a:avLst/>
            <a:gdLst>
              <a:gd name="T0" fmla="*/ 58 w 58"/>
              <a:gd name="T1" fmla="*/ 8 h 46"/>
              <a:gd name="T2" fmla="*/ 54 w 58"/>
              <a:gd name="T3" fmla="*/ 6 h 46"/>
              <a:gd name="T4" fmla="*/ 54 w 58"/>
              <a:gd name="T5" fmla="*/ 2 h 46"/>
              <a:gd name="T6" fmla="*/ 46 w 58"/>
              <a:gd name="T7" fmla="*/ 0 h 46"/>
              <a:gd name="T8" fmla="*/ 44 w 58"/>
              <a:gd name="T9" fmla="*/ 2 h 46"/>
              <a:gd name="T10" fmla="*/ 42 w 58"/>
              <a:gd name="T11" fmla="*/ 0 h 46"/>
              <a:gd name="T12" fmla="*/ 36 w 58"/>
              <a:gd name="T13" fmla="*/ 0 h 46"/>
              <a:gd name="T14" fmla="*/ 32 w 58"/>
              <a:gd name="T15" fmla="*/ 2 h 46"/>
              <a:gd name="T16" fmla="*/ 32 w 58"/>
              <a:gd name="T17" fmla="*/ 4 h 46"/>
              <a:gd name="T18" fmla="*/ 30 w 58"/>
              <a:gd name="T19" fmla="*/ 6 h 46"/>
              <a:gd name="T20" fmla="*/ 22 w 58"/>
              <a:gd name="T21" fmla="*/ 8 h 46"/>
              <a:gd name="T22" fmla="*/ 18 w 58"/>
              <a:gd name="T23" fmla="*/ 14 h 46"/>
              <a:gd name="T24" fmla="*/ 16 w 58"/>
              <a:gd name="T25" fmla="*/ 22 h 46"/>
              <a:gd name="T26" fmla="*/ 16 w 58"/>
              <a:gd name="T27" fmla="*/ 22 h 46"/>
              <a:gd name="T28" fmla="*/ 18 w 58"/>
              <a:gd name="T29" fmla="*/ 26 h 46"/>
              <a:gd name="T30" fmla="*/ 14 w 58"/>
              <a:gd name="T31" fmla="*/ 30 h 46"/>
              <a:gd name="T32" fmla="*/ 14 w 58"/>
              <a:gd name="T33" fmla="*/ 34 h 46"/>
              <a:gd name="T34" fmla="*/ 14 w 58"/>
              <a:gd name="T35" fmla="*/ 34 h 46"/>
              <a:gd name="T36" fmla="*/ 12 w 58"/>
              <a:gd name="T37" fmla="*/ 36 h 46"/>
              <a:gd name="T38" fmla="*/ 6 w 58"/>
              <a:gd name="T39" fmla="*/ 36 h 46"/>
              <a:gd name="T40" fmla="*/ 0 w 58"/>
              <a:gd name="T41" fmla="*/ 34 h 46"/>
              <a:gd name="T42" fmla="*/ 0 w 58"/>
              <a:gd name="T43" fmla="*/ 34 h 46"/>
              <a:gd name="T44" fmla="*/ 6 w 58"/>
              <a:gd name="T45" fmla="*/ 42 h 46"/>
              <a:gd name="T46" fmla="*/ 10 w 58"/>
              <a:gd name="T47" fmla="*/ 44 h 46"/>
              <a:gd name="T48" fmla="*/ 14 w 58"/>
              <a:gd name="T49" fmla="*/ 42 h 46"/>
              <a:gd name="T50" fmla="*/ 18 w 58"/>
              <a:gd name="T51" fmla="*/ 40 h 46"/>
              <a:gd name="T52" fmla="*/ 24 w 58"/>
              <a:gd name="T53" fmla="*/ 40 h 46"/>
              <a:gd name="T54" fmla="*/ 24 w 58"/>
              <a:gd name="T55" fmla="*/ 42 h 46"/>
              <a:gd name="T56" fmla="*/ 28 w 58"/>
              <a:gd name="T57" fmla="*/ 46 h 46"/>
              <a:gd name="T58" fmla="*/ 30 w 58"/>
              <a:gd name="T59" fmla="*/ 46 h 46"/>
              <a:gd name="T60" fmla="*/ 34 w 58"/>
              <a:gd name="T61" fmla="*/ 32 h 46"/>
              <a:gd name="T62" fmla="*/ 38 w 58"/>
              <a:gd name="T63" fmla="*/ 28 h 46"/>
              <a:gd name="T64" fmla="*/ 42 w 58"/>
              <a:gd name="T65" fmla="*/ 28 h 46"/>
              <a:gd name="T66" fmla="*/ 48 w 58"/>
              <a:gd name="T67" fmla="*/ 28 h 46"/>
              <a:gd name="T68" fmla="*/ 48 w 58"/>
              <a:gd name="T69" fmla="*/ 26 h 46"/>
              <a:gd name="T70" fmla="*/ 54 w 58"/>
              <a:gd name="T71" fmla="*/ 24 h 46"/>
              <a:gd name="T72" fmla="*/ 54 w 58"/>
              <a:gd name="T73" fmla="*/ 22 h 46"/>
              <a:gd name="T74" fmla="*/ 52 w 58"/>
              <a:gd name="T75" fmla="*/ 18 h 46"/>
              <a:gd name="T76" fmla="*/ 54 w 58"/>
              <a:gd name="T77" fmla="*/ 18 h 46"/>
              <a:gd name="T78" fmla="*/ 58 w 58"/>
              <a:gd name="T79" fmla="*/ 14 h 46"/>
              <a:gd name="T80" fmla="*/ 58 w 58"/>
              <a:gd name="T81"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46">
                <a:moveTo>
                  <a:pt x="58" y="8"/>
                </a:moveTo>
                <a:lnTo>
                  <a:pt x="58" y="8"/>
                </a:lnTo>
                <a:lnTo>
                  <a:pt x="54" y="6"/>
                </a:lnTo>
                <a:lnTo>
                  <a:pt x="54" y="6"/>
                </a:lnTo>
                <a:lnTo>
                  <a:pt x="54" y="2"/>
                </a:lnTo>
                <a:lnTo>
                  <a:pt x="54" y="2"/>
                </a:lnTo>
                <a:lnTo>
                  <a:pt x="50" y="0"/>
                </a:lnTo>
                <a:lnTo>
                  <a:pt x="46" y="0"/>
                </a:lnTo>
                <a:lnTo>
                  <a:pt x="46" y="0"/>
                </a:lnTo>
                <a:lnTo>
                  <a:pt x="44" y="2"/>
                </a:lnTo>
                <a:lnTo>
                  <a:pt x="42" y="0"/>
                </a:lnTo>
                <a:lnTo>
                  <a:pt x="42" y="0"/>
                </a:lnTo>
                <a:lnTo>
                  <a:pt x="38" y="0"/>
                </a:lnTo>
                <a:lnTo>
                  <a:pt x="36" y="0"/>
                </a:lnTo>
                <a:lnTo>
                  <a:pt x="36" y="0"/>
                </a:lnTo>
                <a:lnTo>
                  <a:pt x="32" y="2"/>
                </a:lnTo>
                <a:lnTo>
                  <a:pt x="32" y="2"/>
                </a:lnTo>
                <a:lnTo>
                  <a:pt x="32" y="4"/>
                </a:lnTo>
                <a:lnTo>
                  <a:pt x="30" y="6"/>
                </a:lnTo>
                <a:lnTo>
                  <a:pt x="30" y="6"/>
                </a:lnTo>
                <a:lnTo>
                  <a:pt x="26" y="8"/>
                </a:lnTo>
                <a:lnTo>
                  <a:pt x="22" y="8"/>
                </a:lnTo>
                <a:lnTo>
                  <a:pt x="22" y="8"/>
                </a:lnTo>
                <a:lnTo>
                  <a:pt x="18" y="14"/>
                </a:lnTo>
                <a:lnTo>
                  <a:pt x="18" y="18"/>
                </a:lnTo>
                <a:lnTo>
                  <a:pt x="16" y="22"/>
                </a:lnTo>
                <a:lnTo>
                  <a:pt x="16" y="22"/>
                </a:lnTo>
                <a:lnTo>
                  <a:pt x="16" y="22"/>
                </a:lnTo>
                <a:lnTo>
                  <a:pt x="16" y="24"/>
                </a:lnTo>
                <a:lnTo>
                  <a:pt x="18" y="26"/>
                </a:lnTo>
                <a:lnTo>
                  <a:pt x="18" y="26"/>
                </a:lnTo>
                <a:lnTo>
                  <a:pt x="14" y="30"/>
                </a:lnTo>
                <a:lnTo>
                  <a:pt x="14" y="30"/>
                </a:lnTo>
                <a:lnTo>
                  <a:pt x="14" y="34"/>
                </a:lnTo>
                <a:lnTo>
                  <a:pt x="14" y="34"/>
                </a:lnTo>
                <a:lnTo>
                  <a:pt x="14" y="34"/>
                </a:lnTo>
                <a:lnTo>
                  <a:pt x="12" y="36"/>
                </a:lnTo>
                <a:lnTo>
                  <a:pt x="12" y="36"/>
                </a:lnTo>
                <a:lnTo>
                  <a:pt x="6" y="36"/>
                </a:lnTo>
                <a:lnTo>
                  <a:pt x="6" y="36"/>
                </a:lnTo>
                <a:lnTo>
                  <a:pt x="4" y="36"/>
                </a:lnTo>
                <a:lnTo>
                  <a:pt x="0" y="34"/>
                </a:lnTo>
                <a:lnTo>
                  <a:pt x="0" y="34"/>
                </a:lnTo>
                <a:lnTo>
                  <a:pt x="0" y="34"/>
                </a:lnTo>
                <a:lnTo>
                  <a:pt x="2" y="38"/>
                </a:lnTo>
                <a:lnTo>
                  <a:pt x="6" y="42"/>
                </a:lnTo>
                <a:lnTo>
                  <a:pt x="10" y="44"/>
                </a:lnTo>
                <a:lnTo>
                  <a:pt x="10" y="44"/>
                </a:lnTo>
                <a:lnTo>
                  <a:pt x="12" y="44"/>
                </a:lnTo>
                <a:lnTo>
                  <a:pt x="14" y="42"/>
                </a:lnTo>
                <a:lnTo>
                  <a:pt x="18" y="40"/>
                </a:lnTo>
                <a:lnTo>
                  <a:pt x="18" y="40"/>
                </a:lnTo>
                <a:lnTo>
                  <a:pt x="22" y="40"/>
                </a:lnTo>
                <a:lnTo>
                  <a:pt x="24" y="40"/>
                </a:lnTo>
                <a:lnTo>
                  <a:pt x="24" y="42"/>
                </a:lnTo>
                <a:lnTo>
                  <a:pt x="24" y="42"/>
                </a:lnTo>
                <a:lnTo>
                  <a:pt x="26" y="44"/>
                </a:lnTo>
                <a:lnTo>
                  <a:pt x="28" y="46"/>
                </a:lnTo>
                <a:lnTo>
                  <a:pt x="30" y="46"/>
                </a:lnTo>
                <a:lnTo>
                  <a:pt x="30" y="46"/>
                </a:lnTo>
                <a:lnTo>
                  <a:pt x="34" y="32"/>
                </a:lnTo>
                <a:lnTo>
                  <a:pt x="34" y="32"/>
                </a:lnTo>
                <a:lnTo>
                  <a:pt x="36" y="28"/>
                </a:lnTo>
                <a:lnTo>
                  <a:pt x="38" y="28"/>
                </a:lnTo>
                <a:lnTo>
                  <a:pt x="42" y="28"/>
                </a:lnTo>
                <a:lnTo>
                  <a:pt x="42" y="28"/>
                </a:lnTo>
                <a:lnTo>
                  <a:pt x="46" y="30"/>
                </a:lnTo>
                <a:lnTo>
                  <a:pt x="48" y="28"/>
                </a:lnTo>
                <a:lnTo>
                  <a:pt x="48" y="26"/>
                </a:lnTo>
                <a:lnTo>
                  <a:pt x="48" y="26"/>
                </a:lnTo>
                <a:lnTo>
                  <a:pt x="52" y="24"/>
                </a:lnTo>
                <a:lnTo>
                  <a:pt x="54" y="24"/>
                </a:lnTo>
                <a:lnTo>
                  <a:pt x="54" y="22"/>
                </a:lnTo>
                <a:lnTo>
                  <a:pt x="54" y="22"/>
                </a:lnTo>
                <a:lnTo>
                  <a:pt x="52" y="18"/>
                </a:lnTo>
                <a:lnTo>
                  <a:pt x="52" y="18"/>
                </a:lnTo>
                <a:lnTo>
                  <a:pt x="54" y="18"/>
                </a:lnTo>
                <a:lnTo>
                  <a:pt x="54" y="18"/>
                </a:lnTo>
                <a:lnTo>
                  <a:pt x="56" y="16"/>
                </a:lnTo>
                <a:lnTo>
                  <a:pt x="58" y="14"/>
                </a:lnTo>
                <a:lnTo>
                  <a:pt x="58" y="8"/>
                </a:lnTo>
                <a:lnTo>
                  <a:pt x="58"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6" name="Freeform 130">
            <a:extLst>
              <a:ext uri="{FF2B5EF4-FFF2-40B4-BE49-F238E27FC236}">
                <a16:creationId xmlns:a16="http://schemas.microsoft.com/office/drawing/2014/main" id="{FA256FE9-DDC2-42F4-8DD9-B58436438A5E}"/>
              </a:ext>
            </a:extLst>
          </p:cNvPr>
          <p:cNvSpPr>
            <a:spLocks/>
          </p:cNvSpPr>
          <p:nvPr userDrawn="1"/>
        </p:nvSpPr>
        <p:spPr bwMode="auto">
          <a:xfrm>
            <a:off x="7651921" y="2819222"/>
            <a:ext cx="184474" cy="113255"/>
          </a:xfrm>
          <a:custGeom>
            <a:avLst/>
            <a:gdLst>
              <a:gd name="T0" fmla="*/ 108 w 110"/>
              <a:gd name="T1" fmla="*/ 42 h 66"/>
              <a:gd name="T2" fmla="*/ 98 w 110"/>
              <a:gd name="T3" fmla="*/ 40 h 66"/>
              <a:gd name="T4" fmla="*/ 86 w 110"/>
              <a:gd name="T5" fmla="*/ 38 h 66"/>
              <a:gd name="T6" fmla="*/ 80 w 110"/>
              <a:gd name="T7" fmla="*/ 34 h 66"/>
              <a:gd name="T8" fmla="*/ 74 w 110"/>
              <a:gd name="T9" fmla="*/ 34 h 66"/>
              <a:gd name="T10" fmla="*/ 70 w 110"/>
              <a:gd name="T11" fmla="*/ 30 h 66"/>
              <a:gd name="T12" fmla="*/ 64 w 110"/>
              <a:gd name="T13" fmla="*/ 24 h 66"/>
              <a:gd name="T14" fmla="*/ 58 w 110"/>
              <a:gd name="T15" fmla="*/ 20 h 66"/>
              <a:gd name="T16" fmla="*/ 58 w 110"/>
              <a:gd name="T17" fmla="*/ 14 h 66"/>
              <a:gd name="T18" fmla="*/ 52 w 110"/>
              <a:gd name="T19" fmla="*/ 10 h 66"/>
              <a:gd name="T20" fmla="*/ 46 w 110"/>
              <a:gd name="T21" fmla="*/ 12 h 66"/>
              <a:gd name="T22" fmla="*/ 40 w 110"/>
              <a:gd name="T23" fmla="*/ 12 h 66"/>
              <a:gd name="T24" fmla="*/ 34 w 110"/>
              <a:gd name="T25" fmla="*/ 2 h 66"/>
              <a:gd name="T26" fmla="*/ 28 w 110"/>
              <a:gd name="T27" fmla="*/ 0 h 66"/>
              <a:gd name="T28" fmla="*/ 22 w 110"/>
              <a:gd name="T29" fmla="*/ 0 h 66"/>
              <a:gd name="T30" fmla="*/ 16 w 110"/>
              <a:gd name="T31" fmla="*/ 0 h 66"/>
              <a:gd name="T32" fmla="*/ 12 w 110"/>
              <a:gd name="T33" fmla="*/ 0 h 66"/>
              <a:gd name="T34" fmla="*/ 4 w 110"/>
              <a:gd name="T35" fmla="*/ 6 h 66"/>
              <a:gd name="T36" fmla="*/ 0 w 110"/>
              <a:gd name="T37" fmla="*/ 14 h 66"/>
              <a:gd name="T38" fmla="*/ 2 w 110"/>
              <a:gd name="T39" fmla="*/ 22 h 66"/>
              <a:gd name="T40" fmla="*/ 10 w 110"/>
              <a:gd name="T41" fmla="*/ 26 h 66"/>
              <a:gd name="T42" fmla="*/ 10 w 110"/>
              <a:gd name="T43" fmla="*/ 30 h 66"/>
              <a:gd name="T44" fmla="*/ 18 w 110"/>
              <a:gd name="T45" fmla="*/ 34 h 66"/>
              <a:gd name="T46" fmla="*/ 26 w 110"/>
              <a:gd name="T47" fmla="*/ 36 h 66"/>
              <a:gd name="T48" fmla="*/ 34 w 110"/>
              <a:gd name="T49" fmla="*/ 42 h 66"/>
              <a:gd name="T50" fmla="*/ 42 w 110"/>
              <a:gd name="T51" fmla="*/ 42 h 66"/>
              <a:gd name="T52" fmla="*/ 48 w 110"/>
              <a:gd name="T53" fmla="*/ 46 h 66"/>
              <a:gd name="T54" fmla="*/ 52 w 110"/>
              <a:gd name="T55" fmla="*/ 50 h 66"/>
              <a:gd name="T56" fmla="*/ 58 w 110"/>
              <a:gd name="T57" fmla="*/ 52 h 66"/>
              <a:gd name="T58" fmla="*/ 64 w 110"/>
              <a:gd name="T59" fmla="*/ 58 h 66"/>
              <a:gd name="T60" fmla="*/ 74 w 110"/>
              <a:gd name="T61" fmla="*/ 58 h 66"/>
              <a:gd name="T62" fmla="*/ 86 w 110"/>
              <a:gd name="T63" fmla="*/ 64 h 66"/>
              <a:gd name="T64" fmla="*/ 94 w 110"/>
              <a:gd name="T65" fmla="*/ 64 h 66"/>
              <a:gd name="T66" fmla="*/ 100 w 110"/>
              <a:gd name="T67" fmla="*/ 66 h 66"/>
              <a:gd name="T68" fmla="*/ 106 w 110"/>
              <a:gd name="T69" fmla="*/ 64 h 66"/>
              <a:gd name="T70" fmla="*/ 108 w 110"/>
              <a:gd name="T71" fmla="*/ 62 h 66"/>
              <a:gd name="T72" fmla="*/ 110 w 110"/>
              <a:gd name="T73" fmla="*/ 58 h 66"/>
              <a:gd name="T74" fmla="*/ 106 w 110"/>
              <a:gd name="T75" fmla="*/ 54 h 66"/>
              <a:gd name="T76" fmla="*/ 108 w 110"/>
              <a:gd name="T77" fmla="*/ 50 h 66"/>
              <a:gd name="T78" fmla="*/ 108 w 110"/>
              <a:gd name="T79"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66">
                <a:moveTo>
                  <a:pt x="108" y="42"/>
                </a:moveTo>
                <a:lnTo>
                  <a:pt x="98" y="40"/>
                </a:lnTo>
                <a:lnTo>
                  <a:pt x="86" y="38"/>
                </a:lnTo>
                <a:lnTo>
                  <a:pt x="80" y="34"/>
                </a:lnTo>
                <a:lnTo>
                  <a:pt x="74" y="34"/>
                </a:lnTo>
                <a:lnTo>
                  <a:pt x="70" y="30"/>
                </a:lnTo>
                <a:lnTo>
                  <a:pt x="64" y="24"/>
                </a:lnTo>
                <a:lnTo>
                  <a:pt x="58" y="20"/>
                </a:lnTo>
                <a:lnTo>
                  <a:pt x="58" y="14"/>
                </a:lnTo>
                <a:lnTo>
                  <a:pt x="52" y="10"/>
                </a:lnTo>
                <a:lnTo>
                  <a:pt x="46" y="12"/>
                </a:lnTo>
                <a:lnTo>
                  <a:pt x="40" y="12"/>
                </a:lnTo>
                <a:lnTo>
                  <a:pt x="34" y="2"/>
                </a:lnTo>
                <a:lnTo>
                  <a:pt x="28" y="0"/>
                </a:lnTo>
                <a:lnTo>
                  <a:pt x="22" y="0"/>
                </a:lnTo>
                <a:lnTo>
                  <a:pt x="16" y="0"/>
                </a:lnTo>
                <a:lnTo>
                  <a:pt x="12" y="0"/>
                </a:lnTo>
                <a:lnTo>
                  <a:pt x="4" y="6"/>
                </a:lnTo>
                <a:lnTo>
                  <a:pt x="0" y="14"/>
                </a:lnTo>
                <a:lnTo>
                  <a:pt x="2" y="22"/>
                </a:lnTo>
                <a:lnTo>
                  <a:pt x="10" y="26"/>
                </a:lnTo>
                <a:lnTo>
                  <a:pt x="10" y="30"/>
                </a:lnTo>
                <a:lnTo>
                  <a:pt x="18" y="34"/>
                </a:lnTo>
                <a:lnTo>
                  <a:pt x="26" y="36"/>
                </a:lnTo>
                <a:lnTo>
                  <a:pt x="34" y="42"/>
                </a:lnTo>
                <a:lnTo>
                  <a:pt x="42" y="42"/>
                </a:lnTo>
                <a:lnTo>
                  <a:pt x="48" y="46"/>
                </a:lnTo>
                <a:lnTo>
                  <a:pt x="52" y="50"/>
                </a:lnTo>
                <a:lnTo>
                  <a:pt x="58" y="52"/>
                </a:lnTo>
                <a:lnTo>
                  <a:pt x="64" y="58"/>
                </a:lnTo>
                <a:lnTo>
                  <a:pt x="74" y="58"/>
                </a:lnTo>
                <a:lnTo>
                  <a:pt x="86" y="64"/>
                </a:lnTo>
                <a:lnTo>
                  <a:pt x="94" y="64"/>
                </a:lnTo>
                <a:lnTo>
                  <a:pt x="100" y="66"/>
                </a:lnTo>
                <a:lnTo>
                  <a:pt x="106" y="64"/>
                </a:lnTo>
                <a:lnTo>
                  <a:pt x="108" y="62"/>
                </a:lnTo>
                <a:lnTo>
                  <a:pt x="110" y="58"/>
                </a:lnTo>
                <a:lnTo>
                  <a:pt x="106" y="54"/>
                </a:lnTo>
                <a:lnTo>
                  <a:pt x="108" y="50"/>
                </a:lnTo>
                <a:lnTo>
                  <a:pt x="108" y="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7" name="Freeform 131">
            <a:extLst>
              <a:ext uri="{FF2B5EF4-FFF2-40B4-BE49-F238E27FC236}">
                <a16:creationId xmlns:a16="http://schemas.microsoft.com/office/drawing/2014/main" id="{B2B16D24-6192-4D31-A08F-B9EBF99CF84D}"/>
              </a:ext>
            </a:extLst>
          </p:cNvPr>
          <p:cNvSpPr>
            <a:spLocks/>
          </p:cNvSpPr>
          <p:nvPr userDrawn="1"/>
        </p:nvSpPr>
        <p:spPr bwMode="auto">
          <a:xfrm>
            <a:off x="6119110" y="4171420"/>
            <a:ext cx="298512" cy="350062"/>
          </a:xfrm>
          <a:custGeom>
            <a:avLst/>
            <a:gdLst>
              <a:gd name="T0" fmla="*/ 2 w 178"/>
              <a:gd name="T1" fmla="*/ 8 h 204"/>
              <a:gd name="T2" fmla="*/ 0 w 178"/>
              <a:gd name="T3" fmla="*/ 20 h 204"/>
              <a:gd name="T4" fmla="*/ 6 w 178"/>
              <a:gd name="T5" fmla="*/ 26 h 204"/>
              <a:gd name="T6" fmla="*/ 12 w 178"/>
              <a:gd name="T7" fmla="*/ 36 h 204"/>
              <a:gd name="T8" fmla="*/ 16 w 178"/>
              <a:gd name="T9" fmla="*/ 44 h 204"/>
              <a:gd name="T10" fmla="*/ 18 w 178"/>
              <a:gd name="T11" fmla="*/ 54 h 204"/>
              <a:gd name="T12" fmla="*/ 22 w 178"/>
              <a:gd name="T13" fmla="*/ 70 h 204"/>
              <a:gd name="T14" fmla="*/ 26 w 178"/>
              <a:gd name="T15" fmla="*/ 70 h 204"/>
              <a:gd name="T16" fmla="*/ 28 w 178"/>
              <a:gd name="T17" fmla="*/ 82 h 204"/>
              <a:gd name="T18" fmla="*/ 32 w 178"/>
              <a:gd name="T19" fmla="*/ 86 h 204"/>
              <a:gd name="T20" fmla="*/ 36 w 178"/>
              <a:gd name="T21" fmla="*/ 90 h 204"/>
              <a:gd name="T22" fmla="*/ 36 w 178"/>
              <a:gd name="T23" fmla="*/ 92 h 204"/>
              <a:gd name="T24" fmla="*/ 38 w 178"/>
              <a:gd name="T25" fmla="*/ 96 h 204"/>
              <a:gd name="T26" fmla="*/ 36 w 178"/>
              <a:gd name="T27" fmla="*/ 102 h 204"/>
              <a:gd name="T28" fmla="*/ 36 w 178"/>
              <a:gd name="T29" fmla="*/ 110 h 204"/>
              <a:gd name="T30" fmla="*/ 36 w 178"/>
              <a:gd name="T31" fmla="*/ 112 h 204"/>
              <a:gd name="T32" fmla="*/ 38 w 178"/>
              <a:gd name="T33" fmla="*/ 122 h 204"/>
              <a:gd name="T34" fmla="*/ 36 w 178"/>
              <a:gd name="T35" fmla="*/ 126 h 204"/>
              <a:gd name="T36" fmla="*/ 42 w 178"/>
              <a:gd name="T37" fmla="*/ 138 h 204"/>
              <a:gd name="T38" fmla="*/ 40 w 178"/>
              <a:gd name="T39" fmla="*/ 150 h 204"/>
              <a:gd name="T40" fmla="*/ 42 w 178"/>
              <a:gd name="T41" fmla="*/ 156 h 204"/>
              <a:gd name="T42" fmla="*/ 42 w 178"/>
              <a:gd name="T43" fmla="*/ 170 h 204"/>
              <a:gd name="T44" fmla="*/ 44 w 178"/>
              <a:gd name="T45" fmla="*/ 170 h 204"/>
              <a:gd name="T46" fmla="*/ 48 w 178"/>
              <a:gd name="T47" fmla="*/ 186 h 204"/>
              <a:gd name="T48" fmla="*/ 58 w 178"/>
              <a:gd name="T49" fmla="*/ 192 h 204"/>
              <a:gd name="T50" fmla="*/ 60 w 178"/>
              <a:gd name="T51" fmla="*/ 200 h 204"/>
              <a:gd name="T52" fmla="*/ 62 w 178"/>
              <a:gd name="T53" fmla="*/ 202 h 204"/>
              <a:gd name="T54" fmla="*/ 68 w 178"/>
              <a:gd name="T55" fmla="*/ 196 h 204"/>
              <a:gd name="T56" fmla="*/ 74 w 178"/>
              <a:gd name="T57" fmla="*/ 194 h 204"/>
              <a:gd name="T58" fmla="*/ 74 w 178"/>
              <a:gd name="T59" fmla="*/ 198 h 204"/>
              <a:gd name="T60" fmla="*/ 76 w 178"/>
              <a:gd name="T61" fmla="*/ 204 h 204"/>
              <a:gd name="T62" fmla="*/ 86 w 178"/>
              <a:gd name="T63" fmla="*/ 204 h 204"/>
              <a:gd name="T64" fmla="*/ 92 w 178"/>
              <a:gd name="T65" fmla="*/ 202 h 204"/>
              <a:gd name="T66" fmla="*/ 96 w 178"/>
              <a:gd name="T67" fmla="*/ 196 h 204"/>
              <a:gd name="T68" fmla="*/ 104 w 178"/>
              <a:gd name="T69" fmla="*/ 144 h 204"/>
              <a:gd name="T70" fmla="*/ 120 w 178"/>
              <a:gd name="T71" fmla="*/ 26 h 204"/>
              <a:gd name="T72" fmla="*/ 160 w 178"/>
              <a:gd name="T73" fmla="*/ 24 h 204"/>
              <a:gd name="T74" fmla="*/ 164 w 178"/>
              <a:gd name="T75" fmla="*/ 22 h 204"/>
              <a:gd name="T76" fmla="*/ 168 w 178"/>
              <a:gd name="T77" fmla="*/ 22 h 204"/>
              <a:gd name="T78" fmla="*/ 172 w 178"/>
              <a:gd name="T79" fmla="*/ 20 h 204"/>
              <a:gd name="T80" fmla="*/ 178 w 178"/>
              <a:gd name="T81" fmla="*/ 18 h 204"/>
              <a:gd name="T82" fmla="*/ 174 w 178"/>
              <a:gd name="T83" fmla="*/ 14 h 204"/>
              <a:gd name="T84" fmla="*/ 168 w 178"/>
              <a:gd name="T85" fmla="*/ 12 h 204"/>
              <a:gd name="T86" fmla="*/ 122 w 178"/>
              <a:gd name="T87" fmla="*/ 20 h 204"/>
              <a:gd name="T88" fmla="*/ 112 w 178"/>
              <a:gd name="T89" fmla="*/ 16 h 204"/>
              <a:gd name="T90" fmla="*/ 106 w 178"/>
              <a:gd name="T91" fmla="*/ 16 h 204"/>
              <a:gd name="T92" fmla="*/ 102 w 178"/>
              <a:gd name="T93" fmla="*/ 16 h 204"/>
              <a:gd name="T94" fmla="*/ 96 w 178"/>
              <a:gd name="T95" fmla="*/ 14 h 204"/>
              <a:gd name="T96" fmla="*/ 92 w 178"/>
              <a:gd name="T97" fmla="*/ 12 h 204"/>
              <a:gd name="T98" fmla="*/ 88 w 178"/>
              <a:gd name="T99" fmla="*/ 10 h 204"/>
              <a:gd name="T100" fmla="*/ 26 w 178"/>
              <a:gd name="T101" fmla="*/ 4 h 204"/>
              <a:gd name="T102" fmla="*/ 18 w 178"/>
              <a:gd name="T103" fmla="*/ 0 h 204"/>
              <a:gd name="T104" fmla="*/ 14 w 178"/>
              <a:gd name="T105" fmla="*/ 2 h 204"/>
              <a:gd name="T106" fmla="*/ 10 w 178"/>
              <a:gd name="T107" fmla="*/ 4 h 204"/>
              <a:gd name="T108" fmla="*/ 0 w 178"/>
              <a:gd name="T109" fmla="*/ 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204">
                <a:moveTo>
                  <a:pt x="0" y="4"/>
                </a:moveTo>
                <a:lnTo>
                  <a:pt x="0" y="4"/>
                </a:lnTo>
                <a:lnTo>
                  <a:pt x="2" y="8"/>
                </a:lnTo>
                <a:lnTo>
                  <a:pt x="2" y="8"/>
                </a:lnTo>
                <a:lnTo>
                  <a:pt x="0" y="12"/>
                </a:lnTo>
                <a:lnTo>
                  <a:pt x="0" y="20"/>
                </a:lnTo>
                <a:lnTo>
                  <a:pt x="0" y="24"/>
                </a:lnTo>
                <a:lnTo>
                  <a:pt x="0" y="24"/>
                </a:lnTo>
                <a:lnTo>
                  <a:pt x="6" y="26"/>
                </a:lnTo>
                <a:lnTo>
                  <a:pt x="6" y="26"/>
                </a:lnTo>
                <a:lnTo>
                  <a:pt x="12" y="36"/>
                </a:lnTo>
                <a:lnTo>
                  <a:pt x="12" y="36"/>
                </a:lnTo>
                <a:lnTo>
                  <a:pt x="16" y="38"/>
                </a:lnTo>
                <a:lnTo>
                  <a:pt x="16" y="38"/>
                </a:lnTo>
                <a:lnTo>
                  <a:pt x="16" y="44"/>
                </a:lnTo>
                <a:lnTo>
                  <a:pt x="14" y="46"/>
                </a:lnTo>
                <a:lnTo>
                  <a:pt x="14" y="46"/>
                </a:lnTo>
                <a:lnTo>
                  <a:pt x="18" y="54"/>
                </a:lnTo>
                <a:lnTo>
                  <a:pt x="18" y="54"/>
                </a:lnTo>
                <a:lnTo>
                  <a:pt x="18" y="60"/>
                </a:lnTo>
                <a:lnTo>
                  <a:pt x="22" y="70"/>
                </a:lnTo>
                <a:lnTo>
                  <a:pt x="22" y="70"/>
                </a:lnTo>
                <a:lnTo>
                  <a:pt x="26" y="70"/>
                </a:lnTo>
                <a:lnTo>
                  <a:pt x="26" y="70"/>
                </a:lnTo>
                <a:lnTo>
                  <a:pt x="28" y="74"/>
                </a:lnTo>
                <a:lnTo>
                  <a:pt x="28" y="76"/>
                </a:lnTo>
                <a:lnTo>
                  <a:pt x="28" y="82"/>
                </a:lnTo>
                <a:lnTo>
                  <a:pt x="30" y="82"/>
                </a:lnTo>
                <a:lnTo>
                  <a:pt x="30" y="82"/>
                </a:lnTo>
                <a:lnTo>
                  <a:pt x="32" y="86"/>
                </a:lnTo>
                <a:lnTo>
                  <a:pt x="32" y="86"/>
                </a:lnTo>
                <a:lnTo>
                  <a:pt x="36" y="90"/>
                </a:lnTo>
                <a:lnTo>
                  <a:pt x="36" y="90"/>
                </a:lnTo>
                <a:lnTo>
                  <a:pt x="36" y="92"/>
                </a:lnTo>
                <a:lnTo>
                  <a:pt x="36" y="92"/>
                </a:lnTo>
                <a:lnTo>
                  <a:pt x="36" y="92"/>
                </a:lnTo>
                <a:lnTo>
                  <a:pt x="36" y="94"/>
                </a:lnTo>
                <a:lnTo>
                  <a:pt x="38" y="96"/>
                </a:lnTo>
                <a:lnTo>
                  <a:pt x="38" y="96"/>
                </a:lnTo>
                <a:lnTo>
                  <a:pt x="34" y="100"/>
                </a:lnTo>
                <a:lnTo>
                  <a:pt x="34" y="100"/>
                </a:lnTo>
                <a:lnTo>
                  <a:pt x="36" y="102"/>
                </a:lnTo>
                <a:lnTo>
                  <a:pt x="36" y="102"/>
                </a:lnTo>
                <a:lnTo>
                  <a:pt x="36" y="104"/>
                </a:lnTo>
                <a:lnTo>
                  <a:pt x="36" y="110"/>
                </a:lnTo>
                <a:lnTo>
                  <a:pt x="36" y="110"/>
                </a:lnTo>
                <a:lnTo>
                  <a:pt x="38" y="112"/>
                </a:lnTo>
                <a:lnTo>
                  <a:pt x="36" y="112"/>
                </a:lnTo>
                <a:lnTo>
                  <a:pt x="36" y="112"/>
                </a:lnTo>
                <a:lnTo>
                  <a:pt x="38" y="122"/>
                </a:lnTo>
                <a:lnTo>
                  <a:pt x="38" y="122"/>
                </a:lnTo>
                <a:lnTo>
                  <a:pt x="36" y="124"/>
                </a:lnTo>
                <a:lnTo>
                  <a:pt x="36" y="126"/>
                </a:lnTo>
                <a:lnTo>
                  <a:pt x="36" y="126"/>
                </a:lnTo>
                <a:lnTo>
                  <a:pt x="38" y="132"/>
                </a:lnTo>
                <a:lnTo>
                  <a:pt x="42" y="138"/>
                </a:lnTo>
                <a:lnTo>
                  <a:pt x="42" y="138"/>
                </a:lnTo>
                <a:lnTo>
                  <a:pt x="42" y="148"/>
                </a:lnTo>
                <a:lnTo>
                  <a:pt x="42" y="148"/>
                </a:lnTo>
                <a:lnTo>
                  <a:pt x="40" y="150"/>
                </a:lnTo>
                <a:lnTo>
                  <a:pt x="40" y="150"/>
                </a:lnTo>
                <a:lnTo>
                  <a:pt x="40" y="152"/>
                </a:lnTo>
                <a:lnTo>
                  <a:pt x="42" y="156"/>
                </a:lnTo>
                <a:lnTo>
                  <a:pt x="42" y="156"/>
                </a:lnTo>
                <a:lnTo>
                  <a:pt x="42" y="162"/>
                </a:lnTo>
                <a:lnTo>
                  <a:pt x="42" y="170"/>
                </a:lnTo>
                <a:lnTo>
                  <a:pt x="42" y="170"/>
                </a:lnTo>
                <a:lnTo>
                  <a:pt x="44" y="170"/>
                </a:lnTo>
                <a:lnTo>
                  <a:pt x="44" y="170"/>
                </a:lnTo>
                <a:lnTo>
                  <a:pt x="46" y="180"/>
                </a:lnTo>
                <a:lnTo>
                  <a:pt x="46" y="180"/>
                </a:lnTo>
                <a:lnTo>
                  <a:pt x="48" y="186"/>
                </a:lnTo>
                <a:lnTo>
                  <a:pt x="54" y="192"/>
                </a:lnTo>
                <a:lnTo>
                  <a:pt x="54" y="192"/>
                </a:lnTo>
                <a:lnTo>
                  <a:pt x="58" y="192"/>
                </a:lnTo>
                <a:lnTo>
                  <a:pt x="58" y="192"/>
                </a:lnTo>
                <a:lnTo>
                  <a:pt x="60" y="196"/>
                </a:lnTo>
                <a:lnTo>
                  <a:pt x="60" y="200"/>
                </a:lnTo>
                <a:lnTo>
                  <a:pt x="60" y="200"/>
                </a:lnTo>
                <a:lnTo>
                  <a:pt x="62" y="202"/>
                </a:lnTo>
                <a:lnTo>
                  <a:pt x="62" y="202"/>
                </a:lnTo>
                <a:lnTo>
                  <a:pt x="64" y="200"/>
                </a:lnTo>
                <a:lnTo>
                  <a:pt x="68" y="196"/>
                </a:lnTo>
                <a:lnTo>
                  <a:pt x="68" y="196"/>
                </a:lnTo>
                <a:lnTo>
                  <a:pt x="70" y="194"/>
                </a:lnTo>
                <a:lnTo>
                  <a:pt x="74" y="194"/>
                </a:lnTo>
                <a:lnTo>
                  <a:pt x="74" y="194"/>
                </a:lnTo>
                <a:lnTo>
                  <a:pt x="74" y="196"/>
                </a:lnTo>
                <a:lnTo>
                  <a:pt x="74" y="196"/>
                </a:lnTo>
                <a:lnTo>
                  <a:pt x="74" y="198"/>
                </a:lnTo>
                <a:lnTo>
                  <a:pt x="74" y="200"/>
                </a:lnTo>
                <a:lnTo>
                  <a:pt x="74" y="200"/>
                </a:lnTo>
                <a:lnTo>
                  <a:pt x="76" y="204"/>
                </a:lnTo>
                <a:lnTo>
                  <a:pt x="82" y="204"/>
                </a:lnTo>
                <a:lnTo>
                  <a:pt x="82" y="204"/>
                </a:lnTo>
                <a:lnTo>
                  <a:pt x="86" y="204"/>
                </a:lnTo>
                <a:lnTo>
                  <a:pt x="88" y="204"/>
                </a:lnTo>
                <a:lnTo>
                  <a:pt x="88" y="204"/>
                </a:lnTo>
                <a:lnTo>
                  <a:pt x="92" y="202"/>
                </a:lnTo>
                <a:lnTo>
                  <a:pt x="94" y="198"/>
                </a:lnTo>
                <a:lnTo>
                  <a:pt x="94" y="198"/>
                </a:lnTo>
                <a:lnTo>
                  <a:pt x="96" y="196"/>
                </a:lnTo>
                <a:lnTo>
                  <a:pt x="100" y="196"/>
                </a:lnTo>
                <a:lnTo>
                  <a:pt x="102" y="196"/>
                </a:lnTo>
                <a:lnTo>
                  <a:pt x="104" y="144"/>
                </a:lnTo>
                <a:lnTo>
                  <a:pt x="104" y="84"/>
                </a:lnTo>
                <a:lnTo>
                  <a:pt x="120" y="84"/>
                </a:lnTo>
                <a:lnTo>
                  <a:pt x="120" y="26"/>
                </a:lnTo>
                <a:lnTo>
                  <a:pt x="130" y="26"/>
                </a:lnTo>
                <a:lnTo>
                  <a:pt x="160" y="24"/>
                </a:lnTo>
                <a:lnTo>
                  <a:pt x="160" y="24"/>
                </a:lnTo>
                <a:lnTo>
                  <a:pt x="162" y="24"/>
                </a:lnTo>
                <a:lnTo>
                  <a:pt x="164" y="24"/>
                </a:lnTo>
                <a:lnTo>
                  <a:pt x="164" y="22"/>
                </a:lnTo>
                <a:lnTo>
                  <a:pt x="164" y="22"/>
                </a:lnTo>
                <a:lnTo>
                  <a:pt x="166" y="20"/>
                </a:lnTo>
                <a:lnTo>
                  <a:pt x="168" y="22"/>
                </a:lnTo>
                <a:lnTo>
                  <a:pt x="170" y="22"/>
                </a:lnTo>
                <a:lnTo>
                  <a:pt x="172" y="20"/>
                </a:lnTo>
                <a:lnTo>
                  <a:pt x="172" y="20"/>
                </a:lnTo>
                <a:lnTo>
                  <a:pt x="174" y="18"/>
                </a:lnTo>
                <a:lnTo>
                  <a:pt x="176" y="18"/>
                </a:lnTo>
                <a:lnTo>
                  <a:pt x="178" y="18"/>
                </a:lnTo>
                <a:lnTo>
                  <a:pt x="178" y="18"/>
                </a:lnTo>
                <a:lnTo>
                  <a:pt x="176" y="16"/>
                </a:lnTo>
                <a:lnTo>
                  <a:pt x="174" y="14"/>
                </a:lnTo>
                <a:lnTo>
                  <a:pt x="174" y="14"/>
                </a:lnTo>
                <a:lnTo>
                  <a:pt x="172" y="12"/>
                </a:lnTo>
                <a:lnTo>
                  <a:pt x="168" y="12"/>
                </a:lnTo>
                <a:lnTo>
                  <a:pt x="152" y="14"/>
                </a:lnTo>
                <a:lnTo>
                  <a:pt x="122" y="20"/>
                </a:lnTo>
                <a:lnTo>
                  <a:pt x="122" y="20"/>
                </a:lnTo>
                <a:lnTo>
                  <a:pt x="118" y="18"/>
                </a:lnTo>
                <a:lnTo>
                  <a:pt x="112" y="16"/>
                </a:lnTo>
                <a:lnTo>
                  <a:pt x="112" y="16"/>
                </a:lnTo>
                <a:lnTo>
                  <a:pt x="110" y="16"/>
                </a:lnTo>
                <a:lnTo>
                  <a:pt x="110" y="16"/>
                </a:lnTo>
                <a:lnTo>
                  <a:pt x="106" y="16"/>
                </a:lnTo>
                <a:lnTo>
                  <a:pt x="106" y="16"/>
                </a:lnTo>
                <a:lnTo>
                  <a:pt x="104" y="16"/>
                </a:lnTo>
                <a:lnTo>
                  <a:pt x="102" y="16"/>
                </a:lnTo>
                <a:lnTo>
                  <a:pt x="100" y="14"/>
                </a:lnTo>
                <a:lnTo>
                  <a:pt x="96" y="14"/>
                </a:lnTo>
                <a:lnTo>
                  <a:pt x="96" y="14"/>
                </a:lnTo>
                <a:lnTo>
                  <a:pt x="94" y="14"/>
                </a:lnTo>
                <a:lnTo>
                  <a:pt x="92" y="14"/>
                </a:lnTo>
                <a:lnTo>
                  <a:pt x="92" y="12"/>
                </a:lnTo>
                <a:lnTo>
                  <a:pt x="90" y="12"/>
                </a:lnTo>
                <a:lnTo>
                  <a:pt x="90" y="12"/>
                </a:lnTo>
                <a:lnTo>
                  <a:pt x="88" y="10"/>
                </a:lnTo>
                <a:lnTo>
                  <a:pt x="86" y="8"/>
                </a:lnTo>
                <a:lnTo>
                  <a:pt x="84" y="6"/>
                </a:lnTo>
                <a:lnTo>
                  <a:pt x="26" y="4"/>
                </a:lnTo>
                <a:lnTo>
                  <a:pt x="26" y="4"/>
                </a:lnTo>
                <a:lnTo>
                  <a:pt x="22" y="2"/>
                </a:lnTo>
                <a:lnTo>
                  <a:pt x="18" y="0"/>
                </a:lnTo>
                <a:lnTo>
                  <a:pt x="18" y="0"/>
                </a:lnTo>
                <a:lnTo>
                  <a:pt x="16" y="2"/>
                </a:lnTo>
                <a:lnTo>
                  <a:pt x="14" y="2"/>
                </a:lnTo>
                <a:lnTo>
                  <a:pt x="12" y="4"/>
                </a:lnTo>
                <a:lnTo>
                  <a:pt x="10" y="4"/>
                </a:lnTo>
                <a:lnTo>
                  <a:pt x="10" y="4"/>
                </a:lnTo>
                <a:lnTo>
                  <a:pt x="4" y="4"/>
                </a:lnTo>
                <a:lnTo>
                  <a:pt x="0" y="4"/>
                </a:lnTo>
                <a:lnTo>
                  <a:pt x="0"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8" name="Freeform 132">
            <a:extLst>
              <a:ext uri="{FF2B5EF4-FFF2-40B4-BE49-F238E27FC236}">
                <a16:creationId xmlns:a16="http://schemas.microsoft.com/office/drawing/2014/main" id="{96B12CCD-CD75-4D53-B570-101EC92DE1A2}"/>
              </a:ext>
            </a:extLst>
          </p:cNvPr>
          <p:cNvSpPr>
            <a:spLocks/>
          </p:cNvSpPr>
          <p:nvPr userDrawn="1"/>
        </p:nvSpPr>
        <p:spPr bwMode="auto">
          <a:xfrm>
            <a:off x="6907317" y="2489753"/>
            <a:ext cx="20125" cy="24024"/>
          </a:xfrm>
          <a:custGeom>
            <a:avLst/>
            <a:gdLst>
              <a:gd name="T0" fmla="*/ 10 w 12"/>
              <a:gd name="T1" fmla="*/ 14 h 14"/>
              <a:gd name="T2" fmla="*/ 10 w 12"/>
              <a:gd name="T3" fmla="*/ 14 h 14"/>
              <a:gd name="T4" fmla="*/ 4 w 12"/>
              <a:gd name="T5" fmla="*/ 8 h 14"/>
              <a:gd name="T6" fmla="*/ 2 w 12"/>
              <a:gd name="T7" fmla="*/ 6 h 14"/>
              <a:gd name="T8" fmla="*/ 0 w 12"/>
              <a:gd name="T9" fmla="*/ 2 h 14"/>
              <a:gd name="T10" fmla="*/ 6 w 12"/>
              <a:gd name="T11" fmla="*/ 0 h 14"/>
              <a:gd name="T12" fmla="*/ 8 w 12"/>
              <a:gd name="T13" fmla="*/ 4 h 14"/>
              <a:gd name="T14" fmla="*/ 6 w 12"/>
              <a:gd name="T15" fmla="*/ 4 h 14"/>
              <a:gd name="T16" fmla="*/ 8 w 12"/>
              <a:gd name="T17" fmla="*/ 8 h 14"/>
              <a:gd name="T18" fmla="*/ 8 w 12"/>
              <a:gd name="T19" fmla="*/ 8 h 14"/>
              <a:gd name="T20" fmla="*/ 12 w 12"/>
              <a:gd name="T21" fmla="*/ 10 h 14"/>
              <a:gd name="T22" fmla="*/ 12 w 12"/>
              <a:gd name="T23" fmla="*/ 12 h 14"/>
              <a:gd name="T24" fmla="*/ 12 w 12"/>
              <a:gd name="T25" fmla="*/ 12 h 14"/>
              <a:gd name="T26" fmla="*/ 12 w 12"/>
              <a:gd name="T27" fmla="*/ 14 h 14"/>
              <a:gd name="T28" fmla="*/ 10 w 12"/>
              <a:gd name="T29" fmla="*/ 14 h 14"/>
              <a:gd name="T30" fmla="*/ 10 w 12"/>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4">
                <a:moveTo>
                  <a:pt x="10" y="14"/>
                </a:moveTo>
                <a:lnTo>
                  <a:pt x="10" y="14"/>
                </a:lnTo>
                <a:lnTo>
                  <a:pt x="4" y="8"/>
                </a:lnTo>
                <a:lnTo>
                  <a:pt x="2" y="6"/>
                </a:lnTo>
                <a:lnTo>
                  <a:pt x="0" y="2"/>
                </a:lnTo>
                <a:lnTo>
                  <a:pt x="6" y="0"/>
                </a:lnTo>
                <a:lnTo>
                  <a:pt x="8" y="4"/>
                </a:lnTo>
                <a:lnTo>
                  <a:pt x="6" y="4"/>
                </a:lnTo>
                <a:lnTo>
                  <a:pt x="8" y="8"/>
                </a:lnTo>
                <a:lnTo>
                  <a:pt x="8" y="8"/>
                </a:lnTo>
                <a:lnTo>
                  <a:pt x="12" y="10"/>
                </a:lnTo>
                <a:lnTo>
                  <a:pt x="12" y="12"/>
                </a:lnTo>
                <a:lnTo>
                  <a:pt x="12" y="12"/>
                </a:lnTo>
                <a:lnTo>
                  <a:pt x="12" y="14"/>
                </a:lnTo>
                <a:lnTo>
                  <a:pt x="10" y="14"/>
                </a:lnTo>
                <a:lnTo>
                  <a:pt x="10" y="14"/>
                </a:lnTo>
                <a:close/>
              </a:path>
            </a:pathLst>
          </a:custGeom>
          <a:solidFill>
            <a:srgbClr val="92D050"/>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9" name="Freeform 133">
            <a:extLst>
              <a:ext uri="{FF2B5EF4-FFF2-40B4-BE49-F238E27FC236}">
                <a16:creationId xmlns:a16="http://schemas.microsoft.com/office/drawing/2014/main" id="{914D8C4D-7087-4372-B8E0-761FCCB42A02}"/>
              </a:ext>
            </a:extLst>
          </p:cNvPr>
          <p:cNvSpPr>
            <a:spLocks/>
          </p:cNvSpPr>
          <p:nvPr userDrawn="1"/>
        </p:nvSpPr>
        <p:spPr bwMode="auto">
          <a:xfrm>
            <a:off x="6531661" y="3999821"/>
            <a:ext cx="238139" cy="456452"/>
          </a:xfrm>
          <a:custGeom>
            <a:avLst/>
            <a:gdLst>
              <a:gd name="T0" fmla="*/ 66 w 142"/>
              <a:gd name="T1" fmla="*/ 50 h 266"/>
              <a:gd name="T2" fmla="*/ 72 w 142"/>
              <a:gd name="T3" fmla="*/ 62 h 266"/>
              <a:gd name="T4" fmla="*/ 72 w 142"/>
              <a:gd name="T5" fmla="*/ 76 h 266"/>
              <a:gd name="T6" fmla="*/ 66 w 142"/>
              <a:gd name="T7" fmla="*/ 82 h 266"/>
              <a:gd name="T8" fmla="*/ 66 w 142"/>
              <a:gd name="T9" fmla="*/ 96 h 266"/>
              <a:gd name="T10" fmla="*/ 60 w 142"/>
              <a:gd name="T11" fmla="*/ 102 h 266"/>
              <a:gd name="T12" fmla="*/ 56 w 142"/>
              <a:gd name="T13" fmla="*/ 94 h 266"/>
              <a:gd name="T14" fmla="*/ 48 w 142"/>
              <a:gd name="T15" fmla="*/ 80 h 266"/>
              <a:gd name="T16" fmla="*/ 48 w 142"/>
              <a:gd name="T17" fmla="*/ 64 h 266"/>
              <a:gd name="T18" fmla="*/ 36 w 142"/>
              <a:gd name="T19" fmla="*/ 66 h 266"/>
              <a:gd name="T20" fmla="*/ 0 w 142"/>
              <a:gd name="T21" fmla="*/ 66 h 266"/>
              <a:gd name="T22" fmla="*/ 4 w 142"/>
              <a:gd name="T23" fmla="*/ 74 h 266"/>
              <a:gd name="T24" fmla="*/ 16 w 142"/>
              <a:gd name="T25" fmla="*/ 88 h 266"/>
              <a:gd name="T26" fmla="*/ 32 w 142"/>
              <a:gd name="T27" fmla="*/ 98 h 266"/>
              <a:gd name="T28" fmla="*/ 32 w 142"/>
              <a:gd name="T29" fmla="*/ 106 h 266"/>
              <a:gd name="T30" fmla="*/ 32 w 142"/>
              <a:gd name="T31" fmla="*/ 122 h 266"/>
              <a:gd name="T32" fmla="*/ 30 w 142"/>
              <a:gd name="T33" fmla="*/ 136 h 266"/>
              <a:gd name="T34" fmla="*/ 32 w 142"/>
              <a:gd name="T35" fmla="*/ 144 h 266"/>
              <a:gd name="T36" fmla="*/ 30 w 142"/>
              <a:gd name="T37" fmla="*/ 154 h 266"/>
              <a:gd name="T38" fmla="*/ 30 w 142"/>
              <a:gd name="T39" fmla="*/ 168 h 266"/>
              <a:gd name="T40" fmla="*/ 34 w 142"/>
              <a:gd name="T41" fmla="*/ 170 h 266"/>
              <a:gd name="T42" fmla="*/ 18 w 142"/>
              <a:gd name="T43" fmla="*/ 194 h 266"/>
              <a:gd name="T44" fmla="*/ 16 w 142"/>
              <a:gd name="T45" fmla="*/ 214 h 266"/>
              <a:gd name="T46" fmla="*/ 16 w 142"/>
              <a:gd name="T47" fmla="*/ 236 h 266"/>
              <a:gd name="T48" fmla="*/ 18 w 142"/>
              <a:gd name="T49" fmla="*/ 250 h 266"/>
              <a:gd name="T50" fmla="*/ 24 w 142"/>
              <a:gd name="T51" fmla="*/ 256 h 266"/>
              <a:gd name="T52" fmla="*/ 34 w 142"/>
              <a:gd name="T53" fmla="*/ 258 h 266"/>
              <a:gd name="T54" fmla="*/ 28 w 142"/>
              <a:gd name="T55" fmla="*/ 252 h 266"/>
              <a:gd name="T56" fmla="*/ 64 w 142"/>
              <a:gd name="T57" fmla="*/ 234 h 266"/>
              <a:gd name="T58" fmla="*/ 68 w 142"/>
              <a:gd name="T59" fmla="*/ 224 h 266"/>
              <a:gd name="T60" fmla="*/ 68 w 142"/>
              <a:gd name="T61" fmla="*/ 194 h 266"/>
              <a:gd name="T62" fmla="*/ 62 w 142"/>
              <a:gd name="T63" fmla="*/ 168 h 266"/>
              <a:gd name="T64" fmla="*/ 58 w 142"/>
              <a:gd name="T65" fmla="*/ 148 h 266"/>
              <a:gd name="T66" fmla="*/ 68 w 142"/>
              <a:gd name="T67" fmla="*/ 138 h 266"/>
              <a:gd name="T68" fmla="*/ 76 w 142"/>
              <a:gd name="T69" fmla="*/ 128 h 266"/>
              <a:gd name="T70" fmla="*/ 88 w 142"/>
              <a:gd name="T71" fmla="*/ 118 h 266"/>
              <a:gd name="T72" fmla="*/ 102 w 142"/>
              <a:gd name="T73" fmla="*/ 114 h 266"/>
              <a:gd name="T74" fmla="*/ 116 w 142"/>
              <a:gd name="T75" fmla="*/ 108 h 266"/>
              <a:gd name="T76" fmla="*/ 126 w 142"/>
              <a:gd name="T77" fmla="*/ 98 h 266"/>
              <a:gd name="T78" fmla="*/ 130 w 142"/>
              <a:gd name="T79" fmla="*/ 90 h 266"/>
              <a:gd name="T80" fmla="*/ 136 w 142"/>
              <a:gd name="T81" fmla="*/ 78 h 266"/>
              <a:gd name="T82" fmla="*/ 138 w 142"/>
              <a:gd name="T83" fmla="*/ 72 h 266"/>
              <a:gd name="T84" fmla="*/ 138 w 142"/>
              <a:gd name="T85" fmla="*/ 62 h 266"/>
              <a:gd name="T86" fmla="*/ 142 w 142"/>
              <a:gd name="T87" fmla="*/ 46 h 266"/>
              <a:gd name="T88" fmla="*/ 140 w 142"/>
              <a:gd name="T89" fmla="*/ 38 h 266"/>
              <a:gd name="T90" fmla="*/ 136 w 142"/>
              <a:gd name="T91" fmla="*/ 6 h 266"/>
              <a:gd name="T92" fmla="*/ 124 w 142"/>
              <a:gd name="T93" fmla="*/ 6 h 266"/>
              <a:gd name="T94" fmla="*/ 108 w 142"/>
              <a:gd name="T95" fmla="*/ 12 h 266"/>
              <a:gd name="T96" fmla="*/ 100 w 142"/>
              <a:gd name="T97" fmla="*/ 12 h 266"/>
              <a:gd name="T98" fmla="*/ 86 w 142"/>
              <a:gd name="T99" fmla="*/ 18 h 266"/>
              <a:gd name="T100" fmla="*/ 72 w 142"/>
              <a:gd name="T101" fmla="*/ 16 h 266"/>
              <a:gd name="T102" fmla="*/ 66 w 142"/>
              <a:gd name="T103" fmla="*/ 16 h 266"/>
              <a:gd name="T104" fmla="*/ 58 w 142"/>
              <a:gd name="T105" fmla="*/ 26 h 266"/>
              <a:gd name="T106" fmla="*/ 60 w 142"/>
              <a:gd name="T107" fmla="*/ 3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66">
                <a:moveTo>
                  <a:pt x="62" y="44"/>
                </a:moveTo>
                <a:lnTo>
                  <a:pt x="62" y="44"/>
                </a:lnTo>
                <a:lnTo>
                  <a:pt x="64" y="46"/>
                </a:lnTo>
                <a:lnTo>
                  <a:pt x="64" y="46"/>
                </a:lnTo>
                <a:lnTo>
                  <a:pt x="66" y="50"/>
                </a:lnTo>
                <a:lnTo>
                  <a:pt x="68" y="56"/>
                </a:lnTo>
                <a:lnTo>
                  <a:pt x="68" y="56"/>
                </a:lnTo>
                <a:lnTo>
                  <a:pt x="70" y="60"/>
                </a:lnTo>
                <a:lnTo>
                  <a:pt x="72" y="62"/>
                </a:lnTo>
                <a:lnTo>
                  <a:pt x="72" y="62"/>
                </a:lnTo>
                <a:lnTo>
                  <a:pt x="74" y="62"/>
                </a:lnTo>
                <a:lnTo>
                  <a:pt x="74" y="66"/>
                </a:lnTo>
                <a:lnTo>
                  <a:pt x="72" y="72"/>
                </a:lnTo>
                <a:lnTo>
                  <a:pt x="72" y="72"/>
                </a:lnTo>
                <a:lnTo>
                  <a:pt x="72" y="76"/>
                </a:lnTo>
                <a:lnTo>
                  <a:pt x="74" y="80"/>
                </a:lnTo>
                <a:lnTo>
                  <a:pt x="74" y="80"/>
                </a:lnTo>
                <a:lnTo>
                  <a:pt x="72" y="82"/>
                </a:lnTo>
                <a:lnTo>
                  <a:pt x="70" y="84"/>
                </a:lnTo>
                <a:lnTo>
                  <a:pt x="66" y="82"/>
                </a:lnTo>
                <a:lnTo>
                  <a:pt x="66" y="82"/>
                </a:lnTo>
                <a:lnTo>
                  <a:pt x="64" y="84"/>
                </a:lnTo>
                <a:lnTo>
                  <a:pt x="64" y="88"/>
                </a:lnTo>
                <a:lnTo>
                  <a:pt x="66" y="96"/>
                </a:lnTo>
                <a:lnTo>
                  <a:pt x="66" y="96"/>
                </a:lnTo>
                <a:lnTo>
                  <a:pt x="66" y="98"/>
                </a:lnTo>
                <a:lnTo>
                  <a:pt x="66" y="100"/>
                </a:lnTo>
                <a:lnTo>
                  <a:pt x="62" y="102"/>
                </a:lnTo>
                <a:lnTo>
                  <a:pt x="62" y="102"/>
                </a:lnTo>
                <a:lnTo>
                  <a:pt x="60" y="102"/>
                </a:lnTo>
                <a:lnTo>
                  <a:pt x="60" y="100"/>
                </a:lnTo>
                <a:lnTo>
                  <a:pt x="60" y="96"/>
                </a:lnTo>
                <a:lnTo>
                  <a:pt x="60" y="96"/>
                </a:lnTo>
                <a:lnTo>
                  <a:pt x="56" y="94"/>
                </a:lnTo>
                <a:lnTo>
                  <a:pt x="56" y="94"/>
                </a:lnTo>
                <a:lnTo>
                  <a:pt x="48" y="86"/>
                </a:lnTo>
                <a:lnTo>
                  <a:pt x="48" y="86"/>
                </a:lnTo>
                <a:lnTo>
                  <a:pt x="46" y="84"/>
                </a:lnTo>
                <a:lnTo>
                  <a:pt x="48" y="80"/>
                </a:lnTo>
                <a:lnTo>
                  <a:pt x="48" y="80"/>
                </a:lnTo>
                <a:lnTo>
                  <a:pt x="50" y="74"/>
                </a:lnTo>
                <a:lnTo>
                  <a:pt x="50" y="70"/>
                </a:lnTo>
                <a:lnTo>
                  <a:pt x="50" y="70"/>
                </a:lnTo>
                <a:lnTo>
                  <a:pt x="48" y="66"/>
                </a:lnTo>
                <a:lnTo>
                  <a:pt x="48" y="64"/>
                </a:lnTo>
                <a:lnTo>
                  <a:pt x="48" y="64"/>
                </a:lnTo>
                <a:lnTo>
                  <a:pt x="38" y="66"/>
                </a:lnTo>
                <a:lnTo>
                  <a:pt x="38" y="66"/>
                </a:lnTo>
                <a:lnTo>
                  <a:pt x="38" y="66"/>
                </a:lnTo>
                <a:lnTo>
                  <a:pt x="36" y="66"/>
                </a:lnTo>
                <a:lnTo>
                  <a:pt x="36" y="62"/>
                </a:lnTo>
                <a:lnTo>
                  <a:pt x="36" y="62"/>
                </a:lnTo>
                <a:lnTo>
                  <a:pt x="32" y="58"/>
                </a:lnTo>
                <a:lnTo>
                  <a:pt x="30" y="56"/>
                </a:lnTo>
                <a:lnTo>
                  <a:pt x="0" y="66"/>
                </a:lnTo>
                <a:lnTo>
                  <a:pt x="0" y="66"/>
                </a:lnTo>
                <a:lnTo>
                  <a:pt x="2" y="70"/>
                </a:lnTo>
                <a:lnTo>
                  <a:pt x="4" y="72"/>
                </a:lnTo>
                <a:lnTo>
                  <a:pt x="4" y="74"/>
                </a:lnTo>
                <a:lnTo>
                  <a:pt x="4" y="74"/>
                </a:lnTo>
                <a:lnTo>
                  <a:pt x="2" y="84"/>
                </a:lnTo>
                <a:lnTo>
                  <a:pt x="2" y="84"/>
                </a:lnTo>
                <a:lnTo>
                  <a:pt x="8" y="84"/>
                </a:lnTo>
                <a:lnTo>
                  <a:pt x="8" y="84"/>
                </a:lnTo>
                <a:lnTo>
                  <a:pt x="16" y="88"/>
                </a:lnTo>
                <a:lnTo>
                  <a:pt x="16" y="88"/>
                </a:lnTo>
                <a:lnTo>
                  <a:pt x="24" y="92"/>
                </a:lnTo>
                <a:lnTo>
                  <a:pt x="24" y="92"/>
                </a:lnTo>
                <a:lnTo>
                  <a:pt x="28" y="94"/>
                </a:lnTo>
                <a:lnTo>
                  <a:pt x="32" y="98"/>
                </a:lnTo>
                <a:lnTo>
                  <a:pt x="32" y="98"/>
                </a:lnTo>
                <a:lnTo>
                  <a:pt x="34" y="102"/>
                </a:lnTo>
                <a:lnTo>
                  <a:pt x="34" y="104"/>
                </a:lnTo>
                <a:lnTo>
                  <a:pt x="34" y="104"/>
                </a:lnTo>
                <a:lnTo>
                  <a:pt x="32" y="106"/>
                </a:lnTo>
                <a:lnTo>
                  <a:pt x="30" y="110"/>
                </a:lnTo>
                <a:lnTo>
                  <a:pt x="30" y="110"/>
                </a:lnTo>
                <a:lnTo>
                  <a:pt x="30" y="116"/>
                </a:lnTo>
                <a:lnTo>
                  <a:pt x="32" y="122"/>
                </a:lnTo>
                <a:lnTo>
                  <a:pt x="32" y="122"/>
                </a:lnTo>
                <a:lnTo>
                  <a:pt x="36" y="128"/>
                </a:lnTo>
                <a:lnTo>
                  <a:pt x="36" y="128"/>
                </a:lnTo>
                <a:lnTo>
                  <a:pt x="32" y="134"/>
                </a:lnTo>
                <a:lnTo>
                  <a:pt x="32" y="134"/>
                </a:lnTo>
                <a:lnTo>
                  <a:pt x="30" y="136"/>
                </a:lnTo>
                <a:lnTo>
                  <a:pt x="30" y="138"/>
                </a:lnTo>
                <a:lnTo>
                  <a:pt x="30" y="140"/>
                </a:lnTo>
                <a:lnTo>
                  <a:pt x="30" y="140"/>
                </a:lnTo>
                <a:lnTo>
                  <a:pt x="32" y="142"/>
                </a:lnTo>
                <a:lnTo>
                  <a:pt x="32" y="144"/>
                </a:lnTo>
                <a:lnTo>
                  <a:pt x="32" y="144"/>
                </a:lnTo>
                <a:lnTo>
                  <a:pt x="30" y="148"/>
                </a:lnTo>
                <a:lnTo>
                  <a:pt x="30" y="148"/>
                </a:lnTo>
                <a:lnTo>
                  <a:pt x="30" y="154"/>
                </a:lnTo>
                <a:lnTo>
                  <a:pt x="30" y="154"/>
                </a:lnTo>
                <a:lnTo>
                  <a:pt x="30" y="156"/>
                </a:lnTo>
                <a:lnTo>
                  <a:pt x="30" y="160"/>
                </a:lnTo>
                <a:lnTo>
                  <a:pt x="32" y="164"/>
                </a:lnTo>
                <a:lnTo>
                  <a:pt x="32" y="164"/>
                </a:lnTo>
                <a:lnTo>
                  <a:pt x="30" y="168"/>
                </a:lnTo>
                <a:lnTo>
                  <a:pt x="30" y="168"/>
                </a:lnTo>
                <a:lnTo>
                  <a:pt x="30" y="168"/>
                </a:lnTo>
                <a:lnTo>
                  <a:pt x="32" y="170"/>
                </a:lnTo>
                <a:lnTo>
                  <a:pt x="32" y="170"/>
                </a:lnTo>
                <a:lnTo>
                  <a:pt x="34" y="170"/>
                </a:lnTo>
                <a:lnTo>
                  <a:pt x="34" y="172"/>
                </a:lnTo>
                <a:lnTo>
                  <a:pt x="34" y="172"/>
                </a:lnTo>
                <a:lnTo>
                  <a:pt x="28" y="182"/>
                </a:lnTo>
                <a:lnTo>
                  <a:pt x="18" y="194"/>
                </a:lnTo>
                <a:lnTo>
                  <a:pt x="18" y="194"/>
                </a:lnTo>
                <a:lnTo>
                  <a:pt x="18" y="200"/>
                </a:lnTo>
                <a:lnTo>
                  <a:pt x="18" y="204"/>
                </a:lnTo>
                <a:lnTo>
                  <a:pt x="16" y="208"/>
                </a:lnTo>
                <a:lnTo>
                  <a:pt x="16" y="208"/>
                </a:lnTo>
                <a:lnTo>
                  <a:pt x="16" y="214"/>
                </a:lnTo>
                <a:lnTo>
                  <a:pt x="18" y="222"/>
                </a:lnTo>
                <a:lnTo>
                  <a:pt x="18" y="222"/>
                </a:lnTo>
                <a:lnTo>
                  <a:pt x="18" y="230"/>
                </a:lnTo>
                <a:lnTo>
                  <a:pt x="16" y="236"/>
                </a:lnTo>
                <a:lnTo>
                  <a:pt x="16" y="236"/>
                </a:lnTo>
                <a:lnTo>
                  <a:pt x="16" y="240"/>
                </a:lnTo>
                <a:lnTo>
                  <a:pt x="16" y="244"/>
                </a:lnTo>
                <a:lnTo>
                  <a:pt x="16" y="244"/>
                </a:lnTo>
                <a:lnTo>
                  <a:pt x="18" y="248"/>
                </a:lnTo>
                <a:lnTo>
                  <a:pt x="18" y="250"/>
                </a:lnTo>
                <a:lnTo>
                  <a:pt x="18" y="250"/>
                </a:lnTo>
                <a:lnTo>
                  <a:pt x="22" y="252"/>
                </a:lnTo>
                <a:lnTo>
                  <a:pt x="24" y="254"/>
                </a:lnTo>
                <a:lnTo>
                  <a:pt x="24" y="256"/>
                </a:lnTo>
                <a:lnTo>
                  <a:pt x="24" y="256"/>
                </a:lnTo>
                <a:lnTo>
                  <a:pt x="22" y="264"/>
                </a:lnTo>
                <a:lnTo>
                  <a:pt x="32" y="266"/>
                </a:lnTo>
                <a:lnTo>
                  <a:pt x="32" y="266"/>
                </a:lnTo>
                <a:lnTo>
                  <a:pt x="34" y="258"/>
                </a:lnTo>
                <a:lnTo>
                  <a:pt x="34" y="258"/>
                </a:lnTo>
                <a:lnTo>
                  <a:pt x="30" y="258"/>
                </a:lnTo>
                <a:lnTo>
                  <a:pt x="28" y="256"/>
                </a:lnTo>
                <a:lnTo>
                  <a:pt x="28" y="256"/>
                </a:lnTo>
                <a:lnTo>
                  <a:pt x="28" y="252"/>
                </a:lnTo>
                <a:lnTo>
                  <a:pt x="28" y="252"/>
                </a:lnTo>
                <a:lnTo>
                  <a:pt x="32" y="248"/>
                </a:lnTo>
                <a:lnTo>
                  <a:pt x="38" y="246"/>
                </a:lnTo>
                <a:lnTo>
                  <a:pt x="48" y="242"/>
                </a:lnTo>
                <a:lnTo>
                  <a:pt x="58" y="236"/>
                </a:lnTo>
                <a:lnTo>
                  <a:pt x="64" y="234"/>
                </a:lnTo>
                <a:lnTo>
                  <a:pt x="68" y="230"/>
                </a:lnTo>
                <a:lnTo>
                  <a:pt x="68" y="230"/>
                </a:lnTo>
                <a:lnTo>
                  <a:pt x="70" y="228"/>
                </a:lnTo>
                <a:lnTo>
                  <a:pt x="70" y="228"/>
                </a:lnTo>
                <a:lnTo>
                  <a:pt x="68" y="224"/>
                </a:lnTo>
                <a:lnTo>
                  <a:pt x="68" y="220"/>
                </a:lnTo>
                <a:lnTo>
                  <a:pt x="68" y="220"/>
                </a:lnTo>
                <a:lnTo>
                  <a:pt x="68" y="208"/>
                </a:lnTo>
                <a:lnTo>
                  <a:pt x="68" y="194"/>
                </a:lnTo>
                <a:lnTo>
                  <a:pt x="68" y="194"/>
                </a:lnTo>
                <a:lnTo>
                  <a:pt x="62" y="182"/>
                </a:lnTo>
                <a:lnTo>
                  <a:pt x="62" y="182"/>
                </a:lnTo>
                <a:lnTo>
                  <a:pt x="62" y="174"/>
                </a:lnTo>
                <a:lnTo>
                  <a:pt x="62" y="168"/>
                </a:lnTo>
                <a:lnTo>
                  <a:pt x="62" y="168"/>
                </a:lnTo>
                <a:lnTo>
                  <a:pt x="58" y="166"/>
                </a:lnTo>
                <a:lnTo>
                  <a:pt x="58" y="166"/>
                </a:lnTo>
                <a:lnTo>
                  <a:pt x="56" y="158"/>
                </a:lnTo>
                <a:lnTo>
                  <a:pt x="58" y="148"/>
                </a:lnTo>
                <a:lnTo>
                  <a:pt x="58" y="148"/>
                </a:lnTo>
                <a:lnTo>
                  <a:pt x="64" y="146"/>
                </a:lnTo>
                <a:lnTo>
                  <a:pt x="64" y="146"/>
                </a:lnTo>
                <a:lnTo>
                  <a:pt x="66" y="142"/>
                </a:lnTo>
                <a:lnTo>
                  <a:pt x="68" y="138"/>
                </a:lnTo>
                <a:lnTo>
                  <a:pt x="68" y="138"/>
                </a:lnTo>
                <a:lnTo>
                  <a:pt x="70" y="136"/>
                </a:lnTo>
                <a:lnTo>
                  <a:pt x="74" y="136"/>
                </a:lnTo>
                <a:lnTo>
                  <a:pt x="74" y="136"/>
                </a:lnTo>
                <a:lnTo>
                  <a:pt x="76" y="132"/>
                </a:lnTo>
                <a:lnTo>
                  <a:pt x="76" y="128"/>
                </a:lnTo>
                <a:lnTo>
                  <a:pt x="76" y="120"/>
                </a:lnTo>
                <a:lnTo>
                  <a:pt x="76" y="120"/>
                </a:lnTo>
                <a:lnTo>
                  <a:pt x="88" y="120"/>
                </a:lnTo>
                <a:lnTo>
                  <a:pt x="88" y="120"/>
                </a:lnTo>
                <a:lnTo>
                  <a:pt x="88" y="118"/>
                </a:lnTo>
                <a:lnTo>
                  <a:pt x="88" y="118"/>
                </a:lnTo>
                <a:lnTo>
                  <a:pt x="96" y="118"/>
                </a:lnTo>
                <a:lnTo>
                  <a:pt x="96" y="116"/>
                </a:lnTo>
                <a:lnTo>
                  <a:pt x="96" y="116"/>
                </a:lnTo>
                <a:lnTo>
                  <a:pt x="102" y="114"/>
                </a:lnTo>
                <a:lnTo>
                  <a:pt x="102" y="114"/>
                </a:lnTo>
                <a:lnTo>
                  <a:pt x="104" y="110"/>
                </a:lnTo>
                <a:lnTo>
                  <a:pt x="104" y="110"/>
                </a:lnTo>
                <a:lnTo>
                  <a:pt x="110" y="110"/>
                </a:lnTo>
                <a:lnTo>
                  <a:pt x="116" y="108"/>
                </a:lnTo>
                <a:lnTo>
                  <a:pt x="116" y="108"/>
                </a:lnTo>
                <a:lnTo>
                  <a:pt x="120" y="104"/>
                </a:lnTo>
                <a:lnTo>
                  <a:pt x="122" y="100"/>
                </a:lnTo>
                <a:lnTo>
                  <a:pt x="122" y="100"/>
                </a:lnTo>
                <a:lnTo>
                  <a:pt x="126" y="98"/>
                </a:lnTo>
                <a:lnTo>
                  <a:pt x="130" y="96"/>
                </a:lnTo>
                <a:lnTo>
                  <a:pt x="130" y="96"/>
                </a:lnTo>
                <a:lnTo>
                  <a:pt x="130" y="92"/>
                </a:lnTo>
                <a:lnTo>
                  <a:pt x="130" y="90"/>
                </a:lnTo>
                <a:lnTo>
                  <a:pt x="130" y="90"/>
                </a:lnTo>
                <a:lnTo>
                  <a:pt x="136" y="86"/>
                </a:lnTo>
                <a:lnTo>
                  <a:pt x="136" y="86"/>
                </a:lnTo>
                <a:lnTo>
                  <a:pt x="136" y="84"/>
                </a:lnTo>
                <a:lnTo>
                  <a:pt x="136" y="82"/>
                </a:lnTo>
                <a:lnTo>
                  <a:pt x="136" y="78"/>
                </a:lnTo>
                <a:lnTo>
                  <a:pt x="136" y="78"/>
                </a:lnTo>
                <a:lnTo>
                  <a:pt x="140" y="76"/>
                </a:lnTo>
                <a:lnTo>
                  <a:pt x="140" y="76"/>
                </a:lnTo>
                <a:lnTo>
                  <a:pt x="140" y="72"/>
                </a:lnTo>
                <a:lnTo>
                  <a:pt x="138" y="72"/>
                </a:lnTo>
                <a:lnTo>
                  <a:pt x="138" y="72"/>
                </a:lnTo>
                <a:lnTo>
                  <a:pt x="136" y="68"/>
                </a:lnTo>
                <a:lnTo>
                  <a:pt x="136" y="66"/>
                </a:lnTo>
                <a:lnTo>
                  <a:pt x="136" y="66"/>
                </a:lnTo>
                <a:lnTo>
                  <a:pt x="138" y="62"/>
                </a:lnTo>
                <a:lnTo>
                  <a:pt x="138" y="56"/>
                </a:lnTo>
                <a:lnTo>
                  <a:pt x="140" y="50"/>
                </a:lnTo>
                <a:lnTo>
                  <a:pt x="140" y="46"/>
                </a:lnTo>
                <a:lnTo>
                  <a:pt x="140" y="46"/>
                </a:lnTo>
                <a:lnTo>
                  <a:pt x="142" y="46"/>
                </a:lnTo>
                <a:lnTo>
                  <a:pt x="142" y="44"/>
                </a:lnTo>
                <a:lnTo>
                  <a:pt x="142" y="44"/>
                </a:lnTo>
                <a:lnTo>
                  <a:pt x="142" y="44"/>
                </a:lnTo>
                <a:lnTo>
                  <a:pt x="140" y="42"/>
                </a:lnTo>
                <a:lnTo>
                  <a:pt x="140" y="38"/>
                </a:lnTo>
                <a:lnTo>
                  <a:pt x="140" y="32"/>
                </a:lnTo>
                <a:lnTo>
                  <a:pt x="140" y="32"/>
                </a:lnTo>
                <a:lnTo>
                  <a:pt x="138" y="18"/>
                </a:lnTo>
                <a:lnTo>
                  <a:pt x="138" y="10"/>
                </a:lnTo>
                <a:lnTo>
                  <a:pt x="136" y="6"/>
                </a:lnTo>
                <a:lnTo>
                  <a:pt x="136" y="6"/>
                </a:lnTo>
                <a:lnTo>
                  <a:pt x="138" y="0"/>
                </a:lnTo>
                <a:lnTo>
                  <a:pt x="138" y="0"/>
                </a:lnTo>
                <a:lnTo>
                  <a:pt x="124" y="6"/>
                </a:lnTo>
                <a:lnTo>
                  <a:pt x="124" y="6"/>
                </a:lnTo>
                <a:lnTo>
                  <a:pt x="120" y="8"/>
                </a:lnTo>
                <a:lnTo>
                  <a:pt x="114" y="8"/>
                </a:lnTo>
                <a:lnTo>
                  <a:pt x="114" y="8"/>
                </a:lnTo>
                <a:lnTo>
                  <a:pt x="110" y="10"/>
                </a:lnTo>
                <a:lnTo>
                  <a:pt x="108" y="12"/>
                </a:lnTo>
                <a:lnTo>
                  <a:pt x="108" y="12"/>
                </a:lnTo>
                <a:lnTo>
                  <a:pt x="104" y="14"/>
                </a:lnTo>
                <a:lnTo>
                  <a:pt x="102" y="12"/>
                </a:lnTo>
                <a:lnTo>
                  <a:pt x="102" y="12"/>
                </a:lnTo>
                <a:lnTo>
                  <a:pt x="100" y="12"/>
                </a:lnTo>
                <a:lnTo>
                  <a:pt x="100" y="14"/>
                </a:lnTo>
                <a:lnTo>
                  <a:pt x="96" y="16"/>
                </a:lnTo>
                <a:lnTo>
                  <a:pt x="96" y="16"/>
                </a:lnTo>
                <a:lnTo>
                  <a:pt x="86" y="18"/>
                </a:lnTo>
                <a:lnTo>
                  <a:pt x="86" y="18"/>
                </a:lnTo>
                <a:lnTo>
                  <a:pt x="78" y="20"/>
                </a:lnTo>
                <a:lnTo>
                  <a:pt x="78" y="20"/>
                </a:lnTo>
                <a:lnTo>
                  <a:pt x="74" y="20"/>
                </a:lnTo>
                <a:lnTo>
                  <a:pt x="74" y="18"/>
                </a:lnTo>
                <a:lnTo>
                  <a:pt x="72" y="16"/>
                </a:lnTo>
                <a:lnTo>
                  <a:pt x="70" y="14"/>
                </a:lnTo>
                <a:lnTo>
                  <a:pt x="70" y="14"/>
                </a:lnTo>
                <a:lnTo>
                  <a:pt x="68" y="14"/>
                </a:lnTo>
                <a:lnTo>
                  <a:pt x="66" y="16"/>
                </a:lnTo>
                <a:lnTo>
                  <a:pt x="66" y="16"/>
                </a:lnTo>
                <a:lnTo>
                  <a:pt x="60" y="18"/>
                </a:lnTo>
                <a:lnTo>
                  <a:pt x="60" y="18"/>
                </a:lnTo>
                <a:lnTo>
                  <a:pt x="58" y="22"/>
                </a:lnTo>
                <a:lnTo>
                  <a:pt x="58" y="26"/>
                </a:lnTo>
                <a:lnTo>
                  <a:pt x="58" y="26"/>
                </a:lnTo>
                <a:lnTo>
                  <a:pt x="62" y="30"/>
                </a:lnTo>
                <a:lnTo>
                  <a:pt x="62" y="30"/>
                </a:lnTo>
                <a:lnTo>
                  <a:pt x="60" y="34"/>
                </a:lnTo>
                <a:lnTo>
                  <a:pt x="60" y="38"/>
                </a:lnTo>
                <a:lnTo>
                  <a:pt x="60" y="38"/>
                </a:lnTo>
                <a:lnTo>
                  <a:pt x="62" y="44"/>
                </a:lnTo>
                <a:lnTo>
                  <a:pt x="62" y="4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0" name="Freeform 134">
            <a:extLst>
              <a:ext uri="{FF2B5EF4-FFF2-40B4-BE49-F238E27FC236}">
                <a16:creationId xmlns:a16="http://schemas.microsoft.com/office/drawing/2014/main" id="{A32D23DC-3B28-4AAC-93CB-39EAB37965F7}"/>
              </a:ext>
            </a:extLst>
          </p:cNvPr>
          <p:cNvSpPr>
            <a:spLocks/>
          </p:cNvSpPr>
          <p:nvPr userDrawn="1"/>
        </p:nvSpPr>
        <p:spPr bwMode="auto">
          <a:xfrm>
            <a:off x="5574074" y="2630463"/>
            <a:ext cx="251555" cy="257398"/>
          </a:xfrm>
          <a:custGeom>
            <a:avLst/>
            <a:gdLst>
              <a:gd name="T0" fmla="*/ 136 w 150"/>
              <a:gd name="T1" fmla="*/ 14 h 150"/>
              <a:gd name="T2" fmla="*/ 130 w 150"/>
              <a:gd name="T3" fmla="*/ 8 h 150"/>
              <a:gd name="T4" fmla="*/ 126 w 150"/>
              <a:gd name="T5" fmla="*/ 10 h 150"/>
              <a:gd name="T6" fmla="*/ 118 w 150"/>
              <a:gd name="T7" fmla="*/ 12 h 150"/>
              <a:gd name="T8" fmla="*/ 108 w 150"/>
              <a:gd name="T9" fmla="*/ 12 h 150"/>
              <a:gd name="T10" fmla="*/ 100 w 150"/>
              <a:gd name="T11" fmla="*/ 12 h 150"/>
              <a:gd name="T12" fmla="*/ 96 w 150"/>
              <a:gd name="T13" fmla="*/ 0 h 150"/>
              <a:gd name="T14" fmla="*/ 86 w 150"/>
              <a:gd name="T15" fmla="*/ 6 h 150"/>
              <a:gd name="T16" fmla="*/ 84 w 150"/>
              <a:gd name="T17" fmla="*/ 14 h 150"/>
              <a:gd name="T18" fmla="*/ 82 w 150"/>
              <a:gd name="T19" fmla="*/ 22 h 150"/>
              <a:gd name="T20" fmla="*/ 76 w 150"/>
              <a:gd name="T21" fmla="*/ 30 h 150"/>
              <a:gd name="T22" fmla="*/ 74 w 150"/>
              <a:gd name="T23" fmla="*/ 36 h 150"/>
              <a:gd name="T24" fmla="*/ 58 w 150"/>
              <a:gd name="T25" fmla="*/ 48 h 150"/>
              <a:gd name="T26" fmla="*/ 46 w 150"/>
              <a:gd name="T27" fmla="*/ 54 h 150"/>
              <a:gd name="T28" fmla="*/ 40 w 150"/>
              <a:gd name="T29" fmla="*/ 68 h 150"/>
              <a:gd name="T30" fmla="*/ 34 w 150"/>
              <a:gd name="T31" fmla="*/ 76 h 150"/>
              <a:gd name="T32" fmla="*/ 34 w 150"/>
              <a:gd name="T33" fmla="*/ 86 h 150"/>
              <a:gd name="T34" fmla="*/ 36 w 150"/>
              <a:gd name="T35" fmla="*/ 110 h 150"/>
              <a:gd name="T36" fmla="*/ 32 w 150"/>
              <a:gd name="T37" fmla="*/ 118 h 150"/>
              <a:gd name="T38" fmla="*/ 22 w 150"/>
              <a:gd name="T39" fmla="*/ 134 h 150"/>
              <a:gd name="T40" fmla="*/ 18 w 150"/>
              <a:gd name="T41" fmla="*/ 134 h 150"/>
              <a:gd name="T42" fmla="*/ 10 w 150"/>
              <a:gd name="T43" fmla="*/ 144 h 150"/>
              <a:gd name="T44" fmla="*/ 0 w 150"/>
              <a:gd name="T45" fmla="*/ 150 h 150"/>
              <a:gd name="T46" fmla="*/ 58 w 150"/>
              <a:gd name="T47" fmla="*/ 134 h 150"/>
              <a:gd name="T48" fmla="*/ 62 w 150"/>
              <a:gd name="T49" fmla="*/ 130 h 150"/>
              <a:gd name="T50" fmla="*/ 72 w 150"/>
              <a:gd name="T51" fmla="*/ 120 h 150"/>
              <a:gd name="T52" fmla="*/ 86 w 150"/>
              <a:gd name="T53" fmla="*/ 116 h 150"/>
              <a:gd name="T54" fmla="*/ 92 w 150"/>
              <a:gd name="T55" fmla="*/ 112 h 150"/>
              <a:gd name="T56" fmla="*/ 100 w 150"/>
              <a:gd name="T57" fmla="*/ 108 h 150"/>
              <a:gd name="T58" fmla="*/ 110 w 150"/>
              <a:gd name="T59" fmla="*/ 104 h 150"/>
              <a:gd name="T60" fmla="*/ 120 w 150"/>
              <a:gd name="T61" fmla="*/ 88 h 150"/>
              <a:gd name="T62" fmla="*/ 128 w 150"/>
              <a:gd name="T63" fmla="*/ 84 h 150"/>
              <a:gd name="T64" fmla="*/ 132 w 150"/>
              <a:gd name="T65" fmla="*/ 76 h 150"/>
              <a:gd name="T66" fmla="*/ 134 w 150"/>
              <a:gd name="T67" fmla="*/ 72 h 150"/>
              <a:gd name="T68" fmla="*/ 138 w 150"/>
              <a:gd name="T69" fmla="*/ 68 h 150"/>
              <a:gd name="T70" fmla="*/ 148 w 150"/>
              <a:gd name="T71" fmla="*/ 60 h 150"/>
              <a:gd name="T72" fmla="*/ 148 w 150"/>
              <a:gd name="T73" fmla="*/ 56 h 150"/>
              <a:gd name="T74" fmla="*/ 144 w 150"/>
              <a:gd name="T75" fmla="*/ 48 h 150"/>
              <a:gd name="T76" fmla="*/ 142 w 150"/>
              <a:gd name="T77" fmla="*/ 40 h 150"/>
              <a:gd name="T78" fmla="*/ 138 w 150"/>
              <a:gd name="T79" fmla="*/ 34 h 150"/>
              <a:gd name="T80" fmla="*/ 140 w 150"/>
              <a:gd name="T81" fmla="*/ 24 h 150"/>
              <a:gd name="T82" fmla="*/ 138 w 150"/>
              <a:gd name="T83" fmla="*/ 1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50">
                <a:moveTo>
                  <a:pt x="136" y="14"/>
                </a:moveTo>
                <a:lnTo>
                  <a:pt x="136" y="14"/>
                </a:lnTo>
                <a:lnTo>
                  <a:pt x="136" y="14"/>
                </a:lnTo>
                <a:lnTo>
                  <a:pt x="130" y="12"/>
                </a:lnTo>
                <a:lnTo>
                  <a:pt x="130" y="12"/>
                </a:lnTo>
                <a:lnTo>
                  <a:pt x="130" y="8"/>
                </a:lnTo>
                <a:lnTo>
                  <a:pt x="128" y="8"/>
                </a:lnTo>
                <a:lnTo>
                  <a:pt x="128" y="8"/>
                </a:lnTo>
                <a:lnTo>
                  <a:pt x="126" y="10"/>
                </a:lnTo>
                <a:lnTo>
                  <a:pt x="124" y="12"/>
                </a:lnTo>
                <a:lnTo>
                  <a:pt x="124" y="12"/>
                </a:lnTo>
                <a:lnTo>
                  <a:pt x="118" y="12"/>
                </a:lnTo>
                <a:lnTo>
                  <a:pt x="112" y="12"/>
                </a:lnTo>
                <a:lnTo>
                  <a:pt x="112" y="12"/>
                </a:lnTo>
                <a:lnTo>
                  <a:pt x="108" y="12"/>
                </a:lnTo>
                <a:lnTo>
                  <a:pt x="104" y="14"/>
                </a:lnTo>
                <a:lnTo>
                  <a:pt x="104" y="14"/>
                </a:lnTo>
                <a:lnTo>
                  <a:pt x="100" y="12"/>
                </a:lnTo>
                <a:lnTo>
                  <a:pt x="98" y="8"/>
                </a:lnTo>
                <a:lnTo>
                  <a:pt x="96" y="0"/>
                </a:lnTo>
                <a:lnTo>
                  <a:pt x="96" y="0"/>
                </a:lnTo>
                <a:lnTo>
                  <a:pt x="92" y="0"/>
                </a:lnTo>
                <a:lnTo>
                  <a:pt x="92" y="0"/>
                </a:lnTo>
                <a:lnTo>
                  <a:pt x="86" y="6"/>
                </a:lnTo>
                <a:lnTo>
                  <a:pt x="86" y="6"/>
                </a:lnTo>
                <a:lnTo>
                  <a:pt x="86" y="10"/>
                </a:lnTo>
                <a:lnTo>
                  <a:pt x="84" y="14"/>
                </a:lnTo>
                <a:lnTo>
                  <a:pt x="82" y="16"/>
                </a:lnTo>
                <a:lnTo>
                  <a:pt x="82" y="16"/>
                </a:lnTo>
                <a:lnTo>
                  <a:pt x="82" y="22"/>
                </a:lnTo>
                <a:lnTo>
                  <a:pt x="82" y="22"/>
                </a:lnTo>
                <a:lnTo>
                  <a:pt x="80" y="26"/>
                </a:lnTo>
                <a:lnTo>
                  <a:pt x="76" y="30"/>
                </a:lnTo>
                <a:lnTo>
                  <a:pt x="76" y="30"/>
                </a:lnTo>
                <a:lnTo>
                  <a:pt x="74" y="36"/>
                </a:lnTo>
                <a:lnTo>
                  <a:pt x="74" y="36"/>
                </a:lnTo>
                <a:lnTo>
                  <a:pt x="68" y="42"/>
                </a:lnTo>
                <a:lnTo>
                  <a:pt x="58" y="48"/>
                </a:lnTo>
                <a:lnTo>
                  <a:pt x="58" y="48"/>
                </a:lnTo>
                <a:lnTo>
                  <a:pt x="54" y="48"/>
                </a:lnTo>
                <a:lnTo>
                  <a:pt x="54" y="48"/>
                </a:lnTo>
                <a:lnTo>
                  <a:pt x="46" y="54"/>
                </a:lnTo>
                <a:lnTo>
                  <a:pt x="40" y="60"/>
                </a:lnTo>
                <a:lnTo>
                  <a:pt x="40" y="60"/>
                </a:lnTo>
                <a:lnTo>
                  <a:pt x="40" y="68"/>
                </a:lnTo>
                <a:lnTo>
                  <a:pt x="40" y="68"/>
                </a:lnTo>
                <a:lnTo>
                  <a:pt x="38" y="72"/>
                </a:lnTo>
                <a:lnTo>
                  <a:pt x="34" y="76"/>
                </a:lnTo>
                <a:lnTo>
                  <a:pt x="34" y="76"/>
                </a:lnTo>
                <a:lnTo>
                  <a:pt x="34" y="80"/>
                </a:lnTo>
                <a:lnTo>
                  <a:pt x="34" y="86"/>
                </a:lnTo>
                <a:lnTo>
                  <a:pt x="36" y="96"/>
                </a:lnTo>
                <a:lnTo>
                  <a:pt x="36" y="106"/>
                </a:lnTo>
                <a:lnTo>
                  <a:pt x="36" y="110"/>
                </a:lnTo>
                <a:lnTo>
                  <a:pt x="34" y="116"/>
                </a:lnTo>
                <a:lnTo>
                  <a:pt x="34" y="116"/>
                </a:lnTo>
                <a:lnTo>
                  <a:pt x="32" y="118"/>
                </a:lnTo>
                <a:lnTo>
                  <a:pt x="32" y="118"/>
                </a:lnTo>
                <a:lnTo>
                  <a:pt x="26" y="126"/>
                </a:lnTo>
                <a:lnTo>
                  <a:pt x="22" y="134"/>
                </a:lnTo>
                <a:lnTo>
                  <a:pt x="22" y="134"/>
                </a:lnTo>
                <a:lnTo>
                  <a:pt x="18" y="134"/>
                </a:lnTo>
                <a:lnTo>
                  <a:pt x="18" y="134"/>
                </a:lnTo>
                <a:lnTo>
                  <a:pt x="14" y="140"/>
                </a:lnTo>
                <a:lnTo>
                  <a:pt x="10" y="144"/>
                </a:lnTo>
                <a:lnTo>
                  <a:pt x="10" y="144"/>
                </a:lnTo>
                <a:lnTo>
                  <a:pt x="4" y="146"/>
                </a:lnTo>
                <a:lnTo>
                  <a:pt x="4" y="146"/>
                </a:lnTo>
                <a:lnTo>
                  <a:pt x="0" y="150"/>
                </a:lnTo>
                <a:lnTo>
                  <a:pt x="58" y="148"/>
                </a:lnTo>
                <a:lnTo>
                  <a:pt x="58" y="134"/>
                </a:lnTo>
                <a:lnTo>
                  <a:pt x="58" y="134"/>
                </a:lnTo>
                <a:lnTo>
                  <a:pt x="58" y="134"/>
                </a:lnTo>
                <a:lnTo>
                  <a:pt x="62" y="130"/>
                </a:lnTo>
                <a:lnTo>
                  <a:pt x="62" y="130"/>
                </a:lnTo>
                <a:lnTo>
                  <a:pt x="68" y="122"/>
                </a:lnTo>
                <a:lnTo>
                  <a:pt x="68" y="122"/>
                </a:lnTo>
                <a:lnTo>
                  <a:pt x="72" y="120"/>
                </a:lnTo>
                <a:lnTo>
                  <a:pt x="78" y="118"/>
                </a:lnTo>
                <a:lnTo>
                  <a:pt x="78" y="118"/>
                </a:lnTo>
                <a:lnTo>
                  <a:pt x="86" y="116"/>
                </a:lnTo>
                <a:lnTo>
                  <a:pt x="90" y="114"/>
                </a:lnTo>
                <a:lnTo>
                  <a:pt x="92" y="112"/>
                </a:lnTo>
                <a:lnTo>
                  <a:pt x="92" y="112"/>
                </a:lnTo>
                <a:lnTo>
                  <a:pt x="96" y="108"/>
                </a:lnTo>
                <a:lnTo>
                  <a:pt x="100" y="108"/>
                </a:lnTo>
                <a:lnTo>
                  <a:pt x="100" y="108"/>
                </a:lnTo>
                <a:lnTo>
                  <a:pt x="106" y="106"/>
                </a:lnTo>
                <a:lnTo>
                  <a:pt x="110" y="104"/>
                </a:lnTo>
                <a:lnTo>
                  <a:pt x="110" y="104"/>
                </a:lnTo>
                <a:lnTo>
                  <a:pt x="114" y="100"/>
                </a:lnTo>
                <a:lnTo>
                  <a:pt x="116" y="94"/>
                </a:lnTo>
                <a:lnTo>
                  <a:pt x="120" y="88"/>
                </a:lnTo>
                <a:lnTo>
                  <a:pt x="120" y="88"/>
                </a:lnTo>
                <a:lnTo>
                  <a:pt x="122" y="88"/>
                </a:lnTo>
                <a:lnTo>
                  <a:pt x="128" y="84"/>
                </a:lnTo>
                <a:lnTo>
                  <a:pt x="128" y="84"/>
                </a:lnTo>
                <a:lnTo>
                  <a:pt x="132" y="80"/>
                </a:lnTo>
                <a:lnTo>
                  <a:pt x="132" y="76"/>
                </a:lnTo>
                <a:lnTo>
                  <a:pt x="132" y="76"/>
                </a:lnTo>
                <a:lnTo>
                  <a:pt x="132" y="74"/>
                </a:lnTo>
                <a:lnTo>
                  <a:pt x="134" y="72"/>
                </a:lnTo>
                <a:lnTo>
                  <a:pt x="136" y="70"/>
                </a:lnTo>
                <a:lnTo>
                  <a:pt x="138" y="68"/>
                </a:lnTo>
                <a:lnTo>
                  <a:pt x="138" y="68"/>
                </a:lnTo>
                <a:lnTo>
                  <a:pt x="140" y="66"/>
                </a:lnTo>
                <a:lnTo>
                  <a:pt x="142" y="64"/>
                </a:lnTo>
                <a:lnTo>
                  <a:pt x="148" y="60"/>
                </a:lnTo>
                <a:lnTo>
                  <a:pt x="148" y="60"/>
                </a:lnTo>
                <a:lnTo>
                  <a:pt x="150" y="58"/>
                </a:lnTo>
                <a:lnTo>
                  <a:pt x="148" y="56"/>
                </a:lnTo>
                <a:lnTo>
                  <a:pt x="146" y="52"/>
                </a:lnTo>
                <a:lnTo>
                  <a:pt x="146" y="52"/>
                </a:lnTo>
                <a:lnTo>
                  <a:pt x="144" y="48"/>
                </a:lnTo>
                <a:lnTo>
                  <a:pt x="144" y="42"/>
                </a:lnTo>
                <a:lnTo>
                  <a:pt x="144" y="42"/>
                </a:lnTo>
                <a:lnTo>
                  <a:pt x="142" y="40"/>
                </a:lnTo>
                <a:lnTo>
                  <a:pt x="140" y="38"/>
                </a:lnTo>
                <a:lnTo>
                  <a:pt x="140" y="38"/>
                </a:lnTo>
                <a:lnTo>
                  <a:pt x="138" y="34"/>
                </a:lnTo>
                <a:lnTo>
                  <a:pt x="138" y="34"/>
                </a:lnTo>
                <a:lnTo>
                  <a:pt x="140" y="28"/>
                </a:lnTo>
                <a:lnTo>
                  <a:pt x="140" y="24"/>
                </a:lnTo>
                <a:lnTo>
                  <a:pt x="140" y="24"/>
                </a:lnTo>
                <a:lnTo>
                  <a:pt x="140" y="20"/>
                </a:lnTo>
                <a:lnTo>
                  <a:pt x="138" y="16"/>
                </a:lnTo>
                <a:lnTo>
                  <a:pt x="136" y="14"/>
                </a:lnTo>
                <a:lnTo>
                  <a:pt x="136"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1" name="Freeform 135">
            <a:extLst>
              <a:ext uri="{FF2B5EF4-FFF2-40B4-BE49-F238E27FC236}">
                <a16:creationId xmlns:a16="http://schemas.microsoft.com/office/drawing/2014/main" id="{E5A305E6-7858-4458-8886-85047B385762}"/>
              </a:ext>
            </a:extLst>
          </p:cNvPr>
          <p:cNvSpPr>
            <a:spLocks/>
          </p:cNvSpPr>
          <p:nvPr userDrawn="1"/>
        </p:nvSpPr>
        <p:spPr bwMode="auto">
          <a:xfrm>
            <a:off x="7836395" y="2101940"/>
            <a:ext cx="707709" cy="350062"/>
          </a:xfrm>
          <a:custGeom>
            <a:avLst/>
            <a:gdLst>
              <a:gd name="T0" fmla="*/ 14 w 422"/>
              <a:gd name="T1" fmla="*/ 52 h 204"/>
              <a:gd name="T2" fmla="*/ 20 w 422"/>
              <a:gd name="T3" fmla="*/ 40 h 204"/>
              <a:gd name="T4" fmla="*/ 40 w 422"/>
              <a:gd name="T5" fmla="*/ 30 h 204"/>
              <a:gd name="T6" fmla="*/ 62 w 422"/>
              <a:gd name="T7" fmla="*/ 26 h 204"/>
              <a:gd name="T8" fmla="*/ 82 w 422"/>
              <a:gd name="T9" fmla="*/ 32 h 204"/>
              <a:gd name="T10" fmla="*/ 108 w 422"/>
              <a:gd name="T11" fmla="*/ 38 h 204"/>
              <a:gd name="T12" fmla="*/ 134 w 422"/>
              <a:gd name="T13" fmla="*/ 34 h 204"/>
              <a:gd name="T14" fmla="*/ 122 w 422"/>
              <a:gd name="T15" fmla="*/ 16 h 204"/>
              <a:gd name="T16" fmla="*/ 130 w 422"/>
              <a:gd name="T17" fmla="*/ 0 h 204"/>
              <a:gd name="T18" fmla="*/ 156 w 422"/>
              <a:gd name="T19" fmla="*/ 2 h 204"/>
              <a:gd name="T20" fmla="*/ 182 w 422"/>
              <a:gd name="T21" fmla="*/ 18 h 204"/>
              <a:gd name="T22" fmla="*/ 198 w 422"/>
              <a:gd name="T23" fmla="*/ 36 h 204"/>
              <a:gd name="T24" fmla="*/ 220 w 422"/>
              <a:gd name="T25" fmla="*/ 42 h 204"/>
              <a:gd name="T26" fmla="*/ 240 w 422"/>
              <a:gd name="T27" fmla="*/ 38 h 204"/>
              <a:gd name="T28" fmla="*/ 258 w 422"/>
              <a:gd name="T29" fmla="*/ 48 h 204"/>
              <a:gd name="T30" fmla="*/ 276 w 422"/>
              <a:gd name="T31" fmla="*/ 56 h 204"/>
              <a:gd name="T32" fmla="*/ 294 w 422"/>
              <a:gd name="T33" fmla="*/ 56 h 204"/>
              <a:gd name="T34" fmla="*/ 320 w 422"/>
              <a:gd name="T35" fmla="*/ 52 h 204"/>
              <a:gd name="T36" fmla="*/ 348 w 422"/>
              <a:gd name="T37" fmla="*/ 40 h 204"/>
              <a:gd name="T38" fmla="*/ 374 w 422"/>
              <a:gd name="T39" fmla="*/ 48 h 204"/>
              <a:gd name="T40" fmla="*/ 370 w 422"/>
              <a:gd name="T41" fmla="*/ 70 h 204"/>
              <a:gd name="T42" fmla="*/ 368 w 422"/>
              <a:gd name="T43" fmla="*/ 76 h 204"/>
              <a:gd name="T44" fmla="*/ 376 w 422"/>
              <a:gd name="T45" fmla="*/ 90 h 204"/>
              <a:gd name="T46" fmla="*/ 396 w 422"/>
              <a:gd name="T47" fmla="*/ 82 h 204"/>
              <a:gd name="T48" fmla="*/ 416 w 422"/>
              <a:gd name="T49" fmla="*/ 96 h 204"/>
              <a:gd name="T50" fmla="*/ 418 w 422"/>
              <a:gd name="T51" fmla="*/ 108 h 204"/>
              <a:gd name="T52" fmla="*/ 408 w 422"/>
              <a:gd name="T53" fmla="*/ 108 h 204"/>
              <a:gd name="T54" fmla="*/ 400 w 422"/>
              <a:gd name="T55" fmla="*/ 112 h 204"/>
              <a:gd name="T56" fmla="*/ 380 w 422"/>
              <a:gd name="T57" fmla="*/ 122 h 204"/>
              <a:gd name="T58" fmla="*/ 368 w 422"/>
              <a:gd name="T59" fmla="*/ 126 h 204"/>
              <a:gd name="T60" fmla="*/ 344 w 422"/>
              <a:gd name="T61" fmla="*/ 144 h 204"/>
              <a:gd name="T62" fmla="*/ 318 w 422"/>
              <a:gd name="T63" fmla="*/ 140 h 204"/>
              <a:gd name="T64" fmla="*/ 304 w 422"/>
              <a:gd name="T65" fmla="*/ 150 h 204"/>
              <a:gd name="T66" fmla="*/ 306 w 422"/>
              <a:gd name="T67" fmla="*/ 172 h 204"/>
              <a:gd name="T68" fmla="*/ 286 w 422"/>
              <a:gd name="T69" fmla="*/ 184 h 204"/>
              <a:gd name="T70" fmla="*/ 252 w 422"/>
              <a:gd name="T71" fmla="*/ 190 h 204"/>
              <a:gd name="T72" fmla="*/ 232 w 422"/>
              <a:gd name="T73" fmla="*/ 202 h 204"/>
              <a:gd name="T74" fmla="*/ 200 w 422"/>
              <a:gd name="T75" fmla="*/ 204 h 204"/>
              <a:gd name="T76" fmla="*/ 182 w 422"/>
              <a:gd name="T77" fmla="*/ 190 h 204"/>
              <a:gd name="T78" fmla="*/ 138 w 422"/>
              <a:gd name="T79" fmla="*/ 188 h 204"/>
              <a:gd name="T80" fmla="*/ 114 w 422"/>
              <a:gd name="T81" fmla="*/ 182 h 204"/>
              <a:gd name="T82" fmla="*/ 94 w 422"/>
              <a:gd name="T83" fmla="*/ 166 h 204"/>
              <a:gd name="T84" fmla="*/ 78 w 422"/>
              <a:gd name="T85" fmla="*/ 150 h 204"/>
              <a:gd name="T86" fmla="*/ 58 w 422"/>
              <a:gd name="T87" fmla="*/ 140 h 204"/>
              <a:gd name="T88" fmla="*/ 50 w 422"/>
              <a:gd name="T89" fmla="*/ 124 h 204"/>
              <a:gd name="T90" fmla="*/ 40 w 422"/>
              <a:gd name="T91" fmla="*/ 108 h 204"/>
              <a:gd name="T92" fmla="*/ 24 w 422"/>
              <a:gd name="T93" fmla="*/ 88 h 204"/>
              <a:gd name="T94" fmla="*/ 4 w 422"/>
              <a:gd name="T95" fmla="*/ 84 h 204"/>
              <a:gd name="T96" fmla="*/ 2 w 422"/>
              <a:gd name="T97"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2" h="204">
                <a:moveTo>
                  <a:pt x="2" y="56"/>
                </a:moveTo>
                <a:lnTo>
                  <a:pt x="8" y="54"/>
                </a:lnTo>
                <a:lnTo>
                  <a:pt x="14" y="52"/>
                </a:lnTo>
                <a:lnTo>
                  <a:pt x="16" y="48"/>
                </a:lnTo>
                <a:lnTo>
                  <a:pt x="16" y="44"/>
                </a:lnTo>
                <a:lnTo>
                  <a:pt x="20" y="40"/>
                </a:lnTo>
                <a:lnTo>
                  <a:pt x="24" y="36"/>
                </a:lnTo>
                <a:lnTo>
                  <a:pt x="32" y="34"/>
                </a:lnTo>
                <a:lnTo>
                  <a:pt x="40" y="30"/>
                </a:lnTo>
                <a:lnTo>
                  <a:pt x="44" y="26"/>
                </a:lnTo>
                <a:lnTo>
                  <a:pt x="54" y="26"/>
                </a:lnTo>
                <a:lnTo>
                  <a:pt x="62" y="26"/>
                </a:lnTo>
                <a:lnTo>
                  <a:pt x="64" y="30"/>
                </a:lnTo>
                <a:lnTo>
                  <a:pt x="72" y="28"/>
                </a:lnTo>
                <a:lnTo>
                  <a:pt x="82" y="32"/>
                </a:lnTo>
                <a:lnTo>
                  <a:pt x="90" y="36"/>
                </a:lnTo>
                <a:lnTo>
                  <a:pt x="98" y="38"/>
                </a:lnTo>
                <a:lnTo>
                  <a:pt x="108" y="38"/>
                </a:lnTo>
                <a:lnTo>
                  <a:pt x="120" y="38"/>
                </a:lnTo>
                <a:lnTo>
                  <a:pt x="130" y="38"/>
                </a:lnTo>
                <a:lnTo>
                  <a:pt x="134" y="34"/>
                </a:lnTo>
                <a:lnTo>
                  <a:pt x="132" y="26"/>
                </a:lnTo>
                <a:lnTo>
                  <a:pt x="128" y="20"/>
                </a:lnTo>
                <a:lnTo>
                  <a:pt x="122" y="16"/>
                </a:lnTo>
                <a:lnTo>
                  <a:pt x="124" y="10"/>
                </a:lnTo>
                <a:lnTo>
                  <a:pt x="128" y="4"/>
                </a:lnTo>
                <a:lnTo>
                  <a:pt x="130" y="0"/>
                </a:lnTo>
                <a:lnTo>
                  <a:pt x="140" y="0"/>
                </a:lnTo>
                <a:lnTo>
                  <a:pt x="146" y="2"/>
                </a:lnTo>
                <a:lnTo>
                  <a:pt x="156" y="2"/>
                </a:lnTo>
                <a:lnTo>
                  <a:pt x="160" y="6"/>
                </a:lnTo>
                <a:lnTo>
                  <a:pt x="170" y="8"/>
                </a:lnTo>
                <a:lnTo>
                  <a:pt x="182" y="18"/>
                </a:lnTo>
                <a:lnTo>
                  <a:pt x="190" y="24"/>
                </a:lnTo>
                <a:lnTo>
                  <a:pt x="194" y="34"/>
                </a:lnTo>
                <a:lnTo>
                  <a:pt x="198" y="36"/>
                </a:lnTo>
                <a:lnTo>
                  <a:pt x="208" y="42"/>
                </a:lnTo>
                <a:lnTo>
                  <a:pt x="214" y="42"/>
                </a:lnTo>
                <a:lnTo>
                  <a:pt x="220" y="42"/>
                </a:lnTo>
                <a:lnTo>
                  <a:pt x="226" y="40"/>
                </a:lnTo>
                <a:lnTo>
                  <a:pt x="232" y="36"/>
                </a:lnTo>
                <a:lnTo>
                  <a:pt x="240" y="38"/>
                </a:lnTo>
                <a:lnTo>
                  <a:pt x="252" y="42"/>
                </a:lnTo>
                <a:lnTo>
                  <a:pt x="258" y="42"/>
                </a:lnTo>
                <a:lnTo>
                  <a:pt x="258" y="48"/>
                </a:lnTo>
                <a:lnTo>
                  <a:pt x="264" y="52"/>
                </a:lnTo>
                <a:lnTo>
                  <a:pt x="270" y="52"/>
                </a:lnTo>
                <a:lnTo>
                  <a:pt x="276" y="56"/>
                </a:lnTo>
                <a:lnTo>
                  <a:pt x="282" y="56"/>
                </a:lnTo>
                <a:lnTo>
                  <a:pt x="288" y="54"/>
                </a:lnTo>
                <a:lnTo>
                  <a:pt x="294" y="56"/>
                </a:lnTo>
                <a:lnTo>
                  <a:pt x="304" y="58"/>
                </a:lnTo>
                <a:lnTo>
                  <a:pt x="314" y="56"/>
                </a:lnTo>
                <a:lnTo>
                  <a:pt x="320" y="52"/>
                </a:lnTo>
                <a:lnTo>
                  <a:pt x="332" y="50"/>
                </a:lnTo>
                <a:lnTo>
                  <a:pt x="344" y="42"/>
                </a:lnTo>
                <a:lnTo>
                  <a:pt x="348" y="40"/>
                </a:lnTo>
                <a:lnTo>
                  <a:pt x="358" y="46"/>
                </a:lnTo>
                <a:lnTo>
                  <a:pt x="364" y="46"/>
                </a:lnTo>
                <a:lnTo>
                  <a:pt x="374" y="48"/>
                </a:lnTo>
                <a:lnTo>
                  <a:pt x="368" y="64"/>
                </a:lnTo>
                <a:lnTo>
                  <a:pt x="368" y="64"/>
                </a:lnTo>
                <a:lnTo>
                  <a:pt x="370" y="70"/>
                </a:lnTo>
                <a:lnTo>
                  <a:pt x="370" y="70"/>
                </a:lnTo>
                <a:lnTo>
                  <a:pt x="370" y="74"/>
                </a:lnTo>
                <a:lnTo>
                  <a:pt x="368" y="76"/>
                </a:lnTo>
                <a:lnTo>
                  <a:pt x="366" y="80"/>
                </a:lnTo>
                <a:lnTo>
                  <a:pt x="366" y="86"/>
                </a:lnTo>
                <a:lnTo>
                  <a:pt x="376" y="90"/>
                </a:lnTo>
                <a:lnTo>
                  <a:pt x="386" y="88"/>
                </a:lnTo>
                <a:lnTo>
                  <a:pt x="392" y="82"/>
                </a:lnTo>
                <a:lnTo>
                  <a:pt x="396" y="82"/>
                </a:lnTo>
                <a:lnTo>
                  <a:pt x="400" y="86"/>
                </a:lnTo>
                <a:lnTo>
                  <a:pt x="406" y="92"/>
                </a:lnTo>
                <a:lnTo>
                  <a:pt x="416" y="96"/>
                </a:lnTo>
                <a:lnTo>
                  <a:pt x="422" y="102"/>
                </a:lnTo>
                <a:lnTo>
                  <a:pt x="418" y="108"/>
                </a:lnTo>
                <a:lnTo>
                  <a:pt x="418" y="108"/>
                </a:lnTo>
                <a:lnTo>
                  <a:pt x="414" y="106"/>
                </a:lnTo>
                <a:lnTo>
                  <a:pt x="410" y="106"/>
                </a:lnTo>
                <a:lnTo>
                  <a:pt x="408" y="108"/>
                </a:lnTo>
                <a:lnTo>
                  <a:pt x="408" y="108"/>
                </a:lnTo>
                <a:lnTo>
                  <a:pt x="404" y="110"/>
                </a:lnTo>
                <a:lnTo>
                  <a:pt x="400" y="112"/>
                </a:lnTo>
                <a:lnTo>
                  <a:pt x="398" y="116"/>
                </a:lnTo>
                <a:lnTo>
                  <a:pt x="390" y="114"/>
                </a:lnTo>
                <a:lnTo>
                  <a:pt x="380" y="122"/>
                </a:lnTo>
                <a:lnTo>
                  <a:pt x="374" y="118"/>
                </a:lnTo>
                <a:lnTo>
                  <a:pt x="370" y="118"/>
                </a:lnTo>
                <a:lnTo>
                  <a:pt x="368" y="126"/>
                </a:lnTo>
                <a:lnTo>
                  <a:pt x="364" y="130"/>
                </a:lnTo>
                <a:lnTo>
                  <a:pt x="346" y="134"/>
                </a:lnTo>
                <a:lnTo>
                  <a:pt x="344" y="144"/>
                </a:lnTo>
                <a:lnTo>
                  <a:pt x="332" y="150"/>
                </a:lnTo>
                <a:lnTo>
                  <a:pt x="324" y="146"/>
                </a:lnTo>
                <a:lnTo>
                  <a:pt x="318" y="140"/>
                </a:lnTo>
                <a:lnTo>
                  <a:pt x="312" y="138"/>
                </a:lnTo>
                <a:lnTo>
                  <a:pt x="306" y="142"/>
                </a:lnTo>
                <a:lnTo>
                  <a:pt x="304" y="150"/>
                </a:lnTo>
                <a:lnTo>
                  <a:pt x="302" y="156"/>
                </a:lnTo>
                <a:lnTo>
                  <a:pt x="304" y="166"/>
                </a:lnTo>
                <a:lnTo>
                  <a:pt x="306" y="172"/>
                </a:lnTo>
                <a:lnTo>
                  <a:pt x="302" y="178"/>
                </a:lnTo>
                <a:lnTo>
                  <a:pt x="296" y="182"/>
                </a:lnTo>
                <a:lnTo>
                  <a:pt x="286" y="184"/>
                </a:lnTo>
                <a:lnTo>
                  <a:pt x="272" y="188"/>
                </a:lnTo>
                <a:lnTo>
                  <a:pt x="260" y="188"/>
                </a:lnTo>
                <a:lnTo>
                  <a:pt x="252" y="190"/>
                </a:lnTo>
                <a:lnTo>
                  <a:pt x="248" y="190"/>
                </a:lnTo>
                <a:lnTo>
                  <a:pt x="240" y="198"/>
                </a:lnTo>
                <a:lnTo>
                  <a:pt x="232" y="202"/>
                </a:lnTo>
                <a:lnTo>
                  <a:pt x="222" y="202"/>
                </a:lnTo>
                <a:lnTo>
                  <a:pt x="212" y="204"/>
                </a:lnTo>
                <a:lnTo>
                  <a:pt x="200" y="204"/>
                </a:lnTo>
                <a:lnTo>
                  <a:pt x="192" y="200"/>
                </a:lnTo>
                <a:lnTo>
                  <a:pt x="186" y="192"/>
                </a:lnTo>
                <a:lnTo>
                  <a:pt x="182" y="190"/>
                </a:lnTo>
                <a:lnTo>
                  <a:pt x="162" y="190"/>
                </a:lnTo>
                <a:lnTo>
                  <a:pt x="150" y="188"/>
                </a:lnTo>
                <a:lnTo>
                  <a:pt x="138" y="188"/>
                </a:lnTo>
                <a:lnTo>
                  <a:pt x="128" y="188"/>
                </a:lnTo>
                <a:lnTo>
                  <a:pt x="120" y="188"/>
                </a:lnTo>
                <a:lnTo>
                  <a:pt x="114" y="182"/>
                </a:lnTo>
                <a:lnTo>
                  <a:pt x="106" y="176"/>
                </a:lnTo>
                <a:lnTo>
                  <a:pt x="98" y="170"/>
                </a:lnTo>
                <a:lnTo>
                  <a:pt x="94" y="166"/>
                </a:lnTo>
                <a:lnTo>
                  <a:pt x="92" y="158"/>
                </a:lnTo>
                <a:lnTo>
                  <a:pt x="86" y="152"/>
                </a:lnTo>
                <a:lnTo>
                  <a:pt x="78" y="150"/>
                </a:lnTo>
                <a:lnTo>
                  <a:pt x="74" y="146"/>
                </a:lnTo>
                <a:lnTo>
                  <a:pt x="66" y="142"/>
                </a:lnTo>
                <a:lnTo>
                  <a:pt x="58" y="140"/>
                </a:lnTo>
                <a:lnTo>
                  <a:pt x="50" y="138"/>
                </a:lnTo>
                <a:lnTo>
                  <a:pt x="48" y="132"/>
                </a:lnTo>
                <a:lnTo>
                  <a:pt x="50" y="124"/>
                </a:lnTo>
                <a:lnTo>
                  <a:pt x="52" y="118"/>
                </a:lnTo>
                <a:lnTo>
                  <a:pt x="48" y="110"/>
                </a:lnTo>
                <a:lnTo>
                  <a:pt x="40" y="108"/>
                </a:lnTo>
                <a:lnTo>
                  <a:pt x="40" y="102"/>
                </a:lnTo>
                <a:lnTo>
                  <a:pt x="32" y="94"/>
                </a:lnTo>
                <a:lnTo>
                  <a:pt x="24" y="88"/>
                </a:lnTo>
                <a:lnTo>
                  <a:pt x="16" y="90"/>
                </a:lnTo>
                <a:lnTo>
                  <a:pt x="8" y="88"/>
                </a:lnTo>
                <a:lnTo>
                  <a:pt x="4" y="84"/>
                </a:lnTo>
                <a:lnTo>
                  <a:pt x="2" y="80"/>
                </a:lnTo>
                <a:lnTo>
                  <a:pt x="0" y="70"/>
                </a:lnTo>
                <a:lnTo>
                  <a:pt x="2" y="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2" name="Freeform 136">
            <a:extLst>
              <a:ext uri="{FF2B5EF4-FFF2-40B4-BE49-F238E27FC236}">
                <a16:creationId xmlns:a16="http://schemas.microsoft.com/office/drawing/2014/main" id="{B943A684-20FE-495E-8DFF-A510AFC24D14}"/>
              </a:ext>
            </a:extLst>
          </p:cNvPr>
          <p:cNvSpPr>
            <a:spLocks/>
          </p:cNvSpPr>
          <p:nvPr userDrawn="1"/>
        </p:nvSpPr>
        <p:spPr bwMode="auto">
          <a:xfrm>
            <a:off x="6003394" y="2383361"/>
            <a:ext cx="10062" cy="6864"/>
          </a:xfrm>
          <a:custGeom>
            <a:avLst/>
            <a:gdLst>
              <a:gd name="T0" fmla="*/ 4 w 6"/>
              <a:gd name="T1" fmla="*/ 4 h 4"/>
              <a:gd name="T2" fmla="*/ 0 w 6"/>
              <a:gd name="T3" fmla="*/ 2 h 4"/>
              <a:gd name="T4" fmla="*/ 4 w 6"/>
              <a:gd name="T5" fmla="*/ 0 h 4"/>
              <a:gd name="T6" fmla="*/ 6 w 6"/>
              <a:gd name="T7" fmla="*/ 2 h 4"/>
              <a:gd name="T8" fmla="*/ 6 w 6"/>
              <a:gd name="T9" fmla="*/ 2 h 4"/>
              <a:gd name="T10" fmla="*/ 4 w 6"/>
              <a:gd name="T11" fmla="*/ 4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lnTo>
                  <a:pt x="0" y="2"/>
                </a:lnTo>
                <a:lnTo>
                  <a:pt x="4" y="0"/>
                </a:lnTo>
                <a:lnTo>
                  <a:pt x="6" y="2"/>
                </a:lnTo>
                <a:lnTo>
                  <a:pt x="6" y="2"/>
                </a:lnTo>
                <a:lnTo>
                  <a:pt x="4" y="4"/>
                </a:lnTo>
                <a:lnTo>
                  <a:pt x="4"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3" name="Freeform 137">
            <a:extLst>
              <a:ext uri="{FF2B5EF4-FFF2-40B4-BE49-F238E27FC236}">
                <a16:creationId xmlns:a16="http://schemas.microsoft.com/office/drawing/2014/main" id="{DE68418D-67B9-45CF-901F-D230DF45ECA4}"/>
              </a:ext>
            </a:extLst>
          </p:cNvPr>
          <p:cNvSpPr>
            <a:spLocks/>
          </p:cNvSpPr>
          <p:nvPr userDrawn="1"/>
        </p:nvSpPr>
        <p:spPr bwMode="auto">
          <a:xfrm>
            <a:off x="6457872" y="2215195"/>
            <a:ext cx="83852" cy="109823"/>
          </a:xfrm>
          <a:custGeom>
            <a:avLst/>
            <a:gdLst>
              <a:gd name="T0" fmla="*/ 24 w 50"/>
              <a:gd name="T1" fmla="*/ 64 h 64"/>
              <a:gd name="T2" fmla="*/ 30 w 50"/>
              <a:gd name="T3" fmla="*/ 56 h 64"/>
              <a:gd name="T4" fmla="*/ 32 w 50"/>
              <a:gd name="T5" fmla="*/ 52 h 64"/>
              <a:gd name="T6" fmla="*/ 36 w 50"/>
              <a:gd name="T7" fmla="*/ 48 h 64"/>
              <a:gd name="T8" fmla="*/ 36 w 50"/>
              <a:gd name="T9" fmla="*/ 48 h 64"/>
              <a:gd name="T10" fmla="*/ 42 w 50"/>
              <a:gd name="T11" fmla="*/ 50 h 64"/>
              <a:gd name="T12" fmla="*/ 48 w 50"/>
              <a:gd name="T13" fmla="*/ 52 h 64"/>
              <a:gd name="T14" fmla="*/ 42 w 50"/>
              <a:gd name="T15" fmla="*/ 42 h 64"/>
              <a:gd name="T16" fmla="*/ 40 w 50"/>
              <a:gd name="T17" fmla="*/ 40 h 64"/>
              <a:gd name="T18" fmla="*/ 38 w 50"/>
              <a:gd name="T19" fmla="*/ 34 h 64"/>
              <a:gd name="T20" fmla="*/ 38 w 50"/>
              <a:gd name="T21" fmla="*/ 30 h 64"/>
              <a:gd name="T22" fmla="*/ 36 w 50"/>
              <a:gd name="T23" fmla="*/ 26 h 64"/>
              <a:gd name="T24" fmla="*/ 34 w 50"/>
              <a:gd name="T25" fmla="*/ 20 h 64"/>
              <a:gd name="T26" fmla="*/ 32 w 50"/>
              <a:gd name="T27" fmla="*/ 14 h 64"/>
              <a:gd name="T28" fmla="*/ 28 w 50"/>
              <a:gd name="T29" fmla="*/ 10 h 64"/>
              <a:gd name="T30" fmla="*/ 22 w 50"/>
              <a:gd name="T31" fmla="*/ 6 h 64"/>
              <a:gd name="T32" fmla="*/ 16 w 50"/>
              <a:gd name="T33" fmla="*/ 2 h 64"/>
              <a:gd name="T34" fmla="*/ 8 w 50"/>
              <a:gd name="T35" fmla="*/ 2 h 64"/>
              <a:gd name="T36" fmla="*/ 4 w 50"/>
              <a:gd name="T37" fmla="*/ 2 h 64"/>
              <a:gd name="T38" fmla="*/ 0 w 50"/>
              <a:gd name="T39" fmla="*/ 6 h 64"/>
              <a:gd name="T40" fmla="*/ 4 w 50"/>
              <a:gd name="T41" fmla="*/ 8 h 64"/>
              <a:gd name="T42" fmla="*/ 10 w 50"/>
              <a:gd name="T43" fmla="*/ 16 h 64"/>
              <a:gd name="T44" fmla="*/ 14 w 50"/>
              <a:gd name="T45" fmla="*/ 24 h 64"/>
              <a:gd name="T46" fmla="*/ 18 w 50"/>
              <a:gd name="T47" fmla="*/ 30 h 64"/>
              <a:gd name="T48" fmla="*/ 20 w 50"/>
              <a:gd name="T49" fmla="*/ 34 h 64"/>
              <a:gd name="T50" fmla="*/ 20 w 50"/>
              <a:gd name="T51" fmla="*/ 38 h 64"/>
              <a:gd name="T52" fmla="*/ 20 w 50"/>
              <a:gd name="T53" fmla="*/ 42 h 64"/>
              <a:gd name="T54" fmla="*/ 22 w 50"/>
              <a:gd name="T55" fmla="*/ 44 h 64"/>
              <a:gd name="T56" fmla="*/ 20 w 50"/>
              <a:gd name="T57" fmla="*/ 46 h 64"/>
              <a:gd name="T58" fmla="*/ 20 w 50"/>
              <a:gd name="T59" fmla="*/ 48 h 64"/>
              <a:gd name="T60" fmla="*/ 20 w 50"/>
              <a:gd name="T61" fmla="*/ 56 h 64"/>
              <a:gd name="T62" fmla="*/ 20 w 50"/>
              <a:gd name="T63" fmla="*/ 56 h 64"/>
              <a:gd name="T64" fmla="*/ 20 w 50"/>
              <a:gd name="T65" fmla="*/ 60 h 64"/>
              <a:gd name="T66" fmla="*/ 22 w 50"/>
              <a:gd name="T67" fmla="*/ 64 h 64"/>
              <a:gd name="T68" fmla="*/ 24 w 50"/>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 h="64">
                <a:moveTo>
                  <a:pt x="24" y="64"/>
                </a:moveTo>
                <a:lnTo>
                  <a:pt x="24" y="64"/>
                </a:lnTo>
                <a:lnTo>
                  <a:pt x="28" y="62"/>
                </a:lnTo>
                <a:lnTo>
                  <a:pt x="30" y="56"/>
                </a:lnTo>
                <a:lnTo>
                  <a:pt x="30" y="56"/>
                </a:lnTo>
                <a:lnTo>
                  <a:pt x="32" y="52"/>
                </a:lnTo>
                <a:lnTo>
                  <a:pt x="34" y="50"/>
                </a:lnTo>
                <a:lnTo>
                  <a:pt x="36" y="48"/>
                </a:lnTo>
                <a:lnTo>
                  <a:pt x="36" y="48"/>
                </a:lnTo>
                <a:lnTo>
                  <a:pt x="36" y="48"/>
                </a:lnTo>
                <a:lnTo>
                  <a:pt x="38" y="48"/>
                </a:lnTo>
                <a:lnTo>
                  <a:pt x="42" y="50"/>
                </a:lnTo>
                <a:lnTo>
                  <a:pt x="42" y="50"/>
                </a:lnTo>
                <a:lnTo>
                  <a:pt x="48" y="52"/>
                </a:lnTo>
                <a:lnTo>
                  <a:pt x="50" y="54"/>
                </a:lnTo>
                <a:lnTo>
                  <a:pt x="42" y="42"/>
                </a:lnTo>
                <a:lnTo>
                  <a:pt x="42" y="42"/>
                </a:lnTo>
                <a:lnTo>
                  <a:pt x="40" y="40"/>
                </a:lnTo>
                <a:lnTo>
                  <a:pt x="38" y="38"/>
                </a:lnTo>
                <a:lnTo>
                  <a:pt x="38" y="34"/>
                </a:lnTo>
                <a:lnTo>
                  <a:pt x="38" y="34"/>
                </a:lnTo>
                <a:lnTo>
                  <a:pt x="38" y="30"/>
                </a:lnTo>
                <a:lnTo>
                  <a:pt x="36" y="26"/>
                </a:lnTo>
                <a:lnTo>
                  <a:pt x="36" y="26"/>
                </a:lnTo>
                <a:lnTo>
                  <a:pt x="34" y="24"/>
                </a:lnTo>
                <a:lnTo>
                  <a:pt x="34" y="20"/>
                </a:lnTo>
                <a:lnTo>
                  <a:pt x="34" y="20"/>
                </a:lnTo>
                <a:lnTo>
                  <a:pt x="32" y="14"/>
                </a:lnTo>
                <a:lnTo>
                  <a:pt x="28" y="10"/>
                </a:lnTo>
                <a:lnTo>
                  <a:pt x="28" y="10"/>
                </a:lnTo>
                <a:lnTo>
                  <a:pt x="22" y="6"/>
                </a:lnTo>
                <a:lnTo>
                  <a:pt x="22" y="6"/>
                </a:lnTo>
                <a:lnTo>
                  <a:pt x="16" y="2"/>
                </a:lnTo>
                <a:lnTo>
                  <a:pt x="16" y="2"/>
                </a:lnTo>
                <a:lnTo>
                  <a:pt x="12" y="0"/>
                </a:lnTo>
                <a:lnTo>
                  <a:pt x="8" y="2"/>
                </a:lnTo>
                <a:lnTo>
                  <a:pt x="8" y="2"/>
                </a:lnTo>
                <a:lnTo>
                  <a:pt x="4" y="2"/>
                </a:lnTo>
                <a:lnTo>
                  <a:pt x="0" y="4"/>
                </a:lnTo>
                <a:lnTo>
                  <a:pt x="0" y="6"/>
                </a:lnTo>
                <a:lnTo>
                  <a:pt x="0" y="6"/>
                </a:lnTo>
                <a:lnTo>
                  <a:pt x="4" y="8"/>
                </a:lnTo>
                <a:lnTo>
                  <a:pt x="10" y="16"/>
                </a:lnTo>
                <a:lnTo>
                  <a:pt x="10" y="16"/>
                </a:lnTo>
                <a:lnTo>
                  <a:pt x="10" y="20"/>
                </a:lnTo>
                <a:lnTo>
                  <a:pt x="14" y="24"/>
                </a:lnTo>
                <a:lnTo>
                  <a:pt x="14" y="24"/>
                </a:lnTo>
                <a:lnTo>
                  <a:pt x="18" y="30"/>
                </a:lnTo>
                <a:lnTo>
                  <a:pt x="20" y="34"/>
                </a:lnTo>
                <a:lnTo>
                  <a:pt x="20" y="34"/>
                </a:lnTo>
                <a:lnTo>
                  <a:pt x="20" y="36"/>
                </a:lnTo>
                <a:lnTo>
                  <a:pt x="20" y="38"/>
                </a:lnTo>
                <a:lnTo>
                  <a:pt x="20" y="40"/>
                </a:lnTo>
                <a:lnTo>
                  <a:pt x="20" y="42"/>
                </a:lnTo>
                <a:lnTo>
                  <a:pt x="20" y="42"/>
                </a:lnTo>
                <a:lnTo>
                  <a:pt x="22" y="44"/>
                </a:lnTo>
                <a:lnTo>
                  <a:pt x="22" y="44"/>
                </a:lnTo>
                <a:lnTo>
                  <a:pt x="20" y="46"/>
                </a:lnTo>
                <a:lnTo>
                  <a:pt x="20" y="48"/>
                </a:lnTo>
                <a:lnTo>
                  <a:pt x="20" y="48"/>
                </a:lnTo>
                <a:lnTo>
                  <a:pt x="20" y="54"/>
                </a:lnTo>
                <a:lnTo>
                  <a:pt x="20" y="56"/>
                </a:lnTo>
                <a:lnTo>
                  <a:pt x="20" y="56"/>
                </a:lnTo>
                <a:lnTo>
                  <a:pt x="20" y="56"/>
                </a:lnTo>
                <a:lnTo>
                  <a:pt x="22" y="58"/>
                </a:lnTo>
                <a:lnTo>
                  <a:pt x="20" y="60"/>
                </a:lnTo>
                <a:lnTo>
                  <a:pt x="20" y="62"/>
                </a:lnTo>
                <a:lnTo>
                  <a:pt x="22" y="64"/>
                </a:lnTo>
                <a:lnTo>
                  <a:pt x="22" y="64"/>
                </a:lnTo>
                <a:lnTo>
                  <a:pt x="24" y="64"/>
                </a:lnTo>
                <a:lnTo>
                  <a:pt x="24"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4" name="Freeform 138">
            <a:extLst>
              <a:ext uri="{FF2B5EF4-FFF2-40B4-BE49-F238E27FC236}">
                <a16:creationId xmlns:a16="http://schemas.microsoft.com/office/drawing/2014/main" id="{67C225B8-8EC2-44C4-8FA0-C166A3E3F279}"/>
              </a:ext>
            </a:extLst>
          </p:cNvPr>
          <p:cNvSpPr>
            <a:spLocks/>
          </p:cNvSpPr>
          <p:nvPr userDrawn="1"/>
        </p:nvSpPr>
        <p:spPr bwMode="auto">
          <a:xfrm>
            <a:off x="3226223" y="2723127"/>
            <a:ext cx="677522" cy="528524"/>
          </a:xfrm>
          <a:custGeom>
            <a:avLst/>
            <a:gdLst>
              <a:gd name="T0" fmla="*/ 6 w 404"/>
              <a:gd name="T1" fmla="*/ 18 h 308"/>
              <a:gd name="T2" fmla="*/ 16 w 404"/>
              <a:gd name="T3" fmla="*/ 36 h 308"/>
              <a:gd name="T4" fmla="*/ 26 w 404"/>
              <a:gd name="T5" fmla="*/ 46 h 308"/>
              <a:gd name="T6" fmla="*/ 38 w 404"/>
              <a:gd name="T7" fmla="*/ 68 h 308"/>
              <a:gd name="T8" fmla="*/ 34 w 404"/>
              <a:gd name="T9" fmla="*/ 92 h 308"/>
              <a:gd name="T10" fmla="*/ 48 w 404"/>
              <a:gd name="T11" fmla="*/ 102 h 308"/>
              <a:gd name="T12" fmla="*/ 64 w 404"/>
              <a:gd name="T13" fmla="*/ 126 h 308"/>
              <a:gd name="T14" fmla="*/ 78 w 404"/>
              <a:gd name="T15" fmla="*/ 148 h 308"/>
              <a:gd name="T16" fmla="*/ 94 w 404"/>
              <a:gd name="T17" fmla="*/ 168 h 308"/>
              <a:gd name="T18" fmla="*/ 90 w 404"/>
              <a:gd name="T19" fmla="*/ 152 h 308"/>
              <a:gd name="T20" fmla="*/ 82 w 404"/>
              <a:gd name="T21" fmla="*/ 142 h 308"/>
              <a:gd name="T22" fmla="*/ 74 w 404"/>
              <a:gd name="T23" fmla="*/ 118 h 308"/>
              <a:gd name="T24" fmla="*/ 60 w 404"/>
              <a:gd name="T25" fmla="*/ 90 h 308"/>
              <a:gd name="T26" fmla="*/ 52 w 404"/>
              <a:gd name="T27" fmla="*/ 70 h 308"/>
              <a:gd name="T28" fmla="*/ 46 w 404"/>
              <a:gd name="T29" fmla="*/ 64 h 308"/>
              <a:gd name="T30" fmla="*/ 38 w 404"/>
              <a:gd name="T31" fmla="*/ 48 h 308"/>
              <a:gd name="T32" fmla="*/ 26 w 404"/>
              <a:gd name="T33" fmla="*/ 26 h 308"/>
              <a:gd name="T34" fmla="*/ 32 w 404"/>
              <a:gd name="T35" fmla="*/ 14 h 308"/>
              <a:gd name="T36" fmla="*/ 48 w 404"/>
              <a:gd name="T37" fmla="*/ 16 h 308"/>
              <a:gd name="T38" fmla="*/ 60 w 404"/>
              <a:gd name="T39" fmla="*/ 52 h 308"/>
              <a:gd name="T40" fmla="*/ 72 w 404"/>
              <a:gd name="T41" fmla="*/ 70 h 308"/>
              <a:gd name="T42" fmla="*/ 90 w 404"/>
              <a:gd name="T43" fmla="*/ 86 h 308"/>
              <a:gd name="T44" fmla="*/ 100 w 404"/>
              <a:gd name="T45" fmla="*/ 102 h 308"/>
              <a:gd name="T46" fmla="*/ 102 w 404"/>
              <a:gd name="T47" fmla="*/ 112 h 308"/>
              <a:gd name="T48" fmla="*/ 114 w 404"/>
              <a:gd name="T49" fmla="*/ 128 h 308"/>
              <a:gd name="T50" fmla="*/ 132 w 404"/>
              <a:gd name="T51" fmla="*/ 150 h 308"/>
              <a:gd name="T52" fmla="*/ 142 w 404"/>
              <a:gd name="T53" fmla="*/ 164 h 308"/>
              <a:gd name="T54" fmla="*/ 156 w 404"/>
              <a:gd name="T55" fmla="*/ 196 h 308"/>
              <a:gd name="T56" fmla="*/ 156 w 404"/>
              <a:gd name="T57" fmla="*/ 214 h 308"/>
              <a:gd name="T58" fmla="*/ 158 w 404"/>
              <a:gd name="T59" fmla="*/ 232 h 308"/>
              <a:gd name="T60" fmla="*/ 180 w 404"/>
              <a:gd name="T61" fmla="*/ 248 h 308"/>
              <a:gd name="T62" fmla="*/ 202 w 404"/>
              <a:gd name="T63" fmla="*/ 262 h 308"/>
              <a:gd name="T64" fmla="*/ 222 w 404"/>
              <a:gd name="T65" fmla="*/ 278 h 308"/>
              <a:gd name="T66" fmla="*/ 246 w 404"/>
              <a:gd name="T67" fmla="*/ 284 h 308"/>
              <a:gd name="T68" fmla="*/ 260 w 404"/>
              <a:gd name="T69" fmla="*/ 290 h 308"/>
              <a:gd name="T70" fmla="*/ 274 w 404"/>
              <a:gd name="T71" fmla="*/ 296 h 308"/>
              <a:gd name="T72" fmla="*/ 298 w 404"/>
              <a:gd name="T73" fmla="*/ 288 h 308"/>
              <a:gd name="T74" fmla="*/ 322 w 404"/>
              <a:gd name="T75" fmla="*/ 296 h 308"/>
              <a:gd name="T76" fmla="*/ 330 w 404"/>
              <a:gd name="T77" fmla="*/ 300 h 308"/>
              <a:gd name="T78" fmla="*/ 350 w 404"/>
              <a:gd name="T79" fmla="*/ 278 h 308"/>
              <a:gd name="T80" fmla="*/ 380 w 404"/>
              <a:gd name="T81" fmla="*/ 254 h 308"/>
              <a:gd name="T82" fmla="*/ 394 w 404"/>
              <a:gd name="T83" fmla="*/ 256 h 308"/>
              <a:gd name="T84" fmla="*/ 398 w 404"/>
              <a:gd name="T85" fmla="*/ 218 h 308"/>
              <a:gd name="T86" fmla="*/ 388 w 404"/>
              <a:gd name="T87" fmla="*/ 194 h 308"/>
              <a:gd name="T88" fmla="*/ 364 w 404"/>
              <a:gd name="T89" fmla="*/ 206 h 308"/>
              <a:gd name="T90" fmla="*/ 354 w 404"/>
              <a:gd name="T91" fmla="*/ 236 h 308"/>
              <a:gd name="T92" fmla="*/ 338 w 404"/>
              <a:gd name="T93" fmla="*/ 250 h 308"/>
              <a:gd name="T94" fmla="*/ 314 w 404"/>
              <a:gd name="T95" fmla="*/ 254 h 308"/>
              <a:gd name="T96" fmla="*/ 284 w 404"/>
              <a:gd name="T97" fmla="*/ 248 h 308"/>
              <a:gd name="T98" fmla="*/ 274 w 404"/>
              <a:gd name="T99" fmla="*/ 228 h 308"/>
              <a:gd name="T100" fmla="*/ 260 w 404"/>
              <a:gd name="T101" fmla="*/ 206 h 308"/>
              <a:gd name="T102" fmla="*/ 260 w 404"/>
              <a:gd name="T103" fmla="*/ 182 h 308"/>
              <a:gd name="T104" fmla="*/ 258 w 404"/>
              <a:gd name="T105" fmla="*/ 152 h 308"/>
              <a:gd name="T106" fmla="*/ 260 w 404"/>
              <a:gd name="T107" fmla="*/ 136 h 308"/>
              <a:gd name="T108" fmla="*/ 266 w 404"/>
              <a:gd name="T109" fmla="*/ 122 h 308"/>
              <a:gd name="T110" fmla="*/ 230 w 404"/>
              <a:gd name="T111" fmla="*/ 90 h 308"/>
              <a:gd name="T112" fmla="*/ 202 w 404"/>
              <a:gd name="T113" fmla="*/ 54 h 308"/>
              <a:gd name="T114" fmla="*/ 168 w 404"/>
              <a:gd name="T115" fmla="*/ 48 h 308"/>
              <a:gd name="T116" fmla="*/ 72 w 404"/>
              <a:gd name="T117" fmla="*/ 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 h="308">
                <a:moveTo>
                  <a:pt x="0" y="4"/>
                </a:moveTo>
                <a:lnTo>
                  <a:pt x="0" y="4"/>
                </a:lnTo>
                <a:lnTo>
                  <a:pt x="0" y="6"/>
                </a:lnTo>
                <a:lnTo>
                  <a:pt x="2" y="10"/>
                </a:lnTo>
                <a:lnTo>
                  <a:pt x="2" y="10"/>
                </a:lnTo>
                <a:lnTo>
                  <a:pt x="6" y="14"/>
                </a:lnTo>
                <a:lnTo>
                  <a:pt x="6" y="14"/>
                </a:lnTo>
                <a:lnTo>
                  <a:pt x="6" y="18"/>
                </a:lnTo>
                <a:lnTo>
                  <a:pt x="6" y="18"/>
                </a:lnTo>
                <a:lnTo>
                  <a:pt x="8" y="20"/>
                </a:lnTo>
                <a:lnTo>
                  <a:pt x="10" y="24"/>
                </a:lnTo>
                <a:lnTo>
                  <a:pt x="10" y="24"/>
                </a:lnTo>
                <a:lnTo>
                  <a:pt x="10" y="28"/>
                </a:lnTo>
                <a:lnTo>
                  <a:pt x="10" y="32"/>
                </a:lnTo>
                <a:lnTo>
                  <a:pt x="12" y="36"/>
                </a:lnTo>
                <a:lnTo>
                  <a:pt x="12" y="36"/>
                </a:lnTo>
                <a:lnTo>
                  <a:pt x="16" y="36"/>
                </a:lnTo>
                <a:lnTo>
                  <a:pt x="16" y="36"/>
                </a:lnTo>
                <a:lnTo>
                  <a:pt x="16" y="40"/>
                </a:lnTo>
                <a:lnTo>
                  <a:pt x="16" y="40"/>
                </a:lnTo>
                <a:lnTo>
                  <a:pt x="20" y="42"/>
                </a:lnTo>
                <a:lnTo>
                  <a:pt x="20" y="42"/>
                </a:lnTo>
                <a:lnTo>
                  <a:pt x="22" y="46"/>
                </a:lnTo>
                <a:lnTo>
                  <a:pt x="22" y="46"/>
                </a:lnTo>
                <a:lnTo>
                  <a:pt x="24" y="46"/>
                </a:lnTo>
                <a:lnTo>
                  <a:pt x="26" y="46"/>
                </a:lnTo>
                <a:lnTo>
                  <a:pt x="26" y="46"/>
                </a:lnTo>
                <a:lnTo>
                  <a:pt x="28" y="50"/>
                </a:lnTo>
                <a:lnTo>
                  <a:pt x="28" y="50"/>
                </a:lnTo>
                <a:lnTo>
                  <a:pt x="32" y="52"/>
                </a:lnTo>
                <a:lnTo>
                  <a:pt x="32" y="52"/>
                </a:lnTo>
                <a:lnTo>
                  <a:pt x="34" y="56"/>
                </a:lnTo>
                <a:lnTo>
                  <a:pt x="34" y="58"/>
                </a:lnTo>
                <a:lnTo>
                  <a:pt x="36" y="64"/>
                </a:lnTo>
                <a:lnTo>
                  <a:pt x="36" y="64"/>
                </a:lnTo>
                <a:lnTo>
                  <a:pt x="38" y="68"/>
                </a:lnTo>
                <a:lnTo>
                  <a:pt x="38" y="68"/>
                </a:lnTo>
                <a:lnTo>
                  <a:pt x="38" y="76"/>
                </a:lnTo>
                <a:lnTo>
                  <a:pt x="36" y="84"/>
                </a:lnTo>
                <a:lnTo>
                  <a:pt x="36" y="84"/>
                </a:lnTo>
                <a:lnTo>
                  <a:pt x="26" y="84"/>
                </a:lnTo>
                <a:lnTo>
                  <a:pt x="26" y="86"/>
                </a:lnTo>
                <a:lnTo>
                  <a:pt x="26" y="86"/>
                </a:lnTo>
                <a:lnTo>
                  <a:pt x="34" y="92"/>
                </a:lnTo>
                <a:lnTo>
                  <a:pt x="34" y="92"/>
                </a:lnTo>
                <a:lnTo>
                  <a:pt x="36" y="94"/>
                </a:lnTo>
                <a:lnTo>
                  <a:pt x="38" y="98"/>
                </a:lnTo>
                <a:lnTo>
                  <a:pt x="38" y="98"/>
                </a:lnTo>
                <a:lnTo>
                  <a:pt x="42" y="98"/>
                </a:lnTo>
                <a:lnTo>
                  <a:pt x="42" y="98"/>
                </a:lnTo>
                <a:lnTo>
                  <a:pt x="42" y="100"/>
                </a:lnTo>
                <a:lnTo>
                  <a:pt x="42" y="102"/>
                </a:lnTo>
                <a:lnTo>
                  <a:pt x="42" y="102"/>
                </a:lnTo>
                <a:lnTo>
                  <a:pt x="48" y="102"/>
                </a:lnTo>
                <a:lnTo>
                  <a:pt x="48" y="102"/>
                </a:lnTo>
                <a:lnTo>
                  <a:pt x="56" y="108"/>
                </a:lnTo>
                <a:lnTo>
                  <a:pt x="62" y="114"/>
                </a:lnTo>
                <a:lnTo>
                  <a:pt x="62" y="114"/>
                </a:lnTo>
                <a:lnTo>
                  <a:pt x="62" y="116"/>
                </a:lnTo>
                <a:lnTo>
                  <a:pt x="62" y="118"/>
                </a:lnTo>
                <a:lnTo>
                  <a:pt x="62" y="118"/>
                </a:lnTo>
                <a:lnTo>
                  <a:pt x="64" y="126"/>
                </a:lnTo>
                <a:lnTo>
                  <a:pt x="64" y="126"/>
                </a:lnTo>
                <a:lnTo>
                  <a:pt x="64" y="132"/>
                </a:lnTo>
                <a:lnTo>
                  <a:pt x="64" y="138"/>
                </a:lnTo>
                <a:lnTo>
                  <a:pt x="64" y="138"/>
                </a:lnTo>
                <a:lnTo>
                  <a:pt x="68" y="140"/>
                </a:lnTo>
                <a:lnTo>
                  <a:pt x="72" y="140"/>
                </a:lnTo>
                <a:lnTo>
                  <a:pt x="72" y="140"/>
                </a:lnTo>
                <a:lnTo>
                  <a:pt x="72" y="144"/>
                </a:lnTo>
                <a:lnTo>
                  <a:pt x="72" y="144"/>
                </a:lnTo>
                <a:lnTo>
                  <a:pt x="78" y="148"/>
                </a:lnTo>
                <a:lnTo>
                  <a:pt x="78" y="148"/>
                </a:lnTo>
                <a:lnTo>
                  <a:pt x="90" y="164"/>
                </a:lnTo>
                <a:lnTo>
                  <a:pt x="90" y="164"/>
                </a:lnTo>
                <a:lnTo>
                  <a:pt x="90" y="170"/>
                </a:lnTo>
                <a:lnTo>
                  <a:pt x="94" y="170"/>
                </a:lnTo>
                <a:lnTo>
                  <a:pt x="94" y="170"/>
                </a:lnTo>
                <a:lnTo>
                  <a:pt x="94" y="168"/>
                </a:lnTo>
                <a:lnTo>
                  <a:pt x="94" y="168"/>
                </a:lnTo>
                <a:lnTo>
                  <a:pt x="94" y="168"/>
                </a:lnTo>
                <a:lnTo>
                  <a:pt x="94" y="168"/>
                </a:lnTo>
                <a:lnTo>
                  <a:pt x="96" y="166"/>
                </a:lnTo>
                <a:lnTo>
                  <a:pt x="98" y="164"/>
                </a:lnTo>
                <a:lnTo>
                  <a:pt x="98" y="164"/>
                </a:lnTo>
                <a:lnTo>
                  <a:pt x="98" y="162"/>
                </a:lnTo>
                <a:lnTo>
                  <a:pt x="96" y="158"/>
                </a:lnTo>
                <a:lnTo>
                  <a:pt x="96" y="158"/>
                </a:lnTo>
                <a:lnTo>
                  <a:pt x="90" y="152"/>
                </a:lnTo>
                <a:lnTo>
                  <a:pt x="90" y="152"/>
                </a:lnTo>
                <a:lnTo>
                  <a:pt x="90" y="148"/>
                </a:lnTo>
                <a:lnTo>
                  <a:pt x="90" y="148"/>
                </a:lnTo>
                <a:lnTo>
                  <a:pt x="88" y="146"/>
                </a:lnTo>
                <a:lnTo>
                  <a:pt x="88" y="146"/>
                </a:lnTo>
                <a:lnTo>
                  <a:pt x="84" y="146"/>
                </a:lnTo>
                <a:lnTo>
                  <a:pt x="84" y="146"/>
                </a:lnTo>
                <a:lnTo>
                  <a:pt x="82" y="144"/>
                </a:lnTo>
                <a:lnTo>
                  <a:pt x="82" y="144"/>
                </a:lnTo>
                <a:lnTo>
                  <a:pt x="82" y="142"/>
                </a:lnTo>
                <a:lnTo>
                  <a:pt x="84" y="138"/>
                </a:lnTo>
                <a:lnTo>
                  <a:pt x="84" y="138"/>
                </a:lnTo>
                <a:lnTo>
                  <a:pt x="80" y="134"/>
                </a:lnTo>
                <a:lnTo>
                  <a:pt x="80" y="134"/>
                </a:lnTo>
                <a:lnTo>
                  <a:pt x="80" y="130"/>
                </a:lnTo>
                <a:lnTo>
                  <a:pt x="80" y="128"/>
                </a:lnTo>
                <a:lnTo>
                  <a:pt x="80" y="128"/>
                </a:lnTo>
                <a:lnTo>
                  <a:pt x="74" y="118"/>
                </a:lnTo>
                <a:lnTo>
                  <a:pt x="74" y="118"/>
                </a:lnTo>
                <a:lnTo>
                  <a:pt x="74" y="114"/>
                </a:lnTo>
                <a:lnTo>
                  <a:pt x="74" y="114"/>
                </a:lnTo>
                <a:lnTo>
                  <a:pt x="70" y="106"/>
                </a:lnTo>
                <a:lnTo>
                  <a:pt x="64" y="100"/>
                </a:lnTo>
                <a:lnTo>
                  <a:pt x="64" y="100"/>
                </a:lnTo>
                <a:lnTo>
                  <a:pt x="64" y="96"/>
                </a:lnTo>
                <a:lnTo>
                  <a:pt x="64" y="92"/>
                </a:lnTo>
                <a:lnTo>
                  <a:pt x="64" y="92"/>
                </a:lnTo>
                <a:lnTo>
                  <a:pt x="60" y="90"/>
                </a:lnTo>
                <a:lnTo>
                  <a:pt x="60" y="90"/>
                </a:lnTo>
                <a:lnTo>
                  <a:pt x="60" y="86"/>
                </a:lnTo>
                <a:lnTo>
                  <a:pt x="60" y="86"/>
                </a:lnTo>
                <a:lnTo>
                  <a:pt x="58" y="84"/>
                </a:lnTo>
                <a:lnTo>
                  <a:pt x="56" y="82"/>
                </a:lnTo>
                <a:lnTo>
                  <a:pt x="56" y="82"/>
                </a:lnTo>
                <a:lnTo>
                  <a:pt x="56" y="76"/>
                </a:lnTo>
                <a:lnTo>
                  <a:pt x="54" y="70"/>
                </a:lnTo>
                <a:lnTo>
                  <a:pt x="52" y="70"/>
                </a:lnTo>
                <a:lnTo>
                  <a:pt x="52" y="70"/>
                </a:lnTo>
                <a:lnTo>
                  <a:pt x="52" y="66"/>
                </a:lnTo>
                <a:lnTo>
                  <a:pt x="52" y="66"/>
                </a:lnTo>
                <a:lnTo>
                  <a:pt x="50" y="66"/>
                </a:lnTo>
                <a:lnTo>
                  <a:pt x="50" y="66"/>
                </a:lnTo>
                <a:lnTo>
                  <a:pt x="50" y="66"/>
                </a:lnTo>
                <a:lnTo>
                  <a:pt x="50" y="66"/>
                </a:lnTo>
                <a:lnTo>
                  <a:pt x="48" y="66"/>
                </a:lnTo>
                <a:lnTo>
                  <a:pt x="46" y="64"/>
                </a:lnTo>
                <a:lnTo>
                  <a:pt x="46" y="64"/>
                </a:lnTo>
                <a:lnTo>
                  <a:pt x="46" y="62"/>
                </a:lnTo>
                <a:lnTo>
                  <a:pt x="46" y="60"/>
                </a:lnTo>
                <a:lnTo>
                  <a:pt x="48" y="60"/>
                </a:lnTo>
                <a:lnTo>
                  <a:pt x="48" y="58"/>
                </a:lnTo>
                <a:lnTo>
                  <a:pt x="44" y="50"/>
                </a:lnTo>
                <a:lnTo>
                  <a:pt x="44" y="50"/>
                </a:lnTo>
                <a:lnTo>
                  <a:pt x="40" y="50"/>
                </a:lnTo>
                <a:lnTo>
                  <a:pt x="38" y="48"/>
                </a:lnTo>
                <a:lnTo>
                  <a:pt x="38" y="48"/>
                </a:lnTo>
                <a:lnTo>
                  <a:pt x="38" y="46"/>
                </a:lnTo>
                <a:lnTo>
                  <a:pt x="38" y="46"/>
                </a:lnTo>
                <a:lnTo>
                  <a:pt x="34" y="40"/>
                </a:lnTo>
                <a:lnTo>
                  <a:pt x="34" y="40"/>
                </a:lnTo>
                <a:lnTo>
                  <a:pt x="32" y="36"/>
                </a:lnTo>
                <a:lnTo>
                  <a:pt x="30" y="30"/>
                </a:lnTo>
                <a:lnTo>
                  <a:pt x="30" y="30"/>
                </a:lnTo>
                <a:lnTo>
                  <a:pt x="26" y="26"/>
                </a:lnTo>
                <a:lnTo>
                  <a:pt x="26" y="26"/>
                </a:lnTo>
                <a:lnTo>
                  <a:pt x="26" y="20"/>
                </a:lnTo>
                <a:lnTo>
                  <a:pt x="28" y="16"/>
                </a:lnTo>
                <a:lnTo>
                  <a:pt x="28" y="16"/>
                </a:lnTo>
                <a:lnTo>
                  <a:pt x="26" y="16"/>
                </a:lnTo>
                <a:lnTo>
                  <a:pt x="26" y="14"/>
                </a:lnTo>
                <a:lnTo>
                  <a:pt x="26" y="14"/>
                </a:lnTo>
                <a:lnTo>
                  <a:pt x="32" y="14"/>
                </a:lnTo>
                <a:lnTo>
                  <a:pt x="32" y="14"/>
                </a:lnTo>
                <a:lnTo>
                  <a:pt x="36" y="18"/>
                </a:lnTo>
                <a:lnTo>
                  <a:pt x="36" y="18"/>
                </a:lnTo>
                <a:lnTo>
                  <a:pt x="40" y="20"/>
                </a:lnTo>
                <a:lnTo>
                  <a:pt x="40" y="20"/>
                </a:lnTo>
                <a:lnTo>
                  <a:pt x="42" y="18"/>
                </a:lnTo>
                <a:lnTo>
                  <a:pt x="42" y="18"/>
                </a:lnTo>
                <a:lnTo>
                  <a:pt x="44" y="16"/>
                </a:lnTo>
                <a:lnTo>
                  <a:pt x="48" y="16"/>
                </a:lnTo>
                <a:lnTo>
                  <a:pt x="48" y="16"/>
                </a:lnTo>
                <a:lnTo>
                  <a:pt x="48" y="20"/>
                </a:lnTo>
                <a:lnTo>
                  <a:pt x="52" y="24"/>
                </a:lnTo>
                <a:lnTo>
                  <a:pt x="52" y="24"/>
                </a:lnTo>
                <a:lnTo>
                  <a:pt x="52" y="34"/>
                </a:lnTo>
                <a:lnTo>
                  <a:pt x="56" y="40"/>
                </a:lnTo>
                <a:lnTo>
                  <a:pt x="58" y="40"/>
                </a:lnTo>
                <a:lnTo>
                  <a:pt x="58" y="40"/>
                </a:lnTo>
                <a:lnTo>
                  <a:pt x="60" y="46"/>
                </a:lnTo>
                <a:lnTo>
                  <a:pt x="60" y="52"/>
                </a:lnTo>
                <a:lnTo>
                  <a:pt x="60" y="52"/>
                </a:lnTo>
                <a:lnTo>
                  <a:pt x="68" y="62"/>
                </a:lnTo>
                <a:lnTo>
                  <a:pt x="68" y="62"/>
                </a:lnTo>
                <a:lnTo>
                  <a:pt x="72" y="62"/>
                </a:lnTo>
                <a:lnTo>
                  <a:pt x="72" y="62"/>
                </a:lnTo>
                <a:lnTo>
                  <a:pt x="72" y="66"/>
                </a:lnTo>
                <a:lnTo>
                  <a:pt x="72" y="68"/>
                </a:lnTo>
                <a:lnTo>
                  <a:pt x="72" y="70"/>
                </a:lnTo>
                <a:lnTo>
                  <a:pt x="72" y="70"/>
                </a:lnTo>
                <a:lnTo>
                  <a:pt x="78" y="72"/>
                </a:lnTo>
                <a:lnTo>
                  <a:pt x="78" y="72"/>
                </a:lnTo>
                <a:lnTo>
                  <a:pt x="80" y="78"/>
                </a:lnTo>
                <a:lnTo>
                  <a:pt x="82" y="82"/>
                </a:lnTo>
                <a:lnTo>
                  <a:pt x="84" y="84"/>
                </a:lnTo>
                <a:lnTo>
                  <a:pt x="84" y="84"/>
                </a:lnTo>
                <a:lnTo>
                  <a:pt x="88" y="84"/>
                </a:lnTo>
                <a:lnTo>
                  <a:pt x="88" y="84"/>
                </a:lnTo>
                <a:lnTo>
                  <a:pt x="90" y="86"/>
                </a:lnTo>
                <a:lnTo>
                  <a:pt x="90" y="88"/>
                </a:lnTo>
                <a:lnTo>
                  <a:pt x="88" y="92"/>
                </a:lnTo>
                <a:lnTo>
                  <a:pt x="88" y="92"/>
                </a:lnTo>
                <a:lnTo>
                  <a:pt x="92" y="94"/>
                </a:lnTo>
                <a:lnTo>
                  <a:pt x="96" y="96"/>
                </a:lnTo>
                <a:lnTo>
                  <a:pt x="96" y="96"/>
                </a:lnTo>
                <a:lnTo>
                  <a:pt x="96" y="102"/>
                </a:lnTo>
                <a:lnTo>
                  <a:pt x="96" y="102"/>
                </a:lnTo>
                <a:lnTo>
                  <a:pt x="100" y="102"/>
                </a:lnTo>
                <a:lnTo>
                  <a:pt x="102" y="102"/>
                </a:lnTo>
                <a:lnTo>
                  <a:pt x="102" y="102"/>
                </a:lnTo>
                <a:lnTo>
                  <a:pt x="104" y="104"/>
                </a:lnTo>
                <a:lnTo>
                  <a:pt x="106" y="106"/>
                </a:lnTo>
                <a:lnTo>
                  <a:pt x="108" y="106"/>
                </a:lnTo>
                <a:lnTo>
                  <a:pt x="108" y="106"/>
                </a:lnTo>
                <a:lnTo>
                  <a:pt x="106" y="110"/>
                </a:lnTo>
                <a:lnTo>
                  <a:pt x="106" y="110"/>
                </a:lnTo>
                <a:lnTo>
                  <a:pt x="102" y="112"/>
                </a:lnTo>
                <a:lnTo>
                  <a:pt x="102" y="112"/>
                </a:lnTo>
                <a:lnTo>
                  <a:pt x="102" y="118"/>
                </a:lnTo>
                <a:lnTo>
                  <a:pt x="102" y="118"/>
                </a:lnTo>
                <a:lnTo>
                  <a:pt x="108" y="120"/>
                </a:lnTo>
                <a:lnTo>
                  <a:pt x="108" y="120"/>
                </a:lnTo>
                <a:lnTo>
                  <a:pt x="108" y="124"/>
                </a:lnTo>
                <a:lnTo>
                  <a:pt x="108" y="124"/>
                </a:lnTo>
                <a:lnTo>
                  <a:pt x="112" y="126"/>
                </a:lnTo>
                <a:lnTo>
                  <a:pt x="114" y="128"/>
                </a:lnTo>
                <a:lnTo>
                  <a:pt x="114" y="128"/>
                </a:lnTo>
                <a:lnTo>
                  <a:pt x="122" y="138"/>
                </a:lnTo>
                <a:lnTo>
                  <a:pt x="122" y="138"/>
                </a:lnTo>
                <a:lnTo>
                  <a:pt x="124" y="142"/>
                </a:lnTo>
                <a:lnTo>
                  <a:pt x="124" y="142"/>
                </a:lnTo>
                <a:lnTo>
                  <a:pt x="126" y="144"/>
                </a:lnTo>
                <a:lnTo>
                  <a:pt x="128" y="146"/>
                </a:lnTo>
                <a:lnTo>
                  <a:pt x="128" y="146"/>
                </a:lnTo>
                <a:lnTo>
                  <a:pt x="132" y="150"/>
                </a:lnTo>
                <a:lnTo>
                  <a:pt x="132" y="150"/>
                </a:lnTo>
                <a:lnTo>
                  <a:pt x="132" y="154"/>
                </a:lnTo>
                <a:lnTo>
                  <a:pt x="132" y="154"/>
                </a:lnTo>
                <a:lnTo>
                  <a:pt x="140" y="160"/>
                </a:lnTo>
                <a:lnTo>
                  <a:pt x="140" y="160"/>
                </a:lnTo>
                <a:lnTo>
                  <a:pt x="140" y="162"/>
                </a:lnTo>
                <a:lnTo>
                  <a:pt x="140" y="162"/>
                </a:lnTo>
                <a:lnTo>
                  <a:pt x="142" y="164"/>
                </a:lnTo>
                <a:lnTo>
                  <a:pt x="142" y="164"/>
                </a:lnTo>
                <a:lnTo>
                  <a:pt x="144" y="172"/>
                </a:lnTo>
                <a:lnTo>
                  <a:pt x="144" y="172"/>
                </a:lnTo>
                <a:lnTo>
                  <a:pt x="148" y="178"/>
                </a:lnTo>
                <a:lnTo>
                  <a:pt x="152" y="184"/>
                </a:lnTo>
                <a:lnTo>
                  <a:pt x="154" y="186"/>
                </a:lnTo>
                <a:lnTo>
                  <a:pt x="154" y="186"/>
                </a:lnTo>
                <a:lnTo>
                  <a:pt x="154" y="194"/>
                </a:lnTo>
                <a:lnTo>
                  <a:pt x="154" y="194"/>
                </a:lnTo>
                <a:lnTo>
                  <a:pt x="156" y="196"/>
                </a:lnTo>
                <a:lnTo>
                  <a:pt x="158" y="200"/>
                </a:lnTo>
                <a:lnTo>
                  <a:pt x="158" y="204"/>
                </a:lnTo>
                <a:lnTo>
                  <a:pt x="158" y="204"/>
                </a:lnTo>
                <a:lnTo>
                  <a:pt x="154" y="210"/>
                </a:lnTo>
                <a:lnTo>
                  <a:pt x="154" y="210"/>
                </a:lnTo>
                <a:lnTo>
                  <a:pt x="152" y="212"/>
                </a:lnTo>
                <a:lnTo>
                  <a:pt x="154" y="212"/>
                </a:lnTo>
                <a:lnTo>
                  <a:pt x="156" y="214"/>
                </a:lnTo>
                <a:lnTo>
                  <a:pt x="156" y="214"/>
                </a:lnTo>
                <a:lnTo>
                  <a:pt x="154" y="216"/>
                </a:lnTo>
                <a:lnTo>
                  <a:pt x="152" y="218"/>
                </a:lnTo>
                <a:lnTo>
                  <a:pt x="152" y="220"/>
                </a:lnTo>
                <a:lnTo>
                  <a:pt x="152" y="220"/>
                </a:lnTo>
                <a:lnTo>
                  <a:pt x="156" y="228"/>
                </a:lnTo>
                <a:lnTo>
                  <a:pt x="158" y="228"/>
                </a:lnTo>
                <a:lnTo>
                  <a:pt x="158" y="228"/>
                </a:lnTo>
                <a:lnTo>
                  <a:pt x="158" y="232"/>
                </a:lnTo>
                <a:lnTo>
                  <a:pt x="158" y="232"/>
                </a:lnTo>
                <a:lnTo>
                  <a:pt x="166" y="240"/>
                </a:lnTo>
                <a:lnTo>
                  <a:pt x="166" y="240"/>
                </a:lnTo>
                <a:lnTo>
                  <a:pt x="172" y="240"/>
                </a:lnTo>
                <a:lnTo>
                  <a:pt x="172" y="240"/>
                </a:lnTo>
                <a:lnTo>
                  <a:pt x="172" y="242"/>
                </a:lnTo>
                <a:lnTo>
                  <a:pt x="174" y="244"/>
                </a:lnTo>
                <a:lnTo>
                  <a:pt x="174" y="244"/>
                </a:lnTo>
                <a:lnTo>
                  <a:pt x="176" y="246"/>
                </a:lnTo>
                <a:lnTo>
                  <a:pt x="180" y="248"/>
                </a:lnTo>
                <a:lnTo>
                  <a:pt x="180" y="248"/>
                </a:lnTo>
                <a:lnTo>
                  <a:pt x="184" y="254"/>
                </a:lnTo>
                <a:lnTo>
                  <a:pt x="184" y="254"/>
                </a:lnTo>
                <a:lnTo>
                  <a:pt x="188" y="260"/>
                </a:lnTo>
                <a:lnTo>
                  <a:pt x="188" y="260"/>
                </a:lnTo>
                <a:lnTo>
                  <a:pt x="192" y="262"/>
                </a:lnTo>
                <a:lnTo>
                  <a:pt x="194" y="262"/>
                </a:lnTo>
                <a:lnTo>
                  <a:pt x="198" y="262"/>
                </a:lnTo>
                <a:lnTo>
                  <a:pt x="202" y="262"/>
                </a:lnTo>
                <a:lnTo>
                  <a:pt x="202" y="262"/>
                </a:lnTo>
                <a:lnTo>
                  <a:pt x="204" y="266"/>
                </a:lnTo>
                <a:lnTo>
                  <a:pt x="208" y="268"/>
                </a:lnTo>
                <a:lnTo>
                  <a:pt x="208" y="268"/>
                </a:lnTo>
                <a:lnTo>
                  <a:pt x="214" y="272"/>
                </a:lnTo>
                <a:lnTo>
                  <a:pt x="220" y="274"/>
                </a:lnTo>
                <a:lnTo>
                  <a:pt x="220" y="274"/>
                </a:lnTo>
                <a:lnTo>
                  <a:pt x="222" y="278"/>
                </a:lnTo>
                <a:lnTo>
                  <a:pt x="222" y="278"/>
                </a:lnTo>
                <a:lnTo>
                  <a:pt x="230" y="280"/>
                </a:lnTo>
                <a:lnTo>
                  <a:pt x="236" y="280"/>
                </a:lnTo>
                <a:lnTo>
                  <a:pt x="238" y="282"/>
                </a:lnTo>
                <a:lnTo>
                  <a:pt x="238" y="282"/>
                </a:lnTo>
                <a:lnTo>
                  <a:pt x="242" y="282"/>
                </a:lnTo>
                <a:lnTo>
                  <a:pt x="244" y="282"/>
                </a:lnTo>
                <a:lnTo>
                  <a:pt x="244" y="282"/>
                </a:lnTo>
                <a:lnTo>
                  <a:pt x="246" y="284"/>
                </a:lnTo>
                <a:lnTo>
                  <a:pt x="246" y="284"/>
                </a:lnTo>
                <a:lnTo>
                  <a:pt x="250" y="284"/>
                </a:lnTo>
                <a:lnTo>
                  <a:pt x="250" y="284"/>
                </a:lnTo>
                <a:lnTo>
                  <a:pt x="254" y="288"/>
                </a:lnTo>
                <a:lnTo>
                  <a:pt x="254" y="292"/>
                </a:lnTo>
                <a:lnTo>
                  <a:pt x="254" y="292"/>
                </a:lnTo>
                <a:lnTo>
                  <a:pt x="256" y="290"/>
                </a:lnTo>
                <a:lnTo>
                  <a:pt x="258" y="290"/>
                </a:lnTo>
                <a:lnTo>
                  <a:pt x="258" y="290"/>
                </a:lnTo>
                <a:lnTo>
                  <a:pt x="260" y="290"/>
                </a:lnTo>
                <a:lnTo>
                  <a:pt x="262" y="292"/>
                </a:lnTo>
                <a:lnTo>
                  <a:pt x="262" y="292"/>
                </a:lnTo>
                <a:lnTo>
                  <a:pt x="266" y="292"/>
                </a:lnTo>
                <a:lnTo>
                  <a:pt x="270" y="292"/>
                </a:lnTo>
                <a:lnTo>
                  <a:pt x="270" y="292"/>
                </a:lnTo>
                <a:lnTo>
                  <a:pt x="270" y="294"/>
                </a:lnTo>
                <a:lnTo>
                  <a:pt x="270" y="294"/>
                </a:lnTo>
                <a:lnTo>
                  <a:pt x="274" y="296"/>
                </a:lnTo>
                <a:lnTo>
                  <a:pt x="274" y="296"/>
                </a:lnTo>
                <a:lnTo>
                  <a:pt x="278" y="296"/>
                </a:lnTo>
                <a:lnTo>
                  <a:pt x="280" y="294"/>
                </a:lnTo>
                <a:lnTo>
                  <a:pt x="284" y="292"/>
                </a:lnTo>
                <a:lnTo>
                  <a:pt x="284" y="292"/>
                </a:lnTo>
                <a:lnTo>
                  <a:pt x="290" y="290"/>
                </a:lnTo>
                <a:lnTo>
                  <a:pt x="294" y="292"/>
                </a:lnTo>
                <a:lnTo>
                  <a:pt x="294" y="292"/>
                </a:lnTo>
                <a:lnTo>
                  <a:pt x="298" y="288"/>
                </a:lnTo>
                <a:lnTo>
                  <a:pt x="298" y="288"/>
                </a:lnTo>
                <a:lnTo>
                  <a:pt x="300" y="288"/>
                </a:lnTo>
                <a:lnTo>
                  <a:pt x="302" y="290"/>
                </a:lnTo>
                <a:lnTo>
                  <a:pt x="302" y="290"/>
                </a:lnTo>
                <a:lnTo>
                  <a:pt x="308" y="290"/>
                </a:lnTo>
                <a:lnTo>
                  <a:pt x="314" y="292"/>
                </a:lnTo>
                <a:lnTo>
                  <a:pt x="314" y="292"/>
                </a:lnTo>
                <a:lnTo>
                  <a:pt x="318" y="296"/>
                </a:lnTo>
                <a:lnTo>
                  <a:pt x="318" y="296"/>
                </a:lnTo>
                <a:lnTo>
                  <a:pt x="322" y="296"/>
                </a:lnTo>
                <a:lnTo>
                  <a:pt x="322" y="296"/>
                </a:lnTo>
                <a:lnTo>
                  <a:pt x="326" y="300"/>
                </a:lnTo>
                <a:lnTo>
                  <a:pt x="328" y="306"/>
                </a:lnTo>
                <a:lnTo>
                  <a:pt x="328" y="308"/>
                </a:lnTo>
                <a:lnTo>
                  <a:pt x="328" y="308"/>
                </a:lnTo>
                <a:lnTo>
                  <a:pt x="330" y="304"/>
                </a:lnTo>
                <a:lnTo>
                  <a:pt x="330" y="302"/>
                </a:lnTo>
                <a:lnTo>
                  <a:pt x="330" y="300"/>
                </a:lnTo>
                <a:lnTo>
                  <a:pt x="330" y="300"/>
                </a:lnTo>
                <a:lnTo>
                  <a:pt x="330" y="296"/>
                </a:lnTo>
                <a:lnTo>
                  <a:pt x="332" y="292"/>
                </a:lnTo>
                <a:lnTo>
                  <a:pt x="338" y="286"/>
                </a:lnTo>
                <a:lnTo>
                  <a:pt x="354" y="288"/>
                </a:lnTo>
                <a:lnTo>
                  <a:pt x="354" y="288"/>
                </a:lnTo>
                <a:lnTo>
                  <a:pt x="354" y="284"/>
                </a:lnTo>
                <a:lnTo>
                  <a:pt x="352" y="282"/>
                </a:lnTo>
                <a:lnTo>
                  <a:pt x="350" y="278"/>
                </a:lnTo>
                <a:lnTo>
                  <a:pt x="350" y="278"/>
                </a:lnTo>
                <a:lnTo>
                  <a:pt x="346" y="274"/>
                </a:lnTo>
                <a:lnTo>
                  <a:pt x="344" y="270"/>
                </a:lnTo>
                <a:lnTo>
                  <a:pt x="344" y="266"/>
                </a:lnTo>
                <a:lnTo>
                  <a:pt x="348" y="266"/>
                </a:lnTo>
                <a:lnTo>
                  <a:pt x="350" y="258"/>
                </a:lnTo>
                <a:lnTo>
                  <a:pt x="372" y="258"/>
                </a:lnTo>
                <a:lnTo>
                  <a:pt x="378" y="256"/>
                </a:lnTo>
                <a:lnTo>
                  <a:pt x="378" y="256"/>
                </a:lnTo>
                <a:lnTo>
                  <a:pt x="380" y="254"/>
                </a:lnTo>
                <a:lnTo>
                  <a:pt x="382" y="252"/>
                </a:lnTo>
                <a:lnTo>
                  <a:pt x="384" y="254"/>
                </a:lnTo>
                <a:lnTo>
                  <a:pt x="384" y="254"/>
                </a:lnTo>
                <a:lnTo>
                  <a:pt x="388" y="246"/>
                </a:lnTo>
                <a:lnTo>
                  <a:pt x="388" y="246"/>
                </a:lnTo>
                <a:lnTo>
                  <a:pt x="388" y="250"/>
                </a:lnTo>
                <a:lnTo>
                  <a:pt x="388" y="252"/>
                </a:lnTo>
                <a:lnTo>
                  <a:pt x="388" y="252"/>
                </a:lnTo>
                <a:lnTo>
                  <a:pt x="394" y="256"/>
                </a:lnTo>
                <a:lnTo>
                  <a:pt x="394" y="256"/>
                </a:lnTo>
                <a:lnTo>
                  <a:pt x="394" y="244"/>
                </a:lnTo>
                <a:lnTo>
                  <a:pt x="396" y="230"/>
                </a:lnTo>
                <a:lnTo>
                  <a:pt x="398" y="230"/>
                </a:lnTo>
                <a:lnTo>
                  <a:pt x="398" y="230"/>
                </a:lnTo>
                <a:lnTo>
                  <a:pt x="398" y="228"/>
                </a:lnTo>
                <a:lnTo>
                  <a:pt x="396" y="224"/>
                </a:lnTo>
                <a:lnTo>
                  <a:pt x="396" y="224"/>
                </a:lnTo>
                <a:lnTo>
                  <a:pt x="398" y="218"/>
                </a:lnTo>
                <a:lnTo>
                  <a:pt x="402" y="210"/>
                </a:lnTo>
                <a:lnTo>
                  <a:pt x="404" y="202"/>
                </a:lnTo>
                <a:lnTo>
                  <a:pt x="402" y="198"/>
                </a:lnTo>
                <a:lnTo>
                  <a:pt x="400" y="196"/>
                </a:lnTo>
                <a:lnTo>
                  <a:pt x="400" y="196"/>
                </a:lnTo>
                <a:lnTo>
                  <a:pt x="398" y="196"/>
                </a:lnTo>
                <a:lnTo>
                  <a:pt x="396" y="194"/>
                </a:lnTo>
                <a:lnTo>
                  <a:pt x="396" y="194"/>
                </a:lnTo>
                <a:lnTo>
                  <a:pt x="388" y="194"/>
                </a:lnTo>
                <a:lnTo>
                  <a:pt x="384" y="196"/>
                </a:lnTo>
                <a:lnTo>
                  <a:pt x="384" y="196"/>
                </a:lnTo>
                <a:lnTo>
                  <a:pt x="380" y="200"/>
                </a:lnTo>
                <a:lnTo>
                  <a:pt x="380" y="200"/>
                </a:lnTo>
                <a:lnTo>
                  <a:pt x="374" y="202"/>
                </a:lnTo>
                <a:lnTo>
                  <a:pt x="374" y="202"/>
                </a:lnTo>
                <a:lnTo>
                  <a:pt x="370" y="204"/>
                </a:lnTo>
                <a:lnTo>
                  <a:pt x="370" y="204"/>
                </a:lnTo>
                <a:lnTo>
                  <a:pt x="364" y="206"/>
                </a:lnTo>
                <a:lnTo>
                  <a:pt x="364" y="206"/>
                </a:lnTo>
                <a:lnTo>
                  <a:pt x="362" y="208"/>
                </a:lnTo>
                <a:lnTo>
                  <a:pt x="362" y="208"/>
                </a:lnTo>
                <a:lnTo>
                  <a:pt x="360" y="218"/>
                </a:lnTo>
                <a:lnTo>
                  <a:pt x="358" y="228"/>
                </a:lnTo>
                <a:lnTo>
                  <a:pt x="358" y="228"/>
                </a:lnTo>
                <a:lnTo>
                  <a:pt x="354" y="232"/>
                </a:lnTo>
                <a:lnTo>
                  <a:pt x="354" y="232"/>
                </a:lnTo>
                <a:lnTo>
                  <a:pt x="354" y="236"/>
                </a:lnTo>
                <a:lnTo>
                  <a:pt x="354" y="240"/>
                </a:lnTo>
                <a:lnTo>
                  <a:pt x="354" y="240"/>
                </a:lnTo>
                <a:lnTo>
                  <a:pt x="352" y="240"/>
                </a:lnTo>
                <a:lnTo>
                  <a:pt x="352" y="240"/>
                </a:lnTo>
                <a:lnTo>
                  <a:pt x="348" y="244"/>
                </a:lnTo>
                <a:lnTo>
                  <a:pt x="344" y="250"/>
                </a:lnTo>
                <a:lnTo>
                  <a:pt x="344" y="250"/>
                </a:lnTo>
                <a:lnTo>
                  <a:pt x="340" y="250"/>
                </a:lnTo>
                <a:lnTo>
                  <a:pt x="338" y="250"/>
                </a:lnTo>
                <a:lnTo>
                  <a:pt x="338" y="250"/>
                </a:lnTo>
                <a:lnTo>
                  <a:pt x="336" y="246"/>
                </a:lnTo>
                <a:lnTo>
                  <a:pt x="336" y="246"/>
                </a:lnTo>
                <a:lnTo>
                  <a:pt x="330" y="248"/>
                </a:lnTo>
                <a:lnTo>
                  <a:pt x="324" y="252"/>
                </a:lnTo>
                <a:lnTo>
                  <a:pt x="324" y="252"/>
                </a:lnTo>
                <a:lnTo>
                  <a:pt x="322" y="254"/>
                </a:lnTo>
                <a:lnTo>
                  <a:pt x="322" y="254"/>
                </a:lnTo>
                <a:lnTo>
                  <a:pt x="314" y="254"/>
                </a:lnTo>
                <a:lnTo>
                  <a:pt x="314" y="258"/>
                </a:lnTo>
                <a:lnTo>
                  <a:pt x="314" y="258"/>
                </a:lnTo>
                <a:lnTo>
                  <a:pt x="302" y="258"/>
                </a:lnTo>
                <a:lnTo>
                  <a:pt x="302" y="258"/>
                </a:lnTo>
                <a:lnTo>
                  <a:pt x="298" y="252"/>
                </a:lnTo>
                <a:lnTo>
                  <a:pt x="296" y="248"/>
                </a:lnTo>
                <a:lnTo>
                  <a:pt x="292" y="248"/>
                </a:lnTo>
                <a:lnTo>
                  <a:pt x="284" y="248"/>
                </a:lnTo>
                <a:lnTo>
                  <a:pt x="284" y="248"/>
                </a:lnTo>
                <a:lnTo>
                  <a:pt x="284" y="244"/>
                </a:lnTo>
                <a:lnTo>
                  <a:pt x="284" y="244"/>
                </a:lnTo>
                <a:lnTo>
                  <a:pt x="282" y="238"/>
                </a:lnTo>
                <a:lnTo>
                  <a:pt x="278" y="234"/>
                </a:lnTo>
                <a:lnTo>
                  <a:pt x="278" y="234"/>
                </a:lnTo>
                <a:lnTo>
                  <a:pt x="278" y="228"/>
                </a:lnTo>
                <a:lnTo>
                  <a:pt x="278" y="228"/>
                </a:lnTo>
                <a:lnTo>
                  <a:pt x="274" y="228"/>
                </a:lnTo>
                <a:lnTo>
                  <a:pt x="274" y="228"/>
                </a:lnTo>
                <a:lnTo>
                  <a:pt x="272" y="224"/>
                </a:lnTo>
                <a:lnTo>
                  <a:pt x="270" y="220"/>
                </a:lnTo>
                <a:lnTo>
                  <a:pt x="270" y="220"/>
                </a:lnTo>
                <a:lnTo>
                  <a:pt x="266" y="218"/>
                </a:lnTo>
                <a:lnTo>
                  <a:pt x="266" y="218"/>
                </a:lnTo>
                <a:lnTo>
                  <a:pt x="264" y="214"/>
                </a:lnTo>
                <a:lnTo>
                  <a:pt x="264" y="210"/>
                </a:lnTo>
                <a:lnTo>
                  <a:pt x="264" y="210"/>
                </a:lnTo>
                <a:lnTo>
                  <a:pt x="260" y="206"/>
                </a:lnTo>
                <a:lnTo>
                  <a:pt x="260" y="206"/>
                </a:lnTo>
                <a:lnTo>
                  <a:pt x="260" y="200"/>
                </a:lnTo>
                <a:lnTo>
                  <a:pt x="260" y="200"/>
                </a:lnTo>
                <a:lnTo>
                  <a:pt x="256" y="202"/>
                </a:lnTo>
                <a:lnTo>
                  <a:pt x="256" y="202"/>
                </a:lnTo>
                <a:lnTo>
                  <a:pt x="258" y="194"/>
                </a:lnTo>
                <a:lnTo>
                  <a:pt x="258" y="186"/>
                </a:lnTo>
                <a:lnTo>
                  <a:pt x="258" y="186"/>
                </a:lnTo>
                <a:lnTo>
                  <a:pt x="260" y="182"/>
                </a:lnTo>
                <a:lnTo>
                  <a:pt x="260" y="176"/>
                </a:lnTo>
                <a:lnTo>
                  <a:pt x="258" y="172"/>
                </a:lnTo>
                <a:lnTo>
                  <a:pt x="258" y="172"/>
                </a:lnTo>
                <a:lnTo>
                  <a:pt x="258" y="168"/>
                </a:lnTo>
                <a:lnTo>
                  <a:pt x="258" y="166"/>
                </a:lnTo>
                <a:lnTo>
                  <a:pt x="256" y="164"/>
                </a:lnTo>
                <a:lnTo>
                  <a:pt x="256" y="164"/>
                </a:lnTo>
                <a:lnTo>
                  <a:pt x="256" y="158"/>
                </a:lnTo>
                <a:lnTo>
                  <a:pt x="258" y="152"/>
                </a:lnTo>
                <a:lnTo>
                  <a:pt x="256" y="148"/>
                </a:lnTo>
                <a:lnTo>
                  <a:pt x="256" y="148"/>
                </a:lnTo>
                <a:lnTo>
                  <a:pt x="256" y="144"/>
                </a:lnTo>
                <a:lnTo>
                  <a:pt x="256" y="142"/>
                </a:lnTo>
                <a:lnTo>
                  <a:pt x="256" y="140"/>
                </a:lnTo>
                <a:lnTo>
                  <a:pt x="256" y="140"/>
                </a:lnTo>
                <a:lnTo>
                  <a:pt x="258" y="138"/>
                </a:lnTo>
                <a:lnTo>
                  <a:pt x="260" y="136"/>
                </a:lnTo>
                <a:lnTo>
                  <a:pt x="260" y="136"/>
                </a:lnTo>
                <a:lnTo>
                  <a:pt x="260" y="132"/>
                </a:lnTo>
                <a:lnTo>
                  <a:pt x="260" y="132"/>
                </a:lnTo>
                <a:lnTo>
                  <a:pt x="264" y="132"/>
                </a:lnTo>
                <a:lnTo>
                  <a:pt x="264" y="132"/>
                </a:lnTo>
                <a:lnTo>
                  <a:pt x="266" y="130"/>
                </a:lnTo>
                <a:lnTo>
                  <a:pt x="266" y="126"/>
                </a:lnTo>
                <a:lnTo>
                  <a:pt x="266" y="126"/>
                </a:lnTo>
                <a:lnTo>
                  <a:pt x="268" y="124"/>
                </a:lnTo>
                <a:lnTo>
                  <a:pt x="266" y="122"/>
                </a:lnTo>
                <a:lnTo>
                  <a:pt x="260" y="122"/>
                </a:lnTo>
                <a:lnTo>
                  <a:pt x="256" y="120"/>
                </a:lnTo>
                <a:lnTo>
                  <a:pt x="250" y="118"/>
                </a:lnTo>
                <a:lnTo>
                  <a:pt x="246" y="116"/>
                </a:lnTo>
                <a:lnTo>
                  <a:pt x="240" y="114"/>
                </a:lnTo>
                <a:lnTo>
                  <a:pt x="240" y="108"/>
                </a:lnTo>
                <a:lnTo>
                  <a:pt x="238" y="98"/>
                </a:lnTo>
                <a:lnTo>
                  <a:pt x="234" y="94"/>
                </a:lnTo>
                <a:lnTo>
                  <a:pt x="230" y="90"/>
                </a:lnTo>
                <a:lnTo>
                  <a:pt x="228" y="86"/>
                </a:lnTo>
                <a:lnTo>
                  <a:pt x="224" y="78"/>
                </a:lnTo>
                <a:lnTo>
                  <a:pt x="222" y="72"/>
                </a:lnTo>
                <a:lnTo>
                  <a:pt x="220" y="70"/>
                </a:lnTo>
                <a:lnTo>
                  <a:pt x="218" y="64"/>
                </a:lnTo>
                <a:lnTo>
                  <a:pt x="214" y="60"/>
                </a:lnTo>
                <a:lnTo>
                  <a:pt x="210" y="56"/>
                </a:lnTo>
                <a:lnTo>
                  <a:pt x="206" y="54"/>
                </a:lnTo>
                <a:lnTo>
                  <a:pt x="202" y="54"/>
                </a:lnTo>
                <a:lnTo>
                  <a:pt x="196" y="56"/>
                </a:lnTo>
                <a:lnTo>
                  <a:pt x="192" y="62"/>
                </a:lnTo>
                <a:lnTo>
                  <a:pt x="188" y="64"/>
                </a:lnTo>
                <a:lnTo>
                  <a:pt x="184" y="64"/>
                </a:lnTo>
                <a:lnTo>
                  <a:pt x="180" y="64"/>
                </a:lnTo>
                <a:lnTo>
                  <a:pt x="176" y="62"/>
                </a:lnTo>
                <a:lnTo>
                  <a:pt x="172" y="56"/>
                </a:lnTo>
                <a:lnTo>
                  <a:pt x="168" y="52"/>
                </a:lnTo>
                <a:lnTo>
                  <a:pt x="168" y="48"/>
                </a:lnTo>
                <a:lnTo>
                  <a:pt x="164" y="42"/>
                </a:lnTo>
                <a:lnTo>
                  <a:pt x="160" y="36"/>
                </a:lnTo>
                <a:lnTo>
                  <a:pt x="156" y="32"/>
                </a:lnTo>
                <a:lnTo>
                  <a:pt x="154" y="30"/>
                </a:lnTo>
                <a:lnTo>
                  <a:pt x="150" y="26"/>
                </a:lnTo>
                <a:lnTo>
                  <a:pt x="144" y="18"/>
                </a:lnTo>
                <a:lnTo>
                  <a:pt x="116" y="18"/>
                </a:lnTo>
                <a:lnTo>
                  <a:pt x="116" y="26"/>
                </a:lnTo>
                <a:lnTo>
                  <a:pt x="72" y="24"/>
                </a:lnTo>
                <a:lnTo>
                  <a:pt x="36" y="6"/>
                </a:lnTo>
                <a:lnTo>
                  <a:pt x="36" y="0"/>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5" name="Freeform 139">
            <a:extLst>
              <a:ext uri="{FF2B5EF4-FFF2-40B4-BE49-F238E27FC236}">
                <a16:creationId xmlns:a16="http://schemas.microsoft.com/office/drawing/2014/main" id="{5A8A9ADE-7404-4F0C-B308-55D76AC6440C}"/>
              </a:ext>
            </a:extLst>
          </p:cNvPr>
          <p:cNvSpPr>
            <a:spLocks/>
          </p:cNvSpPr>
          <p:nvPr userDrawn="1"/>
        </p:nvSpPr>
        <p:spPr bwMode="auto">
          <a:xfrm>
            <a:off x="5470097" y="2905021"/>
            <a:ext cx="278388" cy="350062"/>
          </a:xfrm>
          <a:custGeom>
            <a:avLst/>
            <a:gdLst>
              <a:gd name="T0" fmla="*/ 12 w 166"/>
              <a:gd name="T1" fmla="*/ 176 h 204"/>
              <a:gd name="T2" fmla="*/ 14 w 166"/>
              <a:gd name="T3" fmla="*/ 174 h 204"/>
              <a:gd name="T4" fmla="*/ 18 w 166"/>
              <a:gd name="T5" fmla="*/ 172 h 204"/>
              <a:gd name="T6" fmla="*/ 18 w 166"/>
              <a:gd name="T7" fmla="*/ 170 h 204"/>
              <a:gd name="T8" fmla="*/ 24 w 166"/>
              <a:gd name="T9" fmla="*/ 172 h 204"/>
              <a:gd name="T10" fmla="*/ 34 w 166"/>
              <a:gd name="T11" fmla="*/ 172 h 204"/>
              <a:gd name="T12" fmla="*/ 38 w 166"/>
              <a:gd name="T13" fmla="*/ 172 h 204"/>
              <a:gd name="T14" fmla="*/ 42 w 166"/>
              <a:gd name="T15" fmla="*/ 176 h 204"/>
              <a:gd name="T16" fmla="*/ 44 w 166"/>
              <a:gd name="T17" fmla="*/ 178 h 204"/>
              <a:gd name="T18" fmla="*/ 46 w 166"/>
              <a:gd name="T19" fmla="*/ 184 h 204"/>
              <a:gd name="T20" fmla="*/ 48 w 166"/>
              <a:gd name="T21" fmla="*/ 186 h 204"/>
              <a:gd name="T22" fmla="*/ 52 w 166"/>
              <a:gd name="T23" fmla="*/ 186 h 204"/>
              <a:gd name="T24" fmla="*/ 54 w 166"/>
              <a:gd name="T25" fmla="*/ 190 h 204"/>
              <a:gd name="T26" fmla="*/ 54 w 166"/>
              <a:gd name="T27" fmla="*/ 196 h 204"/>
              <a:gd name="T28" fmla="*/ 58 w 166"/>
              <a:gd name="T29" fmla="*/ 198 h 204"/>
              <a:gd name="T30" fmla="*/ 62 w 166"/>
              <a:gd name="T31" fmla="*/ 198 h 204"/>
              <a:gd name="T32" fmla="*/ 66 w 166"/>
              <a:gd name="T33" fmla="*/ 204 h 204"/>
              <a:gd name="T34" fmla="*/ 68 w 166"/>
              <a:gd name="T35" fmla="*/ 204 h 204"/>
              <a:gd name="T36" fmla="*/ 70 w 166"/>
              <a:gd name="T37" fmla="*/ 202 h 204"/>
              <a:gd name="T38" fmla="*/ 72 w 166"/>
              <a:gd name="T39" fmla="*/ 198 h 204"/>
              <a:gd name="T40" fmla="*/ 72 w 166"/>
              <a:gd name="T41" fmla="*/ 194 h 204"/>
              <a:gd name="T42" fmla="*/ 74 w 166"/>
              <a:gd name="T43" fmla="*/ 188 h 204"/>
              <a:gd name="T44" fmla="*/ 84 w 166"/>
              <a:gd name="T45" fmla="*/ 190 h 204"/>
              <a:gd name="T46" fmla="*/ 90 w 166"/>
              <a:gd name="T47" fmla="*/ 190 h 204"/>
              <a:gd name="T48" fmla="*/ 92 w 166"/>
              <a:gd name="T49" fmla="*/ 190 h 204"/>
              <a:gd name="T50" fmla="*/ 96 w 166"/>
              <a:gd name="T51" fmla="*/ 190 h 204"/>
              <a:gd name="T52" fmla="*/ 96 w 166"/>
              <a:gd name="T53" fmla="*/ 188 h 204"/>
              <a:gd name="T54" fmla="*/ 96 w 166"/>
              <a:gd name="T55" fmla="*/ 182 h 204"/>
              <a:gd name="T56" fmla="*/ 100 w 166"/>
              <a:gd name="T57" fmla="*/ 182 h 204"/>
              <a:gd name="T58" fmla="*/ 150 w 166"/>
              <a:gd name="T59" fmla="*/ 184 h 204"/>
              <a:gd name="T60" fmla="*/ 154 w 166"/>
              <a:gd name="T61" fmla="*/ 176 h 204"/>
              <a:gd name="T62" fmla="*/ 154 w 166"/>
              <a:gd name="T63" fmla="*/ 172 h 204"/>
              <a:gd name="T64" fmla="*/ 150 w 166"/>
              <a:gd name="T65" fmla="*/ 170 h 204"/>
              <a:gd name="T66" fmla="*/ 166 w 166"/>
              <a:gd name="T67" fmla="*/ 34 h 204"/>
              <a:gd name="T68" fmla="*/ 120 w 166"/>
              <a:gd name="T69" fmla="*/ 24 h 204"/>
              <a:gd name="T70" fmla="*/ 70 w 166"/>
              <a:gd name="T71" fmla="*/ 60 h 204"/>
              <a:gd name="T72" fmla="*/ 62 w 166"/>
              <a:gd name="T73" fmla="*/ 62 h 204"/>
              <a:gd name="T74" fmla="*/ 54 w 166"/>
              <a:gd name="T75" fmla="*/ 66 h 204"/>
              <a:gd name="T76" fmla="*/ 54 w 166"/>
              <a:gd name="T77" fmla="*/ 70 h 204"/>
              <a:gd name="T78" fmla="*/ 4 w 166"/>
              <a:gd name="T79" fmla="*/ 98 h 204"/>
              <a:gd name="T80" fmla="*/ 4 w 166"/>
              <a:gd name="T81" fmla="*/ 98 h 204"/>
              <a:gd name="T82" fmla="*/ 0 w 166"/>
              <a:gd name="T83" fmla="*/ 102 h 204"/>
              <a:gd name="T84" fmla="*/ 4 w 166"/>
              <a:gd name="T85" fmla="*/ 108 h 204"/>
              <a:gd name="T86" fmla="*/ 8 w 166"/>
              <a:gd name="T87" fmla="*/ 114 h 204"/>
              <a:gd name="T88" fmla="*/ 8 w 166"/>
              <a:gd name="T89" fmla="*/ 116 h 204"/>
              <a:gd name="T90" fmla="*/ 6 w 166"/>
              <a:gd name="T91" fmla="*/ 120 h 204"/>
              <a:gd name="T92" fmla="*/ 8 w 166"/>
              <a:gd name="T93" fmla="*/ 122 h 204"/>
              <a:gd name="T94" fmla="*/ 8 w 166"/>
              <a:gd name="T95" fmla="*/ 128 h 204"/>
              <a:gd name="T96" fmla="*/ 8 w 166"/>
              <a:gd name="T97" fmla="*/ 128 h 204"/>
              <a:gd name="T98" fmla="*/ 6 w 166"/>
              <a:gd name="T99" fmla="*/ 136 h 204"/>
              <a:gd name="T100" fmla="*/ 8 w 166"/>
              <a:gd name="T101" fmla="*/ 140 h 204"/>
              <a:gd name="T102" fmla="*/ 10 w 166"/>
              <a:gd name="T103" fmla="*/ 142 h 204"/>
              <a:gd name="T104" fmla="*/ 10 w 166"/>
              <a:gd name="T105" fmla="*/ 154 h 204"/>
              <a:gd name="T106" fmla="*/ 12 w 166"/>
              <a:gd name="T107" fmla="*/ 156 h 204"/>
              <a:gd name="T108" fmla="*/ 12 w 166"/>
              <a:gd name="T109" fmla="*/ 158 h 204"/>
              <a:gd name="T110" fmla="*/ 10 w 166"/>
              <a:gd name="T111" fmla="*/ 162 h 204"/>
              <a:gd name="T112" fmla="*/ 10 w 166"/>
              <a:gd name="T113" fmla="*/ 170 h 204"/>
              <a:gd name="T114" fmla="*/ 8 w 166"/>
              <a:gd name="T115" fmla="*/ 17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6" h="204">
                <a:moveTo>
                  <a:pt x="8" y="178"/>
                </a:moveTo>
                <a:lnTo>
                  <a:pt x="12" y="176"/>
                </a:lnTo>
                <a:lnTo>
                  <a:pt x="12" y="176"/>
                </a:lnTo>
                <a:lnTo>
                  <a:pt x="14" y="174"/>
                </a:lnTo>
                <a:lnTo>
                  <a:pt x="16" y="174"/>
                </a:lnTo>
                <a:lnTo>
                  <a:pt x="18" y="172"/>
                </a:lnTo>
                <a:lnTo>
                  <a:pt x="18" y="172"/>
                </a:lnTo>
                <a:lnTo>
                  <a:pt x="18" y="170"/>
                </a:lnTo>
                <a:lnTo>
                  <a:pt x="20" y="170"/>
                </a:lnTo>
                <a:lnTo>
                  <a:pt x="24" y="172"/>
                </a:lnTo>
                <a:lnTo>
                  <a:pt x="24" y="172"/>
                </a:lnTo>
                <a:lnTo>
                  <a:pt x="34" y="172"/>
                </a:lnTo>
                <a:lnTo>
                  <a:pt x="34" y="172"/>
                </a:lnTo>
                <a:lnTo>
                  <a:pt x="38" y="172"/>
                </a:lnTo>
                <a:lnTo>
                  <a:pt x="38" y="172"/>
                </a:lnTo>
                <a:lnTo>
                  <a:pt x="42" y="176"/>
                </a:lnTo>
                <a:lnTo>
                  <a:pt x="42" y="176"/>
                </a:lnTo>
                <a:lnTo>
                  <a:pt x="44" y="178"/>
                </a:lnTo>
                <a:lnTo>
                  <a:pt x="46" y="184"/>
                </a:lnTo>
                <a:lnTo>
                  <a:pt x="46" y="184"/>
                </a:lnTo>
                <a:lnTo>
                  <a:pt x="46" y="186"/>
                </a:lnTo>
                <a:lnTo>
                  <a:pt x="48" y="186"/>
                </a:lnTo>
                <a:lnTo>
                  <a:pt x="52" y="186"/>
                </a:lnTo>
                <a:lnTo>
                  <a:pt x="52" y="186"/>
                </a:lnTo>
                <a:lnTo>
                  <a:pt x="54" y="188"/>
                </a:lnTo>
                <a:lnTo>
                  <a:pt x="54" y="190"/>
                </a:lnTo>
                <a:lnTo>
                  <a:pt x="54" y="196"/>
                </a:lnTo>
                <a:lnTo>
                  <a:pt x="54" y="196"/>
                </a:lnTo>
                <a:lnTo>
                  <a:pt x="56" y="198"/>
                </a:lnTo>
                <a:lnTo>
                  <a:pt x="58" y="198"/>
                </a:lnTo>
                <a:lnTo>
                  <a:pt x="62" y="198"/>
                </a:lnTo>
                <a:lnTo>
                  <a:pt x="62" y="198"/>
                </a:lnTo>
                <a:lnTo>
                  <a:pt x="62" y="198"/>
                </a:lnTo>
                <a:lnTo>
                  <a:pt x="66" y="204"/>
                </a:lnTo>
                <a:lnTo>
                  <a:pt x="66" y="204"/>
                </a:lnTo>
                <a:lnTo>
                  <a:pt x="68" y="204"/>
                </a:lnTo>
                <a:lnTo>
                  <a:pt x="70" y="202"/>
                </a:lnTo>
                <a:lnTo>
                  <a:pt x="70" y="202"/>
                </a:lnTo>
                <a:lnTo>
                  <a:pt x="72" y="200"/>
                </a:lnTo>
                <a:lnTo>
                  <a:pt x="72" y="198"/>
                </a:lnTo>
                <a:lnTo>
                  <a:pt x="72" y="194"/>
                </a:lnTo>
                <a:lnTo>
                  <a:pt x="72" y="194"/>
                </a:lnTo>
                <a:lnTo>
                  <a:pt x="74" y="190"/>
                </a:lnTo>
                <a:lnTo>
                  <a:pt x="74" y="188"/>
                </a:lnTo>
                <a:lnTo>
                  <a:pt x="74" y="188"/>
                </a:lnTo>
                <a:lnTo>
                  <a:pt x="84" y="190"/>
                </a:lnTo>
                <a:lnTo>
                  <a:pt x="84" y="190"/>
                </a:lnTo>
                <a:lnTo>
                  <a:pt x="90" y="190"/>
                </a:lnTo>
                <a:lnTo>
                  <a:pt x="92" y="190"/>
                </a:lnTo>
                <a:lnTo>
                  <a:pt x="92" y="190"/>
                </a:lnTo>
                <a:lnTo>
                  <a:pt x="94" y="190"/>
                </a:lnTo>
                <a:lnTo>
                  <a:pt x="96" y="190"/>
                </a:lnTo>
                <a:lnTo>
                  <a:pt x="96" y="188"/>
                </a:lnTo>
                <a:lnTo>
                  <a:pt x="96" y="188"/>
                </a:lnTo>
                <a:lnTo>
                  <a:pt x="94" y="184"/>
                </a:lnTo>
                <a:lnTo>
                  <a:pt x="96" y="182"/>
                </a:lnTo>
                <a:lnTo>
                  <a:pt x="96" y="182"/>
                </a:lnTo>
                <a:lnTo>
                  <a:pt x="100" y="182"/>
                </a:lnTo>
                <a:lnTo>
                  <a:pt x="102" y="184"/>
                </a:lnTo>
                <a:lnTo>
                  <a:pt x="150" y="184"/>
                </a:lnTo>
                <a:lnTo>
                  <a:pt x="150" y="184"/>
                </a:lnTo>
                <a:lnTo>
                  <a:pt x="154" y="176"/>
                </a:lnTo>
                <a:lnTo>
                  <a:pt x="154" y="176"/>
                </a:lnTo>
                <a:lnTo>
                  <a:pt x="154" y="172"/>
                </a:lnTo>
                <a:lnTo>
                  <a:pt x="152" y="172"/>
                </a:lnTo>
                <a:lnTo>
                  <a:pt x="150" y="170"/>
                </a:lnTo>
                <a:lnTo>
                  <a:pt x="142" y="34"/>
                </a:lnTo>
                <a:lnTo>
                  <a:pt x="166" y="34"/>
                </a:lnTo>
                <a:lnTo>
                  <a:pt x="120" y="0"/>
                </a:lnTo>
                <a:lnTo>
                  <a:pt x="120" y="24"/>
                </a:lnTo>
                <a:lnTo>
                  <a:pt x="70" y="24"/>
                </a:lnTo>
                <a:lnTo>
                  <a:pt x="70" y="60"/>
                </a:lnTo>
                <a:lnTo>
                  <a:pt x="70" y="60"/>
                </a:lnTo>
                <a:lnTo>
                  <a:pt x="62" y="62"/>
                </a:lnTo>
                <a:lnTo>
                  <a:pt x="56" y="64"/>
                </a:lnTo>
                <a:lnTo>
                  <a:pt x="54" y="66"/>
                </a:lnTo>
                <a:lnTo>
                  <a:pt x="54" y="70"/>
                </a:lnTo>
                <a:lnTo>
                  <a:pt x="54" y="70"/>
                </a:lnTo>
                <a:lnTo>
                  <a:pt x="54" y="96"/>
                </a:lnTo>
                <a:lnTo>
                  <a:pt x="4" y="98"/>
                </a:lnTo>
                <a:lnTo>
                  <a:pt x="4" y="98"/>
                </a:lnTo>
                <a:lnTo>
                  <a:pt x="4" y="98"/>
                </a:lnTo>
                <a:lnTo>
                  <a:pt x="0" y="102"/>
                </a:lnTo>
                <a:lnTo>
                  <a:pt x="0" y="102"/>
                </a:lnTo>
                <a:lnTo>
                  <a:pt x="4" y="108"/>
                </a:lnTo>
                <a:lnTo>
                  <a:pt x="4" y="108"/>
                </a:lnTo>
                <a:lnTo>
                  <a:pt x="6" y="112"/>
                </a:lnTo>
                <a:lnTo>
                  <a:pt x="8" y="114"/>
                </a:lnTo>
                <a:lnTo>
                  <a:pt x="8" y="116"/>
                </a:lnTo>
                <a:lnTo>
                  <a:pt x="8" y="116"/>
                </a:lnTo>
                <a:lnTo>
                  <a:pt x="8" y="118"/>
                </a:lnTo>
                <a:lnTo>
                  <a:pt x="6" y="120"/>
                </a:lnTo>
                <a:lnTo>
                  <a:pt x="6" y="120"/>
                </a:lnTo>
                <a:lnTo>
                  <a:pt x="8" y="122"/>
                </a:lnTo>
                <a:lnTo>
                  <a:pt x="8" y="128"/>
                </a:lnTo>
                <a:lnTo>
                  <a:pt x="8" y="128"/>
                </a:lnTo>
                <a:lnTo>
                  <a:pt x="8" y="128"/>
                </a:lnTo>
                <a:lnTo>
                  <a:pt x="8" y="128"/>
                </a:lnTo>
                <a:lnTo>
                  <a:pt x="6" y="130"/>
                </a:lnTo>
                <a:lnTo>
                  <a:pt x="6" y="136"/>
                </a:lnTo>
                <a:lnTo>
                  <a:pt x="6" y="136"/>
                </a:lnTo>
                <a:lnTo>
                  <a:pt x="8" y="140"/>
                </a:lnTo>
                <a:lnTo>
                  <a:pt x="10" y="142"/>
                </a:lnTo>
                <a:lnTo>
                  <a:pt x="10" y="142"/>
                </a:lnTo>
                <a:lnTo>
                  <a:pt x="10" y="148"/>
                </a:lnTo>
                <a:lnTo>
                  <a:pt x="10" y="154"/>
                </a:lnTo>
                <a:lnTo>
                  <a:pt x="10" y="154"/>
                </a:lnTo>
                <a:lnTo>
                  <a:pt x="12" y="156"/>
                </a:lnTo>
                <a:lnTo>
                  <a:pt x="12" y="158"/>
                </a:lnTo>
                <a:lnTo>
                  <a:pt x="12" y="158"/>
                </a:lnTo>
                <a:lnTo>
                  <a:pt x="10" y="158"/>
                </a:lnTo>
                <a:lnTo>
                  <a:pt x="10" y="162"/>
                </a:lnTo>
                <a:lnTo>
                  <a:pt x="10" y="162"/>
                </a:lnTo>
                <a:lnTo>
                  <a:pt x="10" y="170"/>
                </a:lnTo>
                <a:lnTo>
                  <a:pt x="10" y="170"/>
                </a:lnTo>
                <a:lnTo>
                  <a:pt x="8" y="178"/>
                </a:lnTo>
                <a:lnTo>
                  <a:pt x="8"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6" name="Freeform 140">
            <a:extLst>
              <a:ext uri="{FF2B5EF4-FFF2-40B4-BE49-F238E27FC236}">
                <a16:creationId xmlns:a16="http://schemas.microsoft.com/office/drawing/2014/main" id="{0D58AE44-0CD5-458F-85D0-A0B46818DF76}"/>
              </a:ext>
            </a:extLst>
          </p:cNvPr>
          <p:cNvSpPr>
            <a:spLocks/>
          </p:cNvSpPr>
          <p:nvPr userDrawn="1"/>
        </p:nvSpPr>
        <p:spPr bwMode="auto">
          <a:xfrm>
            <a:off x="5577427" y="2963365"/>
            <a:ext cx="368948" cy="446157"/>
          </a:xfrm>
          <a:custGeom>
            <a:avLst/>
            <a:gdLst>
              <a:gd name="T0" fmla="*/ 88 w 220"/>
              <a:gd name="T1" fmla="*/ 232 h 260"/>
              <a:gd name="T2" fmla="*/ 92 w 220"/>
              <a:gd name="T3" fmla="*/ 226 h 260"/>
              <a:gd name="T4" fmla="*/ 92 w 220"/>
              <a:gd name="T5" fmla="*/ 216 h 260"/>
              <a:gd name="T6" fmla="*/ 98 w 220"/>
              <a:gd name="T7" fmla="*/ 210 h 260"/>
              <a:gd name="T8" fmla="*/ 104 w 220"/>
              <a:gd name="T9" fmla="*/ 202 h 260"/>
              <a:gd name="T10" fmla="*/ 108 w 220"/>
              <a:gd name="T11" fmla="*/ 194 h 260"/>
              <a:gd name="T12" fmla="*/ 122 w 220"/>
              <a:gd name="T13" fmla="*/ 188 h 260"/>
              <a:gd name="T14" fmla="*/ 130 w 220"/>
              <a:gd name="T15" fmla="*/ 176 h 260"/>
              <a:gd name="T16" fmla="*/ 136 w 220"/>
              <a:gd name="T17" fmla="*/ 172 h 260"/>
              <a:gd name="T18" fmla="*/ 142 w 220"/>
              <a:gd name="T19" fmla="*/ 162 h 260"/>
              <a:gd name="T20" fmla="*/ 148 w 220"/>
              <a:gd name="T21" fmla="*/ 158 h 260"/>
              <a:gd name="T22" fmla="*/ 154 w 220"/>
              <a:gd name="T23" fmla="*/ 156 h 260"/>
              <a:gd name="T24" fmla="*/ 158 w 220"/>
              <a:gd name="T25" fmla="*/ 156 h 260"/>
              <a:gd name="T26" fmla="*/ 166 w 220"/>
              <a:gd name="T27" fmla="*/ 158 h 260"/>
              <a:gd name="T28" fmla="*/ 174 w 220"/>
              <a:gd name="T29" fmla="*/ 158 h 260"/>
              <a:gd name="T30" fmla="*/ 200 w 220"/>
              <a:gd name="T31" fmla="*/ 152 h 260"/>
              <a:gd name="T32" fmla="*/ 216 w 220"/>
              <a:gd name="T33" fmla="*/ 144 h 260"/>
              <a:gd name="T34" fmla="*/ 218 w 220"/>
              <a:gd name="T35" fmla="*/ 96 h 260"/>
              <a:gd name="T36" fmla="*/ 206 w 220"/>
              <a:gd name="T37" fmla="*/ 98 h 260"/>
              <a:gd name="T38" fmla="*/ 204 w 220"/>
              <a:gd name="T39" fmla="*/ 90 h 260"/>
              <a:gd name="T40" fmla="*/ 204 w 220"/>
              <a:gd name="T41" fmla="*/ 80 h 260"/>
              <a:gd name="T42" fmla="*/ 196 w 220"/>
              <a:gd name="T43" fmla="*/ 74 h 260"/>
              <a:gd name="T44" fmla="*/ 186 w 220"/>
              <a:gd name="T45" fmla="*/ 64 h 260"/>
              <a:gd name="T46" fmla="*/ 86 w 220"/>
              <a:gd name="T47" fmla="*/ 136 h 260"/>
              <a:gd name="T48" fmla="*/ 90 w 220"/>
              <a:gd name="T49" fmla="*/ 142 h 260"/>
              <a:gd name="T50" fmla="*/ 36 w 220"/>
              <a:gd name="T51" fmla="*/ 148 h 260"/>
              <a:gd name="T52" fmla="*/ 32 w 220"/>
              <a:gd name="T53" fmla="*/ 154 h 260"/>
              <a:gd name="T54" fmla="*/ 28 w 220"/>
              <a:gd name="T55" fmla="*/ 156 h 260"/>
              <a:gd name="T56" fmla="*/ 20 w 220"/>
              <a:gd name="T57" fmla="*/ 156 h 260"/>
              <a:gd name="T58" fmla="*/ 8 w 220"/>
              <a:gd name="T59" fmla="*/ 160 h 260"/>
              <a:gd name="T60" fmla="*/ 6 w 220"/>
              <a:gd name="T61" fmla="*/ 168 h 260"/>
              <a:gd name="T62" fmla="*/ 2 w 220"/>
              <a:gd name="T63" fmla="*/ 170 h 260"/>
              <a:gd name="T64" fmla="*/ 2 w 220"/>
              <a:gd name="T65" fmla="*/ 178 h 260"/>
              <a:gd name="T66" fmla="*/ 0 w 220"/>
              <a:gd name="T67" fmla="*/ 190 h 260"/>
              <a:gd name="T68" fmla="*/ 6 w 220"/>
              <a:gd name="T69" fmla="*/ 198 h 260"/>
              <a:gd name="T70" fmla="*/ 8 w 220"/>
              <a:gd name="T71" fmla="*/ 216 h 260"/>
              <a:gd name="T72" fmla="*/ 16 w 220"/>
              <a:gd name="T73" fmla="*/ 214 h 260"/>
              <a:gd name="T74" fmla="*/ 22 w 220"/>
              <a:gd name="T75" fmla="*/ 216 h 260"/>
              <a:gd name="T76" fmla="*/ 28 w 220"/>
              <a:gd name="T77" fmla="*/ 214 h 260"/>
              <a:gd name="T78" fmla="*/ 38 w 220"/>
              <a:gd name="T79" fmla="*/ 214 h 260"/>
              <a:gd name="T80" fmla="*/ 40 w 220"/>
              <a:gd name="T81" fmla="*/ 222 h 260"/>
              <a:gd name="T82" fmla="*/ 38 w 220"/>
              <a:gd name="T83" fmla="*/ 232 h 260"/>
              <a:gd name="T84" fmla="*/ 42 w 220"/>
              <a:gd name="T85" fmla="*/ 238 h 260"/>
              <a:gd name="T86" fmla="*/ 36 w 220"/>
              <a:gd name="T87" fmla="*/ 246 h 260"/>
              <a:gd name="T88" fmla="*/ 40 w 220"/>
              <a:gd name="T89" fmla="*/ 248 h 260"/>
              <a:gd name="T90" fmla="*/ 44 w 220"/>
              <a:gd name="T91" fmla="*/ 248 h 260"/>
              <a:gd name="T92" fmla="*/ 52 w 220"/>
              <a:gd name="T93" fmla="*/ 252 h 260"/>
              <a:gd name="T94" fmla="*/ 58 w 220"/>
              <a:gd name="T95" fmla="*/ 258 h 260"/>
              <a:gd name="T96" fmla="*/ 64 w 220"/>
              <a:gd name="T97" fmla="*/ 258 h 260"/>
              <a:gd name="T98" fmla="*/ 72 w 220"/>
              <a:gd name="T99" fmla="*/ 256 h 260"/>
              <a:gd name="T100" fmla="*/ 76 w 220"/>
              <a:gd name="T101" fmla="*/ 248 h 260"/>
              <a:gd name="T102" fmla="*/ 82 w 220"/>
              <a:gd name="T103" fmla="*/ 252 h 260"/>
              <a:gd name="T104" fmla="*/ 88 w 220"/>
              <a:gd name="T105" fmla="*/ 24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0" h="260">
                <a:moveTo>
                  <a:pt x="88" y="242"/>
                </a:moveTo>
                <a:lnTo>
                  <a:pt x="88" y="242"/>
                </a:lnTo>
                <a:lnTo>
                  <a:pt x="88" y="236"/>
                </a:lnTo>
                <a:lnTo>
                  <a:pt x="88" y="232"/>
                </a:lnTo>
                <a:lnTo>
                  <a:pt x="90" y="230"/>
                </a:lnTo>
                <a:lnTo>
                  <a:pt x="90" y="230"/>
                </a:lnTo>
                <a:lnTo>
                  <a:pt x="92" y="228"/>
                </a:lnTo>
                <a:lnTo>
                  <a:pt x="92" y="226"/>
                </a:lnTo>
                <a:lnTo>
                  <a:pt x="92" y="222"/>
                </a:lnTo>
                <a:lnTo>
                  <a:pt x="92" y="222"/>
                </a:lnTo>
                <a:lnTo>
                  <a:pt x="92" y="218"/>
                </a:lnTo>
                <a:lnTo>
                  <a:pt x="92" y="216"/>
                </a:lnTo>
                <a:lnTo>
                  <a:pt x="92" y="216"/>
                </a:lnTo>
                <a:lnTo>
                  <a:pt x="94" y="214"/>
                </a:lnTo>
                <a:lnTo>
                  <a:pt x="98" y="210"/>
                </a:lnTo>
                <a:lnTo>
                  <a:pt x="98" y="210"/>
                </a:lnTo>
                <a:lnTo>
                  <a:pt x="100" y="212"/>
                </a:lnTo>
                <a:lnTo>
                  <a:pt x="100" y="212"/>
                </a:lnTo>
                <a:lnTo>
                  <a:pt x="100" y="212"/>
                </a:lnTo>
                <a:lnTo>
                  <a:pt x="104" y="202"/>
                </a:lnTo>
                <a:lnTo>
                  <a:pt x="104" y="202"/>
                </a:lnTo>
                <a:lnTo>
                  <a:pt x="106" y="196"/>
                </a:lnTo>
                <a:lnTo>
                  <a:pt x="108" y="194"/>
                </a:lnTo>
                <a:lnTo>
                  <a:pt x="108" y="194"/>
                </a:lnTo>
                <a:lnTo>
                  <a:pt x="114" y="192"/>
                </a:lnTo>
                <a:lnTo>
                  <a:pt x="120" y="190"/>
                </a:lnTo>
                <a:lnTo>
                  <a:pt x="120" y="190"/>
                </a:lnTo>
                <a:lnTo>
                  <a:pt x="122" y="188"/>
                </a:lnTo>
                <a:lnTo>
                  <a:pt x="124" y="184"/>
                </a:lnTo>
                <a:lnTo>
                  <a:pt x="124" y="184"/>
                </a:lnTo>
                <a:lnTo>
                  <a:pt x="126" y="180"/>
                </a:lnTo>
                <a:lnTo>
                  <a:pt x="130" y="176"/>
                </a:lnTo>
                <a:lnTo>
                  <a:pt x="130" y="176"/>
                </a:lnTo>
                <a:lnTo>
                  <a:pt x="134" y="174"/>
                </a:lnTo>
                <a:lnTo>
                  <a:pt x="136" y="172"/>
                </a:lnTo>
                <a:lnTo>
                  <a:pt x="136" y="172"/>
                </a:lnTo>
                <a:lnTo>
                  <a:pt x="136" y="172"/>
                </a:lnTo>
                <a:lnTo>
                  <a:pt x="138" y="166"/>
                </a:lnTo>
                <a:lnTo>
                  <a:pt x="138" y="164"/>
                </a:lnTo>
                <a:lnTo>
                  <a:pt x="142" y="162"/>
                </a:lnTo>
                <a:lnTo>
                  <a:pt x="142" y="162"/>
                </a:lnTo>
                <a:lnTo>
                  <a:pt x="146" y="162"/>
                </a:lnTo>
                <a:lnTo>
                  <a:pt x="148" y="158"/>
                </a:lnTo>
                <a:lnTo>
                  <a:pt x="148" y="158"/>
                </a:lnTo>
                <a:lnTo>
                  <a:pt x="150" y="154"/>
                </a:lnTo>
                <a:lnTo>
                  <a:pt x="152" y="154"/>
                </a:lnTo>
                <a:lnTo>
                  <a:pt x="154" y="156"/>
                </a:lnTo>
                <a:lnTo>
                  <a:pt x="154" y="156"/>
                </a:lnTo>
                <a:lnTo>
                  <a:pt x="154" y="156"/>
                </a:lnTo>
                <a:lnTo>
                  <a:pt x="156" y="156"/>
                </a:lnTo>
                <a:lnTo>
                  <a:pt x="158" y="154"/>
                </a:lnTo>
                <a:lnTo>
                  <a:pt x="158" y="156"/>
                </a:lnTo>
                <a:lnTo>
                  <a:pt x="158" y="156"/>
                </a:lnTo>
                <a:lnTo>
                  <a:pt x="162" y="160"/>
                </a:lnTo>
                <a:lnTo>
                  <a:pt x="164" y="162"/>
                </a:lnTo>
                <a:lnTo>
                  <a:pt x="166" y="158"/>
                </a:lnTo>
                <a:lnTo>
                  <a:pt x="166" y="158"/>
                </a:lnTo>
                <a:lnTo>
                  <a:pt x="170" y="158"/>
                </a:lnTo>
                <a:lnTo>
                  <a:pt x="174" y="158"/>
                </a:lnTo>
                <a:lnTo>
                  <a:pt x="174" y="158"/>
                </a:lnTo>
                <a:lnTo>
                  <a:pt x="182" y="156"/>
                </a:lnTo>
                <a:lnTo>
                  <a:pt x="188" y="154"/>
                </a:lnTo>
                <a:lnTo>
                  <a:pt x="188" y="154"/>
                </a:lnTo>
                <a:lnTo>
                  <a:pt x="200" y="152"/>
                </a:lnTo>
                <a:lnTo>
                  <a:pt x="206" y="148"/>
                </a:lnTo>
                <a:lnTo>
                  <a:pt x="214" y="148"/>
                </a:lnTo>
                <a:lnTo>
                  <a:pt x="214" y="148"/>
                </a:lnTo>
                <a:lnTo>
                  <a:pt x="216" y="144"/>
                </a:lnTo>
                <a:lnTo>
                  <a:pt x="216" y="144"/>
                </a:lnTo>
                <a:lnTo>
                  <a:pt x="216" y="138"/>
                </a:lnTo>
                <a:lnTo>
                  <a:pt x="220" y="134"/>
                </a:lnTo>
                <a:lnTo>
                  <a:pt x="218" y="96"/>
                </a:lnTo>
                <a:lnTo>
                  <a:pt x="218" y="96"/>
                </a:lnTo>
                <a:lnTo>
                  <a:pt x="212" y="98"/>
                </a:lnTo>
                <a:lnTo>
                  <a:pt x="206" y="98"/>
                </a:lnTo>
                <a:lnTo>
                  <a:pt x="206" y="98"/>
                </a:lnTo>
                <a:lnTo>
                  <a:pt x="206" y="98"/>
                </a:lnTo>
                <a:lnTo>
                  <a:pt x="206" y="96"/>
                </a:lnTo>
                <a:lnTo>
                  <a:pt x="204" y="90"/>
                </a:lnTo>
                <a:lnTo>
                  <a:pt x="204" y="90"/>
                </a:lnTo>
                <a:lnTo>
                  <a:pt x="204" y="88"/>
                </a:lnTo>
                <a:lnTo>
                  <a:pt x="204" y="84"/>
                </a:lnTo>
                <a:lnTo>
                  <a:pt x="204" y="84"/>
                </a:lnTo>
                <a:lnTo>
                  <a:pt x="204" y="80"/>
                </a:lnTo>
                <a:lnTo>
                  <a:pt x="204" y="78"/>
                </a:lnTo>
                <a:lnTo>
                  <a:pt x="200" y="76"/>
                </a:lnTo>
                <a:lnTo>
                  <a:pt x="200" y="76"/>
                </a:lnTo>
                <a:lnTo>
                  <a:pt x="196" y="74"/>
                </a:lnTo>
                <a:lnTo>
                  <a:pt x="190" y="70"/>
                </a:lnTo>
                <a:lnTo>
                  <a:pt x="190" y="70"/>
                </a:lnTo>
                <a:lnTo>
                  <a:pt x="186" y="66"/>
                </a:lnTo>
                <a:lnTo>
                  <a:pt x="186" y="64"/>
                </a:lnTo>
                <a:lnTo>
                  <a:pt x="102" y="0"/>
                </a:lnTo>
                <a:lnTo>
                  <a:pt x="78" y="0"/>
                </a:lnTo>
                <a:lnTo>
                  <a:pt x="86" y="136"/>
                </a:lnTo>
                <a:lnTo>
                  <a:pt x="86" y="136"/>
                </a:lnTo>
                <a:lnTo>
                  <a:pt x="88" y="138"/>
                </a:lnTo>
                <a:lnTo>
                  <a:pt x="90" y="138"/>
                </a:lnTo>
                <a:lnTo>
                  <a:pt x="90" y="142"/>
                </a:lnTo>
                <a:lnTo>
                  <a:pt x="90" y="142"/>
                </a:lnTo>
                <a:lnTo>
                  <a:pt x="86" y="150"/>
                </a:lnTo>
                <a:lnTo>
                  <a:pt x="38" y="150"/>
                </a:lnTo>
                <a:lnTo>
                  <a:pt x="38" y="150"/>
                </a:lnTo>
                <a:lnTo>
                  <a:pt x="36" y="148"/>
                </a:lnTo>
                <a:lnTo>
                  <a:pt x="32" y="148"/>
                </a:lnTo>
                <a:lnTo>
                  <a:pt x="32" y="148"/>
                </a:lnTo>
                <a:lnTo>
                  <a:pt x="30" y="150"/>
                </a:lnTo>
                <a:lnTo>
                  <a:pt x="32" y="154"/>
                </a:lnTo>
                <a:lnTo>
                  <a:pt x="32" y="154"/>
                </a:lnTo>
                <a:lnTo>
                  <a:pt x="32" y="156"/>
                </a:lnTo>
                <a:lnTo>
                  <a:pt x="30" y="156"/>
                </a:lnTo>
                <a:lnTo>
                  <a:pt x="28" y="156"/>
                </a:lnTo>
                <a:lnTo>
                  <a:pt x="28" y="156"/>
                </a:lnTo>
                <a:lnTo>
                  <a:pt x="26" y="156"/>
                </a:lnTo>
                <a:lnTo>
                  <a:pt x="20" y="156"/>
                </a:lnTo>
                <a:lnTo>
                  <a:pt x="20" y="156"/>
                </a:lnTo>
                <a:lnTo>
                  <a:pt x="10" y="154"/>
                </a:lnTo>
                <a:lnTo>
                  <a:pt x="10" y="154"/>
                </a:lnTo>
                <a:lnTo>
                  <a:pt x="10" y="156"/>
                </a:lnTo>
                <a:lnTo>
                  <a:pt x="8" y="160"/>
                </a:lnTo>
                <a:lnTo>
                  <a:pt x="8" y="160"/>
                </a:lnTo>
                <a:lnTo>
                  <a:pt x="8" y="164"/>
                </a:lnTo>
                <a:lnTo>
                  <a:pt x="8" y="166"/>
                </a:lnTo>
                <a:lnTo>
                  <a:pt x="6" y="168"/>
                </a:lnTo>
                <a:lnTo>
                  <a:pt x="6" y="168"/>
                </a:lnTo>
                <a:lnTo>
                  <a:pt x="4" y="170"/>
                </a:lnTo>
                <a:lnTo>
                  <a:pt x="2" y="170"/>
                </a:lnTo>
                <a:lnTo>
                  <a:pt x="2" y="170"/>
                </a:lnTo>
                <a:lnTo>
                  <a:pt x="0" y="174"/>
                </a:lnTo>
                <a:lnTo>
                  <a:pt x="2" y="176"/>
                </a:lnTo>
                <a:lnTo>
                  <a:pt x="2" y="178"/>
                </a:lnTo>
                <a:lnTo>
                  <a:pt x="2" y="178"/>
                </a:lnTo>
                <a:lnTo>
                  <a:pt x="2" y="180"/>
                </a:lnTo>
                <a:lnTo>
                  <a:pt x="2" y="184"/>
                </a:lnTo>
                <a:lnTo>
                  <a:pt x="0" y="190"/>
                </a:lnTo>
                <a:lnTo>
                  <a:pt x="0" y="190"/>
                </a:lnTo>
                <a:lnTo>
                  <a:pt x="0" y="192"/>
                </a:lnTo>
                <a:lnTo>
                  <a:pt x="2" y="194"/>
                </a:lnTo>
                <a:lnTo>
                  <a:pt x="2" y="194"/>
                </a:lnTo>
                <a:lnTo>
                  <a:pt x="6" y="198"/>
                </a:lnTo>
                <a:lnTo>
                  <a:pt x="6" y="200"/>
                </a:lnTo>
                <a:lnTo>
                  <a:pt x="6" y="200"/>
                </a:lnTo>
                <a:lnTo>
                  <a:pt x="8" y="210"/>
                </a:lnTo>
                <a:lnTo>
                  <a:pt x="8" y="216"/>
                </a:lnTo>
                <a:lnTo>
                  <a:pt x="12" y="216"/>
                </a:lnTo>
                <a:lnTo>
                  <a:pt x="12" y="216"/>
                </a:lnTo>
                <a:lnTo>
                  <a:pt x="12" y="214"/>
                </a:lnTo>
                <a:lnTo>
                  <a:pt x="16" y="214"/>
                </a:lnTo>
                <a:lnTo>
                  <a:pt x="16" y="214"/>
                </a:lnTo>
                <a:lnTo>
                  <a:pt x="20" y="216"/>
                </a:lnTo>
                <a:lnTo>
                  <a:pt x="22" y="216"/>
                </a:lnTo>
                <a:lnTo>
                  <a:pt x="22" y="216"/>
                </a:lnTo>
                <a:lnTo>
                  <a:pt x="24" y="214"/>
                </a:lnTo>
                <a:lnTo>
                  <a:pt x="26" y="212"/>
                </a:lnTo>
                <a:lnTo>
                  <a:pt x="26" y="212"/>
                </a:lnTo>
                <a:lnTo>
                  <a:pt x="28" y="214"/>
                </a:lnTo>
                <a:lnTo>
                  <a:pt x="30" y="214"/>
                </a:lnTo>
                <a:lnTo>
                  <a:pt x="32" y="214"/>
                </a:lnTo>
                <a:lnTo>
                  <a:pt x="32" y="214"/>
                </a:lnTo>
                <a:lnTo>
                  <a:pt x="38" y="214"/>
                </a:lnTo>
                <a:lnTo>
                  <a:pt x="38" y="216"/>
                </a:lnTo>
                <a:lnTo>
                  <a:pt x="38" y="216"/>
                </a:lnTo>
                <a:lnTo>
                  <a:pt x="40" y="222"/>
                </a:lnTo>
                <a:lnTo>
                  <a:pt x="40" y="222"/>
                </a:lnTo>
                <a:lnTo>
                  <a:pt x="40" y="226"/>
                </a:lnTo>
                <a:lnTo>
                  <a:pt x="38" y="228"/>
                </a:lnTo>
                <a:lnTo>
                  <a:pt x="38" y="230"/>
                </a:lnTo>
                <a:lnTo>
                  <a:pt x="38" y="232"/>
                </a:lnTo>
                <a:lnTo>
                  <a:pt x="38" y="232"/>
                </a:lnTo>
                <a:lnTo>
                  <a:pt x="40" y="234"/>
                </a:lnTo>
                <a:lnTo>
                  <a:pt x="42" y="238"/>
                </a:lnTo>
                <a:lnTo>
                  <a:pt x="42" y="238"/>
                </a:lnTo>
                <a:lnTo>
                  <a:pt x="42" y="240"/>
                </a:lnTo>
                <a:lnTo>
                  <a:pt x="44" y="240"/>
                </a:lnTo>
                <a:lnTo>
                  <a:pt x="48" y="240"/>
                </a:lnTo>
                <a:lnTo>
                  <a:pt x="36" y="246"/>
                </a:lnTo>
                <a:lnTo>
                  <a:pt x="36" y="246"/>
                </a:lnTo>
                <a:lnTo>
                  <a:pt x="38" y="246"/>
                </a:lnTo>
                <a:lnTo>
                  <a:pt x="40" y="248"/>
                </a:lnTo>
                <a:lnTo>
                  <a:pt x="40" y="248"/>
                </a:lnTo>
                <a:lnTo>
                  <a:pt x="42" y="246"/>
                </a:lnTo>
                <a:lnTo>
                  <a:pt x="44" y="246"/>
                </a:lnTo>
                <a:lnTo>
                  <a:pt x="44" y="248"/>
                </a:lnTo>
                <a:lnTo>
                  <a:pt x="44" y="248"/>
                </a:lnTo>
                <a:lnTo>
                  <a:pt x="46" y="250"/>
                </a:lnTo>
                <a:lnTo>
                  <a:pt x="48" y="250"/>
                </a:lnTo>
                <a:lnTo>
                  <a:pt x="50" y="250"/>
                </a:lnTo>
                <a:lnTo>
                  <a:pt x="52" y="252"/>
                </a:lnTo>
                <a:lnTo>
                  <a:pt x="52" y="252"/>
                </a:lnTo>
                <a:lnTo>
                  <a:pt x="54" y="256"/>
                </a:lnTo>
                <a:lnTo>
                  <a:pt x="58" y="258"/>
                </a:lnTo>
                <a:lnTo>
                  <a:pt x="58" y="258"/>
                </a:lnTo>
                <a:lnTo>
                  <a:pt x="62" y="260"/>
                </a:lnTo>
                <a:lnTo>
                  <a:pt x="62" y="260"/>
                </a:lnTo>
                <a:lnTo>
                  <a:pt x="62" y="260"/>
                </a:lnTo>
                <a:lnTo>
                  <a:pt x="64" y="258"/>
                </a:lnTo>
                <a:lnTo>
                  <a:pt x="68" y="256"/>
                </a:lnTo>
                <a:lnTo>
                  <a:pt x="68" y="256"/>
                </a:lnTo>
                <a:lnTo>
                  <a:pt x="70" y="254"/>
                </a:lnTo>
                <a:lnTo>
                  <a:pt x="72" y="256"/>
                </a:lnTo>
                <a:lnTo>
                  <a:pt x="72" y="258"/>
                </a:lnTo>
                <a:lnTo>
                  <a:pt x="74" y="250"/>
                </a:lnTo>
                <a:lnTo>
                  <a:pt x="76" y="248"/>
                </a:lnTo>
                <a:lnTo>
                  <a:pt x="76" y="248"/>
                </a:lnTo>
                <a:lnTo>
                  <a:pt x="78" y="250"/>
                </a:lnTo>
                <a:lnTo>
                  <a:pt x="80" y="252"/>
                </a:lnTo>
                <a:lnTo>
                  <a:pt x="82" y="252"/>
                </a:lnTo>
                <a:lnTo>
                  <a:pt x="82" y="252"/>
                </a:lnTo>
                <a:lnTo>
                  <a:pt x="84" y="250"/>
                </a:lnTo>
                <a:lnTo>
                  <a:pt x="86" y="248"/>
                </a:lnTo>
                <a:lnTo>
                  <a:pt x="86" y="246"/>
                </a:lnTo>
                <a:lnTo>
                  <a:pt x="88" y="2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7" name="Freeform 141">
            <a:extLst>
              <a:ext uri="{FF2B5EF4-FFF2-40B4-BE49-F238E27FC236}">
                <a16:creationId xmlns:a16="http://schemas.microsoft.com/office/drawing/2014/main" id="{07806FF6-BBB9-4DB2-96BD-00016C5B2E6B}"/>
              </a:ext>
            </a:extLst>
          </p:cNvPr>
          <p:cNvSpPr>
            <a:spLocks noEditPoints="1"/>
          </p:cNvSpPr>
          <p:nvPr userDrawn="1"/>
        </p:nvSpPr>
        <p:spPr bwMode="auto">
          <a:xfrm>
            <a:off x="8104721" y="3491889"/>
            <a:ext cx="415905" cy="175030"/>
          </a:xfrm>
          <a:custGeom>
            <a:avLst/>
            <a:gdLst>
              <a:gd name="T0" fmla="*/ 126 w 248"/>
              <a:gd name="T1" fmla="*/ 96 h 102"/>
              <a:gd name="T2" fmla="*/ 142 w 248"/>
              <a:gd name="T3" fmla="*/ 102 h 102"/>
              <a:gd name="T4" fmla="*/ 158 w 248"/>
              <a:gd name="T5" fmla="*/ 96 h 102"/>
              <a:gd name="T6" fmla="*/ 178 w 248"/>
              <a:gd name="T7" fmla="*/ 96 h 102"/>
              <a:gd name="T8" fmla="*/ 188 w 248"/>
              <a:gd name="T9" fmla="*/ 82 h 102"/>
              <a:gd name="T10" fmla="*/ 196 w 248"/>
              <a:gd name="T11" fmla="*/ 72 h 102"/>
              <a:gd name="T12" fmla="*/ 204 w 248"/>
              <a:gd name="T13" fmla="*/ 54 h 102"/>
              <a:gd name="T14" fmla="*/ 224 w 248"/>
              <a:gd name="T15" fmla="*/ 50 h 102"/>
              <a:gd name="T16" fmla="*/ 226 w 248"/>
              <a:gd name="T17" fmla="*/ 46 h 102"/>
              <a:gd name="T18" fmla="*/ 236 w 248"/>
              <a:gd name="T19" fmla="*/ 44 h 102"/>
              <a:gd name="T20" fmla="*/ 238 w 248"/>
              <a:gd name="T21" fmla="*/ 44 h 102"/>
              <a:gd name="T22" fmla="*/ 238 w 248"/>
              <a:gd name="T23" fmla="*/ 40 h 102"/>
              <a:gd name="T24" fmla="*/ 236 w 248"/>
              <a:gd name="T25" fmla="*/ 36 h 102"/>
              <a:gd name="T26" fmla="*/ 244 w 248"/>
              <a:gd name="T27" fmla="*/ 34 h 102"/>
              <a:gd name="T28" fmla="*/ 248 w 248"/>
              <a:gd name="T29" fmla="*/ 28 h 102"/>
              <a:gd name="T30" fmla="*/ 242 w 248"/>
              <a:gd name="T31" fmla="*/ 20 h 102"/>
              <a:gd name="T32" fmla="*/ 236 w 248"/>
              <a:gd name="T33" fmla="*/ 22 h 102"/>
              <a:gd name="T34" fmla="*/ 232 w 248"/>
              <a:gd name="T35" fmla="*/ 16 h 102"/>
              <a:gd name="T36" fmla="*/ 234 w 248"/>
              <a:gd name="T37" fmla="*/ 10 h 102"/>
              <a:gd name="T38" fmla="*/ 228 w 248"/>
              <a:gd name="T39" fmla="*/ 6 h 102"/>
              <a:gd name="T40" fmla="*/ 228 w 248"/>
              <a:gd name="T41" fmla="*/ 2 h 102"/>
              <a:gd name="T42" fmla="*/ 226 w 248"/>
              <a:gd name="T43" fmla="*/ 4 h 102"/>
              <a:gd name="T44" fmla="*/ 222 w 248"/>
              <a:gd name="T45" fmla="*/ 4 h 102"/>
              <a:gd name="T46" fmla="*/ 218 w 248"/>
              <a:gd name="T47" fmla="*/ 0 h 102"/>
              <a:gd name="T48" fmla="*/ 212 w 248"/>
              <a:gd name="T49" fmla="*/ 14 h 102"/>
              <a:gd name="T50" fmla="*/ 202 w 248"/>
              <a:gd name="T51" fmla="*/ 26 h 102"/>
              <a:gd name="T52" fmla="*/ 204 w 248"/>
              <a:gd name="T53" fmla="*/ 30 h 102"/>
              <a:gd name="T54" fmla="*/ 202 w 248"/>
              <a:gd name="T55" fmla="*/ 36 h 102"/>
              <a:gd name="T56" fmla="*/ 200 w 248"/>
              <a:gd name="T57" fmla="*/ 46 h 102"/>
              <a:gd name="T58" fmla="*/ 192 w 248"/>
              <a:gd name="T59" fmla="*/ 50 h 102"/>
              <a:gd name="T60" fmla="*/ 182 w 248"/>
              <a:gd name="T61" fmla="*/ 44 h 102"/>
              <a:gd name="T62" fmla="*/ 170 w 248"/>
              <a:gd name="T63" fmla="*/ 66 h 102"/>
              <a:gd name="T64" fmla="*/ 162 w 248"/>
              <a:gd name="T65" fmla="*/ 66 h 102"/>
              <a:gd name="T66" fmla="*/ 146 w 248"/>
              <a:gd name="T67" fmla="*/ 72 h 102"/>
              <a:gd name="T68" fmla="*/ 146 w 248"/>
              <a:gd name="T69" fmla="*/ 78 h 102"/>
              <a:gd name="T70" fmla="*/ 144 w 248"/>
              <a:gd name="T71" fmla="*/ 86 h 102"/>
              <a:gd name="T72" fmla="*/ 142 w 248"/>
              <a:gd name="T73" fmla="*/ 90 h 102"/>
              <a:gd name="T74" fmla="*/ 136 w 248"/>
              <a:gd name="T75" fmla="*/ 88 h 102"/>
              <a:gd name="T76" fmla="*/ 132 w 248"/>
              <a:gd name="T77" fmla="*/ 84 h 102"/>
              <a:gd name="T78" fmla="*/ 128 w 248"/>
              <a:gd name="T79" fmla="*/ 86 h 102"/>
              <a:gd name="T80" fmla="*/ 124 w 248"/>
              <a:gd name="T81" fmla="*/ 82 h 102"/>
              <a:gd name="T82" fmla="*/ 2 w 248"/>
              <a:gd name="T83" fmla="*/ 24 h 102"/>
              <a:gd name="T84" fmla="*/ 4 w 248"/>
              <a:gd name="T85" fmla="*/ 32 h 102"/>
              <a:gd name="T86" fmla="*/ 8 w 248"/>
              <a:gd name="T87" fmla="*/ 50 h 102"/>
              <a:gd name="T88" fmla="*/ 8 w 248"/>
              <a:gd name="T89" fmla="*/ 56 h 102"/>
              <a:gd name="T90" fmla="*/ 14 w 248"/>
              <a:gd name="T91" fmla="*/ 62 h 102"/>
              <a:gd name="T92" fmla="*/ 16 w 248"/>
              <a:gd name="T93" fmla="*/ 72 h 102"/>
              <a:gd name="T94" fmla="*/ 26 w 248"/>
              <a:gd name="T95" fmla="*/ 80 h 102"/>
              <a:gd name="T96" fmla="*/ 28 w 248"/>
              <a:gd name="T97" fmla="*/ 84 h 102"/>
              <a:gd name="T98" fmla="*/ 42 w 248"/>
              <a:gd name="T99" fmla="*/ 90 h 102"/>
              <a:gd name="T100" fmla="*/ 52 w 248"/>
              <a:gd name="T101" fmla="*/ 88 h 102"/>
              <a:gd name="T102" fmla="*/ 52 w 248"/>
              <a:gd name="T103" fmla="*/ 82 h 102"/>
              <a:gd name="T104" fmla="*/ 48 w 248"/>
              <a:gd name="T105" fmla="*/ 74 h 102"/>
              <a:gd name="T106" fmla="*/ 44 w 248"/>
              <a:gd name="T107" fmla="*/ 68 h 102"/>
              <a:gd name="T108" fmla="*/ 42 w 248"/>
              <a:gd name="T109" fmla="*/ 58 h 102"/>
              <a:gd name="T110" fmla="*/ 44 w 248"/>
              <a:gd name="T111" fmla="*/ 42 h 102"/>
              <a:gd name="T112" fmla="*/ 38 w 248"/>
              <a:gd name="T113" fmla="*/ 32 h 102"/>
              <a:gd name="T114" fmla="*/ 32 w 248"/>
              <a:gd name="T115" fmla="*/ 20 h 102"/>
              <a:gd name="T116" fmla="*/ 24 w 248"/>
              <a:gd name="T117" fmla="*/ 14 h 102"/>
              <a:gd name="T118" fmla="*/ 16 w 248"/>
              <a:gd name="T119" fmla="*/ 22 h 102"/>
              <a:gd name="T120" fmla="*/ 12 w 248"/>
              <a:gd name="T121" fmla="*/ 20 h 102"/>
              <a:gd name="T122" fmla="*/ 0 w 248"/>
              <a:gd name="T123" fmla="*/ 1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102">
                <a:moveTo>
                  <a:pt x="124" y="82"/>
                </a:moveTo>
                <a:lnTo>
                  <a:pt x="124" y="90"/>
                </a:lnTo>
                <a:lnTo>
                  <a:pt x="126" y="96"/>
                </a:lnTo>
                <a:lnTo>
                  <a:pt x="132" y="98"/>
                </a:lnTo>
                <a:lnTo>
                  <a:pt x="136" y="100"/>
                </a:lnTo>
                <a:lnTo>
                  <a:pt x="142" y="102"/>
                </a:lnTo>
                <a:lnTo>
                  <a:pt x="148" y="100"/>
                </a:lnTo>
                <a:lnTo>
                  <a:pt x="156" y="98"/>
                </a:lnTo>
                <a:lnTo>
                  <a:pt x="158" y="96"/>
                </a:lnTo>
                <a:lnTo>
                  <a:pt x="166" y="94"/>
                </a:lnTo>
                <a:lnTo>
                  <a:pt x="170" y="96"/>
                </a:lnTo>
                <a:lnTo>
                  <a:pt x="178" y="96"/>
                </a:lnTo>
                <a:lnTo>
                  <a:pt x="184" y="92"/>
                </a:lnTo>
                <a:lnTo>
                  <a:pt x="186" y="90"/>
                </a:lnTo>
                <a:lnTo>
                  <a:pt x="188" y="82"/>
                </a:lnTo>
                <a:lnTo>
                  <a:pt x="188" y="78"/>
                </a:lnTo>
                <a:lnTo>
                  <a:pt x="192" y="76"/>
                </a:lnTo>
                <a:lnTo>
                  <a:pt x="196" y="72"/>
                </a:lnTo>
                <a:lnTo>
                  <a:pt x="198" y="68"/>
                </a:lnTo>
                <a:lnTo>
                  <a:pt x="202" y="64"/>
                </a:lnTo>
                <a:lnTo>
                  <a:pt x="204" y="54"/>
                </a:lnTo>
                <a:lnTo>
                  <a:pt x="206" y="50"/>
                </a:lnTo>
                <a:lnTo>
                  <a:pt x="214" y="52"/>
                </a:lnTo>
                <a:lnTo>
                  <a:pt x="224" y="50"/>
                </a:lnTo>
                <a:lnTo>
                  <a:pt x="224" y="50"/>
                </a:lnTo>
                <a:lnTo>
                  <a:pt x="226" y="46"/>
                </a:lnTo>
                <a:lnTo>
                  <a:pt x="226" y="46"/>
                </a:lnTo>
                <a:lnTo>
                  <a:pt x="234" y="48"/>
                </a:lnTo>
                <a:lnTo>
                  <a:pt x="234" y="48"/>
                </a:lnTo>
                <a:lnTo>
                  <a:pt x="236" y="44"/>
                </a:lnTo>
                <a:lnTo>
                  <a:pt x="236" y="44"/>
                </a:lnTo>
                <a:lnTo>
                  <a:pt x="238" y="44"/>
                </a:lnTo>
                <a:lnTo>
                  <a:pt x="238" y="44"/>
                </a:lnTo>
                <a:lnTo>
                  <a:pt x="238" y="44"/>
                </a:lnTo>
                <a:lnTo>
                  <a:pt x="238" y="40"/>
                </a:lnTo>
                <a:lnTo>
                  <a:pt x="238" y="40"/>
                </a:lnTo>
                <a:lnTo>
                  <a:pt x="236" y="38"/>
                </a:lnTo>
                <a:lnTo>
                  <a:pt x="236" y="38"/>
                </a:lnTo>
                <a:lnTo>
                  <a:pt x="236" y="36"/>
                </a:lnTo>
                <a:lnTo>
                  <a:pt x="236" y="34"/>
                </a:lnTo>
                <a:lnTo>
                  <a:pt x="236" y="34"/>
                </a:lnTo>
                <a:lnTo>
                  <a:pt x="244" y="34"/>
                </a:lnTo>
                <a:lnTo>
                  <a:pt x="246" y="32"/>
                </a:lnTo>
                <a:lnTo>
                  <a:pt x="248" y="30"/>
                </a:lnTo>
                <a:lnTo>
                  <a:pt x="248" y="28"/>
                </a:lnTo>
                <a:lnTo>
                  <a:pt x="248" y="28"/>
                </a:lnTo>
                <a:lnTo>
                  <a:pt x="244" y="24"/>
                </a:lnTo>
                <a:lnTo>
                  <a:pt x="242" y="20"/>
                </a:lnTo>
                <a:lnTo>
                  <a:pt x="242" y="20"/>
                </a:lnTo>
                <a:lnTo>
                  <a:pt x="236" y="22"/>
                </a:lnTo>
                <a:lnTo>
                  <a:pt x="236" y="22"/>
                </a:lnTo>
                <a:lnTo>
                  <a:pt x="236" y="18"/>
                </a:lnTo>
                <a:lnTo>
                  <a:pt x="236" y="18"/>
                </a:lnTo>
                <a:lnTo>
                  <a:pt x="232" y="16"/>
                </a:lnTo>
                <a:lnTo>
                  <a:pt x="232" y="16"/>
                </a:lnTo>
                <a:lnTo>
                  <a:pt x="234" y="10"/>
                </a:lnTo>
                <a:lnTo>
                  <a:pt x="234" y="10"/>
                </a:lnTo>
                <a:lnTo>
                  <a:pt x="230" y="6"/>
                </a:lnTo>
                <a:lnTo>
                  <a:pt x="230" y="6"/>
                </a:lnTo>
                <a:lnTo>
                  <a:pt x="228" y="6"/>
                </a:lnTo>
                <a:lnTo>
                  <a:pt x="228" y="6"/>
                </a:lnTo>
                <a:lnTo>
                  <a:pt x="228" y="2"/>
                </a:lnTo>
                <a:lnTo>
                  <a:pt x="228" y="2"/>
                </a:lnTo>
                <a:lnTo>
                  <a:pt x="226" y="4"/>
                </a:lnTo>
                <a:lnTo>
                  <a:pt x="226" y="4"/>
                </a:lnTo>
                <a:lnTo>
                  <a:pt x="226" y="4"/>
                </a:lnTo>
                <a:lnTo>
                  <a:pt x="226" y="4"/>
                </a:lnTo>
                <a:lnTo>
                  <a:pt x="222" y="4"/>
                </a:lnTo>
                <a:lnTo>
                  <a:pt x="222" y="4"/>
                </a:lnTo>
                <a:lnTo>
                  <a:pt x="220" y="2"/>
                </a:lnTo>
                <a:lnTo>
                  <a:pt x="220" y="0"/>
                </a:lnTo>
                <a:lnTo>
                  <a:pt x="218" y="0"/>
                </a:lnTo>
                <a:lnTo>
                  <a:pt x="218" y="0"/>
                </a:lnTo>
                <a:lnTo>
                  <a:pt x="214" y="8"/>
                </a:lnTo>
                <a:lnTo>
                  <a:pt x="212" y="14"/>
                </a:lnTo>
                <a:lnTo>
                  <a:pt x="200" y="24"/>
                </a:lnTo>
                <a:lnTo>
                  <a:pt x="200" y="24"/>
                </a:lnTo>
                <a:lnTo>
                  <a:pt x="202" y="26"/>
                </a:lnTo>
                <a:lnTo>
                  <a:pt x="204" y="26"/>
                </a:lnTo>
                <a:lnTo>
                  <a:pt x="204" y="26"/>
                </a:lnTo>
                <a:lnTo>
                  <a:pt x="204" y="30"/>
                </a:lnTo>
                <a:lnTo>
                  <a:pt x="204" y="30"/>
                </a:lnTo>
                <a:lnTo>
                  <a:pt x="202" y="32"/>
                </a:lnTo>
                <a:lnTo>
                  <a:pt x="202" y="36"/>
                </a:lnTo>
                <a:lnTo>
                  <a:pt x="198" y="36"/>
                </a:lnTo>
                <a:lnTo>
                  <a:pt x="202" y="46"/>
                </a:lnTo>
                <a:lnTo>
                  <a:pt x="200" y="46"/>
                </a:lnTo>
                <a:lnTo>
                  <a:pt x="196" y="44"/>
                </a:lnTo>
                <a:lnTo>
                  <a:pt x="194" y="48"/>
                </a:lnTo>
                <a:lnTo>
                  <a:pt x="192" y="50"/>
                </a:lnTo>
                <a:lnTo>
                  <a:pt x="188" y="50"/>
                </a:lnTo>
                <a:lnTo>
                  <a:pt x="182" y="44"/>
                </a:lnTo>
                <a:lnTo>
                  <a:pt x="182" y="44"/>
                </a:lnTo>
                <a:lnTo>
                  <a:pt x="182" y="46"/>
                </a:lnTo>
                <a:lnTo>
                  <a:pt x="170" y="66"/>
                </a:lnTo>
                <a:lnTo>
                  <a:pt x="170" y="66"/>
                </a:lnTo>
                <a:lnTo>
                  <a:pt x="166" y="66"/>
                </a:lnTo>
                <a:lnTo>
                  <a:pt x="162" y="66"/>
                </a:lnTo>
                <a:lnTo>
                  <a:pt x="162" y="66"/>
                </a:lnTo>
                <a:lnTo>
                  <a:pt x="154" y="68"/>
                </a:lnTo>
                <a:lnTo>
                  <a:pt x="146" y="72"/>
                </a:lnTo>
                <a:lnTo>
                  <a:pt x="146" y="72"/>
                </a:lnTo>
                <a:lnTo>
                  <a:pt x="146" y="76"/>
                </a:lnTo>
                <a:lnTo>
                  <a:pt x="146" y="78"/>
                </a:lnTo>
                <a:lnTo>
                  <a:pt x="146" y="78"/>
                </a:lnTo>
                <a:lnTo>
                  <a:pt x="146" y="78"/>
                </a:lnTo>
                <a:lnTo>
                  <a:pt x="144" y="86"/>
                </a:lnTo>
                <a:lnTo>
                  <a:pt x="144" y="86"/>
                </a:lnTo>
                <a:lnTo>
                  <a:pt x="142" y="86"/>
                </a:lnTo>
                <a:lnTo>
                  <a:pt x="142" y="86"/>
                </a:lnTo>
                <a:lnTo>
                  <a:pt x="142" y="90"/>
                </a:lnTo>
                <a:lnTo>
                  <a:pt x="142" y="90"/>
                </a:lnTo>
                <a:lnTo>
                  <a:pt x="138" y="90"/>
                </a:lnTo>
                <a:lnTo>
                  <a:pt x="136" y="88"/>
                </a:lnTo>
                <a:lnTo>
                  <a:pt x="134" y="86"/>
                </a:lnTo>
                <a:lnTo>
                  <a:pt x="134" y="86"/>
                </a:lnTo>
                <a:lnTo>
                  <a:pt x="132" y="84"/>
                </a:lnTo>
                <a:lnTo>
                  <a:pt x="130" y="86"/>
                </a:lnTo>
                <a:lnTo>
                  <a:pt x="130" y="86"/>
                </a:lnTo>
                <a:lnTo>
                  <a:pt x="128" y="86"/>
                </a:lnTo>
                <a:lnTo>
                  <a:pt x="128" y="86"/>
                </a:lnTo>
                <a:lnTo>
                  <a:pt x="124" y="82"/>
                </a:lnTo>
                <a:lnTo>
                  <a:pt x="124" y="82"/>
                </a:lnTo>
                <a:close/>
                <a:moveTo>
                  <a:pt x="0" y="18"/>
                </a:moveTo>
                <a:lnTo>
                  <a:pt x="0" y="18"/>
                </a:lnTo>
                <a:lnTo>
                  <a:pt x="2" y="24"/>
                </a:lnTo>
                <a:lnTo>
                  <a:pt x="4" y="28"/>
                </a:lnTo>
                <a:lnTo>
                  <a:pt x="4" y="28"/>
                </a:lnTo>
                <a:lnTo>
                  <a:pt x="4" y="32"/>
                </a:lnTo>
                <a:lnTo>
                  <a:pt x="2" y="36"/>
                </a:lnTo>
                <a:lnTo>
                  <a:pt x="2" y="36"/>
                </a:lnTo>
                <a:lnTo>
                  <a:pt x="8" y="50"/>
                </a:lnTo>
                <a:lnTo>
                  <a:pt x="8" y="50"/>
                </a:lnTo>
                <a:lnTo>
                  <a:pt x="8" y="54"/>
                </a:lnTo>
                <a:lnTo>
                  <a:pt x="8" y="56"/>
                </a:lnTo>
                <a:lnTo>
                  <a:pt x="8" y="56"/>
                </a:lnTo>
                <a:lnTo>
                  <a:pt x="10" y="58"/>
                </a:lnTo>
                <a:lnTo>
                  <a:pt x="14" y="62"/>
                </a:lnTo>
                <a:lnTo>
                  <a:pt x="14" y="62"/>
                </a:lnTo>
                <a:lnTo>
                  <a:pt x="14" y="68"/>
                </a:lnTo>
                <a:lnTo>
                  <a:pt x="16" y="72"/>
                </a:lnTo>
                <a:lnTo>
                  <a:pt x="16" y="72"/>
                </a:lnTo>
                <a:lnTo>
                  <a:pt x="20" y="76"/>
                </a:lnTo>
                <a:lnTo>
                  <a:pt x="26" y="80"/>
                </a:lnTo>
                <a:lnTo>
                  <a:pt x="26" y="80"/>
                </a:lnTo>
                <a:lnTo>
                  <a:pt x="28" y="84"/>
                </a:lnTo>
                <a:lnTo>
                  <a:pt x="28" y="84"/>
                </a:lnTo>
                <a:lnTo>
                  <a:pt x="42" y="92"/>
                </a:lnTo>
                <a:lnTo>
                  <a:pt x="42" y="90"/>
                </a:lnTo>
                <a:lnTo>
                  <a:pt x="42" y="90"/>
                </a:lnTo>
                <a:lnTo>
                  <a:pt x="46" y="88"/>
                </a:lnTo>
                <a:lnTo>
                  <a:pt x="46" y="88"/>
                </a:lnTo>
                <a:lnTo>
                  <a:pt x="52" y="88"/>
                </a:lnTo>
                <a:lnTo>
                  <a:pt x="52" y="88"/>
                </a:lnTo>
                <a:lnTo>
                  <a:pt x="52" y="82"/>
                </a:lnTo>
                <a:lnTo>
                  <a:pt x="52" y="82"/>
                </a:lnTo>
                <a:lnTo>
                  <a:pt x="50" y="78"/>
                </a:lnTo>
                <a:lnTo>
                  <a:pt x="48" y="74"/>
                </a:lnTo>
                <a:lnTo>
                  <a:pt x="48" y="74"/>
                </a:lnTo>
                <a:lnTo>
                  <a:pt x="48" y="70"/>
                </a:lnTo>
                <a:lnTo>
                  <a:pt x="48" y="70"/>
                </a:lnTo>
                <a:lnTo>
                  <a:pt x="44" y="68"/>
                </a:lnTo>
                <a:lnTo>
                  <a:pt x="42" y="66"/>
                </a:lnTo>
                <a:lnTo>
                  <a:pt x="42" y="66"/>
                </a:lnTo>
                <a:lnTo>
                  <a:pt x="42" y="58"/>
                </a:lnTo>
                <a:lnTo>
                  <a:pt x="42" y="54"/>
                </a:lnTo>
                <a:lnTo>
                  <a:pt x="42" y="54"/>
                </a:lnTo>
                <a:lnTo>
                  <a:pt x="44" y="42"/>
                </a:lnTo>
                <a:lnTo>
                  <a:pt x="40" y="34"/>
                </a:lnTo>
                <a:lnTo>
                  <a:pt x="40" y="34"/>
                </a:lnTo>
                <a:lnTo>
                  <a:pt x="38" y="32"/>
                </a:lnTo>
                <a:lnTo>
                  <a:pt x="38" y="32"/>
                </a:lnTo>
                <a:lnTo>
                  <a:pt x="36" y="24"/>
                </a:lnTo>
                <a:lnTo>
                  <a:pt x="32" y="20"/>
                </a:lnTo>
                <a:lnTo>
                  <a:pt x="32" y="20"/>
                </a:lnTo>
                <a:lnTo>
                  <a:pt x="28" y="16"/>
                </a:lnTo>
                <a:lnTo>
                  <a:pt x="24" y="14"/>
                </a:lnTo>
                <a:lnTo>
                  <a:pt x="22" y="16"/>
                </a:lnTo>
                <a:lnTo>
                  <a:pt x="22" y="24"/>
                </a:lnTo>
                <a:lnTo>
                  <a:pt x="16" y="22"/>
                </a:lnTo>
                <a:lnTo>
                  <a:pt x="16" y="26"/>
                </a:lnTo>
                <a:lnTo>
                  <a:pt x="12" y="26"/>
                </a:lnTo>
                <a:lnTo>
                  <a:pt x="12" y="20"/>
                </a:lnTo>
                <a:lnTo>
                  <a:pt x="6" y="16"/>
                </a:lnTo>
                <a:lnTo>
                  <a:pt x="0" y="18"/>
                </a:lnTo>
                <a:lnTo>
                  <a:pt x="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8" name="Freeform 142">
            <a:extLst>
              <a:ext uri="{FF2B5EF4-FFF2-40B4-BE49-F238E27FC236}">
                <a16:creationId xmlns:a16="http://schemas.microsoft.com/office/drawing/2014/main" id="{D65D3564-C915-48D7-9558-FB20F52CF05E}"/>
              </a:ext>
            </a:extLst>
          </p:cNvPr>
          <p:cNvSpPr>
            <a:spLocks/>
          </p:cNvSpPr>
          <p:nvPr userDrawn="1"/>
        </p:nvSpPr>
        <p:spPr bwMode="auto">
          <a:xfrm>
            <a:off x="6578618" y="3958638"/>
            <a:ext cx="77144" cy="216214"/>
          </a:xfrm>
          <a:custGeom>
            <a:avLst/>
            <a:gdLst>
              <a:gd name="T0" fmla="*/ 8 w 46"/>
              <a:gd name="T1" fmla="*/ 0 h 126"/>
              <a:gd name="T2" fmla="*/ 12 w 46"/>
              <a:gd name="T3" fmla="*/ 6 h 126"/>
              <a:gd name="T4" fmla="*/ 14 w 46"/>
              <a:gd name="T5" fmla="*/ 12 h 126"/>
              <a:gd name="T6" fmla="*/ 14 w 46"/>
              <a:gd name="T7" fmla="*/ 16 h 126"/>
              <a:gd name="T8" fmla="*/ 12 w 46"/>
              <a:gd name="T9" fmla="*/ 24 h 126"/>
              <a:gd name="T10" fmla="*/ 8 w 46"/>
              <a:gd name="T11" fmla="*/ 28 h 126"/>
              <a:gd name="T12" fmla="*/ 8 w 46"/>
              <a:gd name="T13" fmla="*/ 34 h 126"/>
              <a:gd name="T14" fmla="*/ 8 w 46"/>
              <a:gd name="T15" fmla="*/ 42 h 126"/>
              <a:gd name="T16" fmla="*/ 12 w 46"/>
              <a:gd name="T17" fmla="*/ 44 h 126"/>
              <a:gd name="T18" fmla="*/ 10 w 46"/>
              <a:gd name="T19" fmla="*/ 48 h 126"/>
              <a:gd name="T20" fmla="*/ 2 w 46"/>
              <a:gd name="T21" fmla="*/ 54 h 126"/>
              <a:gd name="T22" fmla="*/ 2 w 46"/>
              <a:gd name="T23" fmla="*/ 64 h 126"/>
              <a:gd name="T24" fmla="*/ 0 w 46"/>
              <a:gd name="T25" fmla="*/ 72 h 126"/>
              <a:gd name="T26" fmla="*/ 2 w 46"/>
              <a:gd name="T27" fmla="*/ 80 h 126"/>
              <a:gd name="T28" fmla="*/ 8 w 46"/>
              <a:gd name="T29" fmla="*/ 86 h 126"/>
              <a:gd name="T30" fmla="*/ 10 w 46"/>
              <a:gd name="T31" fmla="*/ 90 h 126"/>
              <a:gd name="T32" fmla="*/ 20 w 46"/>
              <a:gd name="T33" fmla="*/ 88 h 126"/>
              <a:gd name="T34" fmla="*/ 22 w 46"/>
              <a:gd name="T35" fmla="*/ 94 h 126"/>
              <a:gd name="T36" fmla="*/ 20 w 46"/>
              <a:gd name="T37" fmla="*/ 104 h 126"/>
              <a:gd name="T38" fmla="*/ 20 w 46"/>
              <a:gd name="T39" fmla="*/ 110 h 126"/>
              <a:gd name="T40" fmla="*/ 32 w 46"/>
              <a:gd name="T41" fmla="*/ 120 h 126"/>
              <a:gd name="T42" fmla="*/ 32 w 46"/>
              <a:gd name="T43" fmla="*/ 126 h 126"/>
              <a:gd name="T44" fmla="*/ 38 w 46"/>
              <a:gd name="T45" fmla="*/ 124 h 126"/>
              <a:gd name="T46" fmla="*/ 38 w 46"/>
              <a:gd name="T47" fmla="*/ 120 h 126"/>
              <a:gd name="T48" fmla="*/ 38 w 46"/>
              <a:gd name="T49" fmla="*/ 106 h 126"/>
              <a:gd name="T50" fmla="*/ 44 w 46"/>
              <a:gd name="T51" fmla="*/ 106 h 126"/>
              <a:gd name="T52" fmla="*/ 44 w 46"/>
              <a:gd name="T53" fmla="*/ 100 h 126"/>
              <a:gd name="T54" fmla="*/ 46 w 46"/>
              <a:gd name="T55" fmla="*/ 90 h 126"/>
              <a:gd name="T56" fmla="*/ 44 w 46"/>
              <a:gd name="T57" fmla="*/ 86 h 126"/>
              <a:gd name="T58" fmla="*/ 40 w 46"/>
              <a:gd name="T59" fmla="*/ 80 h 126"/>
              <a:gd name="T60" fmla="*/ 36 w 46"/>
              <a:gd name="T61" fmla="*/ 70 h 126"/>
              <a:gd name="T62" fmla="*/ 34 w 46"/>
              <a:gd name="T63" fmla="*/ 70 h 126"/>
              <a:gd name="T64" fmla="*/ 36 w 46"/>
              <a:gd name="T65" fmla="*/ 72 h 126"/>
              <a:gd name="T66" fmla="*/ 32 w 46"/>
              <a:gd name="T67" fmla="*/ 74 h 126"/>
              <a:gd name="T68" fmla="*/ 30 w 46"/>
              <a:gd name="T69" fmla="*/ 74 h 126"/>
              <a:gd name="T70" fmla="*/ 30 w 46"/>
              <a:gd name="T71" fmla="*/ 66 h 126"/>
              <a:gd name="T72" fmla="*/ 26 w 46"/>
              <a:gd name="T73" fmla="*/ 64 h 126"/>
              <a:gd name="T74" fmla="*/ 26 w 46"/>
              <a:gd name="T75" fmla="*/ 58 h 126"/>
              <a:gd name="T76" fmla="*/ 26 w 46"/>
              <a:gd name="T77" fmla="*/ 54 h 126"/>
              <a:gd name="T78" fmla="*/ 24 w 46"/>
              <a:gd name="T79" fmla="*/ 48 h 126"/>
              <a:gd name="T80" fmla="*/ 22 w 46"/>
              <a:gd name="T81" fmla="*/ 42 h 126"/>
              <a:gd name="T82" fmla="*/ 26 w 46"/>
              <a:gd name="T83" fmla="*/ 32 h 126"/>
              <a:gd name="T84" fmla="*/ 24 w 46"/>
              <a:gd name="T85" fmla="*/ 10 h 126"/>
              <a:gd name="T86" fmla="*/ 22 w 46"/>
              <a:gd name="T87"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26">
                <a:moveTo>
                  <a:pt x="24" y="2"/>
                </a:moveTo>
                <a:lnTo>
                  <a:pt x="22" y="2"/>
                </a:lnTo>
                <a:lnTo>
                  <a:pt x="8" y="0"/>
                </a:lnTo>
                <a:lnTo>
                  <a:pt x="8" y="0"/>
                </a:lnTo>
                <a:lnTo>
                  <a:pt x="10" y="2"/>
                </a:lnTo>
                <a:lnTo>
                  <a:pt x="12" y="6"/>
                </a:lnTo>
                <a:lnTo>
                  <a:pt x="12" y="6"/>
                </a:lnTo>
                <a:lnTo>
                  <a:pt x="14" y="8"/>
                </a:lnTo>
                <a:lnTo>
                  <a:pt x="14" y="12"/>
                </a:lnTo>
                <a:lnTo>
                  <a:pt x="14" y="14"/>
                </a:lnTo>
                <a:lnTo>
                  <a:pt x="14" y="16"/>
                </a:lnTo>
                <a:lnTo>
                  <a:pt x="14" y="16"/>
                </a:lnTo>
                <a:lnTo>
                  <a:pt x="16" y="18"/>
                </a:lnTo>
                <a:lnTo>
                  <a:pt x="14" y="20"/>
                </a:lnTo>
                <a:lnTo>
                  <a:pt x="12" y="24"/>
                </a:lnTo>
                <a:lnTo>
                  <a:pt x="12" y="24"/>
                </a:lnTo>
                <a:lnTo>
                  <a:pt x="8" y="26"/>
                </a:lnTo>
                <a:lnTo>
                  <a:pt x="8" y="28"/>
                </a:lnTo>
                <a:lnTo>
                  <a:pt x="8" y="30"/>
                </a:lnTo>
                <a:lnTo>
                  <a:pt x="8" y="30"/>
                </a:lnTo>
                <a:lnTo>
                  <a:pt x="8" y="34"/>
                </a:lnTo>
                <a:lnTo>
                  <a:pt x="8" y="40"/>
                </a:lnTo>
                <a:lnTo>
                  <a:pt x="8" y="40"/>
                </a:lnTo>
                <a:lnTo>
                  <a:pt x="8" y="42"/>
                </a:lnTo>
                <a:lnTo>
                  <a:pt x="10" y="42"/>
                </a:lnTo>
                <a:lnTo>
                  <a:pt x="10" y="42"/>
                </a:lnTo>
                <a:lnTo>
                  <a:pt x="12" y="44"/>
                </a:lnTo>
                <a:lnTo>
                  <a:pt x="12" y="44"/>
                </a:lnTo>
                <a:lnTo>
                  <a:pt x="12" y="46"/>
                </a:lnTo>
                <a:lnTo>
                  <a:pt x="10" y="48"/>
                </a:lnTo>
                <a:lnTo>
                  <a:pt x="4" y="52"/>
                </a:lnTo>
                <a:lnTo>
                  <a:pt x="4" y="52"/>
                </a:lnTo>
                <a:lnTo>
                  <a:pt x="2" y="54"/>
                </a:lnTo>
                <a:lnTo>
                  <a:pt x="2" y="58"/>
                </a:lnTo>
                <a:lnTo>
                  <a:pt x="2" y="64"/>
                </a:lnTo>
                <a:lnTo>
                  <a:pt x="2" y="64"/>
                </a:lnTo>
                <a:lnTo>
                  <a:pt x="2" y="66"/>
                </a:lnTo>
                <a:lnTo>
                  <a:pt x="2" y="68"/>
                </a:lnTo>
                <a:lnTo>
                  <a:pt x="0" y="72"/>
                </a:lnTo>
                <a:lnTo>
                  <a:pt x="0" y="72"/>
                </a:lnTo>
                <a:lnTo>
                  <a:pt x="2" y="80"/>
                </a:lnTo>
                <a:lnTo>
                  <a:pt x="2" y="80"/>
                </a:lnTo>
                <a:lnTo>
                  <a:pt x="4" y="82"/>
                </a:lnTo>
                <a:lnTo>
                  <a:pt x="8" y="86"/>
                </a:lnTo>
                <a:lnTo>
                  <a:pt x="8" y="86"/>
                </a:lnTo>
                <a:lnTo>
                  <a:pt x="8" y="90"/>
                </a:lnTo>
                <a:lnTo>
                  <a:pt x="10" y="90"/>
                </a:lnTo>
                <a:lnTo>
                  <a:pt x="10" y="90"/>
                </a:lnTo>
                <a:lnTo>
                  <a:pt x="10" y="90"/>
                </a:lnTo>
                <a:lnTo>
                  <a:pt x="20" y="88"/>
                </a:lnTo>
                <a:lnTo>
                  <a:pt x="20" y="88"/>
                </a:lnTo>
                <a:lnTo>
                  <a:pt x="20" y="90"/>
                </a:lnTo>
                <a:lnTo>
                  <a:pt x="22" y="94"/>
                </a:lnTo>
                <a:lnTo>
                  <a:pt x="22" y="94"/>
                </a:lnTo>
                <a:lnTo>
                  <a:pt x="22" y="98"/>
                </a:lnTo>
                <a:lnTo>
                  <a:pt x="20" y="104"/>
                </a:lnTo>
                <a:lnTo>
                  <a:pt x="20" y="104"/>
                </a:lnTo>
                <a:lnTo>
                  <a:pt x="18" y="108"/>
                </a:lnTo>
                <a:lnTo>
                  <a:pt x="20" y="110"/>
                </a:lnTo>
                <a:lnTo>
                  <a:pt x="20" y="110"/>
                </a:lnTo>
                <a:lnTo>
                  <a:pt x="28" y="118"/>
                </a:lnTo>
                <a:lnTo>
                  <a:pt x="28" y="118"/>
                </a:lnTo>
                <a:lnTo>
                  <a:pt x="32" y="120"/>
                </a:lnTo>
                <a:lnTo>
                  <a:pt x="32" y="120"/>
                </a:lnTo>
                <a:lnTo>
                  <a:pt x="32" y="124"/>
                </a:lnTo>
                <a:lnTo>
                  <a:pt x="32" y="126"/>
                </a:lnTo>
                <a:lnTo>
                  <a:pt x="34" y="126"/>
                </a:lnTo>
                <a:lnTo>
                  <a:pt x="34" y="126"/>
                </a:lnTo>
                <a:lnTo>
                  <a:pt x="38" y="124"/>
                </a:lnTo>
                <a:lnTo>
                  <a:pt x="38" y="122"/>
                </a:lnTo>
                <a:lnTo>
                  <a:pt x="38" y="120"/>
                </a:lnTo>
                <a:lnTo>
                  <a:pt x="38" y="120"/>
                </a:lnTo>
                <a:lnTo>
                  <a:pt x="36" y="112"/>
                </a:lnTo>
                <a:lnTo>
                  <a:pt x="36" y="108"/>
                </a:lnTo>
                <a:lnTo>
                  <a:pt x="38" y="106"/>
                </a:lnTo>
                <a:lnTo>
                  <a:pt x="38" y="106"/>
                </a:lnTo>
                <a:lnTo>
                  <a:pt x="42" y="108"/>
                </a:lnTo>
                <a:lnTo>
                  <a:pt x="44" y="106"/>
                </a:lnTo>
                <a:lnTo>
                  <a:pt x="46" y="104"/>
                </a:lnTo>
                <a:lnTo>
                  <a:pt x="46" y="104"/>
                </a:lnTo>
                <a:lnTo>
                  <a:pt x="44" y="100"/>
                </a:lnTo>
                <a:lnTo>
                  <a:pt x="44" y="96"/>
                </a:lnTo>
                <a:lnTo>
                  <a:pt x="44" y="96"/>
                </a:lnTo>
                <a:lnTo>
                  <a:pt x="46" y="90"/>
                </a:lnTo>
                <a:lnTo>
                  <a:pt x="46" y="86"/>
                </a:lnTo>
                <a:lnTo>
                  <a:pt x="44" y="86"/>
                </a:lnTo>
                <a:lnTo>
                  <a:pt x="44" y="86"/>
                </a:lnTo>
                <a:lnTo>
                  <a:pt x="42" y="84"/>
                </a:lnTo>
                <a:lnTo>
                  <a:pt x="40" y="80"/>
                </a:lnTo>
                <a:lnTo>
                  <a:pt x="40" y="80"/>
                </a:lnTo>
                <a:lnTo>
                  <a:pt x="38" y="74"/>
                </a:lnTo>
                <a:lnTo>
                  <a:pt x="36" y="70"/>
                </a:lnTo>
                <a:lnTo>
                  <a:pt x="36" y="70"/>
                </a:lnTo>
                <a:lnTo>
                  <a:pt x="34" y="68"/>
                </a:lnTo>
                <a:lnTo>
                  <a:pt x="34" y="68"/>
                </a:lnTo>
                <a:lnTo>
                  <a:pt x="34" y="70"/>
                </a:lnTo>
                <a:lnTo>
                  <a:pt x="34" y="70"/>
                </a:lnTo>
                <a:lnTo>
                  <a:pt x="36" y="72"/>
                </a:lnTo>
                <a:lnTo>
                  <a:pt x="36" y="72"/>
                </a:lnTo>
                <a:lnTo>
                  <a:pt x="36" y="76"/>
                </a:lnTo>
                <a:lnTo>
                  <a:pt x="36" y="76"/>
                </a:lnTo>
                <a:lnTo>
                  <a:pt x="32" y="74"/>
                </a:lnTo>
                <a:lnTo>
                  <a:pt x="32" y="74"/>
                </a:lnTo>
                <a:lnTo>
                  <a:pt x="30" y="74"/>
                </a:lnTo>
                <a:lnTo>
                  <a:pt x="30" y="74"/>
                </a:lnTo>
                <a:lnTo>
                  <a:pt x="30" y="74"/>
                </a:lnTo>
                <a:lnTo>
                  <a:pt x="30" y="70"/>
                </a:lnTo>
                <a:lnTo>
                  <a:pt x="30" y="66"/>
                </a:lnTo>
                <a:lnTo>
                  <a:pt x="30" y="66"/>
                </a:lnTo>
                <a:lnTo>
                  <a:pt x="26" y="64"/>
                </a:lnTo>
                <a:lnTo>
                  <a:pt x="26" y="64"/>
                </a:lnTo>
                <a:lnTo>
                  <a:pt x="26" y="60"/>
                </a:lnTo>
                <a:lnTo>
                  <a:pt x="26" y="58"/>
                </a:lnTo>
                <a:lnTo>
                  <a:pt x="26" y="58"/>
                </a:lnTo>
                <a:lnTo>
                  <a:pt x="26" y="58"/>
                </a:lnTo>
                <a:lnTo>
                  <a:pt x="28" y="56"/>
                </a:lnTo>
                <a:lnTo>
                  <a:pt x="26" y="54"/>
                </a:lnTo>
                <a:lnTo>
                  <a:pt x="24" y="52"/>
                </a:lnTo>
                <a:lnTo>
                  <a:pt x="24" y="52"/>
                </a:lnTo>
                <a:lnTo>
                  <a:pt x="24" y="48"/>
                </a:lnTo>
                <a:lnTo>
                  <a:pt x="26" y="42"/>
                </a:lnTo>
                <a:lnTo>
                  <a:pt x="26" y="42"/>
                </a:lnTo>
                <a:lnTo>
                  <a:pt x="22" y="42"/>
                </a:lnTo>
                <a:lnTo>
                  <a:pt x="22" y="42"/>
                </a:lnTo>
                <a:lnTo>
                  <a:pt x="22" y="38"/>
                </a:lnTo>
                <a:lnTo>
                  <a:pt x="26" y="32"/>
                </a:lnTo>
                <a:lnTo>
                  <a:pt x="26" y="32"/>
                </a:lnTo>
                <a:lnTo>
                  <a:pt x="26" y="22"/>
                </a:lnTo>
                <a:lnTo>
                  <a:pt x="24" y="10"/>
                </a:lnTo>
                <a:lnTo>
                  <a:pt x="24" y="10"/>
                </a:lnTo>
                <a:lnTo>
                  <a:pt x="24" y="6"/>
                </a:lnTo>
                <a:lnTo>
                  <a:pt x="22" y="2"/>
                </a:lnTo>
                <a:lnTo>
                  <a:pt x="24" y="2"/>
                </a:lnTo>
                <a:lnTo>
                  <a:pt x="2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9" name="Freeform 143">
            <a:extLst>
              <a:ext uri="{FF2B5EF4-FFF2-40B4-BE49-F238E27FC236}">
                <a16:creationId xmlns:a16="http://schemas.microsoft.com/office/drawing/2014/main" id="{E00CB419-F07B-48E0-8389-B4E9AA0CBAFB}"/>
              </a:ext>
            </a:extLst>
          </p:cNvPr>
          <p:cNvSpPr>
            <a:spLocks/>
          </p:cNvSpPr>
          <p:nvPr userDrawn="1"/>
        </p:nvSpPr>
        <p:spPr bwMode="auto">
          <a:xfrm>
            <a:off x="6813403" y="4047868"/>
            <a:ext cx="171058" cy="380949"/>
          </a:xfrm>
          <a:custGeom>
            <a:avLst/>
            <a:gdLst>
              <a:gd name="T0" fmla="*/ 78 w 102"/>
              <a:gd name="T1" fmla="*/ 6 h 222"/>
              <a:gd name="T2" fmla="*/ 72 w 102"/>
              <a:gd name="T3" fmla="*/ 24 h 222"/>
              <a:gd name="T4" fmla="*/ 68 w 102"/>
              <a:gd name="T5" fmla="*/ 26 h 222"/>
              <a:gd name="T6" fmla="*/ 66 w 102"/>
              <a:gd name="T7" fmla="*/ 36 h 222"/>
              <a:gd name="T8" fmla="*/ 66 w 102"/>
              <a:gd name="T9" fmla="*/ 40 h 222"/>
              <a:gd name="T10" fmla="*/ 62 w 102"/>
              <a:gd name="T11" fmla="*/ 46 h 222"/>
              <a:gd name="T12" fmla="*/ 56 w 102"/>
              <a:gd name="T13" fmla="*/ 44 h 222"/>
              <a:gd name="T14" fmla="*/ 54 w 102"/>
              <a:gd name="T15" fmla="*/ 54 h 222"/>
              <a:gd name="T16" fmla="*/ 46 w 102"/>
              <a:gd name="T17" fmla="*/ 56 h 222"/>
              <a:gd name="T18" fmla="*/ 36 w 102"/>
              <a:gd name="T19" fmla="*/ 56 h 222"/>
              <a:gd name="T20" fmla="*/ 34 w 102"/>
              <a:gd name="T21" fmla="*/ 60 h 222"/>
              <a:gd name="T22" fmla="*/ 24 w 102"/>
              <a:gd name="T23" fmla="*/ 64 h 222"/>
              <a:gd name="T24" fmla="*/ 20 w 102"/>
              <a:gd name="T25" fmla="*/ 70 h 222"/>
              <a:gd name="T26" fmla="*/ 16 w 102"/>
              <a:gd name="T27" fmla="*/ 76 h 222"/>
              <a:gd name="T28" fmla="*/ 10 w 102"/>
              <a:gd name="T29" fmla="*/ 82 h 222"/>
              <a:gd name="T30" fmla="*/ 14 w 102"/>
              <a:gd name="T31" fmla="*/ 100 h 222"/>
              <a:gd name="T32" fmla="*/ 18 w 102"/>
              <a:gd name="T33" fmla="*/ 114 h 222"/>
              <a:gd name="T34" fmla="*/ 18 w 102"/>
              <a:gd name="T35" fmla="*/ 124 h 222"/>
              <a:gd name="T36" fmla="*/ 14 w 102"/>
              <a:gd name="T37" fmla="*/ 132 h 222"/>
              <a:gd name="T38" fmla="*/ 8 w 102"/>
              <a:gd name="T39" fmla="*/ 136 h 222"/>
              <a:gd name="T40" fmla="*/ 2 w 102"/>
              <a:gd name="T41" fmla="*/ 150 h 222"/>
              <a:gd name="T42" fmla="*/ 2 w 102"/>
              <a:gd name="T43" fmla="*/ 156 h 222"/>
              <a:gd name="T44" fmla="*/ 4 w 102"/>
              <a:gd name="T45" fmla="*/ 184 h 222"/>
              <a:gd name="T46" fmla="*/ 8 w 102"/>
              <a:gd name="T47" fmla="*/ 188 h 222"/>
              <a:gd name="T48" fmla="*/ 12 w 102"/>
              <a:gd name="T49" fmla="*/ 204 h 222"/>
              <a:gd name="T50" fmla="*/ 20 w 102"/>
              <a:gd name="T51" fmla="*/ 216 h 222"/>
              <a:gd name="T52" fmla="*/ 30 w 102"/>
              <a:gd name="T53" fmla="*/ 222 h 222"/>
              <a:gd name="T54" fmla="*/ 40 w 102"/>
              <a:gd name="T55" fmla="*/ 218 h 222"/>
              <a:gd name="T56" fmla="*/ 52 w 102"/>
              <a:gd name="T57" fmla="*/ 212 h 222"/>
              <a:gd name="T58" fmla="*/ 54 w 102"/>
              <a:gd name="T59" fmla="*/ 208 h 222"/>
              <a:gd name="T60" fmla="*/ 60 w 102"/>
              <a:gd name="T61" fmla="*/ 184 h 222"/>
              <a:gd name="T62" fmla="*/ 68 w 102"/>
              <a:gd name="T63" fmla="*/ 162 h 222"/>
              <a:gd name="T64" fmla="*/ 70 w 102"/>
              <a:gd name="T65" fmla="*/ 156 h 222"/>
              <a:gd name="T66" fmla="*/ 74 w 102"/>
              <a:gd name="T67" fmla="*/ 148 h 222"/>
              <a:gd name="T68" fmla="*/ 76 w 102"/>
              <a:gd name="T69" fmla="*/ 132 h 222"/>
              <a:gd name="T70" fmla="*/ 80 w 102"/>
              <a:gd name="T71" fmla="*/ 118 h 222"/>
              <a:gd name="T72" fmla="*/ 84 w 102"/>
              <a:gd name="T73" fmla="*/ 108 h 222"/>
              <a:gd name="T74" fmla="*/ 88 w 102"/>
              <a:gd name="T75" fmla="*/ 98 h 222"/>
              <a:gd name="T76" fmla="*/ 88 w 102"/>
              <a:gd name="T77" fmla="*/ 82 h 222"/>
              <a:gd name="T78" fmla="*/ 92 w 102"/>
              <a:gd name="T79" fmla="*/ 78 h 222"/>
              <a:gd name="T80" fmla="*/ 94 w 102"/>
              <a:gd name="T81" fmla="*/ 74 h 222"/>
              <a:gd name="T82" fmla="*/ 90 w 102"/>
              <a:gd name="T83" fmla="*/ 64 h 222"/>
              <a:gd name="T84" fmla="*/ 90 w 102"/>
              <a:gd name="T85" fmla="*/ 52 h 222"/>
              <a:gd name="T86" fmla="*/ 98 w 102"/>
              <a:gd name="T87" fmla="*/ 60 h 222"/>
              <a:gd name="T88" fmla="*/ 102 w 102"/>
              <a:gd name="T89" fmla="*/ 40 h 222"/>
              <a:gd name="T90" fmla="*/ 98 w 102"/>
              <a:gd name="T91" fmla="*/ 28 h 222"/>
              <a:gd name="T92" fmla="*/ 96 w 102"/>
              <a:gd name="T93" fmla="*/ 18 h 222"/>
              <a:gd name="T94" fmla="*/ 92 w 102"/>
              <a:gd name="T95" fmla="*/ 8 h 222"/>
              <a:gd name="T96" fmla="*/ 86 w 102"/>
              <a:gd name="T97" fmla="*/ 4 h 222"/>
              <a:gd name="T98" fmla="*/ 84 w 102"/>
              <a:gd name="T99" fmla="*/ 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 h="222">
                <a:moveTo>
                  <a:pt x="82" y="0"/>
                </a:moveTo>
                <a:lnTo>
                  <a:pt x="82" y="0"/>
                </a:lnTo>
                <a:lnTo>
                  <a:pt x="78" y="6"/>
                </a:lnTo>
                <a:lnTo>
                  <a:pt x="78" y="6"/>
                </a:lnTo>
                <a:lnTo>
                  <a:pt x="78" y="16"/>
                </a:lnTo>
                <a:lnTo>
                  <a:pt x="78" y="24"/>
                </a:lnTo>
                <a:lnTo>
                  <a:pt x="78" y="24"/>
                </a:lnTo>
                <a:lnTo>
                  <a:pt x="72" y="24"/>
                </a:lnTo>
                <a:lnTo>
                  <a:pt x="72" y="26"/>
                </a:lnTo>
                <a:lnTo>
                  <a:pt x="72" y="26"/>
                </a:lnTo>
                <a:lnTo>
                  <a:pt x="70" y="28"/>
                </a:lnTo>
                <a:lnTo>
                  <a:pt x="68" y="26"/>
                </a:lnTo>
                <a:lnTo>
                  <a:pt x="68" y="26"/>
                </a:lnTo>
                <a:lnTo>
                  <a:pt x="68" y="36"/>
                </a:lnTo>
                <a:lnTo>
                  <a:pt x="68" y="36"/>
                </a:lnTo>
                <a:lnTo>
                  <a:pt x="66" y="36"/>
                </a:lnTo>
                <a:lnTo>
                  <a:pt x="66" y="36"/>
                </a:lnTo>
                <a:lnTo>
                  <a:pt x="66" y="38"/>
                </a:lnTo>
                <a:lnTo>
                  <a:pt x="66" y="40"/>
                </a:lnTo>
                <a:lnTo>
                  <a:pt x="66" y="40"/>
                </a:lnTo>
                <a:lnTo>
                  <a:pt x="64" y="40"/>
                </a:lnTo>
                <a:lnTo>
                  <a:pt x="64" y="40"/>
                </a:lnTo>
                <a:lnTo>
                  <a:pt x="62" y="46"/>
                </a:lnTo>
                <a:lnTo>
                  <a:pt x="62" y="46"/>
                </a:lnTo>
                <a:lnTo>
                  <a:pt x="58" y="42"/>
                </a:lnTo>
                <a:lnTo>
                  <a:pt x="58" y="42"/>
                </a:lnTo>
                <a:lnTo>
                  <a:pt x="56" y="44"/>
                </a:lnTo>
                <a:lnTo>
                  <a:pt x="56" y="44"/>
                </a:lnTo>
                <a:lnTo>
                  <a:pt x="56" y="50"/>
                </a:lnTo>
                <a:lnTo>
                  <a:pt x="56" y="54"/>
                </a:lnTo>
                <a:lnTo>
                  <a:pt x="56" y="54"/>
                </a:lnTo>
                <a:lnTo>
                  <a:pt x="54" y="54"/>
                </a:lnTo>
                <a:lnTo>
                  <a:pt x="54" y="52"/>
                </a:lnTo>
                <a:lnTo>
                  <a:pt x="54" y="52"/>
                </a:lnTo>
                <a:lnTo>
                  <a:pt x="50" y="54"/>
                </a:lnTo>
                <a:lnTo>
                  <a:pt x="46" y="56"/>
                </a:lnTo>
                <a:lnTo>
                  <a:pt x="44" y="58"/>
                </a:lnTo>
                <a:lnTo>
                  <a:pt x="44" y="58"/>
                </a:lnTo>
                <a:lnTo>
                  <a:pt x="36" y="56"/>
                </a:lnTo>
                <a:lnTo>
                  <a:pt x="36" y="56"/>
                </a:lnTo>
                <a:lnTo>
                  <a:pt x="36" y="58"/>
                </a:lnTo>
                <a:lnTo>
                  <a:pt x="36" y="60"/>
                </a:lnTo>
                <a:lnTo>
                  <a:pt x="36" y="60"/>
                </a:lnTo>
                <a:lnTo>
                  <a:pt x="34" y="60"/>
                </a:lnTo>
                <a:lnTo>
                  <a:pt x="32" y="60"/>
                </a:lnTo>
                <a:lnTo>
                  <a:pt x="30" y="62"/>
                </a:lnTo>
                <a:lnTo>
                  <a:pt x="30" y="62"/>
                </a:lnTo>
                <a:lnTo>
                  <a:pt x="24" y="64"/>
                </a:lnTo>
                <a:lnTo>
                  <a:pt x="24" y="64"/>
                </a:lnTo>
                <a:lnTo>
                  <a:pt x="22" y="68"/>
                </a:lnTo>
                <a:lnTo>
                  <a:pt x="22" y="68"/>
                </a:lnTo>
                <a:lnTo>
                  <a:pt x="20" y="70"/>
                </a:lnTo>
                <a:lnTo>
                  <a:pt x="16" y="72"/>
                </a:lnTo>
                <a:lnTo>
                  <a:pt x="16" y="72"/>
                </a:lnTo>
                <a:lnTo>
                  <a:pt x="16" y="72"/>
                </a:lnTo>
                <a:lnTo>
                  <a:pt x="16" y="76"/>
                </a:lnTo>
                <a:lnTo>
                  <a:pt x="16" y="76"/>
                </a:lnTo>
                <a:lnTo>
                  <a:pt x="14" y="78"/>
                </a:lnTo>
                <a:lnTo>
                  <a:pt x="10" y="82"/>
                </a:lnTo>
                <a:lnTo>
                  <a:pt x="10" y="82"/>
                </a:lnTo>
                <a:lnTo>
                  <a:pt x="10" y="88"/>
                </a:lnTo>
                <a:lnTo>
                  <a:pt x="12" y="92"/>
                </a:lnTo>
                <a:lnTo>
                  <a:pt x="14" y="100"/>
                </a:lnTo>
                <a:lnTo>
                  <a:pt x="14" y="100"/>
                </a:lnTo>
                <a:lnTo>
                  <a:pt x="16" y="106"/>
                </a:lnTo>
                <a:lnTo>
                  <a:pt x="16" y="112"/>
                </a:lnTo>
                <a:lnTo>
                  <a:pt x="16" y="112"/>
                </a:lnTo>
                <a:lnTo>
                  <a:pt x="18" y="114"/>
                </a:lnTo>
                <a:lnTo>
                  <a:pt x="18" y="114"/>
                </a:lnTo>
                <a:lnTo>
                  <a:pt x="18" y="120"/>
                </a:lnTo>
                <a:lnTo>
                  <a:pt x="18" y="124"/>
                </a:lnTo>
                <a:lnTo>
                  <a:pt x="18" y="124"/>
                </a:lnTo>
                <a:lnTo>
                  <a:pt x="16" y="126"/>
                </a:lnTo>
                <a:lnTo>
                  <a:pt x="16" y="126"/>
                </a:lnTo>
                <a:lnTo>
                  <a:pt x="16" y="130"/>
                </a:lnTo>
                <a:lnTo>
                  <a:pt x="14" y="132"/>
                </a:lnTo>
                <a:lnTo>
                  <a:pt x="14" y="132"/>
                </a:lnTo>
                <a:lnTo>
                  <a:pt x="12" y="134"/>
                </a:lnTo>
                <a:lnTo>
                  <a:pt x="8" y="136"/>
                </a:lnTo>
                <a:lnTo>
                  <a:pt x="8" y="136"/>
                </a:lnTo>
                <a:lnTo>
                  <a:pt x="8" y="140"/>
                </a:lnTo>
                <a:lnTo>
                  <a:pt x="8" y="142"/>
                </a:lnTo>
                <a:lnTo>
                  <a:pt x="8" y="144"/>
                </a:lnTo>
                <a:lnTo>
                  <a:pt x="2" y="150"/>
                </a:lnTo>
                <a:lnTo>
                  <a:pt x="2" y="150"/>
                </a:lnTo>
                <a:lnTo>
                  <a:pt x="2" y="152"/>
                </a:lnTo>
                <a:lnTo>
                  <a:pt x="2" y="156"/>
                </a:lnTo>
                <a:lnTo>
                  <a:pt x="2" y="156"/>
                </a:lnTo>
                <a:lnTo>
                  <a:pt x="0" y="160"/>
                </a:lnTo>
                <a:lnTo>
                  <a:pt x="0" y="160"/>
                </a:lnTo>
                <a:lnTo>
                  <a:pt x="0" y="172"/>
                </a:lnTo>
                <a:lnTo>
                  <a:pt x="4" y="184"/>
                </a:lnTo>
                <a:lnTo>
                  <a:pt x="4" y="184"/>
                </a:lnTo>
                <a:lnTo>
                  <a:pt x="8" y="186"/>
                </a:lnTo>
                <a:lnTo>
                  <a:pt x="8" y="186"/>
                </a:lnTo>
                <a:lnTo>
                  <a:pt x="8" y="188"/>
                </a:lnTo>
                <a:lnTo>
                  <a:pt x="6" y="190"/>
                </a:lnTo>
                <a:lnTo>
                  <a:pt x="8" y="192"/>
                </a:lnTo>
                <a:lnTo>
                  <a:pt x="8" y="192"/>
                </a:lnTo>
                <a:lnTo>
                  <a:pt x="12" y="204"/>
                </a:lnTo>
                <a:lnTo>
                  <a:pt x="12" y="210"/>
                </a:lnTo>
                <a:lnTo>
                  <a:pt x="16" y="214"/>
                </a:lnTo>
                <a:lnTo>
                  <a:pt x="16" y="214"/>
                </a:lnTo>
                <a:lnTo>
                  <a:pt x="20" y="216"/>
                </a:lnTo>
                <a:lnTo>
                  <a:pt x="26" y="218"/>
                </a:lnTo>
                <a:lnTo>
                  <a:pt x="26" y="218"/>
                </a:lnTo>
                <a:lnTo>
                  <a:pt x="30" y="222"/>
                </a:lnTo>
                <a:lnTo>
                  <a:pt x="30" y="222"/>
                </a:lnTo>
                <a:lnTo>
                  <a:pt x="34" y="222"/>
                </a:lnTo>
                <a:lnTo>
                  <a:pt x="36" y="222"/>
                </a:lnTo>
                <a:lnTo>
                  <a:pt x="40" y="218"/>
                </a:lnTo>
                <a:lnTo>
                  <a:pt x="40" y="218"/>
                </a:lnTo>
                <a:lnTo>
                  <a:pt x="46" y="216"/>
                </a:lnTo>
                <a:lnTo>
                  <a:pt x="50" y="214"/>
                </a:lnTo>
                <a:lnTo>
                  <a:pt x="52" y="212"/>
                </a:lnTo>
                <a:lnTo>
                  <a:pt x="52" y="212"/>
                </a:lnTo>
                <a:lnTo>
                  <a:pt x="52" y="208"/>
                </a:lnTo>
                <a:lnTo>
                  <a:pt x="52" y="208"/>
                </a:lnTo>
                <a:lnTo>
                  <a:pt x="54" y="208"/>
                </a:lnTo>
                <a:lnTo>
                  <a:pt x="54" y="208"/>
                </a:lnTo>
                <a:lnTo>
                  <a:pt x="58" y="194"/>
                </a:lnTo>
                <a:lnTo>
                  <a:pt x="58" y="194"/>
                </a:lnTo>
                <a:lnTo>
                  <a:pt x="60" y="184"/>
                </a:lnTo>
                <a:lnTo>
                  <a:pt x="60" y="184"/>
                </a:lnTo>
                <a:lnTo>
                  <a:pt x="66" y="176"/>
                </a:lnTo>
                <a:lnTo>
                  <a:pt x="66" y="176"/>
                </a:lnTo>
                <a:lnTo>
                  <a:pt x="66" y="170"/>
                </a:lnTo>
                <a:lnTo>
                  <a:pt x="68" y="162"/>
                </a:lnTo>
                <a:lnTo>
                  <a:pt x="70" y="160"/>
                </a:lnTo>
                <a:lnTo>
                  <a:pt x="70" y="160"/>
                </a:lnTo>
                <a:lnTo>
                  <a:pt x="70" y="156"/>
                </a:lnTo>
                <a:lnTo>
                  <a:pt x="70" y="156"/>
                </a:lnTo>
                <a:lnTo>
                  <a:pt x="70" y="152"/>
                </a:lnTo>
                <a:lnTo>
                  <a:pt x="70" y="152"/>
                </a:lnTo>
                <a:lnTo>
                  <a:pt x="74" y="148"/>
                </a:lnTo>
                <a:lnTo>
                  <a:pt x="74" y="148"/>
                </a:lnTo>
                <a:lnTo>
                  <a:pt x="74" y="142"/>
                </a:lnTo>
                <a:lnTo>
                  <a:pt x="74" y="142"/>
                </a:lnTo>
                <a:lnTo>
                  <a:pt x="76" y="132"/>
                </a:lnTo>
                <a:lnTo>
                  <a:pt x="76" y="132"/>
                </a:lnTo>
                <a:lnTo>
                  <a:pt x="76" y="128"/>
                </a:lnTo>
                <a:lnTo>
                  <a:pt x="76" y="124"/>
                </a:lnTo>
                <a:lnTo>
                  <a:pt x="76" y="124"/>
                </a:lnTo>
                <a:lnTo>
                  <a:pt x="80" y="118"/>
                </a:lnTo>
                <a:lnTo>
                  <a:pt x="80" y="118"/>
                </a:lnTo>
                <a:lnTo>
                  <a:pt x="80" y="112"/>
                </a:lnTo>
                <a:lnTo>
                  <a:pt x="80" y="112"/>
                </a:lnTo>
                <a:lnTo>
                  <a:pt x="84" y="108"/>
                </a:lnTo>
                <a:lnTo>
                  <a:pt x="84" y="108"/>
                </a:lnTo>
                <a:lnTo>
                  <a:pt x="84" y="102"/>
                </a:lnTo>
                <a:lnTo>
                  <a:pt x="84" y="102"/>
                </a:lnTo>
                <a:lnTo>
                  <a:pt x="88" y="98"/>
                </a:lnTo>
                <a:lnTo>
                  <a:pt x="88" y="98"/>
                </a:lnTo>
                <a:lnTo>
                  <a:pt x="88" y="90"/>
                </a:lnTo>
                <a:lnTo>
                  <a:pt x="88" y="86"/>
                </a:lnTo>
                <a:lnTo>
                  <a:pt x="88" y="82"/>
                </a:lnTo>
                <a:lnTo>
                  <a:pt x="88" y="82"/>
                </a:lnTo>
                <a:lnTo>
                  <a:pt x="92" y="80"/>
                </a:lnTo>
                <a:lnTo>
                  <a:pt x="92" y="78"/>
                </a:lnTo>
                <a:lnTo>
                  <a:pt x="92" y="78"/>
                </a:lnTo>
                <a:lnTo>
                  <a:pt x="92" y="78"/>
                </a:lnTo>
                <a:lnTo>
                  <a:pt x="92" y="76"/>
                </a:lnTo>
                <a:lnTo>
                  <a:pt x="92" y="74"/>
                </a:lnTo>
                <a:lnTo>
                  <a:pt x="94" y="74"/>
                </a:lnTo>
                <a:lnTo>
                  <a:pt x="94" y="74"/>
                </a:lnTo>
                <a:lnTo>
                  <a:pt x="94" y="68"/>
                </a:lnTo>
                <a:lnTo>
                  <a:pt x="94" y="68"/>
                </a:lnTo>
                <a:lnTo>
                  <a:pt x="90" y="64"/>
                </a:lnTo>
                <a:lnTo>
                  <a:pt x="90" y="64"/>
                </a:lnTo>
                <a:lnTo>
                  <a:pt x="88" y="52"/>
                </a:lnTo>
                <a:lnTo>
                  <a:pt x="88" y="52"/>
                </a:lnTo>
                <a:lnTo>
                  <a:pt x="90" y="52"/>
                </a:lnTo>
                <a:lnTo>
                  <a:pt x="92" y="52"/>
                </a:lnTo>
                <a:lnTo>
                  <a:pt x="92" y="52"/>
                </a:lnTo>
                <a:lnTo>
                  <a:pt x="96" y="60"/>
                </a:lnTo>
                <a:lnTo>
                  <a:pt x="98" y="60"/>
                </a:lnTo>
                <a:lnTo>
                  <a:pt x="98" y="60"/>
                </a:lnTo>
                <a:lnTo>
                  <a:pt x="100" y="50"/>
                </a:lnTo>
                <a:lnTo>
                  <a:pt x="102" y="46"/>
                </a:lnTo>
                <a:lnTo>
                  <a:pt x="102" y="40"/>
                </a:lnTo>
                <a:lnTo>
                  <a:pt x="102" y="40"/>
                </a:lnTo>
                <a:lnTo>
                  <a:pt x="98" y="34"/>
                </a:lnTo>
                <a:lnTo>
                  <a:pt x="98" y="34"/>
                </a:lnTo>
                <a:lnTo>
                  <a:pt x="98" y="28"/>
                </a:lnTo>
                <a:lnTo>
                  <a:pt x="98" y="28"/>
                </a:lnTo>
                <a:lnTo>
                  <a:pt x="98" y="26"/>
                </a:lnTo>
                <a:lnTo>
                  <a:pt x="98" y="26"/>
                </a:lnTo>
                <a:lnTo>
                  <a:pt x="96" y="18"/>
                </a:lnTo>
                <a:lnTo>
                  <a:pt x="94" y="10"/>
                </a:lnTo>
                <a:lnTo>
                  <a:pt x="94" y="10"/>
                </a:lnTo>
                <a:lnTo>
                  <a:pt x="92" y="8"/>
                </a:lnTo>
                <a:lnTo>
                  <a:pt x="92" y="8"/>
                </a:lnTo>
                <a:lnTo>
                  <a:pt x="88" y="8"/>
                </a:lnTo>
                <a:lnTo>
                  <a:pt x="88" y="8"/>
                </a:lnTo>
                <a:lnTo>
                  <a:pt x="86" y="4"/>
                </a:lnTo>
                <a:lnTo>
                  <a:pt x="86" y="4"/>
                </a:lnTo>
                <a:lnTo>
                  <a:pt x="84" y="4"/>
                </a:lnTo>
                <a:lnTo>
                  <a:pt x="84" y="4"/>
                </a:lnTo>
                <a:lnTo>
                  <a:pt x="84" y="2"/>
                </a:lnTo>
                <a:lnTo>
                  <a:pt x="84" y="2"/>
                </a:lnTo>
                <a:lnTo>
                  <a:pt x="84" y="0"/>
                </a:lnTo>
                <a:lnTo>
                  <a:pt x="8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0" name="Freeform 144">
            <a:extLst>
              <a:ext uri="{FF2B5EF4-FFF2-40B4-BE49-F238E27FC236}">
                <a16:creationId xmlns:a16="http://schemas.microsoft.com/office/drawing/2014/main" id="{7C586CC4-47CF-46D3-995F-37E110F2767E}"/>
              </a:ext>
            </a:extLst>
          </p:cNvPr>
          <p:cNvSpPr>
            <a:spLocks/>
          </p:cNvSpPr>
          <p:nvPr userDrawn="1"/>
        </p:nvSpPr>
        <p:spPr bwMode="auto">
          <a:xfrm>
            <a:off x="6320354" y="2427978"/>
            <a:ext cx="67082" cy="58344"/>
          </a:xfrm>
          <a:custGeom>
            <a:avLst/>
            <a:gdLst>
              <a:gd name="T0" fmla="*/ 4 w 40"/>
              <a:gd name="T1" fmla="*/ 12 h 34"/>
              <a:gd name="T2" fmla="*/ 8 w 40"/>
              <a:gd name="T3" fmla="*/ 8 h 34"/>
              <a:gd name="T4" fmla="*/ 12 w 40"/>
              <a:gd name="T5" fmla="*/ 6 h 34"/>
              <a:gd name="T6" fmla="*/ 14 w 40"/>
              <a:gd name="T7" fmla="*/ 10 h 34"/>
              <a:gd name="T8" fmla="*/ 16 w 40"/>
              <a:gd name="T9" fmla="*/ 4 h 34"/>
              <a:gd name="T10" fmla="*/ 20 w 40"/>
              <a:gd name="T11" fmla="*/ 4 h 34"/>
              <a:gd name="T12" fmla="*/ 24 w 40"/>
              <a:gd name="T13" fmla="*/ 4 h 34"/>
              <a:gd name="T14" fmla="*/ 30 w 40"/>
              <a:gd name="T15" fmla="*/ 2 h 34"/>
              <a:gd name="T16" fmla="*/ 32 w 40"/>
              <a:gd name="T17" fmla="*/ 0 h 34"/>
              <a:gd name="T18" fmla="*/ 32 w 40"/>
              <a:gd name="T19" fmla="*/ 0 h 34"/>
              <a:gd name="T20" fmla="*/ 36 w 40"/>
              <a:gd name="T21" fmla="*/ 4 h 34"/>
              <a:gd name="T22" fmla="*/ 36 w 40"/>
              <a:gd name="T23" fmla="*/ 4 h 34"/>
              <a:gd name="T24" fmla="*/ 36 w 40"/>
              <a:gd name="T25" fmla="*/ 6 h 34"/>
              <a:gd name="T26" fmla="*/ 36 w 40"/>
              <a:gd name="T27" fmla="*/ 8 h 34"/>
              <a:gd name="T28" fmla="*/ 36 w 40"/>
              <a:gd name="T29" fmla="*/ 8 h 34"/>
              <a:gd name="T30" fmla="*/ 36 w 40"/>
              <a:gd name="T31" fmla="*/ 10 h 34"/>
              <a:gd name="T32" fmla="*/ 36 w 40"/>
              <a:gd name="T33" fmla="*/ 10 h 34"/>
              <a:gd name="T34" fmla="*/ 40 w 40"/>
              <a:gd name="T35" fmla="*/ 14 h 34"/>
              <a:gd name="T36" fmla="*/ 38 w 40"/>
              <a:gd name="T37" fmla="*/ 14 h 34"/>
              <a:gd name="T38" fmla="*/ 38 w 40"/>
              <a:gd name="T39" fmla="*/ 20 h 34"/>
              <a:gd name="T40" fmla="*/ 38 w 40"/>
              <a:gd name="T41" fmla="*/ 20 h 34"/>
              <a:gd name="T42" fmla="*/ 38 w 40"/>
              <a:gd name="T43" fmla="*/ 20 h 34"/>
              <a:gd name="T44" fmla="*/ 36 w 40"/>
              <a:gd name="T45" fmla="*/ 24 h 34"/>
              <a:gd name="T46" fmla="*/ 36 w 40"/>
              <a:gd name="T47" fmla="*/ 24 h 34"/>
              <a:gd name="T48" fmla="*/ 36 w 40"/>
              <a:gd name="T49" fmla="*/ 26 h 34"/>
              <a:gd name="T50" fmla="*/ 36 w 40"/>
              <a:gd name="T51" fmla="*/ 26 h 34"/>
              <a:gd name="T52" fmla="*/ 34 w 40"/>
              <a:gd name="T53" fmla="*/ 26 h 34"/>
              <a:gd name="T54" fmla="*/ 34 w 40"/>
              <a:gd name="T55" fmla="*/ 26 h 34"/>
              <a:gd name="T56" fmla="*/ 30 w 40"/>
              <a:gd name="T57" fmla="*/ 26 h 34"/>
              <a:gd name="T58" fmla="*/ 28 w 40"/>
              <a:gd name="T59" fmla="*/ 28 h 34"/>
              <a:gd name="T60" fmla="*/ 26 w 40"/>
              <a:gd name="T61" fmla="*/ 28 h 34"/>
              <a:gd name="T62" fmla="*/ 26 w 40"/>
              <a:gd name="T63" fmla="*/ 28 h 34"/>
              <a:gd name="T64" fmla="*/ 26 w 40"/>
              <a:gd name="T65" fmla="*/ 30 h 34"/>
              <a:gd name="T66" fmla="*/ 24 w 40"/>
              <a:gd name="T67" fmla="*/ 30 h 34"/>
              <a:gd name="T68" fmla="*/ 24 w 40"/>
              <a:gd name="T69" fmla="*/ 30 h 34"/>
              <a:gd name="T70" fmla="*/ 22 w 40"/>
              <a:gd name="T71" fmla="*/ 32 h 34"/>
              <a:gd name="T72" fmla="*/ 22 w 40"/>
              <a:gd name="T73" fmla="*/ 32 h 34"/>
              <a:gd name="T74" fmla="*/ 20 w 40"/>
              <a:gd name="T75" fmla="*/ 34 h 34"/>
              <a:gd name="T76" fmla="*/ 18 w 40"/>
              <a:gd name="T77" fmla="*/ 34 h 34"/>
              <a:gd name="T78" fmla="*/ 18 w 40"/>
              <a:gd name="T79" fmla="*/ 34 h 34"/>
              <a:gd name="T80" fmla="*/ 6 w 40"/>
              <a:gd name="T81" fmla="*/ 34 h 34"/>
              <a:gd name="T82" fmla="*/ 6 w 40"/>
              <a:gd name="T83" fmla="*/ 34 h 34"/>
              <a:gd name="T84" fmla="*/ 4 w 40"/>
              <a:gd name="T85" fmla="*/ 32 h 34"/>
              <a:gd name="T86" fmla="*/ 2 w 40"/>
              <a:gd name="T87" fmla="*/ 28 h 34"/>
              <a:gd name="T88" fmla="*/ 2 w 40"/>
              <a:gd name="T89" fmla="*/ 28 h 34"/>
              <a:gd name="T90" fmla="*/ 0 w 40"/>
              <a:gd name="T91" fmla="*/ 24 h 34"/>
              <a:gd name="T92" fmla="*/ 2 w 40"/>
              <a:gd name="T93" fmla="*/ 22 h 34"/>
              <a:gd name="T94" fmla="*/ 2 w 40"/>
              <a:gd name="T95" fmla="*/ 22 h 34"/>
              <a:gd name="T96" fmla="*/ 2 w 40"/>
              <a:gd name="T97" fmla="*/ 16 h 34"/>
              <a:gd name="T98" fmla="*/ 2 w 40"/>
              <a:gd name="T99" fmla="*/ 14 h 34"/>
              <a:gd name="T100" fmla="*/ 4 w 40"/>
              <a:gd name="T101"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34">
                <a:moveTo>
                  <a:pt x="4" y="12"/>
                </a:moveTo>
                <a:lnTo>
                  <a:pt x="8" y="8"/>
                </a:lnTo>
                <a:lnTo>
                  <a:pt x="12" y="6"/>
                </a:lnTo>
                <a:lnTo>
                  <a:pt x="14" y="10"/>
                </a:lnTo>
                <a:lnTo>
                  <a:pt x="16" y="4"/>
                </a:lnTo>
                <a:lnTo>
                  <a:pt x="20" y="4"/>
                </a:lnTo>
                <a:lnTo>
                  <a:pt x="24" y="4"/>
                </a:lnTo>
                <a:lnTo>
                  <a:pt x="30" y="2"/>
                </a:lnTo>
                <a:lnTo>
                  <a:pt x="32" y="0"/>
                </a:lnTo>
                <a:lnTo>
                  <a:pt x="32" y="0"/>
                </a:lnTo>
                <a:lnTo>
                  <a:pt x="36" y="4"/>
                </a:lnTo>
                <a:lnTo>
                  <a:pt x="36" y="4"/>
                </a:lnTo>
                <a:lnTo>
                  <a:pt x="36" y="6"/>
                </a:lnTo>
                <a:lnTo>
                  <a:pt x="36" y="8"/>
                </a:lnTo>
                <a:lnTo>
                  <a:pt x="36" y="8"/>
                </a:lnTo>
                <a:lnTo>
                  <a:pt x="36" y="10"/>
                </a:lnTo>
                <a:lnTo>
                  <a:pt x="36" y="10"/>
                </a:lnTo>
                <a:lnTo>
                  <a:pt x="40" y="14"/>
                </a:lnTo>
                <a:lnTo>
                  <a:pt x="38" y="14"/>
                </a:lnTo>
                <a:lnTo>
                  <a:pt x="38" y="20"/>
                </a:lnTo>
                <a:lnTo>
                  <a:pt x="38" y="20"/>
                </a:lnTo>
                <a:lnTo>
                  <a:pt x="38" y="20"/>
                </a:lnTo>
                <a:lnTo>
                  <a:pt x="36" y="24"/>
                </a:lnTo>
                <a:lnTo>
                  <a:pt x="36" y="24"/>
                </a:lnTo>
                <a:lnTo>
                  <a:pt x="36" y="26"/>
                </a:lnTo>
                <a:lnTo>
                  <a:pt x="36" y="26"/>
                </a:lnTo>
                <a:lnTo>
                  <a:pt x="34" y="26"/>
                </a:lnTo>
                <a:lnTo>
                  <a:pt x="34" y="26"/>
                </a:lnTo>
                <a:lnTo>
                  <a:pt x="30" y="26"/>
                </a:lnTo>
                <a:lnTo>
                  <a:pt x="28" y="28"/>
                </a:lnTo>
                <a:lnTo>
                  <a:pt x="26" y="28"/>
                </a:lnTo>
                <a:lnTo>
                  <a:pt x="26" y="28"/>
                </a:lnTo>
                <a:lnTo>
                  <a:pt x="26" y="30"/>
                </a:lnTo>
                <a:lnTo>
                  <a:pt x="24" y="30"/>
                </a:lnTo>
                <a:lnTo>
                  <a:pt x="24" y="30"/>
                </a:lnTo>
                <a:lnTo>
                  <a:pt x="22" y="32"/>
                </a:lnTo>
                <a:lnTo>
                  <a:pt x="22" y="32"/>
                </a:lnTo>
                <a:lnTo>
                  <a:pt x="20" y="34"/>
                </a:lnTo>
                <a:lnTo>
                  <a:pt x="18" y="34"/>
                </a:lnTo>
                <a:lnTo>
                  <a:pt x="18" y="34"/>
                </a:lnTo>
                <a:lnTo>
                  <a:pt x="6" y="34"/>
                </a:lnTo>
                <a:lnTo>
                  <a:pt x="6" y="34"/>
                </a:lnTo>
                <a:lnTo>
                  <a:pt x="4" y="32"/>
                </a:lnTo>
                <a:lnTo>
                  <a:pt x="2" y="28"/>
                </a:lnTo>
                <a:lnTo>
                  <a:pt x="2" y="28"/>
                </a:lnTo>
                <a:lnTo>
                  <a:pt x="0" y="24"/>
                </a:lnTo>
                <a:lnTo>
                  <a:pt x="2" y="22"/>
                </a:lnTo>
                <a:lnTo>
                  <a:pt x="2" y="22"/>
                </a:lnTo>
                <a:lnTo>
                  <a:pt x="2" y="16"/>
                </a:lnTo>
                <a:lnTo>
                  <a:pt x="2" y="14"/>
                </a:lnTo>
                <a:lnTo>
                  <a:pt x="4"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1" name="Freeform 145">
            <a:extLst>
              <a:ext uri="{FF2B5EF4-FFF2-40B4-BE49-F238E27FC236}">
                <a16:creationId xmlns:a16="http://schemas.microsoft.com/office/drawing/2014/main" id="{EBDFD35E-B5A7-4319-A6DE-59FE78260C13}"/>
              </a:ext>
            </a:extLst>
          </p:cNvPr>
          <p:cNvSpPr>
            <a:spLocks/>
          </p:cNvSpPr>
          <p:nvPr userDrawn="1"/>
        </p:nvSpPr>
        <p:spPr bwMode="auto">
          <a:xfrm>
            <a:off x="5983271" y="2167147"/>
            <a:ext cx="13417" cy="30888"/>
          </a:xfrm>
          <a:custGeom>
            <a:avLst/>
            <a:gdLst>
              <a:gd name="T0" fmla="*/ 0 w 8"/>
              <a:gd name="T1" fmla="*/ 10 h 18"/>
              <a:gd name="T2" fmla="*/ 0 w 8"/>
              <a:gd name="T3" fmla="*/ 10 h 18"/>
              <a:gd name="T4" fmla="*/ 0 w 8"/>
              <a:gd name="T5" fmla="*/ 10 h 18"/>
              <a:gd name="T6" fmla="*/ 0 w 8"/>
              <a:gd name="T7" fmla="*/ 6 h 18"/>
              <a:gd name="T8" fmla="*/ 0 w 8"/>
              <a:gd name="T9" fmla="*/ 6 h 18"/>
              <a:gd name="T10" fmla="*/ 0 w 8"/>
              <a:gd name="T11" fmla="*/ 2 h 18"/>
              <a:gd name="T12" fmla="*/ 2 w 8"/>
              <a:gd name="T13" fmla="*/ 2 h 18"/>
              <a:gd name="T14" fmla="*/ 4 w 8"/>
              <a:gd name="T15" fmla="*/ 0 h 18"/>
              <a:gd name="T16" fmla="*/ 4 w 8"/>
              <a:gd name="T17" fmla="*/ 0 h 18"/>
              <a:gd name="T18" fmla="*/ 4 w 8"/>
              <a:gd name="T19" fmla="*/ 2 h 18"/>
              <a:gd name="T20" fmla="*/ 6 w 8"/>
              <a:gd name="T21" fmla="*/ 4 h 18"/>
              <a:gd name="T22" fmla="*/ 6 w 8"/>
              <a:gd name="T23" fmla="*/ 4 h 18"/>
              <a:gd name="T24" fmla="*/ 8 w 8"/>
              <a:gd name="T25" fmla="*/ 6 h 18"/>
              <a:gd name="T26" fmla="*/ 8 w 8"/>
              <a:gd name="T27" fmla="*/ 6 h 18"/>
              <a:gd name="T28" fmla="*/ 8 w 8"/>
              <a:gd name="T29" fmla="*/ 10 h 18"/>
              <a:gd name="T30" fmla="*/ 8 w 8"/>
              <a:gd name="T31" fmla="*/ 10 h 18"/>
              <a:gd name="T32" fmla="*/ 6 w 8"/>
              <a:gd name="T33" fmla="*/ 12 h 18"/>
              <a:gd name="T34" fmla="*/ 6 w 8"/>
              <a:gd name="T35" fmla="*/ 16 h 18"/>
              <a:gd name="T36" fmla="*/ 8 w 8"/>
              <a:gd name="T37" fmla="*/ 18 h 18"/>
              <a:gd name="T38" fmla="*/ 8 w 8"/>
              <a:gd name="T39" fmla="*/ 18 h 18"/>
              <a:gd name="T40" fmla="*/ 2 w 8"/>
              <a:gd name="T41" fmla="*/ 16 h 18"/>
              <a:gd name="T42" fmla="*/ 2 w 8"/>
              <a:gd name="T43" fmla="*/ 16 h 18"/>
              <a:gd name="T44" fmla="*/ 0 w 8"/>
              <a:gd name="T45" fmla="*/ 14 h 18"/>
              <a:gd name="T46" fmla="*/ 0 w 8"/>
              <a:gd name="T47" fmla="*/ 12 h 18"/>
              <a:gd name="T48" fmla="*/ 0 w 8"/>
              <a:gd name="T49" fmla="*/ 10 h 18"/>
              <a:gd name="T50" fmla="*/ 0 w 8"/>
              <a:gd name="T51"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18">
                <a:moveTo>
                  <a:pt x="0" y="10"/>
                </a:moveTo>
                <a:lnTo>
                  <a:pt x="0" y="10"/>
                </a:lnTo>
                <a:lnTo>
                  <a:pt x="0" y="10"/>
                </a:lnTo>
                <a:lnTo>
                  <a:pt x="0" y="6"/>
                </a:lnTo>
                <a:lnTo>
                  <a:pt x="0" y="6"/>
                </a:lnTo>
                <a:lnTo>
                  <a:pt x="0" y="2"/>
                </a:lnTo>
                <a:lnTo>
                  <a:pt x="2" y="2"/>
                </a:lnTo>
                <a:lnTo>
                  <a:pt x="4" y="0"/>
                </a:lnTo>
                <a:lnTo>
                  <a:pt x="4" y="0"/>
                </a:lnTo>
                <a:lnTo>
                  <a:pt x="4" y="2"/>
                </a:lnTo>
                <a:lnTo>
                  <a:pt x="6" y="4"/>
                </a:lnTo>
                <a:lnTo>
                  <a:pt x="6" y="4"/>
                </a:lnTo>
                <a:lnTo>
                  <a:pt x="8" y="6"/>
                </a:lnTo>
                <a:lnTo>
                  <a:pt x="8" y="6"/>
                </a:lnTo>
                <a:lnTo>
                  <a:pt x="8" y="10"/>
                </a:lnTo>
                <a:lnTo>
                  <a:pt x="8" y="10"/>
                </a:lnTo>
                <a:lnTo>
                  <a:pt x="6" y="12"/>
                </a:lnTo>
                <a:lnTo>
                  <a:pt x="6" y="16"/>
                </a:lnTo>
                <a:lnTo>
                  <a:pt x="8" y="18"/>
                </a:lnTo>
                <a:lnTo>
                  <a:pt x="8" y="18"/>
                </a:lnTo>
                <a:lnTo>
                  <a:pt x="2" y="16"/>
                </a:lnTo>
                <a:lnTo>
                  <a:pt x="2" y="16"/>
                </a:lnTo>
                <a:lnTo>
                  <a:pt x="0" y="14"/>
                </a:lnTo>
                <a:lnTo>
                  <a:pt x="0" y="12"/>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2" name="Freeform 146">
            <a:extLst>
              <a:ext uri="{FF2B5EF4-FFF2-40B4-BE49-F238E27FC236}">
                <a16:creationId xmlns:a16="http://schemas.microsoft.com/office/drawing/2014/main" id="{D311C5E4-227F-4362-A5D5-0EDCC6073880}"/>
              </a:ext>
            </a:extLst>
          </p:cNvPr>
          <p:cNvSpPr>
            <a:spLocks noEditPoints="1"/>
          </p:cNvSpPr>
          <p:nvPr userDrawn="1"/>
        </p:nvSpPr>
        <p:spPr bwMode="auto">
          <a:xfrm>
            <a:off x="6320354" y="1940637"/>
            <a:ext cx="137517" cy="102959"/>
          </a:xfrm>
          <a:custGeom>
            <a:avLst/>
            <a:gdLst>
              <a:gd name="T0" fmla="*/ 4 w 82"/>
              <a:gd name="T1" fmla="*/ 6 h 60"/>
              <a:gd name="T2" fmla="*/ 6 w 82"/>
              <a:gd name="T3" fmla="*/ 24 h 60"/>
              <a:gd name="T4" fmla="*/ 2 w 82"/>
              <a:gd name="T5" fmla="*/ 28 h 60"/>
              <a:gd name="T6" fmla="*/ 12 w 82"/>
              <a:gd name="T7" fmla="*/ 38 h 60"/>
              <a:gd name="T8" fmla="*/ 22 w 82"/>
              <a:gd name="T9" fmla="*/ 42 h 60"/>
              <a:gd name="T10" fmla="*/ 32 w 82"/>
              <a:gd name="T11" fmla="*/ 54 h 60"/>
              <a:gd name="T12" fmla="*/ 40 w 82"/>
              <a:gd name="T13" fmla="*/ 54 h 60"/>
              <a:gd name="T14" fmla="*/ 50 w 82"/>
              <a:gd name="T15" fmla="*/ 56 h 60"/>
              <a:gd name="T16" fmla="*/ 52 w 82"/>
              <a:gd name="T17" fmla="*/ 60 h 60"/>
              <a:gd name="T18" fmla="*/ 58 w 82"/>
              <a:gd name="T19" fmla="*/ 58 h 60"/>
              <a:gd name="T20" fmla="*/ 66 w 82"/>
              <a:gd name="T21" fmla="*/ 58 h 60"/>
              <a:gd name="T22" fmla="*/ 68 w 82"/>
              <a:gd name="T23" fmla="*/ 56 h 60"/>
              <a:gd name="T24" fmla="*/ 74 w 82"/>
              <a:gd name="T25" fmla="*/ 52 h 60"/>
              <a:gd name="T26" fmla="*/ 74 w 82"/>
              <a:gd name="T27" fmla="*/ 44 h 60"/>
              <a:gd name="T28" fmla="*/ 74 w 82"/>
              <a:gd name="T29" fmla="*/ 38 h 60"/>
              <a:gd name="T30" fmla="*/ 78 w 82"/>
              <a:gd name="T31" fmla="*/ 32 h 60"/>
              <a:gd name="T32" fmla="*/ 82 w 82"/>
              <a:gd name="T33" fmla="*/ 28 h 60"/>
              <a:gd name="T34" fmla="*/ 80 w 82"/>
              <a:gd name="T35" fmla="*/ 24 h 60"/>
              <a:gd name="T36" fmla="*/ 74 w 82"/>
              <a:gd name="T37" fmla="*/ 22 h 60"/>
              <a:gd name="T38" fmla="*/ 68 w 82"/>
              <a:gd name="T39" fmla="*/ 18 h 60"/>
              <a:gd name="T40" fmla="*/ 60 w 82"/>
              <a:gd name="T41" fmla="*/ 16 h 60"/>
              <a:gd name="T42" fmla="*/ 58 w 82"/>
              <a:gd name="T43" fmla="*/ 12 h 60"/>
              <a:gd name="T44" fmla="*/ 56 w 82"/>
              <a:gd name="T45" fmla="*/ 10 h 60"/>
              <a:gd name="T46" fmla="*/ 50 w 82"/>
              <a:gd name="T47" fmla="*/ 10 h 60"/>
              <a:gd name="T48" fmla="*/ 42 w 82"/>
              <a:gd name="T49" fmla="*/ 8 h 60"/>
              <a:gd name="T50" fmla="*/ 30 w 82"/>
              <a:gd name="T51" fmla="*/ 4 h 60"/>
              <a:gd name="T52" fmla="*/ 22 w 82"/>
              <a:gd name="T53" fmla="*/ 2 h 60"/>
              <a:gd name="T54" fmla="*/ 16 w 82"/>
              <a:gd name="T55" fmla="*/ 0 h 60"/>
              <a:gd name="T56" fmla="*/ 4 w 82"/>
              <a:gd name="T57" fmla="*/ 6 h 60"/>
              <a:gd name="T58" fmla="*/ 0 w 82"/>
              <a:gd name="T59" fmla="*/ 20 h 60"/>
              <a:gd name="T60" fmla="*/ 2 w 82"/>
              <a:gd name="T61" fmla="*/ 22 h 60"/>
              <a:gd name="T62" fmla="*/ 2 w 82"/>
              <a:gd name="T63" fmla="*/ 20 h 60"/>
              <a:gd name="T64" fmla="*/ 0 w 82"/>
              <a:gd name="T65" fmla="*/ 2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60">
                <a:moveTo>
                  <a:pt x="4" y="6"/>
                </a:moveTo>
                <a:lnTo>
                  <a:pt x="4" y="6"/>
                </a:lnTo>
                <a:lnTo>
                  <a:pt x="6" y="24"/>
                </a:lnTo>
                <a:lnTo>
                  <a:pt x="6" y="24"/>
                </a:lnTo>
                <a:lnTo>
                  <a:pt x="2" y="28"/>
                </a:lnTo>
                <a:lnTo>
                  <a:pt x="2" y="28"/>
                </a:lnTo>
                <a:lnTo>
                  <a:pt x="12" y="38"/>
                </a:lnTo>
                <a:lnTo>
                  <a:pt x="12" y="38"/>
                </a:lnTo>
                <a:lnTo>
                  <a:pt x="16" y="40"/>
                </a:lnTo>
                <a:lnTo>
                  <a:pt x="22" y="42"/>
                </a:lnTo>
                <a:lnTo>
                  <a:pt x="30" y="42"/>
                </a:lnTo>
                <a:lnTo>
                  <a:pt x="32" y="54"/>
                </a:lnTo>
                <a:lnTo>
                  <a:pt x="32" y="54"/>
                </a:lnTo>
                <a:lnTo>
                  <a:pt x="40" y="54"/>
                </a:lnTo>
                <a:lnTo>
                  <a:pt x="50" y="56"/>
                </a:lnTo>
                <a:lnTo>
                  <a:pt x="50" y="56"/>
                </a:lnTo>
                <a:lnTo>
                  <a:pt x="52" y="58"/>
                </a:lnTo>
                <a:lnTo>
                  <a:pt x="52" y="60"/>
                </a:lnTo>
                <a:lnTo>
                  <a:pt x="52" y="60"/>
                </a:lnTo>
                <a:lnTo>
                  <a:pt x="58" y="58"/>
                </a:lnTo>
                <a:lnTo>
                  <a:pt x="66" y="58"/>
                </a:lnTo>
                <a:lnTo>
                  <a:pt x="66" y="58"/>
                </a:lnTo>
                <a:lnTo>
                  <a:pt x="66" y="58"/>
                </a:lnTo>
                <a:lnTo>
                  <a:pt x="68" y="56"/>
                </a:lnTo>
                <a:lnTo>
                  <a:pt x="68" y="54"/>
                </a:lnTo>
                <a:lnTo>
                  <a:pt x="74" y="52"/>
                </a:lnTo>
                <a:lnTo>
                  <a:pt x="74" y="52"/>
                </a:lnTo>
                <a:lnTo>
                  <a:pt x="74" y="44"/>
                </a:lnTo>
                <a:lnTo>
                  <a:pt x="74" y="44"/>
                </a:lnTo>
                <a:lnTo>
                  <a:pt x="74" y="38"/>
                </a:lnTo>
                <a:lnTo>
                  <a:pt x="78" y="32"/>
                </a:lnTo>
                <a:lnTo>
                  <a:pt x="78" y="32"/>
                </a:lnTo>
                <a:lnTo>
                  <a:pt x="80" y="30"/>
                </a:lnTo>
                <a:lnTo>
                  <a:pt x="82" y="28"/>
                </a:lnTo>
                <a:lnTo>
                  <a:pt x="80" y="24"/>
                </a:lnTo>
                <a:lnTo>
                  <a:pt x="80" y="24"/>
                </a:lnTo>
                <a:lnTo>
                  <a:pt x="74" y="22"/>
                </a:lnTo>
                <a:lnTo>
                  <a:pt x="74" y="22"/>
                </a:lnTo>
                <a:lnTo>
                  <a:pt x="68" y="18"/>
                </a:lnTo>
                <a:lnTo>
                  <a:pt x="68" y="18"/>
                </a:lnTo>
                <a:lnTo>
                  <a:pt x="64" y="16"/>
                </a:lnTo>
                <a:lnTo>
                  <a:pt x="60" y="16"/>
                </a:lnTo>
                <a:lnTo>
                  <a:pt x="60" y="16"/>
                </a:lnTo>
                <a:lnTo>
                  <a:pt x="58" y="12"/>
                </a:lnTo>
                <a:lnTo>
                  <a:pt x="56" y="10"/>
                </a:lnTo>
                <a:lnTo>
                  <a:pt x="56" y="10"/>
                </a:lnTo>
                <a:lnTo>
                  <a:pt x="50" y="10"/>
                </a:lnTo>
                <a:lnTo>
                  <a:pt x="50" y="10"/>
                </a:lnTo>
                <a:lnTo>
                  <a:pt x="46" y="10"/>
                </a:lnTo>
                <a:lnTo>
                  <a:pt x="42" y="8"/>
                </a:lnTo>
                <a:lnTo>
                  <a:pt x="42" y="8"/>
                </a:lnTo>
                <a:lnTo>
                  <a:pt x="30" y="4"/>
                </a:lnTo>
                <a:lnTo>
                  <a:pt x="30" y="4"/>
                </a:lnTo>
                <a:lnTo>
                  <a:pt x="22" y="2"/>
                </a:lnTo>
                <a:lnTo>
                  <a:pt x="16" y="0"/>
                </a:lnTo>
                <a:lnTo>
                  <a:pt x="16" y="0"/>
                </a:lnTo>
                <a:lnTo>
                  <a:pt x="10" y="4"/>
                </a:lnTo>
                <a:lnTo>
                  <a:pt x="4" y="6"/>
                </a:lnTo>
                <a:lnTo>
                  <a:pt x="4" y="6"/>
                </a:lnTo>
                <a:close/>
                <a:moveTo>
                  <a:pt x="0" y="20"/>
                </a:moveTo>
                <a:lnTo>
                  <a:pt x="0" y="22"/>
                </a:lnTo>
                <a:lnTo>
                  <a:pt x="2" y="22"/>
                </a:lnTo>
                <a:lnTo>
                  <a:pt x="2" y="22"/>
                </a:lnTo>
                <a:lnTo>
                  <a:pt x="2" y="20"/>
                </a:lnTo>
                <a:lnTo>
                  <a:pt x="0" y="20"/>
                </a:lnTo>
                <a:lnTo>
                  <a:pt x="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3" name="Freeform 147">
            <a:extLst>
              <a:ext uri="{FF2B5EF4-FFF2-40B4-BE49-F238E27FC236}">
                <a16:creationId xmlns:a16="http://schemas.microsoft.com/office/drawing/2014/main" id="{A47F4967-65B0-4A4D-B8C2-088C7E318A4A}"/>
              </a:ext>
            </a:extLst>
          </p:cNvPr>
          <p:cNvSpPr>
            <a:spLocks/>
          </p:cNvSpPr>
          <p:nvPr userDrawn="1"/>
        </p:nvSpPr>
        <p:spPr bwMode="auto">
          <a:xfrm>
            <a:off x="6080538" y="2263242"/>
            <a:ext cx="6708" cy="13728"/>
          </a:xfrm>
          <a:custGeom>
            <a:avLst/>
            <a:gdLst>
              <a:gd name="T0" fmla="*/ 4 w 4"/>
              <a:gd name="T1" fmla="*/ 8 h 8"/>
              <a:gd name="T2" fmla="*/ 4 w 4"/>
              <a:gd name="T3" fmla="*/ 8 h 8"/>
              <a:gd name="T4" fmla="*/ 2 w 4"/>
              <a:gd name="T5" fmla="*/ 6 h 8"/>
              <a:gd name="T6" fmla="*/ 0 w 4"/>
              <a:gd name="T7" fmla="*/ 4 h 8"/>
              <a:gd name="T8" fmla="*/ 0 w 4"/>
              <a:gd name="T9" fmla="*/ 0 h 8"/>
              <a:gd name="T10" fmla="*/ 0 w 4"/>
              <a:gd name="T11" fmla="*/ 0 h 8"/>
              <a:gd name="T12" fmla="*/ 4 w 4"/>
              <a:gd name="T13" fmla="*/ 0 h 8"/>
              <a:gd name="T14" fmla="*/ 4 w 4"/>
              <a:gd name="T15" fmla="*/ 2 h 8"/>
              <a:gd name="T16" fmla="*/ 4 w 4"/>
              <a:gd name="T17" fmla="*/ 8 h 8"/>
              <a:gd name="T18" fmla="*/ 4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4" y="8"/>
                </a:moveTo>
                <a:lnTo>
                  <a:pt x="4" y="8"/>
                </a:lnTo>
                <a:lnTo>
                  <a:pt x="2" y="6"/>
                </a:lnTo>
                <a:lnTo>
                  <a:pt x="0" y="4"/>
                </a:lnTo>
                <a:lnTo>
                  <a:pt x="0" y="0"/>
                </a:lnTo>
                <a:lnTo>
                  <a:pt x="0" y="0"/>
                </a:lnTo>
                <a:lnTo>
                  <a:pt x="4" y="0"/>
                </a:lnTo>
                <a:lnTo>
                  <a:pt x="4" y="2"/>
                </a:lnTo>
                <a:lnTo>
                  <a:pt x="4" y="8"/>
                </a:lnTo>
                <a:lnTo>
                  <a:pt x="4"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4" name="Freeform 148">
            <a:extLst>
              <a:ext uri="{FF2B5EF4-FFF2-40B4-BE49-F238E27FC236}">
                <a16:creationId xmlns:a16="http://schemas.microsoft.com/office/drawing/2014/main" id="{BAF130DA-4CCF-4BC1-B23D-0E9859B7DF2F}"/>
              </a:ext>
            </a:extLst>
          </p:cNvPr>
          <p:cNvSpPr>
            <a:spLocks/>
          </p:cNvSpPr>
          <p:nvPr userDrawn="1"/>
        </p:nvSpPr>
        <p:spPr bwMode="auto">
          <a:xfrm>
            <a:off x="6040289" y="2712831"/>
            <a:ext cx="380687" cy="408405"/>
          </a:xfrm>
          <a:custGeom>
            <a:avLst/>
            <a:gdLst>
              <a:gd name="T0" fmla="*/ 37 w 227"/>
              <a:gd name="T1" fmla="*/ 8 h 238"/>
              <a:gd name="T2" fmla="*/ 35 w 227"/>
              <a:gd name="T3" fmla="*/ 16 h 238"/>
              <a:gd name="T4" fmla="*/ 28 w 227"/>
              <a:gd name="T5" fmla="*/ 20 h 238"/>
              <a:gd name="T6" fmla="*/ 20 w 227"/>
              <a:gd name="T7" fmla="*/ 22 h 238"/>
              <a:gd name="T8" fmla="*/ 18 w 227"/>
              <a:gd name="T9" fmla="*/ 28 h 238"/>
              <a:gd name="T10" fmla="*/ 20 w 227"/>
              <a:gd name="T11" fmla="*/ 38 h 238"/>
              <a:gd name="T12" fmla="*/ 16 w 227"/>
              <a:gd name="T13" fmla="*/ 42 h 238"/>
              <a:gd name="T14" fmla="*/ 12 w 227"/>
              <a:gd name="T15" fmla="*/ 48 h 238"/>
              <a:gd name="T16" fmla="*/ 6 w 227"/>
              <a:gd name="T17" fmla="*/ 50 h 238"/>
              <a:gd name="T18" fmla="*/ 8 w 227"/>
              <a:gd name="T19" fmla="*/ 54 h 238"/>
              <a:gd name="T20" fmla="*/ 12 w 227"/>
              <a:gd name="T21" fmla="*/ 90 h 238"/>
              <a:gd name="T22" fmla="*/ 8 w 227"/>
              <a:gd name="T23" fmla="*/ 94 h 238"/>
              <a:gd name="T24" fmla="*/ 8 w 227"/>
              <a:gd name="T25" fmla="*/ 96 h 238"/>
              <a:gd name="T26" fmla="*/ 8 w 227"/>
              <a:gd name="T27" fmla="*/ 100 h 238"/>
              <a:gd name="T28" fmla="*/ 8 w 227"/>
              <a:gd name="T29" fmla="*/ 116 h 238"/>
              <a:gd name="T30" fmla="*/ 0 w 227"/>
              <a:gd name="T31" fmla="*/ 124 h 238"/>
              <a:gd name="T32" fmla="*/ 4 w 227"/>
              <a:gd name="T33" fmla="*/ 130 h 238"/>
              <a:gd name="T34" fmla="*/ 10 w 227"/>
              <a:gd name="T35" fmla="*/ 140 h 238"/>
              <a:gd name="T36" fmla="*/ 12 w 227"/>
              <a:gd name="T37" fmla="*/ 148 h 238"/>
              <a:gd name="T38" fmla="*/ 18 w 227"/>
              <a:gd name="T39" fmla="*/ 156 h 238"/>
              <a:gd name="T40" fmla="*/ 28 w 227"/>
              <a:gd name="T41" fmla="*/ 158 h 238"/>
              <a:gd name="T42" fmla="*/ 35 w 227"/>
              <a:gd name="T43" fmla="*/ 164 h 238"/>
              <a:gd name="T44" fmla="*/ 39 w 227"/>
              <a:gd name="T45" fmla="*/ 166 h 238"/>
              <a:gd name="T46" fmla="*/ 75 w 227"/>
              <a:gd name="T47" fmla="*/ 186 h 238"/>
              <a:gd name="T48" fmla="*/ 215 w 227"/>
              <a:gd name="T49" fmla="*/ 238 h 238"/>
              <a:gd name="T50" fmla="*/ 227 w 227"/>
              <a:gd name="T51" fmla="*/ 194 h 238"/>
              <a:gd name="T52" fmla="*/ 223 w 227"/>
              <a:gd name="T53" fmla="*/ 68 h 238"/>
              <a:gd name="T54" fmla="*/ 221 w 227"/>
              <a:gd name="T55" fmla="*/ 60 h 238"/>
              <a:gd name="T56" fmla="*/ 223 w 227"/>
              <a:gd name="T57" fmla="*/ 50 h 238"/>
              <a:gd name="T58" fmla="*/ 225 w 227"/>
              <a:gd name="T59" fmla="*/ 44 h 238"/>
              <a:gd name="T60" fmla="*/ 221 w 227"/>
              <a:gd name="T61" fmla="*/ 32 h 238"/>
              <a:gd name="T62" fmla="*/ 215 w 227"/>
              <a:gd name="T63" fmla="*/ 26 h 238"/>
              <a:gd name="T64" fmla="*/ 215 w 227"/>
              <a:gd name="T65" fmla="*/ 24 h 238"/>
              <a:gd name="T66" fmla="*/ 201 w 227"/>
              <a:gd name="T67" fmla="*/ 24 h 238"/>
              <a:gd name="T68" fmla="*/ 201 w 227"/>
              <a:gd name="T69" fmla="*/ 18 h 238"/>
              <a:gd name="T70" fmla="*/ 197 w 227"/>
              <a:gd name="T71" fmla="*/ 16 h 238"/>
              <a:gd name="T72" fmla="*/ 191 w 227"/>
              <a:gd name="T73" fmla="*/ 14 h 238"/>
              <a:gd name="T74" fmla="*/ 181 w 227"/>
              <a:gd name="T75" fmla="*/ 10 h 238"/>
              <a:gd name="T76" fmla="*/ 175 w 227"/>
              <a:gd name="T77" fmla="*/ 10 h 238"/>
              <a:gd name="T78" fmla="*/ 167 w 227"/>
              <a:gd name="T79" fmla="*/ 16 h 238"/>
              <a:gd name="T80" fmla="*/ 163 w 227"/>
              <a:gd name="T81" fmla="*/ 16 h 238"/>
              <a:gd name="T82" fmla="*/ 159 w 227"/>
              <a:gd name="T83" fmla="*/ 24 h 238"/>
              <a:gd name="T84" fmla="*/ 159 w 227"/>
              <a:gd name="T85" fmla="*/ 32 h 238"/>
              <a:gd name="T86" fmla="*/ 153 w 227"/>
              <a:gd name="T87" fmla="*/ 48 h 238"/>
              <a:gd name="T88" fmla="*/ 151 w 227"/>
              <a:gd name="T89" fmla="*/ 52 h 238"/>
              <a:gd name="T90" fmla="*/ 121 w 227"/>
              <a:gd name="T91" fmla="*/ 44 h 238"/>
              <a:gd name="T92" fmla="*/ 117 w 227"/>
              <a:gd name="T93" fmla="*/ 44 h 238"/>
              <a:gd name="T94" fmla="*/ 109 w 227"/>
              <a:gd name="T95" fmla="*/ 42 h 238"/>
              <a:gd name="T96" fmla="*/ 103 w 227"/>
              <a:gd name="T97" fmla="*/ 40 h 238"/>
              <a:gd name="T98" fmla="*/ 91 w 227"/>
              <a:gd name="T99" fmla="*/ 28 h 238"/>
              <a:gd name="T100" fmla="*/ 91 w 227"/>
              <a:gd name="T101" fmla="*/ 24 h 238"/>
              <a:gd name="T102" fmla="*/ 87 w 227"/>
              <a:gd name="T103" fmla="*/ 22 h 238"/>
              <a:gd name="T104" fmla="*/ 81 w 227"/>
              <a:gd name="T105" fmla="*/ 18 h 238"/>
              <a:gd name="T106" fmla="*/ 77 w 227"/>
              <a:gd name="T107" fmla="*/ 16 h 238"/>
              <a:gd name="T108" fmla="*/ 67 w 227"/>
              <a:gd name="T109" fmla="*/ 12 h 238"/>
              <a:gd name="T110" fmla="*/ 67 w 227"/>
              <a:gd name="T111" fmla="*/ 12 h 238"/>
              <a:gd name="T112" fmla="*/ 53 w 227"/>
              <a:gd name="T113" fmla="*/ 12 h 238"/>
              <a:gd name="T114" fmla="*/ 49 w 227"/>
              <a:gd name="T115" fmla="*/ 8 h 238"/>
              <a:gd name="T116" fmla="*/ 43 w 227"/>
              <a:gd name="T117" fmla="*/ 6 h 238"/>
              <a:gd name="T118" fmla="*/ 41 w 227"/>
              <a:gd name="T11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238">
                <a:moveTo>
                  <a:pt x="41" y="0"/>
                </a:moveTo>
                <a:lnTo>
                  <a:pt x="37" y="8"/>
                </a:lnTo>
                <a:lnTo>
                  <a:pt x="37" y="8"/>
                </a:lnTo>
                <a:lnTo>
                  <a:pt x="37" y="10"/>
                </a:lnTo>
                <a:lnTo>
                  <a:pt x="37" y="12"/>
                </a:lnTo>
                <a:lnTo>
                  <a:pt x="35" y="16"/>
                </a:lnTo>
                <a:lnTo>
                  <a:pt x="35" y="16"/>
                </a:lnTo>
                <a:lnTo>
                  <a:pt x="30" y="20"/>
                </a:lnTo>
                <a:lnTo>
                  <a:pt x="28" y="20"/>
                </a:lnTo>
                <a:lnTo>
                  <a:pt x="24" y="22"/>
                </a:lnTo>
                <a:lnTo>
                  <a:pt x="24" y="22"/>
                </a:lnTo>
                <a:lnTo>
                  <a:pt x="20" y="22"/>
                </a:lnTo>
                <a:lnTo>
                  <a:pt x="20" y="24"/>
                </a:lnTo>
                <a:lnTo>
                  <a:pt x="20" y="24"/>
                </a:lnTo>
                <a:lnTo>
                  <a:pt x="18" y="28"/>
                </a:lnTo>
                <a:lnTo>
                  <a:pt x="20" y="36"/>
                </a:lnTo>
                <a:lnTo>
                  <a:pt x="20" y="36"/>
                </a:lnTo>
                <a:lnTo>
                  <a:pt x="20" y="38"/>
                </a:lnTo>
                <a:lnTo>
                  <a:pt x="18" y="40"/>
                </a:lnTo>
                <a:lnTo>
                  <a:pt x="16" y="42"/>
                </a:lnTo>
                <a:lnTo>
                  <a:pt x="16" y="42"/>
                </a:lnTo>
                <a:lnTo>
                  <a:pt x="16" y="46"/>
                </a:lnTo>
                <a:lnTo>
                  <a:pt x="14" y="46"/>
                </a:lnTo>
                <a:lnTo>
                  <a:pt x="12" y="48"/>
                </a:lnTo>
                <a:lnTo>
                  <a:pt x="12" y="48"/>
                </a:lnTo>
                <a:lnTo>
                  <a:pt x="10" y="48"/>
                </a:lnTo>
                <a:lnTo>
                  <a:pt x="6" y="50"/>
                </a:lnTo>
                <a:lnTo>
                  <a:pt x="6" y="50"/>
                </a:lnTo>
                <a:lnTo>
                  <a:pt x="6" y="52"/>
                </a:lnTo>
                <a:lnTo>
                  <a:pt x="8" y="54"/>
                </a:lnTo>
                <a:lnTo>
                  <a:pt x="8" y="56"/>
                </a:lnTo>
                <a:lnTo>
                  <a:pt x="8" y="84"/>
                </a:lnTo>
                <a:lnTo>
                  <a:pt x="12" y="90"/>
                </a:lnTo>
                <a:lnTo>
                  <a:pt x="12" y="90"/>
                </a:lnTo>
                <a:lnTo>
                  <a:pt x="10" y="92"/>
                </a:lnTo>
                <a:lnTo>
                  <a:pt x="8" y="94"/>
                </a:lnTo>
                <a:lnTo>
                  <a:pt x="8" y="94"/>
                </a:lnTo>
                <a:lnTo>
                  <a:pt x="8" y="94"/>
                </a:lnTo>
                <a:lnTo>
                  <a:pt x="8" y="96"/>
                </a:lnTo>
                <a:lnTo>
                  <a:pt x="10" y="96"/>
                </a:lnTo>
                <a:lnTo>
                  <a:pt x="8" y="100"/>
                </a:lnTo>
                <a:lnTo>
                  <a:pt x="8" y="100"/>
                </a:lnTo>
                <a:lnTo>
                  <a:pt x="10" y="106"/>
                </a:lnTo>
                <a:lnTo>
                  <a:pt x="8" y="116"/>
                </a:lnTo>
                <a:lnTo>
                  <a:pt x="8" y="116"/>
                </a:lnTo>
                <a:lnTo>
                  <a:pt x="6" y="120"/>
                </a:lnTo>
                <a:lnTo>
                  <a:pt x="4" y="122"/>
                </a:lnTo>
                <a:lnTo>
                  <a:pt x="0" y="124"/>
                </a:lnTo>
                <a:lnTo>
                  <a:pt x="0" y="124"/>
                </a:lnTo>
                <a:lnTo>
                  <a:pt x="4" y="130"/>
                </a:lnTo>
                <a:lnTo>
                  <a:pt x="4" y="130"/>
                </a:lnTo>
                <a:lnTo>
                  <a:pt x="6" y="134"/>
                </a:lnTo>
                <a:lnTo>
                  <a:pt x="10" y="140"/>
                </a:lnTo>
                <a:lnTo>
                  <a:pt x="10" y="140"/>
                </a:lnTo>
                <a:lnTo>
                  <a:pt x="12" y="144"/>
                </a:lnTo>
                <a:lnTo>
                  <a:pt x="12" y="148"/>
                </a:lnTo>
                <a:lnTo>
                  <a:pt x="12" y="148"/>
                </a:lnTo>
                <a:lnTo>
                  <a:pt x="14" y="154"/>
                </a:lnTo>
                <a:lnTo>
                  <a:pt x="16" y="156"/>
                </a:lnTo>
                <a:lnTo>
                  <a:pt x="18" y="156"/>
                </a:lnTo>
                <a:lnTo>
                  <a:pt x="18" y="156"/>
                </a:lnTo>
                <a:lnTo>
                  <a:pt x="28" y="158"/>
                </a:lnTo>
                <a:lnTo>
                  <a:pt x="28" y="158"/>
                </a:lnTo>
                <a:lnTo>
                  <a:pt x="30" y="162"/>
                </a:lnTo>
                <a:lnTo>
                  <a:pt x="32" y="164"/>
                </a:lnTo>
                <a:lnTo>
                  <a:pt x="35" y="164"/>
                </a:lnTo>
                <a:lnTo>
                  <a:pt x="35" y="164"/>
                </a:lnTo>
                <a:lnTo>
                  <a:pt x="37" y="164"/>
                </a:lnTo>
                <a:lnTo>
                  <a:pt x="39" y="166"/>
                </a:lnTo>
                <a:lnTo>
                  <a:pt x="43" y="170"/>
                </a:lnTo>
                <a:lnTo>
                  <a:pt x="75" y="188"/>
                </a:lnTo>
                <a:lnTo>
                  <a:pt x="75" y="186"/>
                </a:lnTo>
                <a:lnTo>
                  <a:pt x="85" y="178"/>
                </a:lnTo>
                <a:lnTo>
                  <a:pt x="99" y="168"/>
                </a:lnTo>
                <a:lnTo>
                  <a:pt x="215" y="238"/>
                </a:lnTo>
                <a:lnTo>
                  <a:pt x="215" y="226"/>
                </a:lnTo>
                <a:lnTo>
                  <a:pt x="227" y="226"/>
                </a:lnTo>
                <a:lnTo>
                  <a:pt x="227" y="194"/>
                </a:lnTo>
                <a:lnTo>
                  <a:pt x="227" y="74"/>
                </a:lnTo>
                <a:lnTo>
                  <a:pt x="227" y="74"/>
                </a:lnTo>
                <a:lnTo>
                  <a:pt x="223" y="68"/>
                </a:lnTo>
                <a:lnTo>
                  <a:pt x="223" y="68"/>
                </a:lnTo>
                <a:lnTo>
                  <a:pt x="221" y="66"/>
                </a:lnTo>
                <a:lnTo>
                  <a:pt x="221" y="60"/>
                </a:lnTo>
                <a:lnTo>
                  <a:pt x="221" y="60"/>
                </a:lnTo>
                <a:lnTo>
                  <a:pt x="221" y="54"/>
                </a:lnTo>
                <a:lnTo>
                  <a:pt x="223" y="50"/>
                </a:lnTo>
                <a:lnTo>
                  <a:pt x="223" y="50"/>
                </a:lnTo>
                <a:lnTo>
                  <a:pt x="225" y="48"/>
                </a:lnTo>
                <a:lnTo>
                  <a:pt x="225" y="44"/>
                </a:lnTo>
                <a:lnTo>
                  <a:pt x="221" y="38"/>
                </a:lnTo>
                <a:lnTo>
                  <a:pt x="221" y="38"/>
                </a:lnTo>
                <a:lnTo>
                  <a:pt x="221" y="32"/>
                </a:lnTo>
                <a:lnTo>
                  <a:pt x="221" y="28"/>
                </a:lnTo>
                <a:lnTo>
                  <a:pt x="221" y="28"/>
                </a:lnTo>
                <a:lnTo>
                  <a:pt x="215" y="26"/>
                </a:lnTo>
                <a:lnTo>
                  <a:pt x="215" y="26"/>
                </a:lnTo>
                <a:lnTo>
                  <a:pt x="215" y="24"/>
                </a:lnTo>
                <a:lnTo>
                  <a:pt x="215" y="24"/>
                </a:lnTo>
                <a:lnTo>
                  <a:pt x="207" y="22"/>
                </a:lnTo>
                <a:lnTo>
                  <a:pt x="201" y="24"/>
                </a:lnTo>
                <a:lnTo>
                  <a:pt x="201" y="24"/>
                </a:lnTo>
                <a:lnTo>
                  <a:pt x="201" y="20"/>
                </a:lnTo>
                <a:lnTo>
                  <a:pt x="201" y="18"/>
                </a:lnTo>
                <a:lnTo>
                  <a:pt x="201" y="18"/>
                </a:lnTo>
                <a:lnTo>
                  <a:pt x="197" y="18"/>
                </a:lnTo>
                <a:lnTo>
                  <a:pt x="197" y="18"/>
                </a:lnTo>
                <a:lnTo>
                  <a:pt x="197" y="16"/>
                </a:lnTo>
                <a:lnTo>
                  <a:pt x="197" y="14"/>
                </a:lnTo>
                <a:lnTo>
                  <a:pt x="197" y="14"/>
                </a:lnTo>
                <a:lnTo>
                  <a:pt x="191" y="14"/>
                </a:lnTo>
                <a:lnTo>
                  <a:pt x="191" y="14"/>
                </a:lnTo>
                <a:lnTo>
                  <a:pt x="181" y="10"/>
                </a:lnTo>
                <a:lnTo>
                  <a:pt x="181" y="10"/>
                </a:lnTo>
                <a:lnTo>
                  <a:pt x="177" y="8"/>
                </a:lnTo>
                <a:lnTo>
                  <a:pt x="175" y="10"/>
                </a:lnTo>
                <a:lnTo>
                  <a:pt x="175" y="10"/>
                </a:lnTo>
                <a:lnTo>
                  <a:pt x="171" y="12"/>
                </a:lnTo>
                <a:lnTo>
                  <a:pt x="171" y="12"/>
                </a:lnTo>
                <a:lnTo>
                  <a:pt x="167" y="16"/>
                </a:lnTo>
                <a:lnTo>
                  <a:pt x="167" y="16"/>
                </a:lnTo>
                <a:lnTo>
                  <a:pt x="163" y="16"/>
                </a:lnTo>
                <a:lnTo>
                  <a:pt x="163" y="16"/>
                </a:lnTo>
                <a:lnTo>
                  <a:pt x="161" y="20"/>
                </a:lnTo>
                <a:lnTo>
                  <a:pt x="159" y="24"/>
                </a:lnTo>
                <a:lnTo>
                  <a:pt x="159" y="24"/>
                </a:lnTo>
                <a:lnTo>
                  <a:pt x="155" y="26"/>
                </a:lnTo>
                <a:lnTo>
                  <a:pt x="155" y="26"/>
                </a:lnTo>
                <a:lnTo>
                  <a:pt x="159" y="32"/>
                </a:lnTo>
                <a:lnTo>
                  <a:pt x="161" y="38"/>
                </a:lnTo>
                <a:lnTo>
                  <a:pt x="159" y="42"/>
                </a:lnTo>
                <a:lnTo>
                  <a:pt x="153" y="48"/>
                </a:lnTo>
                <a:lnTo>
                  <a:pt x="153" y="48"/>
                </a:lnTo>
                <a:lnTo>
                  <a:pt x="151" y="52"/>
                </a:lnTo>
                <a:lnTo>
                  <a:pt x="151" y="52"/>
                </a:lnTo>
                <a:lnTo>
                  <a:pt x="143" y="52"/>
                </a:lnTo>
                <a:lnTo>
                  <a:pt x="135" y="50"/>
                </a:lnTo>
                <a:lnTo>
                  <a:pt x="121" y="44"/>
                </a:lnTo>
                <a:lnTo>
                  <a:pt x="121" y="44"/>
                </a:lnTo>
                <a:lnTo>
                  <a:pt x="117" y="44"/>
                </a:lnTo>
                <a:lnTo>
                  <a:pt x="117" y="44"/>
                </a:lnTo>
                <a:lnTo>
                  <a:pt x="115" y="42"/>
                </a:lnTo>
                <a:lnTo>
                  <a:pt x="115" y="42"/>
                </a:lnTo>
                <a:lnTo>
                  <a:pt x="109" y="42"/>
                </a:lnTo>
                <a:lnTo>
                  <a:pt x="107" y="42"/>
                </a:lnTo>
                <a:lnTo>
                  <a:pt x="103" y="40"/>
                </a:lnTo>
                <a:lnTo>
                  <a:pt x="103" y="40"/>
                </a:lnTo>
                <a:lnTo>
                  <a:pt x="97" y="34"/>
                </a:lnTo>
                <a:lnTo>
                  <a:pt x="91" y="28"/>
                </a:lnTo>
                <a:lnTo>
                  <a:pt x="91" y="28"/>
                </a:lnTo>
                <a:lnTo>
                  <a:pt x="91" y="28"/>
                </a:lnTo>
                <a:lnTo>
                  <a:pt x="91" y="28"/>
                </a:lnTo>
                <a:lnTo>
                  <a:pt x="91" y="24"/>
                </a:lnTo>
                <a:lnTo>
                  <a:pt x="89" y="22"/>
                </a:lnTo>
                <a:lnTo>
                  <a:pt x="89" y="22"/>
                </a:lnTo>
                <a:lnTo>
                  <a:pt x="87" y="22"/>
                </a:lnTo>
                <a:lnTo>
                  <a:pt x="85" y="20"/>
                </a:lnTo>
                <a:lnTo>
                  <a:pt x="85" y="20"/>
                </a:lnTo>
                <a:lnTo>
                  <a:pt x="81" y="18"/>
                </a:lnTo>
                <a:lnTo>
                  <a:pt x="81" y="18"/>
                </a:lnTo>
                <a:lnTo>
                  <a:pt x="77" y="18"/>
                </a:lnTo>
                <a:lnTo>
                  <a:pt x="77" y="16"/>
                </a:lnTo>
                <a:lnTo>
                  <a:pt x="77" y="16"/>
                </a:lnTo>
                <a:lnTo>
                  <a:pt x="71" y="14"/>
                </a:lnTo>
                <a:lnTo>
                  <a:pt x="67" y="12"/>
                </a:lnTo>
                <a:lnTo>
                  <a:pt x="67" y="12"/>
                </a:lnTo>
                <a:lnTo>
                  <a:pt x="67" y="12"/>
                </a:lnTo>
                <a:lnTo>
                  <a:pt x="67" y="12"/>
                </a:lnTo>
                <a:lnTo>
                  <a:pt x="59" y="12"/>
                </a:lnTo>
                <a:lnTo>
                  <a:pt x="57" y="12"/>
                </a:lnTo>
                <a:lnTo>
                  <a:pt x="53" y="12"/>
                </a:lnTo>
                <a:lnTo>
                  <a:pt x="53" y="12"/>
                </a:lnTo>
                <a:lnTo>
                  <a:pt x="51" y="10"/>
                </a:lnTo>
                <a:lnTo>
                  <a:pt x="49" y="8"/>
                </a:lnTo>
                <a:lnTo>
                  <a:pt x="49" y="8"/>
                </a:lnTo>
                <a:lnTo>
                  <a:pt x="43" y="6"/>
                </a:lnTo>
                <a:lnTo>
                  <a:pt x="43" y="6"/>
                </a:lnTo>
                <a:lnTo>
                  <a:pt x="41" y="4"/>
                </a:lnTo>
                <a:lnTo>
                  <a:pt x="41" y="2"/>
                </a:lnTo>
                <a:lnTo>
                  <a:pt x="41"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5" name="Freeform 149">
            <a:extLst>
              <a:ext uri="{FF2B5EF4-FFF2-40B4-BE49-F238E27FC236}">
                <a16:creationId xmlns:a16="http://schemas.microsoft.com/office/drawing/2014/main" id="{248FDC68-6892-4ECD-A4E7-7B8756AD75A9}"/>
              </a:ext>
            </a:extLst>
          </p:cNvPr>
          <p:cNvSpPr>
            <a:spLocks/>
          </p:cNvSpPr>
          <p:nvPr userDrawn="1"/>
        </p:nvSpPr>
        <p:spPr bwMode="auto">
          <a:xfrm>
            <a:off x="5590844" y="3433546"/>
            <a:ext cx="97269" cy="130415"/>
          </a:xfrm>
          <a:custGeom>
            <a:avLst/>
            <a:gdLst>
              <a:gd name="T0" fmla="*/ 2 w 58"/>
              <a:gd name="T1" fmla="*/ 34 h 76"/>
              <a:gd name="T2" fmla="*/ 6 w 58"/>
              <a:gd name="T3" fmla="*/ 40 h 76"/>
              <a:gd name="T4" fmla="*/ 10 w 58"/>
              <a:gd name="T5" fmla="*/ 46 h 76"/>
              <a:gd name="T6" fmla="*/ 12 w 58"/>
              <a:gd name="T7" fmla="*/ 46 h 76"/>
              <a:gd name="T8" fmla="*/ 12 w 58"/>
              <a:gd name="T9" fmla="*/ 48 h 76"/>
              <a:gd name="T10" fmla="*/ 24 w 58"/>
              <a:gd name="T11" fmla="*/ 56 h 76"/>
              <a:gd name="T12" fmla="*/ 26 w 58"/>
              <a:gd name="T13" fmla="*/ 62 h 76"/>
              <a:gd name="T14" fmla="*/ 38 w 58"/>
              <a:gd name="T15" fmla="*/ 72 h 76"/>
              <a:gd name="T16" fmla="*/ 44 w 58"/>
              <a:gd name="T17" fmla="*/ 72 h 76"/>
              <a:gd name="T18" fmla="*/ 48 w 58"/>
              <a:gd name="T19" fmla="*/ 76 h 76"/>
              <a:gd name="T20" fmla="*/ 52 w 58"/>
              <a:gd name="T21" fmla="*/ 76 h 76"/>
              <a:gd name="T22" fmla="*/ 54 w 58"/>
              <a:gd name="T23" fmla="*/ 72 h 76"/>
              <a:gd name="T24" fmla="*/ 52 w 58"/>
              <a:gd name="T25" fmla="*/ 68 h 76"/>
              <a:gd name="T26" fmla="*/ 54 w 58"/>
              <a:gd name="T27" fmla="*/ 66 h 76"/>
              <a:gd name="T28" fmla="*/ 56 w 58"/>
              <a:gd name="T29" fmla="*/ 62 h 76"/>
              <a:gd name="T30" fmla="*/ 56 w 58"/>
              <a:gd name="T31" fmla="*/ 58 h 76"/>
              <a:gd name="T32" fmla="*/ 56 w 58"/>
              <a:gd name="T33" fmla="*/ 54 h 76"/>
              <a:gd name="T34" fmla="*/ 54 w 58"/>
              <a:gd name="T35" fmla="*/ 54 h 76"/>
              <a:gd name="T36" fmla="*/ 50 w 58"/>
              <a:gd name="T37" fmla="*/ 46 h 76"/>
              <a:gd name="T38" fmla="*/ 48 w 58"/>
              <a:gd name="T39" fmla="*/ 42 h 76"/>
              <a:gd name="T40" fmla="*/ 46 w 58"/>
              <a:gd name="T41" fmla="*/ 38 h 76"/>
              <a:gd name="T42" fmla="*/ 36 w 58"/>
              <a:gd name="T43" fmla="*/ 36 h 76"/>
              <a:gd name="T44" fmla="*/ 44 w 58"/>
              <a:gd name="T45" fmla="*/ 26 h 76"/>
              <a:gd name="T46" fmla="*/ 44 w 58"/>
              <a:gd name="T47" fmla="*/ 22 h 76"/>
              <a:gd name="T48" fmla="*/ 42 w 58"/>
              <a:gd name="T49" fmla="*/ 16 h 76"/>
              <a:gd name="T50" fmla="*/ 42 w 58"/>
              <a:gd name="T51" fmla="*/ 14 h 76"/>
              <a:gd name="T52" fmla="*/ 38 w 58"/>
              <a:gd name="T53" fmla="*/ 14 h 76"/>
              <a:gd name="T54" fmla="*/ 32 w 58"/>
              <a:gd name="T55" fmla="*/ 22 h 76"/>
              <a:gd name="T56" fmla="*/ 28 w 58"/>
              <a:gd name="T57" fmla="*/ 20 h 76"/>
              <a:gd name="T58" fmla="*/ 32 w 58"/>
              <a:gd name="T59" fmla="*/ 12 h 76"/>
              <a:gd name="T60" fmla="*/ 32 w 58"/>
              <a:gd name="T61" fmla="*/ 10 h 76"/>
              <a:gd name="T62" fmla="*/ 28 w 58"/>
              <a:gd name="T63" fmla="*/ 0 h 76"/>
              <a:gd name="T64" fmla="*/ 26 w 58"/>
              <a:gd name="T65" fmla="*/ 6 h 76"/>
              <a:gd name="T66" fmla="*/ 22 w 58"/>
              <a:gd name="T67" fmla="*/ 6 h 76"/>
              <a:gd name="T68" fmla="*/ 20 w 58"/>
              <a:gd name="T69" fmla="*/ 6 h 76"/>
              <a:gd name="T70" fmla="*/ 18 w 58"/>
              <a:gd name="T71" fmla="*/ 10 h 76"/>
              <a:gd name="T72" fmla="*/ 16 w 58"/>
              <a:gd name="T73" fmla="*/ 10 h 76"/>
              <a:gd name="T74" fmla="*/ 12 w 58"/>
              <a:gd name="T75" fmla="*/ 16 h 76"/>
              <a:gd name="T76" fmla="*/ 4 w 58"/>
              <a:gd name="T77" fmla="*/ 24 h 76"/>
              <a:gd name="T78" fmla="*/ 2 w 58"/>
              <a:gd name="T79" fmla="*/ 30 h 76"/>
              <a:gd name="T80" fmla="*/ 2 w 58"/>
              <a:gd name="T8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76">
                <a:moveTo>
                  <a:pt x="2" y="34"/>
                </a:moveTo>
                <a:lnTo>
                  <a:pt x="2" y="34"/>
                </a:lnTo>
                <a:lnTo>
                  <a:pt x="4" y="38"/>
                </a:lnTo>
                <a:lnTo>
                  <a:pt x="6" y="40"/>
                </a:lnTo>
                <a:lnTo>
                  <a:pt x="10" y="46"/>
                </a:lnTo>
                <a:lnTo>
                  <a:pt x="10" y="46"/>
                </a:lnTo>
                <a:lnTo>
                  <a:pt x="12" y="46"/>
                </a:lnTo>
                <a:lnTo>
                  <a:pt x="12" y="46"/>
                </a:lnTo>
                <a:lnTo>
                  <a:pt x="12" y="48"/>
                </a:lnTo>
                <a:lnTo>
                  <a:pt x="12" y="48"/>
                </a:lnTo>
                <a:lnTo>
                  <a:pt x="22" y="56"/>
                </a:lnTo>
                <a:lnTo>
                  <a:pt x="24" y="56"/>
                </a:lnTo>
                <a:lnTo>
                  <a:pt x="24" y="56"/>
                </a:lnTo>
                <a:lnTo>
                  <a:pt x="26" y="62"/>
                </a:lnTo>
                <a:lnTo>
                  <a:pt x="38" y="72"/>
                </a:lnTo>
                <a:lnTo>
                  <a:pt x="38" y="72"/>
                </a:lnTo>
                <a:lnTo>
                  <a:pt x="44" y="72"/>
                </a:lnTo>
                <a:lnTo>
                  <a:pt x="44" y="72"/>
                </a:lnTo>
                <a:lnTo>
                  <a:pt x="46" y="74"/>
                </a:lnTo>
                <a:lnTo>
                  <a:pt x="48" y="76"/>
                </a:lnTo>
                <a:lnTo>
                  <a:pt x="48" y="76"/>
                </a:lnTo>
                <a:lnTo>
                  <a:pt x="52" y="76"/>
                </a:lnTo>
                <a:lnTo>
                  <a:pt x="52" y="76"/>
                </a:lnTo>
                <a:lnTo>
                  <a:pt x="54" y="72"/>
                </a:lnTo>
                <a:lnTo>
                  <a:pt x="54" y="72"/>
                </a:lnTo>
                <a:lnTo>
                  <a:pt x="52" y="68"/>
                </a:lnTo>
                <a:lnTo>
                  <a:pt x="52" y="68"/>
                </a:lnTo>
                <a:lnTo>
                  <a:pt x="54" y="66"/>
                </a:lnTo>
                <a:lnTo>
                  <a:pt x="54" y="66"/>
                </a:lnTo>
                <a:lnTo>
                  <a:pt x="56" y="62"/>
                </a:lnTo>
                <a:lnTo>
                  <a:pt x="56" y="58"/>
                </a:lnTo>
                <a:lnTo>
                  <a:pt x="56" y="58"/>
                </a:lnTo>
                <a:lnTo>
                  <a:pt x="58" y="54"/>
                </a:lnTo>
                <a:lnTo>
                  <a:pt x="56" y="54"/>
                </a:lnTo>
                <a:lnTo>
                  <a:pt x="56" y="54"/>
                </a:lnTo>
                <a:lnTo>
                  <a:pt x="54" y="54"/>
                </a:lnTo>
                <a:lnTo>
                  <a:pt x="52" y="52"/>
                </a:lnTo>
                <a:lnTo>
                  <a:pt x="50" y="46"/>
                </a:lnTo>
                <a:lnTo>
                  <a:pt x="50" y="46"/>
                </a:lnTo>
                <a:lnTo>
                  <a:pt x="48" y="42"/>
                </a:lnTo>
                <a:lnTo>
                  <a:pt x="46" y="38"/>
                </a:lnTo>
                <a:lnTo>
                  <a:pt x="46" y="38"/>
                </a:lnTo>
                <a:lnTo>
                  <a:pt x="36" y="36"/>
                </a:lnTo>
                <a:lnTo>
                  <a:pt x="36" y="36"/>
                </a:lnTo>
                <a:lnTo>
                  <a:pt x="40" y="32"/>
                </a:lnTo>
                <a:lnTo>
                  <a:pt x="44" y="26"/>
                </a:lnTo>
                <a:lnTo>
                  <a:pt x="44" y="26"/>
                </a:lnTo>
                <a:lnTo>
                  <a:pt x="44" y="22"/>
                </a:lnTo>
                <a:lnTo>
                  <a:pt x="44" y="20"/>
                </a:lnTo>
                <a:lnTo>
                  <a:pt x="42" y="16"/>
                </a:lnTo>
                <a:lnTo>
                  <a:pt x="42" y="16"/>
                </a:lnTo>
                <a:lnTo>
                  <a:pt x="42" y="14"/>
                </a:lnTo>
                <a:lnTo>
                  <a:pt x="40" y="12"/>
                </a:lnTo>
                <a:lnTo>
                  <a:pt x="38" y="14"/>
                </a:lnTo>
                <a:lnTo>
                  <a:pt x="38" y="14"/>
                </a:lnTo>
                <a:lnTo>
                  <a:pt x="32" y="22"/>
                </a:lnTo>
                <a:lnTo>
                  <a:pt x="28" y="20"/>
                </a:lnTo>
                <a:lnTo>
                  <a:pt x="28" y="20"/>
                </a:lnTo>
                <a:lnTo>
                  <a:pt x="30" y="16"/>
                </a:lnTo>
                <a:lnTo>
                  <a:pt x="32" y="12"/>
                </a:lnTo>
                <a:lnTo>
                  <a:pt x="32" y="10"/>
                </a:lnTo>
                <a:lnTo>
                  <a:pt x="32" y="10"/>
                </a:lnTo>
                <a:lnTo>
                  <a:pt x="28" y="0"/>
                </a:lnTo>
                <a:lnTo>
                  <a:pt x="28" y="0"/>
                </a:lnTo>
                <a:lnTo>
                  <a:pt x="28" y="2"/>
                </a:lnTo>
                <a:lnTo>
                  <a:pt x="26" y="6"/>
                </a:lnTo>
                <a:lnTo>
                  <a:pt x="26" y="6"/>
                </a:lnTo>
                <a:lnTo>
                  <a:pt x="22" y="6"/>
                </a:lnTo>
                <a:lnTo>
                  <a:pt x="20" y="6"/>
                </a:lnTo>
                <a:lnTo>
                  <a:pt x="20" y="6"/>
                </a:lnTo>
                <a:lnTo>
                  <a:pt x="18" y="8"/>
                </a:lnTo>
                <a:lnTo>
                  <a:pt x="18" y="10"/>
                </a:lnTo>
                <a:lnTo>
                  <a:pt x="16" y="10"/>
                </a:lnTo>
                <a:lnTo>
                  <a:pt x="16" y="10"/>
                </a:lnTo>
                <a:lnTo>
                  <a:pt x="12" y="12"/>
                </a:lnTo>
                <a:lnTo>
                  <a:pt x="12" y="16"/>
                </a:lnTo>
                <a:lnTo>
                  <a:pt x="12" y="16"/>
                </a:lnTo>
                <a:lnTo>
                  <a:pt x="4" y="24"/>
                </a:lnTo>
                <a:lnTo>
                  <a:pt x="4" y="24"/>
                </a:lnTo>
                <a:lnTo>
                  <a:pt x="2" y="30"/>
                </a:lnTo>
                <a:lnTo>
                  <a:pt x="0" y="34"/>
                </a:lnTo>
                <a:lnTo>
                  <a:pt x="2"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6" name="Freeform 150">
            <a:extLst>
              <a:ext uri="{FF2B5EF4-FFF2-40B4-BE49-F238E27FC236}">
                <a16:creationId xmlns:a16="http://schemas.microsoft.com/office/drawing/2014/main" id="{F52E6DAF-5F3B-4310-8899-2C112B41AD42}"/>
              </a:ext>
            </a:extLst>
          </p:cNvPr>
          <p:cNvSpPr>
            <a:spLocks/>
          </p:cNvSpPr>
          <p:nvPr userDrawn="1"/>
        </p:nvSpPr>
        <p:spPr bwMode="auto">
          <a:xfrm>
            <a:off x="6645699" y="2675079"/>
            <a:ext cx="43603" cy="65208"/>
          </a:xfrm>
          <a:custGeom>
            <a:avLst/>
            <a:gdLst>
              <a:gd name="T0" fmla="*/ 14 w 26"/>
              <a:gd name="T1" fmla="*/ 4 h 38"/>
              <a:gd name="T2" fmla="*/ 14 w 26"/>
              <a:gd name="T3" fmla="*/ 4 h 38"/>
              <a:gd name="T4" fmla="*/ 12 w 26"/>
              <a:gd name="T5" fmla="*/ 6 h 38"/>
              <a:gd name="T6" fmla="*/ 10 w 26"/>
              <a:gd name="T7" fmla="*/ 12 h 38"/>
              <a:gd name="T8" fmla="*/ 10 w 26"/>
              <a:gd name="T9" fmla="*/ 12 h 38"/>
              <a:gd name="T10" fmla="*/ 8 w 26"/>
              <a:gd name="T11" fmla="*/ 12 h 38"/>
              <a:gd name="T12" fmla="*/ 6 w 26"/>
              <a:gd name="T13" fmla="*/ 14 h 38"/>
              <a:gd name="T14" fmla="*/ 6 w 26"/>
              <a:gd name="T15" fmla="*/ 14 h 38"/>
              <a:gd name="T16" fmla="*/ 6 w 26"/>
              <a:gd name="T17" fmla="*/ 20 h 38"/>
              <a:gd name="T18" fmla="*/ 6 w 26"/>
              <a:gd name="T19" fmla="*/ 28 h 38"/>
              <a:gd name="T20" fmla="*/ 6 w 26"/>
              <a:gd name="T21" fmla="*/ 28 h 38"/>
              <a:gd name="T22" fmla="*/ 2 w 26"/>
              <a:gd name="T23" fmla="*/ 30 h 38"/>
              <a:gd name="T24" fmla="*/ 0 w 26"/>
              <a:gd name="T25" fmla="*/ 34 h 38"/>
              <a:gd name="T26" fmla="*/ 0 w 26"/>
              <a:gd name="T27" fmla="*/ 34 h 38"/>
              <a:gd name="T28" fmla="*/ 0 w 26"/>
              <a:gd name="T29" fmla="*/ 38 h 38"/>
              <a:gd name="T30" fmla="*/ 0 w 26"/>
              <a:gd name="T31" fmla="*/ 38 h 38"/>
              <a:gd name="T32" fmla="*/ 4 w 26"/>
              <a:gd name="T33" fmla="*/ 38 h 38"/>
              <a:gd name="T34" fmla="*/ 6 w 26"/>
              <a:gd name="T35" fmla="*/ 38 h 38"/>
              <a:gd name="T36" fmla="*/ 6 w 26"/>
              <a:gd name="T37" fmla="*/ 38 h 38"/>
              <a:gd name="T38" fmla="*/ 6 w 26"/>
              <a:gd name="T39" fmla="*/ 38 h 38"/>
              <a:gd name="T40" fmla="*/ 8 w 26"/>
              <a:gd name="T41" fmla="*/ 36 h 38"/>
              <a:gd name="T42" fmla="*/ 8 w 26"/>
              <a:gd name="T43" fmla="*/ 36 h 38"/>
              <a:gd name="T44" fmla="*/ 10 w 26"/>
              <a:gd name="T45" fmla="*/ 36 h 38"/>
              <a:gd name="T46" fmla="*/ 10 w 26"/>
              <a:gd name="T47" fmla="*/ 36 h 38"/>
              <a:gd name="T48" fmla="*/ 14 w 26"/>
              <a:gd name="T49" fmla="*/ 30 h 38"/>
              <a:gd name="T50" fmla="*/ 14 w 26"/>
              <a:gd name="T51" fmla="*/ 30 h 38"/>
              <a:gd name="T52" fmla="*/ 16 w 26"/>
              <a:gd name="T53" fmla="*/ 28 h 38"/>
              <a:gd name="T54" fmla="*/ 18 w 26"/>
              <a:gd name="T55" fmla="*/ 26 h 38"/>
              <a:gd name="T56" fmla="*/ 18 w 26"/>
              <a:gd name="T57" fmla="*/ 26 h 38"/>
              <a:gd name="T58" fmla="*/ 18 w 26"/>
              <a:gd name="T59" fmla="*/ 22 h 38"/>
              <a:gd name="T60" fmla="*/ 20 w 26"/>
              <a:gd name="T61" fmla="*/ 18 h 38"/>
              <a:gd name="T62" fmla="*/ 20 w 26"/>
              <a:gd name="T63" fmla="*/ 18 h 38"/>
              <a:gd name="T64" fmla="*/ 24 w 26"/>
              <a:gd name="T65" fmla="*/ 12 h 38"/>
              <a:gd name="T66" fmla="*/ 26 w 26"/>
              <a:gd name="T67" fmla="*/ 4 h 38"/>
              <a:gd name="T68" fmla="*/ 26 w 26"/>
              <a:gd name="T69" fmla="*/ 4 h 38"/>
              <a:gd name="T70" fmla="*/ 26 w 26"/>
              <a:gd name="T71" fmla="*/ 2 h 38"/>
              <a:gd name="T72" fmla="*/ 24 w 26"/>
              <a:gd name="T73" fmla="*/ 2 h 38"/>
              <a:gd name="T74" fmla="*/ 20 w 26"/>
              <a:gd name="T75" fmla="*/ 0 h 38"/>
              <a:gd name="T76" fmla="*/ 20 w 26"/>
              <a:gd name="T77" fmla="*/ 0 h 38"/>
              <a:gd name="T78" fmla="*/ 18 w 26"/>
              <a:gd name="T79" fmla="*/ 0 h 38"/>
              <a:gd name="T80" fmla="*/ 16 w 26"/>
              <a:gd name="T81" fmla="*/ 0 h 38"/>
              <a:gd name="T82" fmla="*/ 14 w 26"/>
              <a:gd name="T83" fmla="*/ 4 h 38"/>
              <a:gd name="T84" fmla="*/ 14 w 26"/>
              <a:gd name="T8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8">
                <a:moveTo>
                  <a:pt x="14" y="4"/>
                </a:moveTo>
                <a:lnTo>
                  <a:pt x="14" y="4"/>
                </a:lnTo>
                <a:lnTo>
                  <a:pt x="12" y="6"/>
                </a:lnTo>
                <a:lnTo>
                  <a:pt x="10" y="12"/>
                </a:lnTo>
                <a:lnTo>
                  <a:pt x="10" y="12"/>
                </a:lnTo>
                <a:lnTo>
                  <a:pt x="8" y="12"/>
                </a:lnTo>
                <a:lnTo>
                  <a:pt x="6" y="14"/>
                </a:lnTo>
                <a:lnTo>
                  <a:pt x="6" y="14"/>
                </a:lnTo>
                <a:lnTo>
                  <a:pt x="6" y="20"/>
                </a:lnTo>
                <a:lnTo>
                  <a:pt x="6" y="28"/>
                </a:lnTo>
                <a:lnTo>
                  <a:pt x="6" y="28"/>
                </a:lnTo>
                <a:lnTo>
                  <a:pt x="2" y="30"/>
                </a:lnTo>
                <a:lnTo>
                  <a:pt x="0" y="34"/>
                </a:lnTo>
                <a:lnTo>
                  <a:pt x="0" y="34"/>
                </a:lnTo>
                <a:lnTo>
                  <a:pt x="0" y="38"/>
                </a:lnTo>
                <a:lnTo>
                  <a:pt x="0" y="38"/>
                </a:lnTo>
                <a:lnTo>
                  <a:pt x="4" y="38"/>
                </a:lnTo>
                <a:lnTo>
                  <a:pt x="6" y="38"/>
                </a:lnTo>
                <a:lnTo>
                  <a:pt x="6" y="38"/>
                </a:lnTo>
                <a:lnTo>
                  <a:pt x="6" y="38"/>
                </a:lnTo>
                <a:lnTo>
                  <a:pt x="8" y="36"/>
                </a:lnTo>
                <a:lnTo>
                  <a:pt x="8" y="36"/>
                </a:lnTo>
                <a:lnTo>
                  <a:pt x="10" y="36"/>
                </a:lnTo>
                <a:lnTo>
                  <a:pt x="10" y="36"/>
                </a:lnTo>
                <a:lnTo>
                  <a:pt x="14" y="30"/>
                </a:lnTo>
                <a:lnTo>
                  <a:pt x="14" y="30"/>
                </a:lnTo>
                <a:lnTo>
                  <a:pt x="16" y="28"/>
                </a:lnTo>
                <a:lnTo>
                  <a:pt x="18" y="26"/>
                </a:lnTo>
                <a:lnTo>
                  <a:pt x="18" y="26"/>
                </a:lnTo>
                <a:lnTo>
                  <a:pt x="18" y="22"/>
                </a:lnTo>
                <a:lnTo>
                  <a:pt x="20" y="18"/>
                </a:lnTo>
                <a:lnTo>
                  <a:pt x="20" y="18"/>
                </a:lnTo>
                <a:lnTo>
                  <a:pt x="24" y="12"/>
                </a:lnTo>
                <a:lnTo>
                  <a:pt x="26" y="4"/>
                </a:lnTo>
                <a:lnTo>
                  <a:pt x="26" y="4"/>
                </a:lnTo>
                <a:lnTo>
                  <a:pt x="26" y="2"/>
                </a:lnTo>
                <a:lnTo>
                  <a:pt x="24" y="2"/>
                </a:lnTo>
                <a:lnTo>
                  <a:pt x="20" y="0"/>
                </a:lnTo>
                <a:lnTo>
                  <a:pt x="20" y="0"/>
                </a:lnTo>
                <a:lnTo>
                  <a:pt x="18" y="0"/>
                </a:lnTo>
                <a:lnTo>
                  <a:pt x="16" y="0"/>
                </a:lnTo>
                <a:lnTo>
                  <a:pt x="14" y="4"/>
                </a:lnTo>
                <a:lnTo>
                  <a:pt x="14"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7" name="Freeform 151">
            <a:extLst>
              <a:ext uri="{FF2B5EF4-FFF2-40B4-BE49-F238E27FC236}">
                <a16:creationId xmlns:a16="http://schemas.microsoft.com/office/drawing/2014/main" id="{B808225E-0431-417C-80D7-D35B1284C0A8}"/>
              </a:ext>
            </a:extLst>
          </p:cNvPr>
          <p:cNvSpPr>
            <a:spLocks/>
          </p:cNvSpPr>
          <p:nvPr userDrawn="1"/>
        </p:nvSpPr>
        <p:spPr bwMode="auto">
          <a:xfrm>
            <a:off x="6327063" y="1878862"/>
            <a:ext cx="174412" cy="102959"/>
          </a:xfrm>
          <a:custGeom>
            <a:avLst/>
            <a:gdLst>
              <a:gd name="T0" fmla="*/ 0 w 104"/>
              <a:gd name="T1" fmla="*/ 42 h 60"/>
              <a:gd name="T2" fmla="*/ 12 w 104"/>
              <a:gd name="T3" fmla="*/ 36 h 60"/>
              <a:gd name="T4" fmla="*/ 18 w 104"/>
              <a:gd name="T5" fmla="*/ 38 h 60"/>
              <a:gd name="T6" fmla="*/ 26 w 104"/>
              <a:gd name="T7" fmla="*/ 40 h 60"/>
              <a:gd name="T8" fmla="*/ 38 w 104"/>
              <a:gd name="T9" fmla="*/ 44 h 60"/>
              <a:gd name="T10" fmla="*/ 46 w 104"/>
              <a:gd name="T11" fmla="*/ 46 h 60"/>
              <a:gd name="T12" fmla="*/ 52 w 104"/>
              <a:gd name="T13" fmla="*/ 46 h 60"/>
              <a:gd name="T14" fmla="*/ 54 w 104"/>
              <a:gd name="T15" fmla="*/ 48 h 60"/>
              <a:gd name="T16" fmla="*/ 56 w 104"/>
              <a:gd name="T17" fmla="*/ 52 h 60"/>
              <a:gd name="T18" fmla="*/ 64 w 104"/>
              <a:gd name="T19" fmla="*/ 54 h 60"/>
              <a:gd name="T20" fmla="*/ 70 w 104"/>
              <a:gd name="T21" fmla="*/ 58 h 60"/>
              <a:gd name="T22" fmla="*/ 76 w 104"/>
              <a:gd name="T23" fmla="*/ 60 h 60"/>
              <a:gd name="T24" fmla="*/ 80 w 104"/>
              <a:gd name="T25" fmla="*/ 56 h 60"/>
              <a:gd name="T26" fmla="*/ 86 w 104"/>
              <a:gd name="T27" fmla="*/ 54 h 60"/>
              <a:gd name="T28" fmla="*/ 90 w 104"/>
              <a:gd name="T29" fmla="*/ 56 h 60"/>
              <a:gd name="T30" fmla="*/ 92 w 104"/>
              <a:gd name="T31" fmla="*/ 50 h 60"/>
              <a:gd name="T32" fmla="*/ 94 w 104"/>
              <a:gd name="T33" fmla="*/ 42 h 60"/>
              <a:gd name="T34" fmla="*/ 98 w 104"/>
              <a:gd name="T35" fmla="*/ 44 h 60"/>
              <a:gd name="T36" fmla="*/ 104 w 104"/>
              <a:gd name="T37" fmla="*/ 42 h 60"/>
              <a:gd name="T38" fmla="*/ 102 w 104"/>
              <a:gd name="T39" fmla="*/ 36 h 60"/>
              <a:gd name="T40" fmla="*/ 98 w 104"/>
              <a:gd name="T41" fmla="*/ 30 h 60"/>
              <a:gd name="T42" fmla="*/ 94 w 104"/>
              <a:gd name="T43" fmla="*/ 28 h 60"/>
              <a:gd name="T44" fmla="*/ 92 w 104"/>
              <a:gd name="T45" fmla="*/ 26 h 60"/>
              <a:gd name="T46" fmla="*/ 92 w 104"/>
              <a:gd name="T47" fmla="*/ 16 h 60"/>
              <a:gd name="T48" fmla="*/ 88 w 104"/>
              <a:gd name="T49" fmla="*/ 18 h 60"/>
              <a:gd name="T50" fmla="*/ 84 w 104"/>
              <a:gd name="T51" fmla="*/ 16 h 60"/>
              <a:gd name="T52" fmla="*/ 84 w 104"/>
              <a:gd name="T53" fmla="*/ 12 h 60"/>
              <a:gd name="T54" fmla="*/ 76 w 104"/>
              <a:gd name="T55" fmla="*/ 14 h 60"/>
              <a:gd name="T56" fmla="*/ 68 w 104"/>
              <a:gd name="T57" fmla="*/ 6 h 60"/>
              <a:gd name="T58" fmla="*/ 68 w 104"/>
              <a:gd name="T59" fmla="*/ 4 h 60"/>
              <a:gd name="T60" fmla="*/ 64 w 104"/>
              <a:gd name="T61" fmla="*/ 2 h 60"/>
              <a:gd name="T62" fmla="*/ 54 w 104"/>
              <a:gd name="T63" fmla="*/ 0 h 60"/>
              <a:gd name="T64" fmla="*/ 54 w 104"/>
              <a:gd name="T65" fmla="*/ 2 h 60"/>
              <a:gd name="T66" fmla="*/ 50 w 104"/>
              <a:gd name="T67" fmla="*/ 2 h 60"/>
              <a:gd name="T68" fmla="*/ 42 w 104"/>
              <a:gd name="T69" fmla="*/ 2 h 60"/>
              <a:gd name="T70" fmla="*/ 44 w 104"/>
              <a:gd name="T71" fmla="*/ 20 h 60"/>
              <a:gd name="T72" fmla="*/ 36 w 104"/>
              <a:gd name="T73" fmla="*/ 24 h 60"/>
              <a:gd name="T74" fmla="*/ 28 w 104"/>
              <a:gd name="T75" fmla="*/ 22 h 60"/>
              <a:gd name="T76" fmla="*/ 28 w 104"/>
              <a:gd name="T77" fmla="*/ 22 h 60"/>
              <a:gd name="T78" fmla="*/ 20 w 104"/>
              <a:gd name="T79" fmla="*/ 14 h 60"/>
              <a:gd name="T80" fmla="*/ 20 w 104"/>
              <a:gd name="T81" fmla="*/ 12 h 60"/>
              <a:gd name="T82" fmla="*/ 22 w 104"/>
              <a:gd name="T83" fmla="*/ 12 h 60"/>
              <a:gd name="T84" fmla="*/ 22 w 104"/>
              <a:gd name="T85" fmla="*/ 8 h 60"/>
              <a:gd name="T86" fmla="*/ 18 w 104"/>
              <a:gd name="T87" fmla="*/ 10 h 60"/>
              <a:gd name="T88" fmla="*/ 12 w 104"/>
              <a:gd name="T89" fmla="*/ 12 h 60"/>
              <a:gd name="T90" fmla="*/ 10 w 104"/>
              <a:gd name="T91" fmla="*/ 18 h 60"/>
              <a:gd name="T92" fmla="*/ 0 w 104"/>
              <a:gd name="T93"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60">
                <a:moveTo>
                  <a:pt x="0" y="42"/>
                </a:moveTo>
                <a:lnTo>
                  <a:pt x="0" y="42"/>
                </a:lnTo>
                <a:lnTo>
                  <a:pt x="6" y="40"/>
                </a:lnTo>
                <a:lnTo>
                  <a:pt x="12" y="36"/>
                </a:lnTo>
                <a:lnTo>
                  <a:pt x="12" y="36"/>
                </a:lnTo>
                <a:lnTo>
                  <a:pt x="18" y="38"/>
                </a:lnTo>
                <a:lnTo>
                  <a:pt x="26" y="40"/>
                </a:lnTo>
                <a:lnTo>
                  <a:pt x="26" y="40"/>
                </a:lnTo>
                <a:lnTo>
                  <a:pt x="38" y="44"/>
                </a:lnTo>
                <a:lnTo>
                  <a:pt x="38" y="44"/>
                </a:lnTo>
                <a:lnTo>
                  <a:pt x="42" y="46"/>
                </a:lnTo>
                <a:lnTo>
                  <a:pt x="46" y="46"/>
                </a:lnTo>
                <a:lnTo>
                  <a:pt x="46" y="46"/>
                </a:lnTo>
                <a:lnTo>
                  <a:pt x="52" y="46"/>
                </a:lnTo>
                <a:lnTo>
                  <a:pt x="52" y="46"/>
                </a:lnTo>
                <a:lnTo>
                  <a:pt x="54" y="48"/>
                </a:lnTo>
                <a:lnTo>
                  <a:pt x="56" y="52"/>
                </a:lnTo>
                <a:lnTo>
                  <a:pt x="56" y="52"/>
                </a:lnTo>
                <a:lnTo>
                  <a:pt x="60" y="52"/>
                </a:lnTo>
                <a:lnTo>
                  <a:pt x="64" y="54"/>
                </a:lnTo>
                <a:lnTo>
                  <a:pt x="64" y="54"/>
                </a:lnTo>
                <a:lnTo>
                  <a:pt x="70" y="58"/>
                </a:lnTo>
                <a:lnTo>
                  <a:pt x="70" y="58"/>
                </a:lnTo>
                <a:lnTo>
                  <a:pt x="76" y="60"/>
                </a:lnTo>
                <a:lnTo>
                  <a:pt x="76" y="60"/>
                </a:lnTo>
                <a:lnTo>
                  <a:pt x="80" y="56"/>
                </a:lnTo>
                <a:lnTo>
                  <a:pt x="82" y="54"/>
                </a:lnTo>
                <a:lnTo>
                  <a:pt x="86" y="54"/>
                </a:lnTo>
                <a:lnTo>
                  <a:pt x="86" y="54"/>
                </a:lnTo>
                <a:lnTo>
                  <a:pt x="90" y="56"/>
                </a:lnTo>
                <a:lnTo>
                  <a:pt x="92" y="50"/>
                </a:lnTo>
                <a:lnTo>
                  <a:pt x="92" y="50"/>
                </a:lnTo>
                <a:lnTo>
                  <a:pt x="92" y="44"/>
                </a:lnTo>
                <a:lnTo>
                  <a:pt x="94" y="42"/>
                </a:lnTo>
                <a:lnTo>
                  <a:pt x="94" y="42"/>
                </a:lnTo>
                <a:lnTo>
                  <a:pt x="98" y="44"/>
                </a:lnTo>
                <a:lnTo>
                  <a:pt x="102" y="44"/>
                </a:lnTo>
                <a:lnTo>
                  <a:pt x="104" y="42"/>
                </a:lnTo>
                <a:lnTo>
                  <a:pt x="102" y="36"/>
                </a:lnTo>
                <a:lnTo>
                  <a:pt x="102" y="36"/>
                </a:lnTo>
                <a:lnTo>
                  <a:pt x="98" y="30"/>
                </a:lnTo>
                <a:lnTo>
                  <a:pt x="98" y="30"/>
                </a:lnTo>
                <a:lnTo>
                  <a:pt x="96" y="28"/>
                </a:lnTo>
                <a:lnTo>
                  <a:pt x="94" y="28"/>
                </a:lnTo>
                <a:lnTo>
                  <a:pt x="94" y="28"/>
                </a:lnTo>
                <a:lnTo>
                  <a:pt x="92" y="26"/>
                </a:lnTo>
                <a:lnTo>
                  <a:pt x="92" y="26"/>
                </a:lnTo>
                <a:lnTo>
                  <a:pt x="92" y="16"/>
                </a:lnTo>
                <a:lnTo>
                  <a:pt x="92" y="16"/>
                </a:lnTo>
                <a:lnTo>
                  <a:pt x="88" y="18"/>
                </a:lnTo>
                <a:lnTo>
                  <a:pt x="86" y="18"/>
                </a:lnTo>
                <a:lnTo>
                  <a:pt x="84" y="16"/>
                </a:lnTo>
                <a:lnTo>
                  <a:pt x="84" y="16"/>
                </a:lnTo>
                <a:lnTo>
                  <a:pt x="84" y="12"/>
                </a:lnTo>
                <a:lnTo>
                  <a:pt x="82" y="12"/>
                </a:lnTo>
                <a:lnTo>
                  <a:pt x="76" y="14"/>
                </a:lnTo>
                <a:lnTo>
                  <a:pt x="72" y="6"/>
                </a:lnTo>
                <a:lnTo>
                  <a:pt x="68" y="6"/>
                </a:lnTo>
                <a:lnTo>
                  <a:pt x="68" y="6"/>
                </a:lnTo>
                <a:lnTo>
                  <a:pt x="68" y="4"/>
                </a:lnTo>
                <a:lnTo>
                  <a:pt x="64" y="2"/>
                </a:lnTo>
                <a:lnTo>
                  <a:pt x="64" y="2"/>
                </a:lnTo>
                <a:lnTo>
                  <a:pt x="58" y="0"/>
                </a:lnTo>
                <a:lnTo>
                  <a:pt x="54" y="0"/>
                </a:lnTo>
                <a:lnTo>
                  <a:pt x="54" y="0"/>
                </a:lnTo>
                <a:lnTo>
                  <a:pt x="54" y="2"/>
                </a:lnTo>
                <a:lnTo>
                  <a:pt x="50" y="2"/>
                </a:lnTo>
                <a:lnTo>
                  <a:pt x="50" y="2"/>
                </a:lnTo>
                <a:lnTo>
                  <a:pt x="42" y="2"/>
                </a:lnTo>
                <a:lnTo>
                  <a:pt x="42" y="2"/>
                </a:lnTo>
                <a:lnTo>
                  <a:pt x="42" y="10"/>
                </a:lnTo>
                <a:lnTo>
                  <a:pt x="44" y="20"/>
                </a:lnTo>
                <a:lnTo>
                  <a:pt x="44" y="20"/>
                </a:lnTo>
                <a:lnTo>
                  <a:pt x="36" y="24"/>
                </a:lnTo>
                <a:lnTo>
                  <a:pt x="32" y="24"/>
                </a:lnTo>
                <a:lnTo>
                  <a:pt x="28" y="22"/>
                </a:lnTo>
                <a:lnTo>
                  <a:pt x="28" y="22"/>
                </a:lnTo>
                <a:lnTo>
                  <a:pt x="28" y="22"/>
                </a:lnTo>
                <a:lnTo>
                  <a:pt x="28" y="22"/>
                </a:lnTo>
                <a:lnTo>
                  <a:pt x="20" y="14"/>
                </a:lnTo>
                <a:lnTo>
                  <a:pt x="20" y="14"/>
                </a:lnTo>
                <a:lnTo>
                  <a:pt x="20" y="12"/>
                </a:lnTo>
                <a:lnTo>
                  <a:pt x="20" y="12"/>
                </a:lnTo>
                <a:lnTo>
                  <a:pt x="22" y="12"/>
                </a:lnTo>
                <a:lnTo>
                  <a:pt x="22" y="12"/>
                </a:lnTo>
                <a:lnTo>
                  <a:pt x="22" y="8"/>
                </a:lnTo>
                <a:lnTo>
                  <a:pt x="20" y="8"/>
                </a:lnTo>
                <a:lnTo>
                  <a:pt x="18" y="10"/>
                </a:lnTo>
                <a:lnTo>
                  <a:pt x="18" y="10"/>
                </a:lnTo>
                <a:lnTo>
                  <a:pt x="12" y="12"/>
                </a:lnTo>
                <a:lnTo>
                  <a:pt x="10" y="18"/>
                </a:lnTo>
                <a:lnTo>
                  <a:pt x="10" y="18"/>
                </a:lnTo>
                <a:lnTo>
                  <a:pt x="2" y="30"/>
                </a:lnTo>
                <a:lnTo>
                  <a:pt x="0" y="42"/>
                </a:lnTo>
                <a:lnTo>
                  <a:pt x="0" y="4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8" name="Freeform 152">
            <a:extLst>
              <a:ext uri="{FF2B5EF4-FFF2-40B4-BE49-F238E27FC236}">
                <a16:creationId xmlns:a16="http://schemas.microsoft.com/office/drawing/2014/main" id="{270A57FD-3C28-447F-BED4-4DD97C4CF8E5}"/>
              </a:ext>
            </a:extLst>
          </p:cNvPr>
          <p:cNvSpPr>
            <a:spLocks/>
          </p:cNvSpPr>
          <p:nvPr userDrawn="1"/>
        </p:nvSpPr>
        <p:spPr bwMode="auto">
          <a:xfrm>
            <a:off x="8108075" y="3042300"/>
            <a:ext cx="154287" cy="243670"/>
          </a:xfrm>
          <a:custGeom>
            <a:avLst/>
            <a:gdLst>
              <a:gd name="T0" fmla="*/ 2 w 92"/>
              <a:gd name="T1" fmla="*/ 36 h 142"/>
              <a:gd name="T2" fmla="*/ 0 w 92"/>
              <a:gd name="T3" fmla="*/ 44 h 142"/>
              <a:gd name="T4" fmla="*/ 4 w 92"/>
              <a:gd name="T5" fmla="*/ 48 h 142"/>
              <a:gd name="T6" fmla="*/ 10 w 92"/>
              <a:gd name="T7" fmla="*/ 52 h 142"/>
              <a:gd name="T8" fmla="*/ 8 w 92"/>
              <a:gd name="T9" fmla="*/ 62 h 142"/>
              <a:gd name="T10" fmla="*/ 10 w 92"/>
              <a:gd name="T11" fmla="*/ 68 h 142"/>
              <a:gd name="T12" fmla="*/ 10 w 92"/>
              <a:gd name="T13" fmla="*/ 78 h 142"/>
              <a:gd name="T14" fmla="*/ 18 w 92"/>
              <a:gd name="T15" fmla="*/ 78 h 142"/>
              <a:gd name="T16" fmla="*/ 28 w 92"/>
              <a:gd name="T17" fmla="*/ 68 h 142"/>
              <a:gd name="T18" fmla="*/ 32 w 92"/>
              <a:gd name="T19" fmla="*/ 72 h 142"/>
              <a:gd name="T20" fmla="*/ 40 w 92"/>
              <a:gd name="T21" fmla="*/ 78 h 142"/>
              <a:gd name="T22" fmla="*/ 52 w 92"/>
              <a:gd name="T23" fmla="*/ 86 h 142"/>
              <a:gd name="T24" fmla="*/ 52 w 92"/>
              <a:gd name="T25" fmla="*/ 100 h 142"/>
              <a:gd name="T26" fmla="*/ 60 w 92"/>
              <a:gd name="T27" fmla="*/ 108 h 142"/>
              <a:gd name="T28" fmla="*/ 62 w 92"/>
              <a:gd name="T29" fmla="*/ 118 h 142"/>
              <a:gd name="T30" fmla="*/ 62 w 92"/>
              <a:gd name="T31" fmla="*/ 126 h 142"/>
              <a:gd name="T32" fmla="*/ 56 w 92"/>
              <a:gd name="T33" fmla="*/ 134 h 142"/>
              <a:gd name="T34" fmla="*/ 66 w 92"/>
              <a:gd name="T35" fmla="*/ 138 h 142"/>
              <a:gd name="T36" fmla="*/ 74 w 92"/>
              <a:gd name="T37" fmla="*/ 140 h 142"/>
              <a:gd name="T38" fmla="*/ 78 w 92"/>
              <a:gd name="T39" fmla="*/ 128 h 142"/>
              <a:gd name="T40" fmla="*/ 86 w 92"/>
              <a:gd name="T41" fmla="*/ 134 h 142"/>
              <a:gd name="T42" fmla="*/ 92 w 92"/>
              <a:gd name="T43" fmla="*/ 128 h 142"/>
              <a:gd name="T44" fmla="*/ 90 w 92"/>
              <a:gd name="T45" fmla="*/ 112 h 142"/>
              <a:gd name="T46" fmla="*/ 82 w 92"/>
              <a:gd name="T47" fmla="*/ 102 h 142"/>
              <a:gd name="T48" fmla="*/ 74 w 92"/>
              <a:gd name="T49" fmla="*/ 92 h 142"/>
              <a:gd name="T50" fmla="*/ 68 w 92"/>
              <a:gd name="T51" fmla="*/ 82 h 142"/>
              <a:gd name="T52" fmla="*/ 58 w 92"/>
              <a:gd name="T53" fmla="*/ 70 h 142"/>
              <a:gd name="T54" fmla="*/ 48 w 92"/>
              <a:gd name="T55" fmla="*/ 56 h 142"/>
              <a:gd name="T56" fmla="*/ 52 w 92"/>
              <a:gd name="T57" fmla="*/ 46 h 142"/>
              <a:gd name="T58" fmla="*/ 62 w 92"/>
              <a:gd name="T59" fmla="*/ 40 h 142"/>
              <a:gd name="T60" fmla="*/ 56 w 92"/>
              <a:gd name="T61" fmla="*/ 28 h 142"/>
              <a:gd name="T62" fmla="*/ 46 w 92"/>
              <a:gd name="T63" fmla="*/ 30 h 142"/>
              <a:gd name="T64" fmla="*/ 40 w 92"/>
              <a:gd name="T65" fmla="*/ 24 h 142"/>
              <a:gd name="T66" fmla="*/ 30 w 92"/>
              <a:gd name="T67" fmla="*/ 16 h 142"/>
              <a:gd name="T68" fmla="*/ 24 w 92"/>
              <a:gd name="T69" fmla="*/ 2 h 142"/>
              <a:gd name="T70" fmla="*/ 16 w 92"/>
              <a:gd name="T71" fmla="*/ 6 h 142"/>
              <a:gd name="T72" fmla="*/ 20 w 92"/>
              <a:gd name="T73" fmla="*/ 24 h 142"/>
              <a:gd name="T74" fmla="*/ 16 w 92"/>
              <a:gd name="T75" fmla="*/ 30 h 142"/>
              <a:gd name="T76" fmla="*/ 8 w 92"/>
              <a:gd name="T77" fmla="*/ 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42">
                <a:moveTo>
                  <a:pt x="8" y="30"/>
                </a:moveTo>
                <a:lnTo>
                  <a:pt x="2" y="36"/>
                </a:lnTo>
                <a:lnTo>
                  <a:pt x="2" y="42"/>
                </a:lnTo>
                <a:lnTo>
                  <a:pt x="0" y="44"/>
                </a:lnTo>
                <a:lnTo>
                  <a:pt x="0" y="48"/>
                </a:lnTo>
                <a:lnTo>
                  <a:pt x="4" y="48"/>
                </a:lnTo>
                <a:lnTo>
                  <a:pt x="8" y="48"/>
                </a:lnTo>
                <a:lnTo>
                  <a:pt x="10" y="52"/>
                </a:lnTo>
                <a:lnTo>
                  <a:pt x="6" y="60"/>
                </a:lnTo>
                <a:lnTo>
                  <a:pt x="8" y="62"/>
                </a:lnTo>
                <a:lnTo>
                  <a:pt x="8" y="66"/>
                </a:lnTo>
                <a:lnTo>
                  <a:pt x="10" y="68"/>
                </a:lnTo>
                <a:lnTo>
                  <a:pt x="12" y="74"/>
                </a:lnTo>
                <a:lnTo>
                  <a:pt x="10" y="78"/>
                </a:lnTo>
                <a:lnTo>
                  <a:pt x="14" y="80"/>
                </a:lnTo>
                <a:lnTo>
                  <a:pt x="18" y="78"/>
                </a:lnTo>
                <a:lnTo>
                  <a:pt x="20" y="74"/>
                </a:lnTo>
                <a:lnTo>
                  <a:pt x="28" y="68"/>
                </a:lnTo>
                <a:lnTo>
                  <a:pt x="32" y="70"/>
                </a:lnTo>
                <a:lnTo>
                  <a:pt x="32" y="72"/>
                </a:lnTo>
                <a:lnTo>
                  <a:pt x="34" y="74"/>
                </a:lnTo>
                <a:lnTo>
                  <a:pt x="40" y="78"/>
                </a:lnTo>
                <a:lnTo>
                  <a:pt x="46" y="78"/>
                </a:lnTo>
                <a:lnTo>
                  <a:pt x="52" y="86"/>
                </a:lnTo>
                <a:lnTo>
                  <a:pt x="52" y="92"/>
                </a:lnTo>
                <a:lnTo>
                  <a:pt x="52" y="100"/>
                </a:lnTo>
                <a:lnTo>
                  <a:pt x="56" y="104"/>
                </a:lnTo>
                <a:lnTo>
                  <a:pt x="60" y="108"/>
                </a:lnTo>
                <a:lnTo>
                  <a:pt x="62" y="112"/>
                </a:lnTo>
                <a:lnTo>
                  <a:pt x="62" y="118"/>
                </a:lnTo>
                <a:lnTo>
                  <a:pt x="64" y="120"/>
                </a:lnTo>
                <a:lnTo>
                  <a:pt x="62" y="126"/>
                </a:lnTo>
                <a:lnTo>
                  <a:pt x="60" y="130"/>
                </a:lnTo>
                <a:lnTo>
                  <a:pt x="56" y="134"/>
                </a:lnTo>
                <a:lnTo>
                  <a:pt x="64" y="136"/>
                </a:lnTo>
                <a:lnTo>
                  <a:pt x="66" y="138"/>
                </a:lnTo>
                <a:lnTo>
                  <a:pt x="70" y="142"/>
                </a:lnTo>
                <a:lnTo>
                  <a:pt x="74" y="140"/>
                </a:lnTo>
                <a:lnTo>
                  <a:pt x="74" y="134"/>
                </a:lnTo>
                <a:lnTo>
                  <a:pt x="78" y="128"/>
                </a:lnTo>
                <a:lnTo>
                  <a:pt x="82" y="130"/>
                </a:lnTo>
                <a:lnTo>
                  <a:pt x="86" y="134"/>
                </a:lnTo>
                <a:lnTo>
                  <a:pt x="92" y="132"/>
                </a:lnTo>
                <a:lnTo>
                  <a:pt x="92" y="128"/>
                </a:lnTo>
                <a:lnTo>
                  <a:pt x="92" y="118"/>
                </a:lnTo>
                <a:lnTo>
                  <a:pt x="90" y="112"/>
                </a:lnTo>
                <a:lnTo>
                  <a:pt x="86" y="110"/>
                </a:lnTo>
                <a:lnTo>
                  <a:pt x="82" y="102"/>
                </a:lnTo>
                <a:lnTo>
                  <a:pt x="80" y="96"/>
                </a:lnTo>
                <a:lnTo>
                  <a:pt x="74" y="92"/>
                </a:lnTo>
                <a:lnTo>
                  <a:pt x="70" y="88"/>
                </a:lnTo>
                <a:lnTo>
                  <a:pt x="68" y="82"/>
                </a:lnTo>
                <a:lnTo>
                  <a:pt x="64" y="78"/>
                </a:lnTo>
                <a:lnTo>
                  <a:pt x="58" y="70"/>
                </a:lnTo>
                <a:lnTo>
                  <a:pt x="56" y="60"/>
                </a:lnTo>
                <a:lnTo>
                  <a:pt x="48" y="56"/>
                </a:lnTo>
                <a:lnTo>
                  <a:pt x="48" y="48"/>
                </a:lnTo>
                <a:lnTo>
                  <a:pt x="52" y="46"/>
                </a:lnTo>
                <a:lnTo>
                  <a:pt x="58" y="42"/>
                </a:lnTo>
                <a:lnTo>
                  <a:pt x="62" y="40"/>
                </a:lnTo>
                <a:lnTo>
                  <a:pt x="62" y="32"/>
                </a:lnTo>
                <a:lnTo>
                  <a:pt x="56" y="28"/>
                </a:lnTo>
                <a:lnTo>
                  <a:pt x="50" y="26"/>
                </a:lnTo>
                <a:lnTo>
                  <a:pt x="46" y="30"/>
                </a:lnTo>
                <a:lnTo>
                  <a:pt x="40" y="28"/>
                </a:lnTo>
                <a:lnTo>
                  <a:pt x="40" y="24"/>
                </a:lnTo>
                <a:lnTo>
                  <a:pt x="34" y="22"/>
                </a:lnTo>
                <a:lnTo>
                  <a:pt x="30" y="16"/>
                </a:lnTo>
                <a:lnTo>
                  <a:pt x="30" y="12"/>
                </a:lnTo>
                <a:lnTo>
                  <a:pt x="24" y="2"/>
                </a:lnTo>
                <a:lnTo>
                  <a:pt x="20" y="0"/>
                </a:lnTo>
                <a:lnTo>
                  <a:pt x="16" y="6"/>
                </a:lnTo>
                <a:lnTo>
                  <a:pt x="20" y="14"/>
                </a:lnTo>
                <a:lnTo>
                  <a:pt x="20" y="24"/>
                </a:lnTo>
                <a:lnTo>
                  <a:pt x="16" y="30"/>
                </a:lnTo>
                <a:lnTo>
                  <a:pt x="16" y="30"/>
                </a:lnTo>
                <a:lnTo>
                  <a:pt x="8" y="30"/>
                </a:lnTo>
                <a:lnTo>
                  <a:pt x="8" y="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9" name="Freeform 153">
            <a:extLst>
              <a:ext uri="{FF2B5EF4-FFF2-40B4-BE49-F238E27FC236}">
                <a16:creationId xmlns:a16="http://schemas.microsoft.com/office/drawing/2014/main" id="{CCFDFC46-BD2B-4DA2-8F5B-7D5073627294}"/>
              </a:ext>
            </a:extLst>
          </p:cNvPr>
          <p:cNvSpPr>
            <a:spLocks/>
          </p:cNvSpPr>
          <p:nvPr userDrawn="1"/>
        </p:nvSpPr>
        <p:spPr bwMode="auto">
          <a:xfrm>
            <a:off x="7407074" y="2403954"/>
            <a:ext cx="248201" cy="120119"/>
          </a:xfrm>
          <a:custGeom>
            <a:avLst/>
            <a:gdLst>
              <a:gd name="T0" fmla="*/ 54 w 148"/>
              <a:gd name="T1" fmla="*/ 64 h 70"/>
              <a:gd name="T2" fmla="*/ 60 w 148"/>
              <a:gd name="T3" fmla="*/ 62 h 70"/>
              <a:gd name="T4" fmla="*/ 68 w 148"/>
              <a:gd name="T5" fmla="*/ 52 h 70"/>
              <a:gd name="T6" fmla="*/ 74 w 148"/>
              <a:gd name="T7" fmla="*/ 54 h 70"/>
              <a:gd name="T8" fmla="*/ 78 w 148"/>
              <a:gd name="T9" fmla="*/ 58 h 70"/>
              <a:gd name="T10" fmla="*/ 84 w 148"/>
              <a:gd name="T11" fmla="*/ 56 h 70"/>
              <a:gd name="T12" fmla="*/ 92 w 148"/>
              <a:gd name="T13" fmla="*/ 54 h 70"/>
              <a:gd name="T14" fmla="*/ 96 w 148"/>
              <a:gd name="T15" fmla="*/ 50 h 70"/>
              <a:gd name="T16" fmla="*/ 98 w 148"/>
              <a:gd name="T17" fmla="*/ 40 h 70"/>
              <a:gd name="T18" fmla="*/ 104 w 148"/>
              <a:gd name="T19" fmla="*/ 36 h 70"/>
              <a:gd name="T20" fmla="*/ 120 w 148"/>
              <a:gd name="T21" fmla="*/ 34 h 70"/>
              <a:gd name="T22" fmla="*/ 120 w 148"/>
              <a:gd name="T23" fmla="*/ 30 h 70"/>
              <a:gd name="T24" fmla="*/ 126 w 148"/>
              <a:gd name="T25" fmla="*/ 24 h 70"/>
              <a:gd name="T26" fmla="*/ 136 w 148"/>
              <a:gd name="T27" fmla="*/ 18 h 70"/>
              <a:gd name="T28" fmla="*/ 148 w 148"/>
              <a:gd name="T29" fmla="*/ 12 h 70"/>
              <a:gd name="T30" fmla="*/ 136 w 148"/>
              <a:gd name="T31" fmla="*/ 8 h 70"/>
              <a:gd name="T32" fmla="*/ 130 w 148"/>
              <a:gd name="T33" fmla="*/ 2 h 70"/>
              <a:gd name="T34" fmla="*/ 118 w 148"/>
              <a:gd name="T35" fmla="*/ 0 h 70"/>
              <a:gd name="T36" fmla="*/ 96 w 148"/>
              <a:gd name="T37" fmla="*/ 0 h 70"/>
              <a:gd name="T38" fmla="*/ 82 w 148"/>
              <a:gd name="T39" fmla="*/ 8 h 70"/>
              <a:gd name="T40" fmla="*/ 78 w 148"/>
              <a:gd name="T41" fmla="*/ 6 h 70"/>
              <a:gd name="T42" fmla="*/ 76 w 148"/>
              <a:gd name="T43" fmla="*/ 4 h 70"/>
              <a:gd name="T44" fmla="*/ 70 w 148"/>
              <a:gd name="T45" fmla="*/ 0 h 70"/>
              <a:gd name="T46" fmla="*/ 64 w 148"/>
              <a:gd name="T47" fmla="*/ 4 h 70"/>
              <a:gd name="T48" fmla="*/ 58 w 148"/>
              <a:gd name="T49" fmla="*/ 6 h 70"/>
              <a:gd name="T50" fmla="*/ 54 w 148"/>
              <a:gd name="T51" fmla="*/ 10 h 70"/>
              <a:gd name="T52" fmla="*/ 50 w 148"/>
              <a:gd name="T53" fmla="*/ 14 h 70"/>
              <a:gd name="T54" fmla="*/ 38 w 148"/>
              <a:gd name="T55" fmla="*/ 6 h 70"/>
              <a:gd name="T56" fmla="*/ 24 w 148"/>
              <a:gd name="T57" fmla="*/ 6 h 70"/>
              <a:gd name="T58" fmla="*/ 18 w 148"/>
              <a:gd name="T59" fmla="*/ 14 h 70"/>
              <a:gd name="T60" fmla="*/ 22 w 148"/>
              <a:gd name="T61" fmla="*/ 12 h 70"/>
              <a:gd name="T62" fmla="*/ 24 w 148"/>
              <a:gd name="T63" fmla="*/ 18 h 70"/>
              <a:gd name="T64" fmla="*/ 18 w 148"/>
              <a:gd name="T65" fmla="*/ 24 h 70"/>
              <a:gd name="T66" fmla="*/ 14 w 148"/>
              <a:gd name="T67" fmla="*/ 26 h 70"/>
              <a:gd name="T68" fmla="*/ 18 w 148"/>
              <a:gd name="T69" fmla="*/ 30 h 70"/>
              <a:gd name="T70" fmla="*/ 22 w 148"/>
              <a:gd name="T71" fmla="*/ 30 h 70"/>
              <a:gd name="T72" fmla="*/ 28 w 148"/>
              <a:gd name="T73" fmla="*/ 32 h 70"/>
              <a:gd name="T74" fmla="*/ 30 w 148"/>
              <a:gd name="T75" fmla="*/ 36 h 70"/>
              <a:gd name="T76" fmla="*/ 40 w 148"/>
              <a:gd name="T77" fmla="*/ 38 h 70"/>
              <a:gd name="T78" fmla="*/ 46 w 148"/>
              <a:gd name="T79" fmla="*/ 40 h 70"/>
              <a:gd name="T80" fmla="*/ 44 w 148"/>
              <a:gd name="T81" fmla="*/ 42 h 70"/>
              <a:gd name="T82" fmla="*/ 32 w 148"/>
              <a:gd name="T83" fmla="*/ 54 h 70"/>
              <a:gd name="T84" fmla="*/ 26 w 148"/>
              <a:gd name="T85" fmla="*/ 54 h 70"/>
              <a:gd name="T86" fmla="*/ 18 w 148"/>
              <a:gd name="T87" fmla="*/ 58 h 70"/>
              <a:gd name="T88" fmla="*/ 16 w 148"/>
              <a:gd name="T89" fmla="*/ 56 h 70"/>
              <a:gd name="T90" fmla="*/ 8 w 148"/>
              <a:gd name="T91" fmla="*/ 56 h 70"/>
              <a:gd name="T92" fmla="*/ 14 w 148"/>
              <a:gd name="T93" fmla="*/ 64 h 70"/>
              <a:gd name="T94" fmla="*/ 16 w 148"/>
              <a:gd name="T95" fmla="*/ 68 h 70"/>
              <a:gd name="T96" fmla="*/ 22 w 148"/>
              <a:gd name="T97" fmla="*/ 66 h 70"/>
              <a:gd name="T98" fmla="*/ 26 w 148"/>
              <a:gd name="T99" fmla="*/ 68 h 70"/>
              <a:gd name="T100" fmla="*/ 32 w 148"/>
              <a:gd name="T101" fmla="*/ 70 h 70"/>
              <a:gd name="T102" fmla="*/ 40 w 148"/>
              <a:gd name="T103" fmla="*/ 70 h 70"/>
              <a:gd name="T104" fmla="*/ 50 w 148"/>
              <a:gd name="T10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 h="70">
                <a:moveTo>
                  <a:pt x="50" y="68"/>
                </a:moveTo>
                <a:lnTo>
                  <a:pt x="50" y="68"/>
                </a:lnTo>
                <a:lnTo>
                  <a:pt x="54" y="64"/>
                </a:lnTo>
                <a:lnTo>
                  <a:pt x="54" y="64"/>
                </a:lnTo>
                <a:lnTo>
                  <a:pt x="60" y="62"/>
                </a:lnTo>
                <a:lnTo>
                  <a:pt x="60" y="62"/>
                </a:lnTo>
                <a:lnTo>
                  <a:pt x="64" y="56"/>
                </a:lnTo>
                <a:lnTo>
                  <a:pt x="64" y="56"/>
                </a:lnTo>
                <a:lnTo>
                  <a:pt x="68" y="52"/>
                </a:lnTo>
                <a:lnTo>
                  <a:pt x="72" y="52"/>
                </a:lnTo>
                <a:lnTo>
                  <a:pt x="72" y="52"/>
                </a:lnTo>
                <a:lnTo>
                  <a:pt x="74" y="54"/>
                </a:lnTo>
                <a:lnTo>
                  <a:pt x="74" y="56"/>
                </a:lnTo>
                <a:lnTo>
                  <a:pt x="76" y="58"/>
                </a:lnTo>
                <a:lnTo>
                  <a:pt x="78" y="58"/>
                </a:lnTo>
                <a:lnTo>
                  <a:pt x="78" y="58"/>
                </a:lnTo>
                <a:lnTo>
                  <a:pt x="80" y="58"/>
                </a:lnTo>
                <a:lnTo>
                  <a:pt x="84" y="56"/>
                </a:lnTo>
                <a:lnTo>
                  <a:pt x="84" y="56"/>
                </a:lnTo>
                <a:lnTo>
                  <a:pt x="90" y="54"/>
                </a:lnTo>
                <a:lnTo>
                  <a:pt x="92" y="54"/>
                </a:lnTo>
                <a:lnTo>
                  <a:pt x="96" y="52"/>
                </a:lnTo>
                <a:lnTo>
                  <a:pt x="96" y="52"/>
                </a:lnTo>
                <a:lnTo>
                  <a:pt x="96" y="50"/>
                </a:lnTo>
                <a:lnTo>
                  <a:pt x="98" y="46"/>
                </a:lnTo>
                <a:lnTo>
                  <a:pt x="98" y="44"/>
                </a:lnTo>
                <a:lnTo>
                  <a:pt x="98" y="40"/>
                </a:lnTo>
                <a:lnTo>
                  <a:pt x="98" y="40"/>
                </a:lnTo>
                <a:lnTo>
                  <a:pt x="100" y="38"/>
                </a:lnTo>
                <a:lnTo>
                  <a:pt x="104" y="36"/>
                </a:lnTo>
                <a:lnTo>
                  <a:pt x="112" y="34"/>
                </a:lnTo>
                <a:lnTo>
                  <a:pt x="118" y="34"/>
                </a:lnTo>
                <a:lnTo>
                  <a:pt x="120" y="34"/>
                </a:lnTo>
                <a:lnTo>
                  <a:pt x="120" y="32"/>
                </a:lnTo>
                <a:lnTo>
                  <a:pt x="120" y="32"/>
                </a:lnTo>
                <a:lnTo>
                  <a:pt x="120" y="30"/>
                </a:lnTo>
                <a:lnTo>
                  <a:pt x="122" y="26"/>
                </a:lnTo>
                <a:lnTo>
                  <a:pt x="122" y="26"/>
                </a:lnTo>
                <a:lnTo>
                  <a:pt x="126" y="24"/>
                </a:lnTo>
                <a:lnTo>
                  <a:pt x="130" y="24"/>
                </a:lnTo>
                <a:lnTo>
                  <a:pt x="130" y="24"/>
                </a:lnTo>
                <a:lnTo>
                  <a:pt x="136" y="18"/>
                </a:lnTo>
                <a:lnTo>
                  <a:pt x="136" y="18"/>
                </a:lnTo>
                <a:lnTo>
                  <a:pt x="142" y="14"/>
                </a:lnTo>
                <a:lnTo>
                  <a:pt x="148" y="12"/>
                </a:lnTo>
                <a:lnTo>
                  <a:pt x="140" y="8"/>
                </a:lnTo>
                <a:lnTo>
                  <a:pt x="140" y="8"/>
                </a:lnTo>
                <a:lnTo>
                  <a:pt x="136" y="8"/>
                </a:lnTo>
                <a:lnTo>
                  <a:pt x="132" y="6"/>
                </a:lnTo>
                <a:lnTo>
                  <a:pt x="132" y="6"/>
                </a:lnTo>
                <a:lnTo>
                  <a:pt x="130" y="2"/>
                </a:lnTo>
                <a:lnTo>
                  <a:pt x="124" y="0"/>
                </a:lnTo>
                <a:lnTo>
                  <a:pt x="124" y="0"/>
                </a:lnTo>
                <a:lnTo>
                  <a:pt x="118" y="0"/>
                </a:lnTo>
                <a:lnTo>
                  <a:pt x="112" y="0"/>
                </a:lnTo>
                <a:lnTo>
                  <a:pt x="112" y="0"/>
                </a:lnTo>
                <a:lnTo>
                  <a:pt x="96" y="0"/>
                </a:lnTo>
                <a:lnTo>
                  <a:pt x="96" y="0"/>
                </a:lnTo>
                <a:lnTo>
                  <a:pt x="90" y="4"/>
                </a:lnTo>
                <a:lnTo>
                  <a:pt x="82" y="8"/>
                </a:lnTo>
                <a:lnTo>
                  <a:pt x="82" y="8"/>
                </a:lnTo>
                <a:lnTo>
                  <a:pt x="80" y="8"/>
                </a:lnTo>
                <a:lnTo>
                  <a:pt x="78" y="6"/>
                </a:lnTo>
                <a:lnTo>
                  <a:pt x="78" y="6"/>
                </a:lnTo>
                <a:lnTo>
                  <a:pt x="76" y="4"/>
                </a:lnTo>
                <a:lnTo>
                  <a:pt x="76" y="4"/>
                </a:lnTo>
                <a:lnTo>
                  <a:pt x="72" y="4"/>
                </a:lnTo>
                <a:lnTo>
                  <a:pt x="72" y="2"/>
                </a:lnTo>
                <a:lnTo>
                  <a:pt x="70" y="0"/>
                </a:lnTo>
                <a:lnTo>
                  <a:pt x="68" y="0"/>
                </a:lnTo>
                <a:lnTo>
                  <a:pt x="68" y="0"/>
                </a:lnTo>
                <a:lnTo>
                  <a:pt x="64" y="4"/>
                </a:lnTo>
                <a:lnTo>
                  <a:pt x="62" y="4"/>
                </a:lnTo>
                <a:lnTo>
                  <a:pt x="62" y="4"/>
                </a:lnTo>
                <a:lnTo>
                  <a:pt x="58" y="6"/>
                </a:lnTo>
                <a:lnTo>
                  <a:pt x="56" y="8"/>
                </a:lnTo>
                <a:lnTo>
                  <a:pt x="56" y="8"/>
                </a:lnTo>
                <a:lnTo>
                  <a:pt x="54" y="10"/>
                </a:lnTo>
                <a:lnTo>
                  <a:pt x="52" y="14"/>
                </a:lnTo>
                <a:lnTo>
                  <a:pt x="52" y="14"/>
                </a:lnTo>
                <a:lnTo>
                  <a:pt x="50" y="14"/>
                </a:lnTo>
                <a:lnTo>
                  <a:pt x="48" y="10"/>
                </a:lnTo>
                <a:lnTo>
                  <a:pt x="42" y="6"/>
                </a:lnTo>
                <a:lnTo>
                  <a:pt x="38" y="6"/>
                </a:lnTo>
                <a:lnTo>
                  <a:pt x="28" y="6"/>
                </a:lnTo>
                <a:lnTo>
                  <a:pt x="28" y="6"/>
                </a:lnTo>
                <a:lnTo>
                  <a:pt x="24" y="6"/>
                </a:lnTo>
                <a:lnTo>
                  <a:pt x="22" y="10"/>
                </a:lnTo>
                <a:lnTo>
                  <a:pt x="18" y="14"/>
                </a:lnTo>
                <a:lnTo>
                  <a:pt x="18" y="14"/>
                </a:lnTo>
                <a:lnTo>
                  <a:pt x="22" y="12"/>
                </a:lnTo>
                <a:lnTo>
                  <a:pt x="22" y="12"/>
                </a:lnTo>
                <a:lnTo>
                  <a:pt x="22" y="12"/>
                </a:lnTo>
                <a:lnTo>
                  <a:pt x="24" y="14"/>
                </a:lnTo>
                <a:lnTo>
                  <a:pt x="26" y="16"/>
                </a:lnTo>
                <a:lnTo>
                  <a:pt x="24" y="18"/>
                </a:lnTo>
                <a:lnTo>
                  <a:pt x="24" y="18"/>
                </a:lnTo>
                <a:lnTo>
                  <a:pt x="18" y="24"/>
                </a:lnTo>
                <a:lnTo>
                  <a:pt x="18" y="24"/>
                </a:lnTo>
                <a:lnTo>
                  <a:pt x="14" y="26"/>
                </a:lnTo>
                <a:lnTo>
                  <a:pt x="12" y="26"/>
                </a:lnTo>
                <a:lnTo>
                  <a:pt x="14" y="26"/>
                </a:lnTo>
                <a:lnTo>
                  <a:pt x="14" y="26"/>
                </a:lnTo>
                <a:lnTo>
                  <a:pt x="16" y="28"/>
                </a:lnTo>
                <a:lnTo>
                  <a:pt x="18" y="30"/>
                </a:lnTo>
                <a:lnTo>
                  <a:pt x="20" y="32"/>
                </a:lnTo>
                <a:lnTo>
                  <a:pt x="22" y="30"/>
                </a:lnTo>
                <a:lnTo>
                  <a:pt x="22" y="30"/>
                </a:lnTo>
                <a:lnTo>
                  <a:pt x="26" y="30"/>
                </a:lnTo>
                <a:lnTo>
                  <a:pt x="28" y="30"/>
                </a:lnTo>
                <a:lnTo>
                  <a:pt x="28" y="32"/>
                </a:lnTo>
                <a:lnTo>
                  <a:pt x="28" y="32"/>
                </a:lnTo>
                <a:lnTo>
                  <a:pt x="26" y="34"/>
                </a:lnTo>
                <a:lnTo>
                  <a:pt x="30" y="36"/>
                </a:lnTo>
                <a:lnTo>
                  <a:pt x="30" y="36"/>
                </a:lnTo>
                <a:lnTo>
                  <a:pt x="34" y="36"/>
                </a:lnTo>
                <a:lnTo>
                  <a:pt x="40" y="38"/>
                </a:lnTo>
                <a:lnTo>
                  <a:pt x="40" y="38"/>
                </a:lnTo>
                <a:lnTo>
                  <a:pt x="44" y="40"/>
                </a:lnTo>
                <a:lnTo>
                  <a:pt x="46" y="40"/>
                </a:lnTo>
                <a:lnTo>
                  <a:pt x="46" y="40"/>
                </a:lnTo>
                <a:lnTo>
                  <a:pt x="44" y="42"/>
                </a:lnTo>
                <a:lnTo>
                  <a:pt x="44" y="42"/>
                </a:lnTo>
                <a:lnTo>
                  <a:pt x="38" y="50"/>
                </a:lnTo>
                <a:lnTo>
                  <a:pt x="36" y="52"/>
                </a:lnTo>
                <a:lnTo>
                  <a:pt x="32" y="54"/>
                </a:lnTo>
                <a:lnTo>
                  <a:pt x="32" y="54"/>
                </a:lnTo>
                <a:lnTo>
                  <a:pt x="26" y="54"/>
                </a:lnTo>
                <a:lnTo>
                  <a:pt x="26" y="54"/>
                </a:lnTo>
                <a:lnTo>
                  <a:pt x="22" y="58"/>
                </a:lnTo>
                <a:lnTo>
                  <a:pt x="20" y="58"/>
                </a:lnTo>
                <a:lnTo>
                  <a:pt x="18" y="58"/>
                </a:lnTo>
                <a:lnTo>
                  <a:pt x="18" y="58"/>
                </a:lnTo>
                <a:lnTo>
                  <a:pt x="18" y="56"/>
                </a:lnTo>
                <a:lnTo>
                  <a:pt x="16" y="56"/>
                </a:lnTo>
                <a:lnTo>
                  <a:pt x="14" y="56"/>
                </a:lnTo>
                <a:lnTo>
                  <a:pt x="14" y="60"/>
                </a:lnTo>
                <a:lnTo>
                  <a:pt x="8" y="56"/>
                </a:lnTo>
                <a:lnTo>
                  <a:pt x="0" y="60"/>
                </a:lnTo>
                <a:lnTo>
                  <a:pt x="4" y="66"/>
                </a:lnTo>
                <a:lnTo>
                  <a:pt x="14" y="64"/>
                </a:lnTo>
                <a:lnTo>
                  <a:pt x="14" y="64"/>
                </a:lnTo>
                <a:lnTo>
                  <a:pt x="14" y="66"/>
                </a:lnTo>
                <a:lnTo>
                  <a:pt x="16" y="68"/>
                </a:lnTo>
                <a:lnTo>
                  <a:pt x="18" y="68"/>
                </a:lnTo>
                <a:lnTo>
                  <a:pt x="18" y="68"/>
                </a:lnTo>
                <a:lnTo>
                  <a:pt x="22" y="66"/>
                </a:lnTo>
                <a:lnTo>
                  <a:pt x="24" y="66"/>
                </a:lnTo>
                <a:lnTo>
                  <a:pt x="26" y="68"/>
                </a:lnTo>
                <a:lnTo>
                  <a:pt x="26" y="68"/>
                </a:lnTo>
                <a:lnTo>
                  <a:pt x="28" y="70"/>
                </a:lnTo>
                <a:lnTo>
                  <a:pt x="30" y="70"/>
                </a:lnTo>
                <a:lnTo>
                  <a:pt x="32" y="70"/>
                </a:lnTo>
                <a:lnTo>
                  <a:pt x="32" y="70"/>
                </a:lnTo>
                <a:lnTo>
                  <a:pt x="36" y="70"/>
                </a:lnTo>
                <a:lnTo>
                  <a:pt x="40" y="70"/>
                </a:lnTo>
                <a:lnTo>
                  <a:pt x="40" y="70"/>
                </a:lnTo>
                <a:lnTo>
                  <a:pt x="46" y="68"/>
                </a:lnTo>
                <a:lnTo>
                  <a:pt x="50" y="68"/>
                </a:lnTo>
                <a:lnTo>
                  <a:pt x="50"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0" name="Freeform 154">
            <a:extLst>
              <a:ext uri="{FF2B5EF4-FFF2-40B4-BE49-F238E27FC236}">
                <a16:creationId xmlns:a16="http://schemas.microsoft.com/office/drawing/2014/main" id="{0DE081B1-2009-452C-9D3B-9FBC1B4EB1DE}"/>
              </a:ext>
            </a:extLst>
          </p:cNvPr>
          <p:cNvSpPr>
            <a:spLocks/>
          </p:cNvSpPr>
          <p:nvPr userDrawn="1"/>
        </p:nvSpPr>
        <p:spPr bwMode="auto">
          <a:xfrm>
            <a:off x="6883839" y="2798631"/>
            <a:ext cx="60374" cy="51480"/>
          </a:xfrm>
          <a:custGeom>
            <a:avLst/>
            <a:gdLst>
              <a:gd name="T0" fmla="*/ 30 w 36"/>
              <a:gd name="T1" fmla="*/ 2 h 30"/>
              <a:gd name="T2" fmla="*/ 30 w 36"/>
              <a:gd name="T3" fmla="*/ 2 h 30"/>
              <a:gd name="T4" fmla="*/ 22 w 36"/>
              <a:gd name="T5" fmla="*/ 0 h 30"/>
              <a:gd name="T6" fmla="*/ 22 w 36"/>
              <a:gd name="T7" fmla="*/ 0 h 30"/>
              <a:gd name="T8" fmla="*/ 20 w 36"/>
              <a:gd name="T9" fmla="*/ 2 h 30"/>
              <a:gd name="T10" fmla="*/ 18 w 36"/>
              <a:gd name="T11" fmla="*/ 4 h 30"/>
              <a:gd name="T12" fmla="*/ 12 w 36"/>
              <a:gd name="T13" fmla="*/ 10 h 30"/>
              <a:gd name="T14" fmla="*/ 12 w 36"/>
              <a:gd name="T15" fmla="*/ 10 h 30"/>
              <a:gd name="T16" fmla="*/ 6 w 36"/>
              <a:gd name="T17" fmla="*/ 18 h 30"/>
              <a:gd name="T18" fmla="*/ 0 w 36"/>
              <a:gd name="T19" fmla="*/ 20 h 30"/>
              <a:gd name="T20" fmla="*/ 18 w 36"/>
              <a:gd name="T21" fmla="*/ 24 h 30"/>
              <a:gd name="T22" fmla="*/ 20 w 36"/>
              <a:gd name="T23" fmla="*/ 30 h 30"/>
              <a:gd name="T24" fmla="*/ 32 w 36"/>
              <a:gd name="T25" fmla="*/ 30 h 30"/>
              <a:gd name="T26" fmla="*/ 32 w 36"/>
              <a:gd name="T27" fmla="*/ 30 h 30"/>
              <a:gd name="T28" fmla="*/ 28 w 36"/>
              <a:gd name="T29" fmla="*/ 22 h 30"/>
              <a:gd name="T30" fmla="*/ 26 w 36"/>
              <a:gd name="T31" fmla="*/ 22 h 30"/>
              <a:gd name="T32" fmla="*/ 26 w 36"/>
              <a:gd name="T33" fmla="*/ 22 h 30"/>
              <a:gd name="T34" fmla="*/ 26 w 36"/>
              <a:gd name="T35" fmla="*/ 14 h 30"/>
              <a:gd name="T36" fmla="*/ 28 w 36"/>
              <a:gd name="T37" fmla="*/ 10 h 30"/>
              <a:gd name="T38" fmla="*/ 28 w 36"/>
              <a:gd name="T39" fmla="*/ 10 h 30"/>
              <a:gd name="T40" fmla="*/ 34 w 36"/>
              <a:gd name="T41" fmla="*/ 12 h 30"/>
              <a:gd name="T42" fmla="*/ 34 w 36"/>
              <a:gd name="T43" fmla="*/ 12 h 30"/>
              <a:gd name="T44" fmla="*/ 34 w 36"/>
              <a:gd name="T45" fmla="*/ 12 h 30"/>
              <a:gd name="T46" fmla="*/ 34 w 36"/>
              <a:gd name="T47" fmla="*/ 12 h 30"/>
              <a:gd name="T48" fmla="*/ 36 w 36"/>
              <a:gd name="T49" fmla="*/ 12 h 30"/>
              <a:gd name="T50" fmla="*/ 36 w 36"/>
              <a:gd name="T51" fmla="*/ 10 h 30"/>
              <a:gd name="T52" fmla="*/ 36 w 36"/>
              <a:gd name="T53" fmla="*/ 10 h 30"/>
              <a:gd name="T54" fmla="*/ 32 w 36"/>
              <a:gd name="T55" fmla="*/ 10 h 30"/>
              <a:gd name="T56" fmla="*/ 32 w 36"/>
              <a:gd name="T57" fmla="*/ 10 h 30"/>
              <a:gd name="T58" fmla="*/ 30 w 36"/>
              <a:gd name="T59" fmla="*/ 6 h 30"/>
              <a:gd name="T60" fmla="*/ 30 w 36"/>
              <a:gd name="T61" fmla="*/ 2 h 30"/>
              <a:gd name="T62" fmla="*/ 30 w 36"/>
              <a:gd name="T6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30">
                <a:moveTo>
                  <a:pt x="30" y="2"/>
                </a:moveTo>
                <a:lnTo>
                  <a:pt x="30" y="2"/>
                </a:lnTo>
                <a:lnTo>
                  <a:pt x="22" y="0"/>
                </a:lnTo>
                <a:lnTo>
                  <a:pt x="22" y="0"/>
                </a:lnTo>
                <a:lnTo>
                  <a:pt x="20" y="2"/>
                </a:lnTo>
                <a:lnTo>
                  <a:pt x="18" y="4"/>
                </a:lnTo>
                <a:lnTo>
                  <a:pt x="12" y="10"/>
                </a:lnTo>
                <a:lnTo>
                  <a:pt x="12" y="10"/>
                </a:lnTo>
                <a:lnTo>
                  <a:pt x="6" y="18"/>
                </a:lnTo>
                <a:lnTo>
                  <a:pt x="0" y="20"/>
                </a:lnTo>
                <a:lnTo>
                  <a:pt x="18" y="24"/>
                </a:lnTo>
                <a:lnTo>
                  <a:pt x="20" y="30"/>
                </a:lnTo>
                <a:lnTo>
                  <a:pt x="32" y="30"/>
                </a:lnTo>
                <a:lnTo>
                  <a:pt x="32" y="30"/>
                </a:lnTo>
                <a:lnTo>
                  <a:pt x="28" y="22"/>
                </a:lnTo>
                <a:lnTo>
                  <a:pt x="26" y="22"/>
                </a:lnTo>
                <a:lnTo>
                  <a:pt x="26" y="22"/>
                </a:lnTo>
                <a:lnTo>
                  <a:pt x="26" y="14"/>
                </a:lnTo>
                <a:lnTo>
                  <a:pt x="28" y="10"/>
                </a:lnTo>
                <a:lnTo>
                  <a:pt x="28" y="10"/>
                </a:lnTo>
                <a:lnTo>
                  <a:pt x="34" y="12"/>
                </a:lnTo>
                <a:lnTo>
                  <a:pt x="34" y="12"/>
                </a:lnTo>
                <a:lnTo>
                  <a:pt x="34" y="12"/>
                </a:lnTo>
                <a:lnTo>
                  <a:pt x="34" y="12"/>
                </a:lnTo>
                <a:lnTo>
                  <a:pt x="36" y="12"/>
                </a:lnTo>
                <a:lnTo>
                  <a:pt x="36" y="10"/>
                </a:lnTo>
                <a:lnTo>
                  <a:pt x="36" y="10"/>
                </a:lnTo>
                <a:lnTo>
                  <a:pt x="32" y="10"/>
                </a:lnTo>
                <a:lnTo>
                  <a:pt x="32" y="10"/>
                </a:lnTo>
                <a:lnTo>
                  <a:pt x="30" y="6"/>
                </a:lnTo>
                <a:lnTo>
                  <a:pt x="30" y="2"/>
                </a:lnTo>
                <a:lnTo>
                  <a:pt x="3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1" name="Freeform 155">
            <a:extLst>
              <a:ext uri="{FF2B5EF4-FFF2-40B4-BE49-F238E27FC236}">
                <a16:creationId xmlns:a16="http://schemas.microsoft.com/office/drawing/2014/main" id="{1293E4B7-A246-4302-A0E0-14162CE7A46E}"/>
              </a:ext>
            </a:extLst>
          </p:cNvPr>
          <p:cNvSpPr>
            <a:spLocks noEditPoints="1"/>
          </p:cNvSpPr>
          <p:nvPr userDrawn="1"/>
        </p:nvSpPr>
        <p:spPr bwMode="auto">
          <a:xfrm>
            <a:off x="6615513" y="3553665"/>
            <a:ext cx="194536" cy="264262"/>
          </a:xfrm>
          <a:custGeom>
            <a:avLst/>
            <a:gdLst>
              <a:gd name="T0" fmla="*/ 6 w 116"/>
              <a:gd name="T1" fmla="*/ 88 h 154"/>
              <a:gd name="T2" fmla="*/ 10 w 116"/>
              <a:gd name="T3" fmla="*/ 90 h 154"/>
              <a:gd name="T4" fmla="*/ 14 w 116"/>
              <a:gd name="T5" fmla="*/ 88 h 154"/>
              <a:gd name="T6" fmla="*/ 12 w 116"/>
              <a:gd name="T7" fmla="*/ 90 h 154"/>
              <a:gd name="T8" fmla="*/ 12 w 116"/>
              <a:gd name="T9" fmla="*/ 98 h 154"/>
              <a:gd name="T10" fmla="*/ 8 w 116"/>
              <a:gd name="T11" fmla="*/ 100 h 154"/>
              <a:gd name="T12" fmla="*/ 48 w 116"/>
              <a:gd name="T13" fmla="*/ 128 h 154"/>
              <a:gd name="T14" fmla="*/ 52 w 116"/>
              <a:gd name="T15" fmla="*/ 134 h 154"/>
              <a:gd name="T16" fmla="*/ 52 w 116"/>
              <a:gd name="T17" fmla="*/ 140 h 154"/>
              <a:gd name="T18" fmla="*/ 56 w 116"/>
              <a:gd name="T19" fmla="*/ 144 h 154"/>
              <a:gd name="T20" fmla="*/ 74 w 116"/>
              <a:gd name="T21" fmla="*/ 154 h 154"/>
              <a:gd name="T22" fmla="*/ 76 w 116"/>
              <a:gd name="T23" fmla="*/ 146 h 154"/>
              <a:gd name="T24" fmla="*/ 80 w 116"/>
              <a:gd name="T25" fmla="*/ 138 h 154"/>
              <a:gd name="T26" fmla="*/ 86 w 116"/>
              <a:gd name="T27" fmla="*/ 126 h 154"/>
              <a:gd name="T28" fmla="*/ 92 w 116"/>
              <a:gd name="T29" fmla="*/ 124 h 154"/>
              <a:gd name="T30" fmla="*/ 98 w 116"/>
              <a:gd name="T31" fmla="*/ 114 h 154"/>
              <a:gd name="T32" fmla="*/ 104 w 116"/>
              <a:gd name="T33" fmla="*/ 112 h 154"/>
              <a:gd name="T34" fmla="*/ 106 w 116"/>
              <a:gd name="T35" fmla="*/ 102 h 154"/>
              <a:gd name="T36" fmla="*/ 112 w 116"/>
              <a:gd name="T37" fmla="*/ 98 h 154"/>
              <a:gd name="T38" fmla="*/ 110 w 116"/>
              <a:gd name="T39" fmla="*/ 94 h 154"/>
              <a:gd name="T40" fmla="*/ 102 w 116"/>
              <a:gd name="T41" fmla="*/ 26 h 154"/>
              <a:gd name="T42" fmla="*/ 116 w 116"/>
              <a:gd name="T43" fmla="*/ 4 h 154"/>
              <a:gd name="T44" fmla="*/ 102 w 116"/>
              <a:gd name="T45" fmla="*/ 4 h 154"/>
              <a:gd name="T46" fmla="*/ 98 w 116"/>
              <a:gd name="T47" fmla="*/ 0 h 154"/>
              <a:gd name="T48" fmla="*/ 92 w 116"/>
              <a:gd name="T49" fmla="*/ 4 h 154"/>
              <a:gd name="T50" fmla="*/ 86 w 116"/>
              <a:gd name="T51" fmla="*/ 4 h 154"/>
              <a:gd name="T52" fmla="*/ 84 w 116"/>
              <a:gd name="T53" fmla="*/ 8 h 154"/>
              <a:gd name="T54" fmla="*/ 72 w 116"/>
              <a:gd name="T55" fmla="*/ 8 h 154"/>
              <a:gd name="T56" fmla="*/ 62 w 116"/>
              <a:gd name="T57" fmla="*/ 6 h 154"/>
              <a:gd name="T58" fmla="*/ 54 w 116"/>
              <a:gd name="T59" fmla="*/ 6 h 154"/>
              <a:gd name="T60" fmla="*/ 48 w 116"/>
              <a:gd name="T61" fmla="*/ 6 h 154"/>
              <a:gd name="T62" fmla="*/ 40 w 116"/>
              <a:gd name="T63" fmla="*/ 8 h 154"/>
              <a:gd name="T64" fmla="*/ 22 w 116"/>
              <a:gd name="T65" fmla="*/ 0 h 154"/>
              <a:gd name="T66" fmla="*/ 10 w 116"/>
              <a:gd name="T67" fmla="*/ 0 h 154"/>
              <a:gd name="T68" fmla="*/ 0 w 116"/>
              <a:gd name="T69" fmla="*/ 10 h 154"/>
              <a:gd name="T70" fmla="*/ 4 w 116"/>
              <a:gd name="T71" fmla="*/ 14 h 154"/>
              <a:gd name="T72" fmla="*/ 6 w 116"/>
              <a:gd name="T73" fmla="*/ 16 h 154"/>
              <a:gd name="T74" fmla="*/ 6 w 116"/>
              <a:gd name="T75" fmla="*/ 24 h 154"/>
              <a:gd name="T76" fmla="*/ 8 w 116"/>
              <a:gd name="T77" fmla="*/ 34 h 154"/>
              <a:gd name="T78" fmla="*/ 10 w 116"/>
              <a:gd name="T79" fmla="*/ 44 h 154"/>
              <a:gd name="T80" fmla="*/ 8 w 116"/>
              <a:gd name="T81" fmla="*/ 50 h 154"/>
              <a:gd name="T82" fmla="*/ 4 w 116"/>
              <a:gd name="T83" fmla="*/ 56 h 154"/>
              <a:gd name="T84" fmla="*/ 2 w 116"/>
              <a:gd name="T85" fmla="*/ 66 h 154"/>
              <a:gd name="T86" fmla="*/ 2 w 116"/>
              <a:gd name="T87" fmla="*/ 74 h 154"/>
              <a:gd name="T88" fmla="*/ 4 w 116"/>
              <a:gd name="T89" fmla="*/ 80 h 154"/>
              <a:gd name="T90" fmla="*/ 4 w 116"/>
              <a:gd name="T91" fmla="*/ 84 h 154"/>
              <a:gd name="T92" fmla="*/ 30 w 116"/>
              <a:gd name="T93" fmla="*/ 6 h 154"/>
              <a:gd name="T94" fmla="*/ 34 w 116"/>
              <a:gd name="T95" fmla="*/ 8 h 154"/>
              <a:gd name="T96" fmla="*/ 34 w 116"/>
              <a:gd name="T97" fmla="*/ 24 h 154"/>
              <a:gd name="T98" fmla="*/ 40 w 116"/>
              <a:gd name="T99" fmla="*/ 32 h 154"/>
              <a:gd name="T100" fmla="*/ 38 w 116"/>
              <a:gd name="T101" fmla="*/ 40 h 154"/>
              <a:gd name="T102" fmla="*/ 32 w 116"/>
              <a:gd name="T103" fmla="*/ 30 h 154"/>
              <a:gd name="T104" fmla="*/ 30 w 116"/>
              <a:gd name="T105" fmla="*/ 24 h 154"/>
              <a:gd name="T106" fmla="*/ 28 w 116"/>
              <a:gd name="T107" fmla="*/ 1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154">
                <a:moveTo>
                  <a:pt x="4" y="86"/>
                </a:moveTo>
                <a:lnTo>
                  <a:pt x="4" y="86"/>
                </a:lnTo>
                <a:lnTo>
                  <a:pt x="6" y="88"/>
                </a:lnTo>
                <a:lnTo>
                  <a:pt x="8" y="90"/>
                </a:lnTo>
                <a:lnTo>
                  <a:pt x="10" y="90"/>
                </a:lnTo>
                <a:lnTo>
                  <a:pt x="10" y="90"/>
                </a:lnTo>
                <a:lnTo>
                  <a:pt x="12" y="88"/>
                </a:lnTo>
                <a:lnTo>
                  <a:pt x="12" y="88"/>
                </a:lnTo>
                <a:lnTo>
                  <a:pt x="14" y="88"/>
                </a:lnTo>
                <a:lnTo>
                  <a:pt x="16" y="88"/>
                </a:lnTo>
                <a:lnTo>
                  <a:pt x="16" y="88"/>
                </a:lnTo>
                <a:lnTo>
                  <a:pt x="12" y="90"/>
                </a:lnTo>
                <a:lnTo>
                  <a:pt x="12" y="90"/>
                </a:lnTo>
                <a:lnTo>
                  <a:pt x="12" y="94"/>
                </a:lnTo>
                <a:lnTo>
                  <a:pt x="12" y="98"/>
                </a:lnTo>
                <a:lnTo>
                  <a:pt x="12" y="98"/>
                </a:lnTo>
                <a:lnTo>
                  <a:pt x="8" y="100"/>
                </a:lnTo>
                <a:lnTo>
                  <a:pt x="8" y="100"/>
                </a:lnTo>
                <a:lnTo>
                  <a:pt x="8" y="104"/>
                </a:lnTo>
                <a:lnTo>
                  <a:pt x="8" y="108"/>
                </a:lnTo>
                <a:lnTo>
                  <a:pt x="48" y="128"/>
                </a:lnTo>
                <a:lnTo>
                  <a:pt x="48" y="128"/>
                </a:lnTo>
                <a:lnTo>
                  <a:pt x="50" y="130"/>
                </a:lnTo>
                <a:lnTo>
                  <a:pt x="52" y="134"/>
                </a:lnTo>
                <a:lnTo>
                  <a:pt x="52" y="134"/>
                </a:lnTo>
                <a:lnTo>
                  <a:pt x="52" y="140"/>
                </a:lnTo>
                <a:lnTo>
                  <a:pt x="52" y="140"/>
                </a:lnTo>
                <a:lnTo>
                  <a:pt x="54" y="142"/>
                </a:lnTo>
                <a:lnTo>
                  <a:pt x="54" y="142"/>
                </a:lnTo>
                <a:lnTo>
                  <a:pt x="56" y="144"/>
                </a:lnTo>
                <a:lnTo>
                  <a:pt x="58" y="144"/>
                </a:lnTo>
                <a:lnTo>
                  <a:pt x="74" y="154"/>
                </a:lnTo>
                <a:lnTo>
                  <a:pt x="74" y="154"/>
                </a:lnTo>
                <a:lnTo>
                  <a:pt x="78" y="152"/>
                </a:lnTo>
                <a:lnTo>
                  <a:pt x="78" y="152"/>
                </a:lnTo>
                <a:lnTo>
                  <a:pt x="76" y="146"/>
                </a:lnTo>
                <a:lnTo>
                  <a:pt x="76" y="142"/>
                </a:lnTo>
                <a:lnTo>
                  <a:pt x="78" y="138"/>
                </a:lnTo>
                <a:lnTo>
                  <a:pt x="80" y="138"/>
                </a:lnTo>
                <a:lnTo>
                  <a:pt x="80" y="138"/>
                </a:lnTo>
                <a:lnTo>
                  <a:pt x="82" y="132"/>
                </a:lnTo>
                <a:lnTo>
                  <a:pt x="86" y="126"/>
                </a:lnTo>
                <a:lnTo>
                  <a:pt x="86" y="126"/>
                </a:lnTo>
                <a:lnTo>
                  <a:pt x="88" y="126"/>
                </a:lnTo>
                <a:lnTo>
                  <a:pt x="92" y="124"/>
                </a:lnTo>
                <a:lnTo>
                  <a:pt x="92" y="124"/>
                </a:lnTo>
                <a:lnTo>
                  <a:pt x="96" y="120"/>
                </a:lnTo>
                <a:lnTo>
                  <a:pt x="98" y="114"/>
                </a:lnTo>
                <a:lnTo>
                  <a:pt x="98" y="114"/>
                </a:lnTo>
                <a:lnTo>
                  <a:pt x="100" y="114"/>
                </a:lnTo>
                <a:lnTo>
                  <a:pt x="104" y="112"/>
                </a:lnTo>
                <a:lnTo>
                  <a:pt x="104" y="112"/>
                </a:lnTo>
                <a:lnTo>
                  <a:pt x="104" y="108"/>
                </a:lnTo>
                <a:lnTo>
                  <a:pt x="106" y="102"/>
                </a:lnTo>
                <a:lnTo>
                  <a:pt x="106" y="102"/>
                </a:lnTo>
                <a:lnTo>
                  <a:pt x="112" y="98"/>
                </a:lnTo>
                <a:lnTo>
                  <a:pt x="112" y="98"/>
                </a:lnTo>
                <a:lnTo>
                  <a:pt x="110" y="96"/>
                </a:lnTo>
                <a:lnTo>
                  <a:pt x="110" y="94"/>
                </a:lnTo>
                <a:lnTo>
                  <a:pt x="110" y="94"/>
                </a:lnTo>
                <a:lnTo>
                  <a:pt x="112" y="92"/>
                </a:lnTo>
                <a:lnTo>
                  <a:pt x="102" y="82"/>
                </a:lnTo>
                <a:lnTo>
                  <a:pt x="102" y="26"/>
                </a:lnTo>
                <a:lnTo>
                  <a:pt x="108" y="20"/>
                </a:lnTo>
                <a:lnTo>
                  <a:pt x="116" y="4"/>
                </a:lnTo>
                <a:lnTo>
                  <a:pt x="116" y="4"/>
                </a:lnTo>
                <a:lnTo>
                  <a:pt x="110" y="4"/>
                </a:lnTo>
                <a:lnTo>
                  <a:pt x="106" y="6"/>
                </a:lnTo>
                <a:lnTo>
                  <a:pt x="102" y="4"/>
                </a:lnTo>
                <a:lnTo>
                  <a:pt x="102" y="4"/>
                </a:lnTo>
                <a:lnTo>
                  <a:pt x="98" y="2"/>
                </a:lnTo>
                <a:lnTo>
                  <a:pt x="98" y="0"/>
                </a:lnTo>
                <a:lnTo>
                  <a:pt x="98" y="0"/>
                </a:lnTo>
                <a:lnTo>
                  <a:pt x="94" y="2"/>
                </a:lnTo>
                <a:lnTo>
                  <a:pt x="92" y="4"/>
                </a:lnTo>
                <a:lnTo>
                  <a:pt x="88" y="4"/>
                </a:lnTo>
                <a:lnTo>
                  <a:pt x="88" y="4"/>
                </a:lnTo>
                <a:lnTo>
                  <a:pt x="86" y="4"/>
                </a:lnTo>
                <a:lnTo>
                  <a:pt x="84" y="4"/>
                </a:lnTo>
                <a:lnTo>
                  <a:pt x="84" y="8"/>
                </a:lnTo>
                <a:lnTo>
                  <a:pt x="84" y="8"/>
                </a:lnTo>
                <a:lnTo>
                  <a:pt x="76" y="8"/>
                </a:lnTo>
                <a:lnTo>
                  <a:pt x="76" y="8"/>
                </a:lnTo>
                <a:lnTo>
                  <a:pt x="72" y="8"/>
                </a:lnTo>
                <a:lnTo>
                  <a:pt x="68" y="8"/>
                </a:lnTo>
                <a:lnTo>
                  <a:pt x="68" y="8"/>
                </a:lnTo>
                <a:lnTo>
                  <a:pt x="62" y="6"/>
                </a:lnTo>
                <a:lnTo>
                  <a:pt x="58" y="6"/>
                </a:lnTo>
                <a:lnTo>
                  <a:pt x="58" y="6"/>
                </a:lnTo>
                <a:lnTo>
                  <a:pt x="54" y="6"/>
                </a:lnTo>
                <a:lnTo>
                  <a:pt x="50" y="8"/>
                </a:lnTo>
                <a:lnTo>
                  <a:pt x="48" y="6"/>
                </a:lnTo>
                <a:lnTo>
                  <a:pt x="48" y="6"/>
                </a:lnTo>
                <a:lnTo>
                  <a:pt x="46" y="6"/>
                </a:lnTo>
                <a:lnTo>
                  <a:pt x="44" y="6"/>
                </a:lnTo>
                <a:lnTo>
                  <a:pt x="40" y="8"/>
                </a:lnTo>
                <a:lnTo>
                  <a:pt x="40" y="8"/>
                </a:lnTo>
                <a:lnTo>
                  <a:pt x="28" y="6"/>
                </a:lnTo>
                <a:lnTo>
                  <a:pt x="22" y="0"/>
                </a:lnTo>
                <a:lnTo>
                  <a:pt x="16" y="0"/>
                </a:lnTo>
                <a:lnTo>
                  <a:pt x="16" y="0"/>
                </a:lnTo>
                <a:lnTo>
                  <a:pt x="10" y="0"/>
                </a:lnTo>
                <a:lnTo>
                  <a:pt x="6" y="4"/>
                </a:lnTo>
                <a:lnTo>
                  <a:pt x="0" y="6"/>
                </a:lnTo>
                <a:lnTo>
                  <a:pt x="0" y="10"/>
                </a:lnTo>
                <a:lnTo>
                  <a:pt x="0" y="10"/>
                </a:lnTo>
                <a:lnTo>
                  <a:pt x="4" y="14"/>
                </a:lnTo>
                <a:lnTo>
                  <a:pt x="4" y="14"/>
                </a:lnTo>
                <a:lnTo>
                  <a:pt x="6" y="14"/>
                </a:lnTo>
                <a:lnTo>
                  <a:pt x="6" y="16"/>
                </a:lnTo>
                <a:lnTo>
                  <a:pt x="6" y="16"/>
                </a:lnTo>
                <a:lnTo>
                  <a:pt x="8" y="18"/>
                </a:lnTo>
                <a:lnTo>
                  <a:pt x="8" y="20"/>
                </a:lnTo>
                <a:lnTo>
                  <a:pt x="6" y="24"/>
                </a:lnTo>
                <a:lnTo>
                  <a:pt x="6" y="24"/>
                </a:lnTo>
                <a:lnTo>
                  <a:pt x="4" y="30"/>
                </a:lnTo>
                <a:lnTo>
                  <a:pt x="8" y="34"/>
                </a:lnTo>
                <a:lnTo>
                  <a:pt x="8" y="34"/>
                </a:lnTo>
                <a:lnTo>
                  <a:pt x="10" y="38"/>
                </a:lnTo>
                <a:lnTo>
                  <a:pt x="10" y="44"/>
                </a:lnTo>
                <a:lnTo>
                  <a:pt x="10" y="44"/>
                </a:lnTo>
                <a:lnTo>
                  <a:pt x="8" y="50"/>
                </a:lnTo>
                <a:lnTo>
                  <a:pt x="8" y="50"/>
                </a:lnTo>
                <a:lnTo>
                  <a:pt x="6" y="52"/>
                </a:lnTo>
                <a:lnTo>
                  <a:pt x="4" y="54"/>
                </a:lnTo>
                <a:lnTo>
                  <a:pt x="4" y="56"/>
                </a:lnTo>
                <a:lnTo>
                  <a:pt x="4" y="56"/>
                </a:lnTo>
                <a:lnTo>
                  <a:pt x="4" y="62"/>
                </a:lnTo>
                <a:lnTo>
                  <a:pt x="2" y="66"/>
                </a:lnTo>
                <a:lnTo>
                  <a:pt x="2" y="66"/>
                </a:lnTo>
                <a:lnTo>
                  <a:pt x="2" y="70"/>
                </a:lnTo>
                <a:lnTo>
                  <a:pt x="2" y="74"/>
                </a:lnTo>
                <a:lnTo>
                  <a:pt x="4" y="78"/>
                </a:lnTo>
                <a:lnTo>
                  <a:pt x="4" y="80"/>
                </a:lnTo>
                <a:lnTo>
                  <a:pt x="4" y="80"/>
                </a:lnTo>
                <a:lnTo>
                  <a:pt x="2" y="82"/>
                </a:lnTo>
                <a:lnTo>
                  <a:pt x="4" y="84"/>
                </a:lnTo>
                <a:lnTo>
                  <a:pt x="4" y="84"/>
                </a:lnTo>
                <a:lnTo>
                  <a:pt x="4" y="86"/>
                </a:lnTo>
                <a:lnTo>
                  <a:pt x="4" y="86"/>
                </a:lnTo>
                <a:close/>
                <a:moveTo>
                  <a:pt x="30" y="6"/>
                </a:moveTo>
                <a:lnTo>
                  <a:pt x="30" y="6"/>
                </a:lnTo>
                <a:lnTo>
                  <a:pt x="34" y="8"/>
                </a:lnTo>
                <a:lnTo>
                  <a:pt x="34" y="8"/>
                </a:lnTo>
                <a:lnTo>
                  <a:pt x="34" y="16"/>
                </a:lnTo>
                <a:lnTo>
                  <a:pt x="34" y="24"/>
                </a:lnTo>
                <a:lnTo>
                  <a:pt x="34" y="24"/>
                </a:lnTo>
                <a:lnTo>
                  <a:pt x="38" y="28"/>
                </a:lnTo>
                <a:lnTo>
                  <a:pt x="40" y="32"/>
                </a:lnTo>
                <a:lnTo>
                  <a:pt x="40" y="32"/>
                </a:lnTo>
                <a:lnTo>
                  <a:pt x="42" y="40"/>
                </a:lnTo>
                <a:lnTo>
                  <a:pt x="38" y="40"/>
                </a:lnTo>
                <a:lnTo>
                  <a:pt x="38" y="40"/>
                </a:lnTo>
                <a:lnTo>
                  <a:pt x="36" y="32"/>
                </a:lnTo>
                <a:lnTo>
                  <a:pt x="36" y="32"/>
                </a:lnTo>
                <a:lnTo>
                  <a:pt x="32" y="30"/>
                </a:lnTo>
                <a:lnTo>
                  <a:pt x="30" y="26"/>
                </a:lnTo>
                <a:lnTo>
                  <a:pt x="30" y="26"/>
                </a:lnTo>
                <a:lnTo>
                  <a:pt x="30" y="24"/>
                </a:lnTo>
                <a:lnTo>
                  <a:pt x="28" y="24"/>
                </a:lnTo>
                <a:lnTo>
                  <a:pt x="28" y="24"/>
                </a:lnTo>
                <a:lnTo>
                  <a:pt x="28" y="14"/>
                </a:lnTo>
                <a:lnTo>
                  <a:pt x="30" y="6"/>
                </a:lnTo>
                <a:lnTo>
                  <a:pt x="30"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2" name="Freeform 156">
            <a:extLst>
              <a:ext uri="{FF2B5EF4-FFF2-40B4-BE49-F238E27FC236}">
                <a16:creationId xmlns:a16="http://schemas.microsoft.com/office/drawing/2014/main" id="{A26DF164-EAA8-4965-9ACD-F09CCF5C296B}"/>
              </a:ext>
            </a:extLst>
          </p:cNvPr>
          <p:cNvSpPr>
            <a:spLocks/>
          </p:cNvSpPr>
          <p:nvPr userDrawn="1"/>
        </p:nvSpPr>
        <p:spPr bwMode="auto">
          <a:xfrm>
            <a:off x="6910671" y="1992117"/>
            <a:ext cx="919016" cy="480476"/>
          </a:xfrm>
          <a:custGeom>
            <a:avLst/>
            <a:gdLst>
              <a:gd name="T0" fmla="*/ 488 w 548"/>
              <a:gd name="T1" fmla="*/ 158 h 280"/>
              <a:gd name="T2" fmla="*/ 450 w 548"/>
              <a:gd name="T3" fmla="*/ 208 h 280"/>
              <a:gd name="T4" fmla="*/ 436 w 548"/>
              <a:gd name="T5" fmla="*/ 248 h 280"/>
              <a:gd name="T6" fmla="*/ 408 w 548"/>
              <a:gd name="T7" fmla="*/ 240 h 280"/>
              <a:gd name="T8" fmla="*/ 372 w 548"/>
              <a:gd name="T9" fmla="*/ 244 h 280"/>
              <a:gd name="T10" fmla="*/ 358 w 548"/>
              <a:gd name="T11" fmla="*/ 244 h 280"/>
              <a:gd name="T12" fmla="*/ 338 w 548"/>
              <a:gd name="T13" fmla="*/ 246 h 280"/>
              <a:gd name="T14" fmla="*/ 306 w 548"/>
              <a:gd name="T15" fmla="*/ 256 h 280"/>
              <a:gd name="T16" fmla="*/ 290 w 548"/>
              <a:gd name="T17" fmla="*/ 264 h 280"/>
              <a:gd name="T18" fmla="*/ 272 w 548"/>
              <a:gd name="T19" fmla="*/ 280 h 280"/>
              <a:gd name="T20" fmla="*/ 250 w 548"/>
              <a:gd name="T21" fmla="*/ 268 h 280"/>
              <a:gd name="T22" fmla="*/ 246 w 548"/>
              <a:gd name="T23" fmla="*/ 260 h 280"/>
              <a:gd name="T24" fmla="*/ 228 w 548"/>
              <a:gd name="T25" fmla="*/ 250 h 280"/>
              <a:gd name="T26" fmla="*/ 194 w 548"/>
              <a:gd name="T27" fmla="*/ 226 h 280"/>
              <a:gd name="T28" fmla="*/ 200 w 548"/>
              <a:gd name="T29" fmla="*/ 210 h 280"/>
              <a:gd name="T30" fmla="*/ 188 w 548"/>
              <a:gd name="T31" fmla="*/ 186 h 280"/>
              <a:gd name="T32" fmla="*/ 188 w 548"/>
              <a:gd name="T33" fmla="*/ 172 h 280"/>
              <a:gd name="T34" fmla="*/ 178 w 548"/>
              <a:gd name="T35" fmla="*/ 182 h 280"/>
              <a:gd name="T36" fmla="*/ 164 w 548"/>
              <a:gd name="T37" fmla="*/ 192 h 280"/>
              <a:gd name="T38" fmla="*/ 156 w 548"/>
              <a:gd name="T39" fmla="*/ 190 h 280"/>
              <a:gd name="T40" fmla="*/ 136 w 548"/>
              <a:gd name="T41" fmla="*/ 196 h 280"/>
              <a:gd name="T42" fmla="*/ 102 w 548"/>
              <a:gd name="T43" fmla="*/ 258 h 280"/>
              <a:gd name="T44" fmla="*/ 74 w 548"/>
              <a:gd name="T45" fmla="*/ 264 h 280"/>
              <a:gd name="T46" fmla="*/ 64 w 548"/>
              <a:gd name="T47" fmla="*/ 242 h 280"/>
              <a:gd name="T48" fmla="*/ 52 w 548"/>
              <a:gd name="T49" fmla="*/ 226 h 280"/>
              <a:gd name="T50" fmla="*/ 56 w 548"/>
              <a:gd name="T51" fmla="*/ 214 h 280"/>
              <a:gd name="T52" fmla="*/ 60 w 548"/>
              <a:gd name="T53" fmla="*/ 206 h 280"/>
              <a:gd name="T54" fmla="*/ 72 w 548"/>
              <a:gd name="T55" fmla="*/ 198 h 280"/>
              <a:gd name="T56" fmla="*/ 92 w 548"/>
              <a:gd name="T57" fmla="*/ 206 h 280"/>
              <a:gd name="T58" fmla="*/ 96 w 548"/>
              <a:gd name="T59" fmla="*/ 194 h 280"/>
              <a:gd name="T60" fmla="*/ 90 w 548"/>
              <a:gd name="T61" fmla="*/ 178 h 280"/>
              <a:gd name="T62" fmla="*/ 74 w 548"/>
              <a:gd name="T63" fmla="*/ 166 h 280"/>
              <a:gd name="T64" fmla="*/ 56 w 548"/>
              <a:gd name="T65" fmla="*/ 158 h 280"/>
              <a:gd name="T66" fmla="*/ 42 w 548"/>
              <a:gd name="T67" fmla="*/ 166 h 280"/>
              <a:gd name="T68" fmla="*/ 26 w 548"/>
              <a:gd name="T69" fmla="*/ 174 h 280"/>
              <a:gd name="T70" fmla="*/ 16 w 548"/>
              <a:gd name="T71" fmla="*/ 148 h 280"/>
              <a:gd name="T72" fmla="*/ 6 w 548"/>
              <a:gd name="T73" fmla="*/ 138 h 280"/>
              <a:gd name="T74" fmla="*/ 10 w 548"/>
              <a:gd name="T75" fmla="*/ 116 h 280"/>
              <a:gd name="T76" fmla="*/ 10 w 548"/>
              <a:gd name="T77" fmla="*/ 100 h 280"/>
              <a:gd name="T78" fmla="*/ 26 w 548"/>
              <a:gd name="T79" fmla="*/ 102 h 280"/>
              <a:gd name="T80" fmla="*/ 34 w 548"/>
              <a:gd name="T81" fmla="*/ 80 h 280"/>
              <a:gd name="T82" fmla="*/ 50 w 548"/>
              <a:gd name="T83" fmla="*/ 76 h 280"/>
              <a:gd name="T84" fmla="*/ 76 w 548"/>
              <a:gd name="T85" fmla="*/ 62 h 280"/>
              <a:gd name="T86" fmla="*/ 84 w 548"/>
              <a:gd name="T87" fmla="*/ 68 h 280"/>
              <a:gd name="T88" fmla="*/ 104 w 548"/>
              <a:gd name="T89" fmla="*/ 80 h 280"/>
              <a:gd name="T90" fmla="*/ 118 w 548"/>
              <a:gd name="T91" fmla="*/ 92 h 280"/>
              <a:gd name="T92" fmla="*/ 126 w 548"/>
              <a:gd name="T93" fmla="*/ 82 h 280"/>
              <a:gd name="T94" fmla="*/ 152 w 548"/>
              <a:gd name="T95" fmla="*/ 80 h 280"/>
              <a:gd name="T96" fmla="*/ 168 w 548"/>
              <a:gd name="T97" fmla="*/ 92 h 280"/>
              <a:gd name="T98" fmla="*/ 180 w 548"/>
              <a:gd name="T99" fmla="*/ 80 h 280"/>
              <a:gd name="T100" fmla="*/ 182 w 548"/>
              <a:gd name="T101" fmla="*/ 20 h 280"/>
              <a:gd name="T102" fmla="*/ 256 w 548"/>
              <a:gd name="T103" fmla="*/ 12 h 280"/>
              <a:gd name="T104" fmla="*/ 298 w 548"/>
              <a:gd name="T105" fmla="*/ 18 h 280"/>
              <a:gd name="T106" fmla="*/ 334 w 548"/>
              <a:gd name="T107" fmla="*/ 20 h 280"/>
              <a:gd name="T108" fmla="*/ 394 w 548"/>
              <a:gd name="T109" fmla="*/ 12 h 280"/>
              <a:gd name="T110" fmla="*/ 430 w 548"/>
              <a:gd name="T111" fmla="*/ 84 h 280"/>
              <a:gd name="T112" fmla="*/ 472 w 548"/>
              <a:gd name="T113" fmla="*/ 100 h 280"/>
              <a:gd name="T114" fmla="*/ 536 w 548"/>
              <a:gd name="T115"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8" h="280">
                <a:moveTo>
                  <a:pt x="548" y="124"/>
                </a:moveTo>
                <a:lnTo>
                  <a:pt x="528" y="128"/>
                </a:lnTo>
                <a:lnTo>
                  <a:pt x="522" y="134"/>
                </a:lnTo>
                <a:lnTo>
                  <a:pt x="518" y="140"/>
                </a:lnTo>
                <a:lnTo>
                  <a:pt x="510" y="142"/>
                </a:lnTo>
                <a:lnTo>
                  <a:pt x="508" y="146"/>
                </a:lnTo>
                <a:lnTo>
                  <a:pt x="506" y="154"/>
                </a:lnTo>
                <a:lnTo>
                  <a:pt x="496" y="158"/>
                </a:lnTo>
                <a:lnTo>
                  <a:pt x="488" y="158"/>
                </a:lnTo>
                <a:lnTo>
                  <a:pt x="482" y="162"/>
                </a:lnTo>
                <a:lnTo>
                  <a:pt x="478" y="170"/>
                </a:lnTo>
                <a:lnTo>
                  <a:pt x="472" y="174"/>
                </a:lnTo>
                <a:lnTo>
                  <a:pt x="470" y="184"/>
                </a:lnTo>
                <a:lnTo>
                  <a:pt x="472" y="194"/>
                </a:lnTo>
                <a:lnTo>
                  <a:pt x="476" y="198"/>
                </a:lnTo>
                <a:lnTo>
                  <a:pt x="474" y="202"/>
                </a:lnTo>
                <a:lnTo>
                  <a:pt x="460" y="202"/>
                </a:lnTo>
                <a:lnTo>
                  <a:pt x="450" y="208"/>
                </a:lnTo>
                <a:lnTo>
                  <a:pt x="440" y="210"/>
                </a:lnTo>
                <a:lnTo>
                  <a:pt x="436" y="212"/>
                </a:lnTo>
                <a:lnTo>
                  <a:pt x="438" y="218"/>
                </a:lnTo>
                <a:lnTo>
                  <a:pt x="446" y="224"/>
                </a:lnTo>
                <a:lnTo>
                  <a:pt x="448" y="230"/>
                </a:lnTo>
                <a:lnTo>
                  <a:pt x="442" y="242"/>
                </a:lnTo>
                <a:lnTo>
                  <a:pt x="442" y="252"/>
                </a:lnTo>
                <a:lnTo>
                  <a:pt x="436" y="248"/>
                </a:lnTo>
                <a:lnTo>
                  <a:pt x="436" y="248"/>
                </a:lnTo>
                <a:lnTo>
                  <a:pt x="432" y="248"/>
                </a:lnTo>
                <a:lnTo>
                  <a:pt x="428" y="246"/>
                </a:lnTo>
                <a:lnTo>
                  <a:pt x="428" y="246"/>
                </a:lnTo>
                <a:lnTo>
                  <a:pt x="426" y="242"/>
                </a:lnTo>
                <a:lnTo>
                  <a:pt x="420" y="240"/>
                </a:lnTo>
                <a:lnTo>
                  <a:pt x="420" y="240"/>
                </a:lnTo>
                <a:lnTo>
                  <a:pt x="414" y="240"/>
                </a:lnTo>
                <a:lnTo>
                  <a:pt x="408" y="240"/>
                </a:lnTo>
                <a:lnTo>
                  <a:pt x="408" y="240"/>
                </a:lnTo>
                <a:lnTo>
                  <a:pt x="392" y="240"/>
                </a:lnTo>
                <a:lnTo>
                  <a:pt x="392" y="240"/>
                </a:lnTo>
                <a:lnTo>
                  <a:pt x="386" y="244"/>
                </a:lnTo>
                <a:lnTo>
                  <a:pt x="378" y="248"/>
                </a:lnTo>
                <a:lnTo>
                  <a:pt x="378" y="248"/>
                </a:lnTo>
                <a:lnTo>
                  <a:pt x="376" y="248"/>
                </a:lnTo>
                <a:lnTo>
                  <a:pt x="374" y="246"/>
                </a:lnTo>
                <a:lnTo>
                  <a:pt x="374" y="246"/>
                </a:lnTo>
                <a:lnTo>
                  <a:pt x="372" y="244"/>
                </a:lnTo>
                <a:lnTo>
                  <a:pt x="372" y="244"/>
                </a:lnTo>
                <a:lnTo>
                  <a:pt x="368" y="244"/>
                </a:lnTo>
                <a:lnTo>
                  <a:pt x="368" y="242"/>
                </a:lnTo>
                <a:lnTo>
                  <a:pt x="366" y="240"/>
                </a:lnTo>
                <a:lnTo>
                  <a:pt x="364" y="240"/>
                </a:lnTo>
                <a:lnTo>
                  <a:pt x="364" y="240"/>
                </a:lnTo>
                <a:lnTo>
                  <a:pt x="360" y="244"/>
                </a:lnTo>
                <a:lnTo>
                  <a:pt x="358" y="244"/>
                </a:lnTo>
                <a:lnTo>
                  <a:pt x="358" y="244"/>
                </a:lnTo>
                <a:lnTo>
                  <a:pt x="354" y="246"/>
                </a:lnTo>
                <a:lnTo>
                  <a:pt x="352" y="248"/>
                </a:lnTo>
                <a:lnTo>
                  <a:pt x="352" y="248"/>
                </a:lnTo>
                <a:lnTo>
                  <a:pt x="350" y="250"/>
                </a:lnTo>
                <a:lnTo>
                  <a:pt x="348" y="254"/>
                </a:lnTo>
                <a:lnTo>
                  <a:pt x="348" y="254"/>
                </a:lnTo>
                <a:lnTo>
                  <a:pt x="346" y="254"/>
                </a:lnTo>
                <a:lnTo>
                  <a:pt x="344" y="250"/>
                </a:lnTo>
                <a:lnTo>
                  <a:pt x="338" y="246"/>
                </a:lnTo>
                <a:lnTo>
                  <a:pt x="334" y="246"/>
                </a:lnTo>
                <a:lnTo>
                  <a:pt x="324" y="246"/>
                </a:lnTo>
                <a:lnTo>
                  <a:pt x="324" y="246"/>
                </a:lnTo>
                <a:lnTo>
                  <a:pt x="320" y="246"/>
                </a:lnTo>
                <a:lnTo>
                  <a:pt x="318" y="250"/>
                </a:lnTo>
                <a:lnTo>
                  <a:pt x="314" y="254"/>
                </a:lnTo>
                <a:lnTo>
                  <a:pt x="314" y="254"/>
                </a:lnTo>
                <a:lnTo>
                  <a:pt x="310" y="256"/>
                </a:lnTo>
                <a:lnTo>
                  <a:pt x="306" y="256"/>
                </a:lnTo>
                <a:lnTo>
                  <a:pt x="306" y="256"/>
                </a:lnTo>
                <a:lnTo>
                  <a:pt x="300" y="258"/>
                </a:lnTo>
                <a:lnTo>
                  <a:pt x="298" y="258"/>
                </a:lnTo>
                <a:lnTo>
                  <a:pt x="298" y="260"/>
                </a:lnTo>
                <a:lnTo>
                  <a:pt x="298" y="260"/>
                </a:lnTo>
                <a:lnTo>
                  <a:pt x="296" y="262"/>
                </a:lnTo>
                <a:lnTo>
                  <a:pt x="294" y="262"/>
                </a:lnTo>
                <a:lnTo>
                  <a:pt x="290" y="264"/>
                </a:lnTo>
                <a:lnTo>
                  <a:pt x="290" y="264"/>
                </a:lnTo>
                <a:lnTo>
                  <a:pt x="288" y="266"/>
                </a:lnTo>
                <a:lnTo>
                  <a:pt x="286" y="268"/>
                </a:lnTo>
                <a:lnTo>
                  <a:pt x="286" y="272"/>
                </a:lnTo>
                <a:lnTo>
                  <a:pt x="286" y="272"/>
                </a:lnTo>
                <a:lnTo>
                  <a:pt x="278" y="274"/>
                </a:lnTo>
                <a:lnTo>
                  <a:pt x="278" y="278"/>
                </a:lnTo>
                <a:lnTo>
                  <a:pt x="278" y="278"/>
                </a:lnTo>
                <a:lnTo>
                  <a:pt x="272" y="280"/>
                </a:lnTo>
                <a:lnTo>
                  <a:pt x="272" y="280"/>
                </a:lnTo>
                <a:lnTo>
                  <a:pt x="272" y="280"/>
                </a:lnTo>
                <a:lnTo>
                  <a:pt x="272" y="278"/>
                </a:lnTo>
                <a:lnTo>
                  <a:pt x="272" y="274"/>
                </a:lnTo>
                <a:lnTo>
                  <a:pt x="272" y="274"/>
                </a:lnTo>
                <a:lnTo>
                  <a:pt x="266" y="270"/>
                </a:lnTo>
                <a:lnTo>
                  <a:pt x="262" y="270"/>
                </a:lnTo>
                <a:lnTo>
                  <a:pt x="262" y="270"/>
                </a:lnTo>
                <a:lnTo>
                  <a:pt x="256" y="270"/>
                </a:lnTo>
                <a:lnTo>
                  <a:pt x="250" y="268"/>
                </a:lnTo>
                <a:lnTo>
                  <a:pt x="250" y="268"/>
                </a:lnTo>
                <a:lnTo>
                  <a:pt x="248" y="268"/>
                </a:lnTo>
                <a:lnTo>
                  <a:pt x="248" y="266"/>
                </a:lnTo>
                <a:lnTo>
                  <a:pt x="250" y="262"/>
                </a:lnTo>
                <a:lnTo>
                  <a:pt x="250" y="262"/>
                </a:lnTo>
                <a:lnTo>
                  <a:pt x="248" y="262"/>
                </a:lnTo>
                <a:lnTo>
                  <a:pt x="248" y="260"/>
                </a:lnTo>
                <a:lnTo>
                  <a:pt x="246" y="260"/>
                </a:lnTo>
                <a:lnTo>
                  <a:pt x="246" y="260"/>
                </a:lnTo>
                <a:lnTo>
                  <a:pt x="246" y="260"/>
                </a:lnTo>
                <a:lnTo>
                  <a:pt x="246" y="256"/>
                </a:lnTo>
                <a:lnTo>
                  <a:pt x="242" y="256"/>
                </a:lnTo>
                <a:lnTo>
                  <a:pt x="242" y="256"/>
                </a:lnTo>
                <a:lnTo>
                  <a:pt x="238" y="256"/>
                </a:lnTo>
                <a:lnTo>
                  <a:pt x="234" y="254"/>
                </a:lnTo>
                <a:lnTo>
                  <a:pt x="234" y="254"/>
                </a:lnTo>
                <a:lnTo>
                  <a:pt x="230" y="246"/>
                </a:lnTo>
                <a:lnTo>
                  <a:pt x="228" y="250"/>
                </a:lnTo>
                <a:lnTo>
                  <a:pt x="228" y="250"/>
                </a:lnTo>
                <a:lnTo>
                  <a:pt x="212" y="246"/>
                </a:lnTo>
                <a:lnTo>
                  <a:pt x="212" y="246"/>
                </a:lnTo>
                <a:lnTo>
                  <a:pt x="202" y="246"/>
                </a:lnTo>
                <a:lnTo>
                  <a:pt x="198" y="246"/>
                </a:lnTo>
                <a:lnTo>
                  <a:pt x="198" y="246"/>
                </a:lnTo>
                <a:lnTo>
                  <a:pt x="196" y="230"/>
                </a:lnTo>
                <a:lnTo>
                  <a:pt x="196" y="230"/>
                </a:lnTo>
                <a:lnTo>
                  <a:pt x="194" y="226"/>
                </a:lnTo>
                <a:lnTo>
                  <a:pt x="194" y="222"/>
                </a:lnTo>
                <a:lnTo>
                  <a:pt x="192" y="222"/>
                </a:lnTo>
                <a:lnTo>
                  <a:pt x="192" y="222"/>
                </a:lnTo>
                <a:lnTo>
                  <a:pt x="194" y="220"/>
                </a:lnTo>
                <a:lnTo>
                  <a:pt x="196" y="218"/>
                </a:lnTo>
                <a:lnTo>
                  <a:pt x="196" y="218"/>
                </a:lnTo>
                <a:lnTo>
                  <a:pt x="196" y="214"/>
                </a:lnTo>
                <a:lnTo>
                  <a:pt x="200" y="212"/>
                </a:lnTo>
                <a:lnTo>
                  <a:pt x="200" y="210"/>
                </a:lnTo>
                <a:lnTo>
                  <a:pt x="200" y="210"/>
                </a:lnTo>
                <a:lnTo>
                  <a:pt x="192" y="206"/>
                </a:lnTo>
                <a:lnTo>
                  <a:pt x="190" y="204"/>
                </a:lnTo>
                <a:lnTo>
                  <a:pt x="188" y="200"/>
                </a:lnTo>
                <a:lnTo>
                  <a:pt x="188" y="200"/>
                </a:lnTo>
                <a:lnTo>
                  <a:pt x="188" y="196"/>
                </a:lnTo>
                <a:lnTo>
                  <a:pt x="188" y="192"/>
                </a:lnTo>
                <a:lnTo>
                  <a:pt x="188" y="192"/>
                </a:lnTo>
                <a:lnTo>
                  <a:pt x="188" y="186"/>
                </a:lnTo>
                <a:lnTo>
                  <a:pt x="188" y="186"/>
                </a:lnTo>
                <a:lnTo>
                  <a:pt x="196" y="172"/>
                </a:lnTo>
                <a:lnTo>
                  <a:pt x="196" y="172"/>
                </a:lnTo>
                <a:lnTo>
                  <a:pt x="194" y="172"/>
                </a:lnTo>
                <a:lnTo>
                  <a:pt x="192" y="174"/>
                </a:lnTo>
                <a:lnTo>
                  <a:pt x="192" y="174"/>
                </a:lnTo>
                <a:lnTo>
                  <a:pt x="188" y="172"/>
                </a:lnTo>
                <a:lnTo>
                  <a:pt x="188" y="172"/>
                </a:lnTo>
                <a:lnTo>
                  <a:pt x="188" y="172"/>
                </a:lnTo>
                <a:lnTo>
                  <a:pt x="188" y="174"/>
                </a:lnTo>
                <a:lnTo>
                  <a:pt x="188" y="174"/>
                </a:lnTo>
                <a:lnTo>
                  <a:pt x="178" y="174"/>
                </a:lnTo>
                <a:lnTo>
                  <a:pt x="178" y="174"/>
                </a:lnTo>
                <a:lnTo>
                  <a:pt x="178" y="176"/>
                </a:lnTo>
                <a:lnTo>
                  <a:pt x="178" y="176"/>
                </a:lnTo>
                <a:lnTo>
                  <a:pt x="180" y="178"/>
                </a:lnTo>
                <a:lnTo>
                  <a:pt x="180" y="178"/>
                </a:lnTo>
                <a:lnTo>
                  <a:pt x="178" y="182"/>
                </a:lnTo>
                <a:lnTo>
                  <a:pt x="178" y="182"/>
                </a:lnTo>
                <a:lnTo>
                  <a:pt x="172" y="180"/>
                </a:lnTo>
                <a:lnTo>
                  <a:pt x="170" y="184"/>
                </a:lnTo>
                <a:lnTo>
                  <a:pt x="170" y="184"/>
                </a:lnTo>
                <a:lnTo>
                  <a:pt x="166" y="184"/>
                </a:lnTo>
                <a:lnTo>
                  <a:pt x="166" y="184"/>
                </a:lnTo>
                <a:lnTo>
                  <a:pt x="164" y="190"/>
                </a:lnTo>
                <a:lnTo>
                  <a:pt x="164" y="190"/>
                </a:lnTo>
                <a:lnTo>
                  <a:pt x="164" y="192"/>
                </a:lnTo>
                <a:lnTo>
                  <a:pt x="164" y="194"/>
                </a:lnTo>
                <a:lnTo>
                  <a:pt x="164" y="194"/>
                </a:lnTo>
                <a:lnTo>
                  <a:pt x="162" y="194"/>
                </a:lnTo>
                <a:lnTo>
                  <a:pt x="162" y="192"/>
                </a:lnTo>
                <a:lnTo>
                  <a:pt x="162" y="188"/>
                </a:lnTo>
                <a:lnTo>
                  <a:pt x="162" y="188"/>
                </a:lnTo>
                <a:lnTo>
                  <a:pt x="160" y="188"/>
                </a:lnTo>
                <a:lnTo>
                  <a:pt x="160" y="188"/>
                </a:lnTo>
                <a:lnTo>
                  <a:pt x="156" y="190"/>
                </a:lnTo>
                <a:lnTo>
                  <a:pt x="156" y="190"/>
                </a:lnTo>
                <a:lnTo>
                  <a:pt x="154" y="192"/>
                </a:lnTo>
                <a:lnTo>
                  <a:pt x="154" y="194"/>
                </a:lnTo>
                <a:lnTo>
                  <a:pt x="154" y="196"/>
                </a:lnTo>
                <a:lnTo>
                  <a:pt x="154" y="196"/>
                </a:lnTo>
                <a:lnTo>
                  <a:pt x="148" y="194"/>
                </a:lnTo>
                <a:lnTo>
                  <a:pt x="148" y="194"/>
                </a:lnTo>
                <a:lnTo>
                  <a:pt x="142" y="196"/>
                </a:lnTo>
                <a:lnTo>
                  <a:pt x="136" y="196"/>
                </a:lnTo>
                <a:lnTo>
                  <a:pt x="136" y="196"/>
                </a:lnTo>
                <a:lnTo>
                  <a:pt x="128" y="200"/>
                </a:lnTo>
                <a:lnTo>
                  <a:pt x="122" y="202"/>
                </a:lnTo>
                <a:lnTo>
                  <a:pt x="120" y="266"/>
                </a:lnTo>
                <a:lnTo>
                  <a:pt x="120" y="266"/>
                </a:lnTo>
                <a:lnTo>
                  <a:pt x="116" y="266"/>
                </a:lnTo>
                <a:lnTo>
                  <a:pt x="108" y="266"/>
                </a:lnTo>
                <a:lnTo>
                  <a:pt x="108" y="266"/>
                </a:lnTo>
                <a:lnTo>
                  <a:pt x="102" y="258"/>
                </a:lnTo>
                <a:lnTo>
                  <a:pt x="98" y="254"/>
                </a:lnTo>
                <a:lnTo>
                  <a:pt x="94" y="252"/>
                </a:lnTo>
                <a:lnTo>
                  <a:pt x="90" y="252"/>
                </a:lnTo>
                <a:lnTo>
                  <a:pt x="90" y="252"/>
                </a:lnTo>
                <a:lnTo>
                  <a:pt x="80" y="252"/>
                </a:lnTo>
                <a:lnTo>
                  <a:pt x="76" y="254"/>
                </a:lnTo>
                <a:lnTo>
                  <a:pt x="76" y="260"/>
                </a:lnTo>
                <a:lnTo>
                  <a:pt x="76" y="260"/>
                </a:lnTo>
                <a:lnTo>
                  <a:pt x="74" y="264"/>
                </a:lnTo>
                <a:lnTo>
                  <a:pt x="72" y="264"/>
                </a:lnTo>
                <a:lnTo>
                  <a:pt x="72" y="264"/>
                </a:lnTo>
                <a:lnTo>
                  <a:pt x="72" y="264"/>
                </a:lnTo>
                <a:lnTo>
                  <a:pt x="74" y="256"/>
                </a:lnTo>
                <a:lnTo>
                  <a:pt x="76" y="246"/>
                </a:lnTo>
                <a:lnTo>
                  <a:pt x="76" y="246"/>
                </a:lnTo>
                <a:lnTo>
                  <a:pt x="66" y="244"/>
                </a:lnTo>
                <a:lnTo>
                  <a:pt x="66" y="244"/>
                </a:lnTo>
                <a:lnTo>
                  <a:pt x="64" y="242"/>
                </a:lnTo>
                <a:lnTo>
                  <a:pt x="64" y="240"/>
                </a:lnTo>
                <a:lnTo>
                  <a:pt x="62" y="238"/>
                </a:lnTo>
                <a:lnTo>
                  <a:pt x="58" y="240"/>
                </a:lnTo>
                <a:lnTo>
                  <a:pt x="58" y="240"/>
                </a:lnTo>
                <a:lnTo>
                  <a:pt x="58" y="236"/>
                </a:lnTo>
                <a:lnTo>
                  <a:pt x="58" y="234"/>
                </a:lnTo>
                <a:lnTo>
                  <a:pt x="56" y="234"/>
                </a:lnTo>
                <a:lnTo>
                  <a:pt x="56" y="234"/>
                </a:lnTo>
                <a:lnTo>
                  <a:pt x="52" y="226"/>
                </a:lnTo>
                <a:lnTo>
                  <a:pt x="44" y="220"/>
                </a:lnTo>
                <a:lnTo>
                  <a:pt x="44" y="220"/>
                </a:lnTo>
                <a:lnTo>
                  <a:pt x="46" y="216"/>
                </a:lnTo>
                <a:lnTo>
                  <a:pt x="46" y="216"/>
                </a:lnTo>
                <a:lnTo>
                  <a:pt x="54" y="218"/>
                </a:lnTo>
                <a:lnTo>
                  <a:pt x="60" y="218"/>
                </a:lnTo>
                <a:lnTo>
                  <a:pt x="62" y="214"/>
                </a:lnTo>
                <a:lnTo>
                  <a:pt x="62" y="214"/>
                </a:lnTo>
                <a:lnTo>
                  <a:pt x="56" y="214"/>
                </a:lnTo>
                <a:lnTo>
                  <a:pt x="56" y="214"/>
                </a:lnTo>
                <a:lnTo>
                  <a:pt x="52" y="208"/>
                </a:lnTo>
                <a:lnTo>
                  <a:pt x="52" y="208"/>
                </a:lnTo>
                <a:lnTo>
                  <a:pt x="52" y="206"/>
                </a:lnTo>
                <a:lnTo>
                  <a:pt x="54" y="206"/>
                </a:lnTo>
                <a:lnTo>
                  <a:pt x="54" y="206"/>
                </a:lnTo>
                <a:lnTo>
                  <a:pt x="56" y="208"/>
                </a:lnTo>
                <a:lnTo>
                  <a:pt x="56" y="208"/>
                </a:lnTo>
                <a:lnTo>
                  <a:pt x="60" y="206"/>
                </a:lnTo>
                <a:lnTo>
                  <a:pt x="62" y="206"/>
                </a:lnTo>
                <a:lnTo>
                  <a:pt x="62" y="206"/>
                </a:lnTo>
                <a:lnTo>
                  <a:pt x="64" y="206"/>
                </a:lnTo>
                <a:lnTo>
                  <a:pt x="66" y="206"/>
                </a:lnTo>
                <a:lnTo>
                  <a:pt x="66" y="206"/>
                </a:lnTo>
                <a:lnTo>
                  <a:pt x="66" y="198"/>
                </a:lnTo>
                <a:lnTo>
                  <a:pt x="66" y="198"/>
                </a:lnTo>
                <a:lnTo>
                  <a:pt x="72" y="198"/>
                </a:lnTo>
                <a:lnTo>
                  <a:pt x="72" y="198"/>
                </a:lnTo>
                <a:lnTo>
                  <a:pt x="76" y="202"/>
                </a:lnTo>
                <a:lnTo>
                  <a:pt x="76" y="202"/>
                </a:lnTo>
                <a:lnTo>
                  <a:pt x="88" y="204"/>
                </a:lnTo>
                <a:lnTo>
                  <a:pt x="88" y="204"/>
                </a:lnTo>
                <a:lnTo>
                  <a:pt x="84" y="210"/>
                </a:lnTo>
                <a:lnTo>
                  <a:pt x="84" y="210"/>
                </a:lnTo>
                <a:lnTo>
                  <a:pt x="88" y="208"/>
                </a:lnTo>
                <a:lnTo>
                  <a:pt x="92" y="206"/>
                </a:lnTo>
                <a:lnTo>
                  <a:pt x="92" y="206"/>
                </a:lnTo>
                <a:lnTo>
                  <a:pt x="92" y="206"/>
                </a:lnTo>
                <a:lnTo>
                  <a:pt x="94" y="208"/>
                </a:lnTo>
                <a:lnTo>
                  <a:pt x="94" y="208"/>
                </a:lnTo>
                <a:lnTo>
                  <a:pt x="96" y="206"/>
                </a:lnTo>
                <a:lnTo>
                  <a:pt x="96" y="206"/>
                </a:lnTo>
                <a:lnTo>
                  <a:pt x="96" y="206"/>
                </a:lnTo>
                <a:lnTo>
                  <a:pt x="98" y="194"/>
                </a:lnTo>
                <a:lnTo>
                  <a:pt x="98" y="194"/>
                </a:lnTo>
                <a:lnTo>
                  <a:pt x="96" y="194"/>
                </a:lnTo>
                <a:lnTo>
                  <a:pt x="96" y="194"/>
                </a:lnTo>
                <a:lnTo>
                  <a:pt x="94" y="190"/>
                </a:lnTo>
                <a:lnTo>
                  <a:pt x="94" y="190"/>
                </a:lnTo>
                <a:lnTo>
                  <a:pt x="94" y="190"/>
                </a:lnTo>
                <a:lnTo>
                  <a:pt x="92" y="190"/>
                </a:lnTo>
                <a:lnTo>
                  <a:pt x="92" y="190"/>
                </a:lnTo>
                <a:lnTo>
                  <a:pt x="90" y="184"/>
                </a:lnTo>
                <a:lnTo>
                  <a:pt x="90" y="178"/>
                </a:lnTo>
                <a:lnTo>
                  <a:pt x="90" y="178"/>
                </a:lnTo>
                <a:lnTo>
                  <a:pt x="86" y="178"/>
                </a:lnTo>
                <a:lnTo>
                  <a:pt x="84" y="178"/>
                </a:lnTo>
                <a:lnTo>
                  <a:pt x="84" y="178"/>
                </a:lnTo>
                <a:lnTo>
                  <a:pt x="82" y="172"/>
                </a:lnTo>
                <a:lnTo>
                  <a:pt x="82" y="172"/>
                </a:lnTo>
                <a:lnTo>
                  <a:pt x="78" y="172"/>
                </a:lnTo>
                <a:lnTo>
                  <a:pt x="78" y="172"/>
                </a:lnTo>
                <a:lnTo>
                  <a:pt x="74" y="166"/>
                </a:lnTo>
                <a:lnTo>
                  <a:pt x="74" y="166"/>
                </a:lnTo>
                <a:lnTo>
                  <a:pt x="72" y="166"/>
                </a:lnTo>
                <a:lnTo>
                  <a:pt x="70" y="166"/>
                </a:lnTo>
                <a:lnTo>
                  <a:pt x="68" y="164"/>
                </a:lnTo>
                <a:lnTo>
                  <a:pt x="68" y="164"/>
                </a:lnTo>
                <a:lnTo>
                  <a:pt x="60" y="164"/>
                </a:lnTo>
                <a:lnTo>
                  <a:pt x="60" y="164"/>
                </a:lnTo>
                <a:lnTo>
                  <a:pt x="60" y="160"/>
                </a:lnTo>
                <a:lnTo>
                  <a:pt x="60" y="160"/>
                </a:lnTo>
                <a:lnTo>
                  <a:pt x="56" y="158"/>
                </a:lnTo>
                <a:lnTo>
                  <a:pt x="56" y="158"/>
                </a:lnTo>
                <a:lnTo>
                  <a:pt x="52" y="158"/>
                </a:lnTo>
                <a:lnTo>
                  <a:pt x="52" y="158"/>
                </a:lnTo>
                <a:lnTo>
                  <a:pt x="50" y="158"/>
                </a:lnTo>
                <a:lnTo>
                  <a:pt x="50" y="158"/>
                </a:lnTo>
                <a:lnTo>
                  <a:pt x="50" y="162"/>
                </a:lnTo>
                <a:lnTo>
                  <a:pt x="50" y="162"/>
                </a:lnTo>
                <a:lnTo>
                  <a:pt x="46" y="166"/>
                </a:lnTo>
                <a:lnTo>
                  <a:pt x="42" y="166"/>
                </a:lnTo>
                <a:lnTo>
                  <a:pt x="42" y="166"/>
                </a:lnTo>
                <a:lnTo>
                  <a:pt x="40" y="170"/>
                </a:lnTo>
                <a:lnTo>
                  <a:pt x="40" y="170"/>
                </a:lnTo>
                <a:lnTo>
                  <a:pt x="36" y="170"/>
                </a:lnTo>
                <a:lnTo>
                  <a:pt x="32" y="170"/>
                </a:lnTo>
                <a:lnTo>
                  <a:pt x="32" y="170"/>
                </a:lnTo>
                <a:lnTo>
                  <a:pt x="28" y="174"/>
                </a:lnTo>
                <a:lnTo>
                  <a:pt x="28" y="174"/>
                </a:lnTo>
                <a:lnTo>
                  <a:pt x="26" y="174"/>
                </a:lnTo>
                <a:lnTo>
                  <a:pt x="22" y="174"/>
                </a:lnTo>
                <a:lnTo>
                  <a:pt x="22" y="174"/>
                </a:lnTo>
                <a:lnTo>
                  <a:pt x="22" y="172"/>
                </a:lnTo>
                <a:lnTo>
                  <a:pt x="20" y="168"/>
                </a:lnTo>
                <a:lnTo>
                  <a:pt x="20" y="166"/>
                </a:lnTo>
                <a:lnTo>
                  <a:pt x="20" y="166"/>
                </a:lnTo>
                <a:lnTo>
                  <a:pt x="22" y="162"/>
                </a:lnTo>
                <a:lnTo>
                  <a:pt x="20" y="160"/>
                </a:lnTo>
                <a:lnTo>
                  <a:pt x="16" y="148"/>
                </a:lnTo>
                <a:lnTo>
                  <a:pt x="16" y="148"/>
                </a:lnTo>
                <a:lnTo>
                  <a:pt x="12" y="150"/>
                </a:lnTo>
                <a:lnTo>
                  <a:pt x="10" y="150"/>
                </a:lnTo>
                <a:lnTo>
                  <a:pt x="8" y="148"/>
                </a:lnTo>
                <a:lnTo>
                  <a:pt x="8" y="148"/>
                </a:lnTo>
                <a:lnTo>
                  <a:pt x="8" y="142"/>
                </a:lnTo>
                <a:lnTo>
                  <a:pt x="8" y="140"/>
                </a:lnTo>
                <a:lnTo>
                  <a:pt x="6" y="138"/>
                </a:lnTo>
                <a:lnTo>
                  <a:pt x="6" y="138"/>
                </a:lnTo>
                <a:lnTo>
                  <a:pt x="2" y="134"/>
                </a:lnTo>
                <a:lnTo>
                  <a:pt x="0" y="132"/>
                </a:lnTo>
                <a:lnTo>
                  <a:pt x="2" y="130"/>
                </a:lnTo>
                <a:lnTo>
                  <a:pt x="2" y="130"/>
                </a:lnTo>
                <a:lnTo>
                  <a:pt x="8" y="122"/>
                </a:lnTo>
                <a:lnTo>
                  <a:pt x="8" y="122"/>
                </a:lnTo>
                <a:lnTo>
                  <a:pt x="8" y="120"/>
                </a:lnTo>
                <a:lnTo>
                  <a:pt x="10" y="118"/>
                </a:lnTo>
                <a:lnTo>
                  <a:pt x="10" y="116"/>
                </a:lnTo>
                <a:lnTo>
                  <a:pt x="10" y="116"/>
                </a:lnTo>
                <a:lnTo>
                  <a:pt x="8" y="114"/>
                </a:lnTo>
                <a:lnTo>
                  <a:pt x="6" y="114"/>
                </a:lnTo>
                <a:lnTo>
                  <a:pt x="6" y="114"/>
                </a:lnTo>
                <a:lnTo>
                  <a:pt x="8" y="110"/>
                </a:lnTo>
                <a:lnTo>
                  <a:pt x="10" y="106"/>
                </a:lnTo>
                <a:lnTo>
                  <a:pt x="10" y="100"/>
                </a:lnTo>
                <a:lnTo>
                  <a:pt x="10" y="100"/>
                </a:lnTo>
                <a:lnTo>
                  <a:pt x="10" y="100"/>
                </a:lnTo>
                <a:lnTo>
                  <a:pt x="12" y="100"/>
                </a:lnTo>
                <a:lnTo>
                  <a:pt x="14" y="98"/>
                </a:lnTo>
                <a:lnTo>
                  <a:pt x="16" y="98"/>
                </a:lnTo>
                <a:lnTo>
                  <a:pt x="16" y="98"/>
                </a:lnTo>
                <a:lnTo>
                  <a:pt x="18" y="92"/>
                </a:lnTo>
                <a:lnTo>
                  <a:pt x="22" y="92"/>
                </a:lnTo>
                <a:lnTo>
                  <a:pt x="22" y="92"/>
                </a:lnTo>
                <a:lnTo>
                  <a:pt x="22" y="92"/>
                </a:lnTo>
                <a:lnTo>
                  <a:pt x="26" y="102"/>
                </a:lnTo>
                <a:lnTo>
                  <a:pt x="36" y="98"/>
                </a:lnTo>
                <a:lnTo>
                  <a:pt x="36" y="98"/>
                </a:lnTo>
                <a:lnTo>
                  <a:pt x="32" y="94"/>
                </a:lnTo>
                <a:lnTo>
                  <a:pt x="30" y="92"/>
                </a:lnTo>
                <a:lnTo>
                  <a:pt x="30" y="90"/>
                </a:lnTo>
                <a:lnTo>
                  <a:pt x="30" y="90"/>
                </a:lnTo>
                <a:lnTo>
                  <a:pt x="30" y="84"/>
                </a:lnTo>
                <a:lnTo>
                  <a:pt x="32" y="80"/>
                </a:lnTo>
                <a:lnTo>
                  <a:pt x="34" y="80"/>
                </a:lnTo>
                <a:lnTo>
                  <a:pt x="34" y="80"/>
                </a:lnTo>
                <a:lnTo>
                  <a:pt x="36" y="78"/>
                </a:lnTo>
                <a:lnTo>
                  <a:pt x="36" y="76"/>
                </a:lnTo>
                <a:lnTo>
                  <a:pt x="38" y="76"/>
                </a:lnTo>
                <a:lnTo>
                  <a:pt x="40" y="76"/>
                </a:lnTo>
                <a:lnTo>
                  <a:pt x="40" y="76"/>
                </a:lnTo>
                <a:lnTo>
                  <a:pt x="46" y="76"/>
                </a:lnTo>
                <a:lnTo>
                  <a:pt x="50" y="76"/>
                </a:lnTo>
                <a:lnTo>
                  <a:pt x="50" y="76"/>
                </a:lnTo>
                <a:lnTo>
                  <a:pt x="60" y="64"/>
                </a:lnTo>
                <a:lnTo>
                  <a:pt x="60" y="64"/>
                </a:lnTo>
                <a:lnTo>
                  <a:pt x="60" y="62"/>
                </a:lnTo>
                <a:lnTo>
                  <a:pt x="60" y="62"/>
                </a:lnTo>
                <a:lnTo>
                  <a:pt x="58" y="60"/>
                </a:lnTo>
                <a:lnTo>
                  <a:pt x="70" y="58"/>
                </a:lnTo>
                <a:lnTo>
                  <a:pt x="70" y="62"/>
                </a:lnTo>
                <a:lnTo>
                  <a:pt x="76" y="62"/>
                </a:lnTo>
                <a:lnTo>
                  <a:pt x="76" y="62"/>
                </a:lnTo>
                <a:lnTo>
                  <a:pt x="76" y="60"/>
                </a:lnTo>
                <a:lnTo>
                  <a:pt x="76" y="58"/>
                </a:lnTo>
                <a:lnTo>
                  <a:pt x="76" y="58"/>
                </a:lnTo>
                <a:lnTo>
                  <a:pt x="76" y="58"/>
                </a:lnTo>
                <a:lnTo>
                  <a:pt x="80" y="60"/>
                </a:lnTo>
                <a:lnTo>
                  <a:pt x="84" y="62"/>
                </a:lnTo>
                <a:lnTo>
                  <a:pt x="84" y="62"/>
                </a:lnTo>
                <a:lnTo>
                  <a:pt x="84" y="66"/>
                </a:lnTo>
                <a:lnTo>
                  <a:pt x="84" y="68"/>
                </a:lnTo>
                <a:lnTo>
                  <a:pt x="84" y="68"/>
                </a:lnTo>
                <a:lnTo>
                  <a:pt x="88" y="68"/>
                </a:lnTo>
                <a:lnTo>
                  <a:pt x="92" y="70"/>
                </a:lnTo>
                <a:lnTo>
                  <a:pt x="92" y="70"/>
                </a:lnTo>
                <a:lnTo>
                  <a:pt x="96" y="72"/>
                </a:lnTo>
                <a:lnTo>
                  <a:pt x="100" y="76"/>
                </a:lnTo>
                <a:lnTo>
                  <a:pt x="100" y="76"/>
                </a:lnTo>
                <a:lnTo>
                  <a:pt x="102" y="80"/>
                </a:lnTo>
                <a:lnTo>
                  <a:pt x="104" y="80"/>
                </a:lnTo>
                <a:lnTo>
                  <a:pt x="104" y="80"/>
                </a:lnTo>
                <a:lnTo>
                  <a:pt x="110" y="80"/>
                </a:lnTo>
                <a:lnTo>
                  <a:pt x="112" y="80"/>
                </a:lnTo>
                <a:lnTo>
                  <a:pt x="112" y="82"/>
                </a:lnTo>
                <a:lnTo>
                  <a:pt x="112" y="82"/>
                </a:lnTo>
                <a:lnTo>
                  <a:pt x="114" y="86"/>
                </a:lnTo>
                <a:lnTo>
                  <a:pt x="112" y="88"/>
                </a:lnTo>
                <a:lnTo>
                  <a:pt x="110" y="90"/>
                </a:lnTo>
                <a:lnTo>
                  <a:pt x="118" y="92"/>
                </a:lnTo>
                <a:lnTo>
                  <a:pt x="118" y="92"/>
                </a:lnTo>
                <a:lnTo>
                  <a:pt x="118" y="88"/>
                </a:lnTo>
                <a:lnTo>
                  <a:pt x="118" y="86"/>
                </a:lnTo>
                <a:lnTo>
                  <a:pt x="118" y="84"/>
                </a:lnTo>
                <a:lnTo>
                  <a:pt x="118" y="84"/>
                </a:lnTo>
                <a:lnTo>
                  <a:pt x="120" y="82"/>
                </a:lnTo>
                <a:lnTo>
                  <a:pt x="122" y="82"/>
                </a:lnTo>
                <a:lnTo>
                  <a:pt x="126" y="82"/>
                </a:lnTo>
                <a:lnTo>
                  <a:pt x="126" y="82"/>
                </a:lnTo>
                <a:lnTo>
                  <a:pt x="132" y="86"/>
                </a:lnTo>
                <a:lnTo>
                  <a:pt x="136" y="86"/>
                </a:lnTo>
                <a:lnTo>
                  <a:pt x="138" y="86"/>
                </a:lnTo>
                <a:lnTo>
                  <a:pt x="138" y="86"/>
                </a:lnTo>
                <a:lnTo>
                  <a:pt x="142" y="82"/>
                </a:lnTo>
                <a:lnTo>
                  <a:pt x="148" y="78"/>
                </a:lnTo>
                <a:lnTo>
                  <a:pt x="148" y="78"/>
                </a:lnTo>
                <a:lnTo>
                  <a:pt x="152" y="78"/>
                </a:lnTo>
                <a:lnTo>
                  <a:pt x="152" y="80"/>
                </a:lnTo>
                <a:lnTo>
                  <a:pt x="154" y="82"/>
                </a:lnTo>
                <a:lnTo>
                  <a:pt x="156" y="82"/>
                </a:lnTo>
                <a:lnTo>
                  <a:pt x="156" y="82"/>
                </a:lnTo>
                <a:lnTo>
                  <a:pt x="158" y="80"/>
                </a:lnTo>
                <a:lnTo>
                  <a:pt x="160" y="80"/>
                </a:lnTo>
                <a:lnTo>
                  <a:pt x="162" y="80"/>
                </a:lnTo>
                <a:lnTo>
                  <a:pt x="162" y="80"/>
                </a:lnTo>
                <a:lnTo>
                  <a:pt x="166" y="88"/>
                </a:lnTo>
                <a:lnTo>
                  <a:pt x="168" y="92"/>
                </a:lnTo>
                <a:lnTo>
                  <a:pt x="176" y="94"/>
                </a:lnTo>
                <a:lnTo>
                  <a:pt x="182" y="94"/>
                </a:lnTo>
                <a:lnTo>
                  <a:pt x="182" y="94"/>
                </a:lnTo>
                <a:lnTo>
                  <a:pt x="186" y="92"/>
                </a:lnTo>
                <a:lnTo>
                  <a:pt x="188" y="90"/>
                </a:lnTo>
                <a:lnTo>
                  <a:pt x="188" y="86"/>
                </a:lnTo>
                <a:lnTo>
                  <a:pt x="188" y="86"/>
                </a:lnTo>
                <a:lnTo>
                  <a:pt x="182" y="80"/>
                </a:lnTo>
                <a:lnTo>
                  <a:pt x="180" y="80"/>
                </a:lnTo>
                <a:lnTo>
                  <a:pt x="174" y="76"/>
                </a:lnTo>
                <a:lnTo>
                  <a:pt x="180" y="66"/>
                </a:lnTo>
                <a:lnTo>
                  <a:pt x="178" y="62"/>
                </a:lnTo>
                <a:lnTo>
                  <a:pt x="172" y="54"/>
                </a:lnTo>
                <a:lnTo>
                  <a:pt x="172" y="48"/>
                </a:lnTo>
                <a:lnTo>
                  <a:pt x="176" y="42"/>
                </a:lnTo>
                <a:lnTo>
                  <a:pt x="176" y="34"/>
                </a:lnTo>
                <a:lnTo>
                  <a:pt x="182" y="28"/>
                </a:lnTo>
                <a:lnTo>
                  <a:pt x="182" y="20"/>
                </a:lnTo>
                <a:lnTo>
                  <a:pt x="180" y="16"/>
                </a:lnTo>
                <a:lnTo>
                  <a:pt x="186" y="12"/>
                </a:lnTo>
                <a:lnTo>
                  <a:pt x="194" y="16"/>
                </a:lnTo>
                <a:lnTo>
                  <a:pt x="202" y="18"/>
                </a:lnTo>
                <a:lnTo>
                  <a:pt x="208" y="20"/>
                </a:lnTo>
                <a:lnTo>
                  <a:pt x="220" y="18"/>
                </a:lnTo>
                <a:lnTo>
                  <a:pt x="230" y="14"/>
                </a:lnTo>
                <a:lnTo>
                  <a:pt x="242" y="16"/>
                </a:lnTo>
                <a:lnTo>
                  <a:pt x="256" y="12"/>
                </a:lnTo>
                <a:lnTo>
                  <a:pt x="260" y="12"/>
                </a:lnTo>
                <a:lnTo>
                  <a:pt x="272" y="4"/>
                </a:lnTo>
                <a:lnTo>
                  <a:pt x="282" y="2"/>
                </a:lnTo>
                <a:lnTo>
                  <a:pt x="288" y="0"/>
                </a:lnTo>
                <a:lnTo>
                  <a:pt x="290" y="4"/>
                </a:lnTo>
                <a:lnTo>
                  <a:pt x="296" y="6"/>
                </a:lnTo>
                <a:lnTo>
                  <a:pt x="296" y="10"/>
                </a:lnTo>
                <a:lnTo>
                  <a:pt x="294" y="16"/>
                </a:lnTo>
                <a:lnTo>
                  <a:pt x="298" y="18"/>
                </a:lnTo>
                <a:lnTo>
                  <a:pt x="304" y="24"/>
                </a:lnTo>
                <a:lnTo>
                  <a:pt x="310" y="22"/>
                </a:lnTo>
                <a:lnTo>
                  <a:pt x="316" y="14"/>
                </a:lnTo>
                <a:lnTo>
                  <a:pt x="324" y="20"/>
                </a:lnTo>
                <a:lnTo>
                  <a:pt x="326" y="22"/>
                </a:lnTo>
                <a:lnTo>
                  <a:pt x="332" y="20"/>
                </a:lnTo>
                <a:lnTo>
                  <a:pt x="332" y="20"/>
                </a:lnTo>
                <a:lnTo>
                  <a:pt x="332" y="20"/>
                </a:lnTo>
                <a:lnTo>
                  <a:pt x="334" y="20"/>
                </a:lnTo>
                <a:lnTo>
                  <a:pt x="336" y="22"/>
                </a:lnTo>
                <a:lnTo>
                  <a:pt x="336" y="22"/>
                </a:lnTo>
                <a:lnTo>
                  <a:pt x="336" y="26"/>
                </a:lnTo>
                <a:lnTo>
                  <a:pt x="336" y="28"/>
                </a:lnTo>
                <a:lnTo>
                  <a:pt x="348" y="28"/>
                </a:lnTo>
                <a:lnTo>
                  <a:pt x="358" y="24"/>
                </a:lnTo>
                <a:lnTo>
                  <a:pt x="372" y="18"/>
                </a:lnTo>
                <a:lnTo>
                  <a:pt x="382" y="14"/>
                </a:lnTo>
                <a:lnTo>
                  <a:pt x="394" y="12"/>
                </a:lnTo>
                <a:lnTo>
                  <a:pt x="396" y="14"/>
                </a:lnTo>
                <a:lnTo>
                  <a:pt x="394" y="20"/>
                </a:lnTo>
                <a:lnTo>
                  <a:pt x="404" y="36"/>
                </a:lnTo>
                <a:lnTo>
                  <a:pt x="414" y="58"/>
                </a:lnTo>
                <a:lnTo>
                  <a:pt x="420" y="74"/>
                </a:lnTo>
                <a:lnTo>
                  <a:pt x="420" y="74"/>
                </a:lnTo>
                <a:lnTo>
                  <a:pt x="424" y="78"/>
                </a:lnTo>
                <a:lnTo>
                  <a:pt x="426" y="82"/>
                </a:lnTo>
                <a:lnTo>
                  <a:pt x="430" y="84"/>
                </a:lnTo>
                <a:lnTo>
                  <a:pt x="430" y="84"/>
                </a:lnTo>
                <a:lnTo>
                  <a:pt x="438" y="82"/>
                </a:lnTo>
                <a:lnTo>
                  <a:pt x="442" y="80"/>
                </a:lnTo>
                <a:lnTo>
                  <a:pt x="456" y="80"/>
                </a:lnTo>
                <a:lnTo>
                  <a:pt x="456" y="80"/>
                </a:lnTo>
                <a:lnTo>
                  <a:pt x="460" y="82"/>
                </a:lnTo>
                <a:lnTo>
                  <a:pt x="464" y="86"/>
                </a:lnTo>
                <a:lnTo>
                  <a:pt x="470" y="92"/>
                </a:lnTo>
                <a:lnTo>
                  <a:pt x="472" y="100"/>
                </a:lnTo>
                <a:lnTo>
                  <a:pt x="474" y="110"/>
                </a:lnTo>
                <a:lnTo>
                  <a:pt x="478" y="114"/>
                </a:lnTo>
                <a:lnTo>
                  <a:pt x="484" y="118"/>
                </a:lnTo>
                <a:lnTo>
                  <a:pt x="494" y="116"/>
                </a:lnTo>
                <a:lnTo>
                  <a:pt x="510" y="108"/>
                </a:lnTo>
                <a:lnTo>
                  <a:pt x="520" y="106"/>
                </a:lnTo>
                <a:lnTo>
                  <a:pt x="528" y="106"/>
                </a:lnTo>
                <a:lnTo>
                  <a:pt x="530" y="114"/>
                </a:lnTo>
                <a:lnTo>
                  <a:pt x="536" y="118"/>
                </a:lnTo>
                <a:lnTo>
                  <a:pt x="538" y="122"/>
                </a:lnTo>
                <a:lnTo>
                  <a:pt x="548" y="124"/>
                </a:lnTo>
                <a:lnTo>
                  <a:pt x="548" y="1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3" name="Freeform 157">
            <a:extLst>
              <a:ext uri="{FF2B5EF4-FFF2-40B4-BE49-F238E27FC236}">
                <a16:creationId xmlns:a16="http://schemas.microsoft.com/office/drawing/2014/main" id="{2F0BD361-8A34-4186-8B1A-215A1C64FFBF}"/>
              </a:ext>
            </a:extLst>
          </p:cNvPr>
          <p:cNvSpPr>
            <a:spLocks/>
          </p:cNvSpPr>
          <p:nvPr userDrawn="1"/>
        </p:nvSpPr>
        <p:spPr bwMode="auto">
          <a:xfrm>
            <a:off x="6642346" y="2719695"/>
            <a:ext cx="100622" cy="123551"/>
          </a:xfrm>
          <a:custGeom>
            <a:avLst/>
            <a:gdLst>
              <a:gd name="T0" fmla="*/ 10 w 60"/>
              <a:gd name="T1" fmla="*/ 24 h 72"/>
              <a:gd name="T2" fmla="*/ 10 w 60"/>
              <a:gd name="T3" fmla="*/ 24 h 72"/>
              <a:gd name="T4" fmla="*/ 12 w 60"/>
              <a:gd name="T5" fmla="*/ 22 h 72"/>
              <a:gd name="T6" fmla="*/ 12 w 60"/>
              <a:gd name="T7" fmla="*/ 22 h 72"/>
              <a:gd name="T8" fmla="*/ 12 w 60"/>
              <a:gd name="T9" fmla="*/ 22 h 72"/>
              <a:gd name="T10" fmla="*/ 12 w 60"/>
              <a:gd name="T11" fmla="*/ 20 h 72"/>
              <a:gd name="T12" fmla="*/ 14 w 60"/>
              <a:gd name="T13" fmla="*/ 16 h 72"/>
              <a:gd name="T14" fmla="*/ 14 w 60"/>
              <a:gd name="T15" fmla="*/ 16 h 72"/>
              <a:gd name="T16" fmla="*/ 18 w 60"/>
              <a:gd name="T17" fmla="*/ 12 h 72"/>
              <a:gd name="T18" fmla="*/ 20 w 60"/>
              <a:gd name="T19" fmla="*/ 12 h 72"/>
              <a:gd name="T20" fmla="*/ 22 w 60"/>
              <a:gd name="T21" fmla="*/ 12 h 72"/>
              <a:gd name="T22" fmla="*/ 22 w 60"/>
              <a:gd name="T23" fmla="*/ 12 h 72"/>
              <a:gd name="T24" fmla="*/ 28 w 60"/>
              <a:gd name="T25" fmla="*/ 14 h 72"/>
              <a:gd name="T26" fmla="*/ 32 w 60"/>
              <a:gd name="T27" fmla="*/ 16 h 72"/>
              <a:gd name="T28" fmla="*/ 52 w 60"/>
              <a:gd name="T29" fmla="*/ 0 h 72"/>
              <a:gd name="T30" fmla="*/ 60 w 60"/>
              <a:gd name="T31" fmla="*/ 24 h 72"/>
              <a:gd name="T32" fmla="*/ 60 w 60"/>
              <a:gd name="T33" fmla="*/ 26 h 72"/>
              <a:gd name="T34" fmla="*/ 32 w 60"/>
              <a:gd name="T35" fmla="*/ 34 h 72"/>
              <a:gd name="T36" fmla="*/ 42 w 60"/>
              <a:gd name="T37" fmla="*/ 48 h 72"/>
              <a:gd name="T38" fmla="*/ 42 w 60"/>
              <a:gd name="T39" fmla="*/ 48 h 72"/>
              <a:gd name="T40" fmla="*/ 38 w 60"/>
              <a:gd name="T41" fmla="*/ 50 h 72"/>
              <a:gd name="T42" fmla="*/ 36 w 60"/>
              <a:gd name="T43" fmla="*/ 52 h 72"/>
              <a:gd name="T44" fmla="*/ 34 w 60"/>
              <a:gd name="T45" fmla="*/ 54 h 72"/>
              <a:gd name="T46" fmla="*/ 34 w 60"/>
              <a:gd name="T47" fmla="*/ 54 h 72"/>
              <a:gd name="T48" fmla="*/ 32 w 60"/>
              <a:gd name="T49" fmla="*/ 56 h 72"/>
              <a:gd name="T50" fmla="*/ 28 w 60"/>
              <a:gd name="T51" fmla="*/ 60 h 72"/>
              <a:gd name="T52" fmla="*/ 28 w 60"/>
              <a:gd name="T53" fmla="*/ 60 h 72"/>
              <a:gd name="T54" fmla="*/ 26 w 60"/>
              <a:gd name="T55" fmla="*/ 64 h 72"/>
              <a:gd name="T56" fmla="*/ 24 w 60"/>
              <a:gd name="T57" fmla="*/ 64 h 72"/>
              <a:gd name="T58" fmla="*/ 14 w 60"/>
              <a:gd name="T59" fmla="*/ 72 h 72"/>
              <a:gd name="T60" fmla="*/ 0 w 60"/>
              <a:gd name="T61" fmla="*/ 72 h 72"/>
              <a:gd name="T62" fmla="*/ 0 w 60"/>
              <a:gd name="T63" fmla="*/ 72 h 72"/>
              <a:gd name="T64" fmla="*/ 0 w 60"/>
              <a:gd name="T65" fmla="*/ 70 h 72"/>
              <a:gd name="T66" fmla="*/ 0 w 60"/>
              <a:gd name="T67" fmla="*/ 70 h 72"/>
              <a:gd name="T68" fmla="*/ 4 w 60"/>
              <a:gd name="T69" fmla="*/ 64 h 72"/>
              <a:gd name="T70" fmla="*/ 8 w 60"/>
              <a:gd name="T71" fmla="*/ 58 h 72"/>
              <a:gd name="T72" fmla="*/ 8 w 60"/>
              <a:gd name="T73" fmla="*/ 54 h 72"/>
              <a:gd name="T74" fmla="*/ 8 w 60"/>
              <a:gd name="T75" fmla="*/ 54 h 72"/>
              <a:gd name="T76" fmla="*/ 8 w 60"/>
              <a:gd name="T77" fmla="*/ 48 h 72"/>
              <a:gd name="T78" fmla="*/ 10 w 60"/>
              <a:gd name="T79" fmla="*/ 44 h 72"/>
              <a:gd name="T80" fmla="*/ 12 w 60"/>
              <a:gd name="T81" fmla="*/ 38 h 72"/>
              <a:gd name="T82" fmla="*/ 12 w 60"/>
              <a:gd name="T83" fmla="*/ 38 h 72"/>
              <a:gd name="T84" fmla="*/ 12 w 60"/>
              <a:gd name="T85" fmla="*/ 32 h 72"/>
              <a:gd name="T86" fmla="*/ 12 w 60"/>
              <a:gd name="T87" fmla="*/ 32 h 72"/>
              <a:gd name="T88" fmla="*/ 12 w 60"/>
              <a:gd name="T89" fmla="*/ 30 h 72"/>
              <a:gd name="T90" fmla="*/ 12 w 60"/>
              <a:gd name="T91" fmla="*/ 30 h 72"/>
              <a:gd name="T92" fmla="*/ 12 w 60"/>
              <a:gd name="T93" fmla="*/ 30 h 72"/>
              <a:gd name="T94" fmla="*/ 12 w 60"/>
              <a:gd name="T95" fmla="*/ 30 h 72"/>
              <a:gd name="T96" fmla="*/ 10 w 60"/>
              <a:gd name="T97" fmla="*/ 24 h 72"/>
              <a:gd name="T98" fmla="*/ 10 w 60"/>
              <a:gd name="T99"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72">
                <a:moveTo>
                  <a:pt x="10" y="24"/>
                </a:moveTo>
                <a:lnTo>
                  <a:pt x="10" y="24"/>
                </a:lnTo>
                <a:lnTo>
                  <a:pt x="12" y="22"/>
                </a:lnTo>
                <a:lnTo>
                  <a:pt x="12" y="22"/>
                </a:lnTo>
                <a:lnTo>
                  <a:pt x="12" y="22"/>
                </a:lnTo>
                <a:lnTo>
                  <a:pt x="12" y="20"/>
                </a:lnTo>
                <a:lnTo>
                  <a:pt x="14" y="16"/>
                </a:lnTo>
                <a:lnTo>
                  <a:pt x="14" y="16"/>
                </a:lnTo>
                <a:lnTo>
                  <a:pt x="18" y="12"/>
                </a:lnTo>
                <a:lnTo>
                  <a:pt x="20" y="12"/>
                </a:lnTo>
                <a:lnTo>
                  <a:pt x="22" y="12"/>
                </a:lnTo>
                <a:lnTo>
                  <a:pt x="22" y="12"/>
                </a:lnTo>
                <a:lnTo>
                  <a:pt x="28" y="14"/>
                </a:lnTo>
                <a:lnTo>
                  <a:pt x="32" y="16"/>
                </a:lnTo>
                <a:lnTo>
                  <a:pt x="52" y="0"/>
                </a:lnTo>
                <a:lnTo>
                  <a:pt x="60" y="24"/>
                </a:lnTo>
                <a:lnTo>
                  <a:pt x="60" y="26"/>
                </a:lnTo>
                <a:lnTo>
                  <a:pt x="32" y="34"/>
                </a:lnTo>
                <a:lnTo>
                  <a:pt x="42" y="48"/>
                </a:lnTo>
                <a:lnTo>
                  <a:pt x="42" y="48"/>
                </a:lnTo>
                <a:lnTo>
                  <a:pt x="38" y="50"/>
                </a:lnTo>
                <a:lnTo>
                  <a:pt x="36" y="52"/>
                </a:lnTo>
                <a:lnTo>
                  <a:pt x="34" y="54"/>
                </a:lnTo>
                <a:lnTo>
                  <a:pt x="34" y="54"/>
                </a:lnTo>
                <a:lnTo>
                  <a:pt x="32" y="56"/>
                </a:lnTo>
                <a:lnTo>
                  <a:pt x="28" y="60"/>
                </a:lnTo>
                <a:lnTo>
                  <a:pt x="28" y="60"/>
                </a:lnTo>
                <a:lnTo>
                  <a:pt x="26" y="64"/>
                </a:lnTo>
                <a:lnTo>
                  <a:pt x="24" y="64"/>
                </a:lnTo>
                <a:lnTo>
                  <a:pt x="14" y="72"/>
                </a:lnTo>
                <a:lnTo>
                  <a:pt x="0" y="72"/>
                </a:lnTo>
                <a:lnTo>
                  <a:pt x="0" y="72"/>
                </a:lnTo>
                <a:lnTo>
                  <a:pt x="0" y="70"/>
                </a:lnTo>
                <a:lnTo>
                  <a:pt x="0" y="70"/>
                </a:lnTo>
                <a:lnTo>
                  <a:pt x="4" y="64"/>
                </a:lnTo>
                <a:lnTo>
                  <a:pt x="8" y="58"/>
                </a:lnTo>
                <a:lnTo>
                  <a:pt x="8" y="54"/>
                </a:lnTo>
                <a:lnTo>
                  <a:pt x="8" y="54"/>
                </a:lnTo>
                <a:lnTo>
                  <a:pt x="8" y="48"/>
                </a:lnTo>
                <a:lnTo>
                  <a:pt x="10" y="44"/>
                </a:lnTo>
                <a:lnTo>
                  <a:pt x="12" y="38"/>
                </a:lnTo>
                <a:lnTo>
                  <a:pt x="12" y="38"/>
                </a:lnTo>
                <a:lnTo>
                  <a:pt x="12" y="32"/>
                </a:lnTo>
                <a:lnTo>
                  <a:pt x="12" y="32"/>
                </a:lnTo>
                <a:lnTo>
                  <a:pt x="12" y="30"/>
                </a:lnTo>
                <a:lnTo>
                  <a:pt x="12" y="30"/>
                </a:lnTo>
                <a:lnTo>
                  <a:pt x="12" y="30"/>
                </a:lnTo>
                <a:lnTo>
                  <a:pt x="12" y="30"/>
                </a:lnTo>
                <a:lnTo>
                  <a:pt x="10" y="24"/>
                </a:lnTo>
                <a:lnTo>
                  <a:pt x="10" y="2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4" name="Freeform 158">
            <a:extLst>
              <a:ext uri="{FF2B5EF4-FFF2-40B4-BE49-F238E27FC236}">
                <a16:creationId xmlns:a16="http://schemas.microsoft.com/office/drawing/2014/main" id="{1B800B12-974A-4CB5-9CE0-535D85D7DF34}"/>
              </a:ext>
            </a:extLst>
          </p:cNvPr>
          <p:cNvSpPr>
            <a:spLocks/>
          </p:cNvSpPr>
          <p:nvPr userDrawn="1"/>
        </p:nvSpPr>
        <p:spPr bwMode="auto">
          <a:xfrm>
            <a:off x="8835909" y="2664783"/>
            <a:ext cx="6708" cy="6864"/>
          </a:xfrm>
          <a:custGeom>
            <a:avLst/>
            <a:gdLst>
              <a:gd name="T0" fmla="*/ 2 w 4"/>
              <a:gd name="T1" fmla="*/ 0 h 4"/>
              <a:gd name="T2" fmla="*/ 2 w 4"/>
              <a:gd name="T3" fmla="*/ 0 h 4"/>
              <a:gd name="T4" fmla="*/ 4 w 4"/>
              <a:gd name="T5" fmla="*/ 0 h 4"/>
              <a:gd name="T6" fmla="*/ 4 w 4"/>
              <a:gd name="T7" fmla="*/ 2 h 4"/>
              <a:gd name="T8" fmla="*/ 4 w 4"/>
              <a:gd name="T9" fmla="*/ 4 h 4"/>
              <a:gd name="T10" fmla="*/ 4 w 4"/>
              <a:gd name="T11" fmla="*/ 4 h 4"/>
              <a:gd name="T12" fmla="*/ 0 w 4"/>
              <a:gd name="T13" fmla="*/ 4 h 4"/>
              <a:gd name="T14" fmla="*/ 0 w 4"/>
              <a:gd name="T15" fmla="*/ 4 h 4"/>
              <a:gd name="T16" fmla="*/ 0 w 4"/>
              <a:gd name="T17" fmla="*/ 2 h 4"/>
              <a:gd name="T18" fmla="*/ 0 w 4"/>
              <a:gd name="T19" fmla="*/ 0 h 4"/>
              <a:gd name="T20" fmla="*/ 0 w 4"/>
              <a:gd name="T21" fmla="*/ 0 h 4"/>
              <a:gd name="T22" fmla="*/ 2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2" y="0"/>
                </a:moveTo>
                <a:lnTo>
                  <a:pt x="2" y="0"/>
                </a:lnTo>
                <a:lnTo>
                  <a:pt x="4" y="0"/>
                </a:lnTo>
                <a:lnTo>
                  <a:pt x="4" y="2"/>
                </a:lnTo>
                <a:lnTo>
                  <a:pt x="4" y="4"/>
                </a:lnTo>
                <a:lnTo>
                  <a:pt x="4" y="4"/>
                </a:lnTo>
                <a:lnTo>
                  <a:pt x="0" y="4"/>
                </a:lnTo>
                <a:lnTo>
                  <a:pt x="0" y="4"/>
                </a:lnTo>
                <a:lnTo>
                  <a:pt x="0" y="2"/>
                </a:lnTo>
                <a:lnTo>
                  <a:pt x="0" y="0"/>
                </a:lnTo>
                <a:lnTo>
                  <a:pt x="0" y="0"/>
                </a:lnTo>
                <a:lnTo>
                  <a:pt x="2"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5" name="Freeform 159">
            <a:extLst>
              <a:ext uri="{FF2B5EF4-FFF2-40B4-BE49-F238E27FC236}">
                <a16:creationId xmlns:a16="http://schemas.microsoft.com/office/drawing/2014/main" id="{A2FD73AD-ADBF-4DC9-9093-AFB60B839466}"/>
              </a:ext>
            </a:extLst>
          </p:cNvPr>
          <p:cNvSpPr>
            <a:spLocks noEditPoints="1"/>
          </p:cNvSpPr>
          <p:nvPr userDrawn="1"/>
        </p:nvSpPr>
        <p:spPr bwMode="auto">
          <a:xfrm>
            <a:off x="8755411" y="2321586"/>
            <a:ext cx="358885" cy="463316"/>
          </a:xfrm>
          <a:custGeom>
            <a:avLst/>
            <a:gdLst>
              <a:gd name="T0" fmla="*/ 10 w 214"/>
              <a:gd name="T1" fmla="*/ 222 h 270"/>
              <a:gd name="T2" fmla="*/ 2 w 214"/>
              <a:gd name="T3" fmla="*/ 226 h 270"/>
              <a:gd name="T4" fmla="*/ 4 w 214"/>
              <a:gd name="T5" fmla="*/ 242 h 270"/>
              <a:gd name="T6" fmla="*/ 6 w 214"/>
              <a:gd name="T7" fmla="*/ 246 h 270"/>
              <a:gd name="T8" fmla="*/ 14 w 214"/>
              <a:gd name="T9" fmla="*/ 244 h 270"/>
              <a:gd name="T10" fmla="*/ 14 w 214"/>
              <a:gd name="T11" fmla="*/ 244 h 270"/>
              <a:gd name="T12" fmla="*/ 6 w 214"/>
              <a:gd name="T13" fmla="*/ 262 h 270"/>
              <a:gd name="T14" fmla="*/ 14 w 214"/>
              <a:gd name="T15" fmla="*/ 260 h 270"/>
              <a:gd name="T16" fmla="*/ 20 w 214"/>
              <a:gd name="T17" fmla="*/ 266 h 270"/>
              <a:gd name="T18" fmla="*/ 24 w 214"/>
              <a:gd name="T19" fmla="*/ 250 h 270"/>
              <a:gd name="T20" fmla="*/ 26 w 214"/>
              <a:gd name="T21" fmla="*/ 230 h 270"/>
              <a:gd name="T22" fmla="*/ 14 w 214"/>
              <a:gd name="T23" fmla="*/ 218 h 270"/>
              <a:gd name="T24" fmla="*/ 44 w 214"/>
              <a:gd name="T25" fmla="*/ 218 h 270"/>
              <a:gd name="T26" fmla="*/ 34 w 214"/>
              <a:gd name="T27" fmla="*/ 228 h 270"/>
              <a:gd name="T28" fmla="*/ 44 w 214"/>
              <a:gd name="T29" fmla="*/ 242 h 270"/>
              <a:gd name="T30" fmla="*/ 50 w 214"/>
              <a:gd name="T31" fmla="*/ 232 h 270"/>
              <a:gd name="T32" fmla="*/ 62 w 214"/>
              <a:gd name="T33" fmla="*/ 230 h 270"/>
              <a:gd name="T34" fmla="*/ 62 w 214"/>
              <a:gd name="T35" fmla="*/ 212 h 270"/>
              <a:gd name="T36" fmla="*/ 136 w 214"/>
              <a:gd name="T37" fmla="*/ 96 h 270"/>
              <a:gd name="T38" fmla="*/ 134 w 214"/>
              <a:gd name="T39" fmla="*/ 112 h 270"/>
              <a:gd name="T40" fmla="*/ 134 w 214"/>
              <a:gd name="T41" fmla="*/ 132 h 270"/>
              <a:gd name="T42" fmla="*/ 116 w 214"/>
              <a:gd name="T43" fmla="*/ 154 h 270"/>
              <a:gd name="T44" fmla="*/ 102 w 214"/>
              <a:gd name="T45" fmla="*/ 166 h 270"/>
              <a:gd name="T46" fmla="*/ 92 w 214"/>
              <a:gd name="T47" fmla="*/ 162 h 270"/>
              <a:gd name="T48" fmla="*/ 96 w 214"/>
              <a:gd name="T49" fmla="*/ 156 h 270"/>
              <a:gd name="T50" fmla="*/ 84 w 214"/>
              <a:gd name="T51" fmla="*/ 188 h 270"/>
              <a:gd name="T52" fmla="*/ 68 w 214"/>
              <a:gd name="T53" fmla="*/ 190 h 270"/>
              <a:gd name="T54" fmla="*/ 52 w 214"/>
              <a:gd name="T55" fmla="*/ 196 h 270"/>
              <a:gd name="T56" fmla="*/ 44 w 214"/>
              <a:gd name="T57" fmla="*/ 196 h 270"/>
              <a:gd name="T58" fmla="*/ 34 w 214"/>
              <a:gd name="T59" fmla="*/ 208 h 270"/>
              <a:gd name="T60" fmla="*/ 16 w 214"/>
              <a:gd name="T61" fmla="*/ 216 h 270"/>
              <a:gd name="T62" fmla="*/ 52 w 214"/>
              <a:gd name="T63" fmla="*/ 212 h 270"/>
              <a:gd name="T64" fmla="*/ 76 w 214"/>
              <a:gd name="T65" fmla="*/ 208 h 270"/>
              <a:gd name="T66" fmla="*/ 74 w 214"/>
              <a:gd name="T67" fmla="*/ 226 h 270"/>
              <a:gd name="T68" fmla="*/ 94 w 214"/>
              <a:gd name="T69" fmla="*/ 216 h 270"/>
              <a:gd name="T70" fmla="*/ 102 w 214"/>
              <a:gd name="T71" fmla="*/ 210 h 270"/>
              <a:gd name="T72" fmla="*/ 108 w 214"/>
              <a:gd name="T73" fmla="*/ 208 h 270"/>
              <a:gd name="T74" fmla="*/ 124 w 214"/>
              <a:gd name="T75" fmla="*/ 204 h 270"/>
              <a:gd name="T76" fmla="*/ 134 w 214"/>
              <a:gd name="T77" fmla="*/ 202 h 270"/>
              <a:gd name="T78" fmla="*/ 142 w 214"/>
              <a:gd name="T79" fmla="*/ 192 h 270"/>
              <a:gd name="T80" fmla="*/ 150 w 214"/>
              <a:gd name="T81" fmla="*/ 190 h 270"/>
              <a:gd name="T82" fmla="*/ 148 w 214"/>
              <a:gd name="T83" fmla="*/ 166 h 270"/>
              <a:gd name="T84" fmla="*/ 156 w 214"/>
              <a:gd name="T85" fmla="*/ 130 h 270"/>
              <a:gd name="T86" fmla="*/ 160 w 214"/>
              <a:gd name="T87" fmla="*/ 102 h 270"/>
              <a:gd name="T88" fmla="*/ 148 w 214"/>
              <a:gd name="T89" fmla="*/ 86 h 270"/>
              <a:gd name="T90" fmla="*/ 160 w 214"/>
              <a:gd name="T91" fmla="*/ 14 h 270"/>
              <a:gd name="T92" fmla="*/ 158 w 214"/>
              <a:gd name="T93" fmla="*/ 34 h 270"/>
              <a:gd name="T94" fmla="*/ 148 w 214"/>
              <a:gd name="T95" fmla="*/ 46 h 270"/>
              <a:gd name="T96" fmla="*/ 136 w 214"/>
              <a:gd name="T97" fmla="*/ 62 h 270"/>
              <a:gd name="T98" fmla="*/ 148 w 214"/>
              <a:gd name="T99" fmla="*/ 72 h 270"/>
              <a:gd name="T100" fmla="*/ 152 w 214"/>
              <a:gd name="T101" fmla="*/ 58 h 270"/>
              <a:gd name="T102" fmla="*/ 164 w 214"/>
              <a:gd name="T103" fmla="*/ 58 h 270"/>
              <a:gd name="T104" fmla="*/ 192 w 214"/>
              <a:gd name="T105" fmla="*/ 52 h 270"/>
              <a:gd name="T106" fmla="*/ 210 w 214"/>
              <a:gd name="T107" fmla="*/ 50 h 270"/>
              <a:gd name="T108" fmla="*/ 210 w 214"/>
              <a:gd name="T109" fmla="*/ 34 h 270"/>
              <a:gd name="T110" fmla="*/ 182 w 214"/>
              <a:gd name="T111" fmla="*/ 30 h 270"/>
              <a:gd name="T112" fmla="*/ 162 w 214"/>
              <a:gd name="T11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4" h="270">
                <a:moveTo>
                  <a:pt x="14" y="218"/>
                </a:moveTo>
                <a:lnTo>
                  <a:pt x="14" y="218"/>
                </a:lnTo>
                <a:lnTo>
                  <a:pt x="12" y="218"/>
                </a:lnTo>
                <a:lnTo>
                  <a:pt x="12" y="220"/>
                </a:lnTo>
                <a:lnTo>
                  <a:pt x="12" y="224"/>
                </a:lnTo>
                <a:lnTo>
                  <a:pt x="12" y="224"/>
                </a:lnTo>
                <a:lnTo>
                  <a:pt x="12" y="224"/>
                </a:lnTo>
                <a:lnTo>
                  <a:pt x="10" y="222"/>
                </a:lnTo>
                <a:lnTo>
                  <a:pt x="10" y="222"/>
                </a:lnTo>
                <a:lnTo>
                  <a:pt x="8" y="222"/>
                </a:lnTo>
                <a:lnTo>
                  <a:pt x="8" y="222"/>
                </a:lnTo>
                <a:lnTo>
                  <a:pt x="8" y="226"/>
                </a:lnTo>
                <a:lnTo>
                  <a:pt x="8" y="226"/>
                </a:lnTo>
                <a:lnTo>
                  <a:pt x="6" y="226"/>
                </a:lnTo>
                <a:lnTo>
                  <a:pt x="4" y="228"/>
                </a:lnTo>
                <a:lnTo>
                  <a:pt x="4" y="228"/>
                </a:lnTo>
                <a:lnTo>
                  <a:pt x="4" y="226"/>
                </a:lnTo>
                <a:lnTo>
                  <a:pt x="2" y="226"/>
                </a:lnTo>
                <a:lnTo>
                  <a:pt x="2" y="226"/>
                </a:lnTo>
                <a:lnTo>
                  <a:pt x="0" y="228"/>
                </a:lnTo>
                <a:lnTo>
                  <a:pt x="2" y="234"/>
                </a:lnTo>
                <a:lnTo>
                  <a:pt x="2" y="234"/>
                </a:lnTo>
                <a:lnTo>
                  <a:pt x="4" y="236"/>
                </a:lnTo>
                <a:lnTo>
                  <a:pt x="6" y="238"/>
                </a:lnTo>
                <a:lnTo>
                  <a:pt x="6" y="238"/>
                </a:lnTo>
                <a:lnTo>
                  <a:pt x="6" y="242"/>
                </a:lnTo>
                <a:lnTo>
                  <a:pt x="4" y="242"/>
                </a:lnTo>
                <a:lnTo>
                  <a:pt x="4" y="240"/>
                </a:lnTo>
                <a:lnTo>
                  <a:pt x="4" y="238"/>
                </a:lnTo>
                <a:lnTo>
                  <a:pt x="4" y="238"/>
                </a:lnTo>
                <a:lnTo>
                  <a:pt x="2" y="240"/>
                </a:lnTo>
                <a:lnTo>
                  <a:pt x="2" y="242"/>
                </a:lnTo>
                <a:lnTo>
                  <a:pt x="4" y="244"/>
                </a:lnTo>
                <a:lnTo>
                  <a:pt x="4" y="244"/>
                </a:lnTo>
                <a:lnTo>
                  <a:pt x="6" y="246"/>
                </a:lnTo>
                <a:lnTo>
                  <a:pt x="6" y="246"/>
                </a:lnTo>
                <a:lnTo>
                  <a:pt x="8" y="246"/>
                </a:lnTo>
                <a:lnTo>
                  <a:pt x="8" y="244"/>
                </a:lnTo>
                <a:lnTo>
                  <a:pt x="8" y="244"/>
                </a:lnTo>
                <a:lnTo>
                  <a:pt x="10" y="246"/>
                </a:lnTo>
                <a:lnTo>
                  <a:pt x="12" y="246"/>
                </a:lnTo>
                <a:lnTo>
                  <a:pt x="12" y="246"/>
                </a:lnTo>
                <a:lnTo>
                  <a:pt x="12" y="246"/>
                </a:lnTo>
                <a:lnTo>
                  <a:pt x="14" y="244"/>
                </a:lnTo>
                <a:lnTo>
                  <a:pt x="14" y="244"/>
                </a:lnTo>
                <a:lnTo>
                  <a:pt x="10" y="236"/>
                </a:lnTo>
                <a:lnTo>
                  <a:pt x="10" y="236"/>
                </a:lnTo>
                <a:lnTo>
                  <a:pt x="14" y="236"/>
                </a:lnTo>
                <a:lnTo>
                  <a:pt x="14" y="236"/>
                </a:lnTo>
                <a:lnTo>
                  <a:pt x="14" y="238"/>
                </a:lnTo>
                <a:lnTo>
                  <a:pt x="16" y="242"/>
                </a:lnTo>
                <a:lnTo>
                  <a:pt x="16" y="242"/>
                </a:lnTo>
                <a:lnTo>
                  <a:pt x="16" y="244"/>
                </a:lnTo>
                <a:lnTo>
                  <a:pt x="14" y="244"/>
                </a:lnTo>
                <a:lnTo>
                  <a:pt x="14" y="244"/>
                </a:lnTo>
                <a:lnTo>
                  <a:pt x="12" y="248"/>
                </a:lnTo>
                <a:lnTo>
                  <a:pt x="8" y="252"/>
                </a:lnTo>
                <a:lnTo>
                  <a:pt x="8" y="252"/>
                </a:lnTo>
                <a:lnTo>
                  <a:pt x="6" y="258"/>
                </a:lnTo>
                <a:lnTo>
                  <a:pt x="6" y="258"/>
                </a:lnTo>
                <a:lnTo>
                  <a:pt x="8" y="260"/>
                </a:lnTo>
                <a:lnTo>
                  <a:pt x="8" y="260"/>
                </a:lnTo>
                <a:lnTo>
                  <a:pt x="6" y="262"/>
                </a:lnTo>
                <a:lnTo>
                  <a:pt x="6" y="264"/>
                </a:lnTo>
                <a:lnTo>
                  <a:pt x="6" y="264"/>
                </a:lnTo>
                <a:lnTo>
                  <a:pt x="10" y="266"/>
                </a:lnTo>
                <a:lnTo>
                  <a:pt x="10" y="266"/>
                </a:lnTo>
                <a:lnTo>
                  <a:pt x="10" y="266"/>
                </a:lnTo>
                <a:lnTo>
                  <a:pt x="12" y="260"/>
                </a:lnTo>
                <a:lnTo>
                  <a:pt x="12" y="260"/>
                </a:lnTo>
                <a:lnTo>
                  <a:pt x="12" y="258"/>
                </a:lnTo>
                <a:lnTo>
                  <a:pt x="14" y="260"/>
                </a:lnTo>
                <a:lnTo>
                  <a:pt x="14" y="262"/>
                </a:lnTo>
                <a:lnTo>
                  <a:pt x="14" y="262"/>
                </a:lnTo>
                <a:lnTo>
                  <a:pt x="14" y="262"/>
                </a:lnTo>
                <a:lnTo>
                  <a:pt x="14" y="266"/>
                </a:lnTo>
                <a:lnTo>
                  <a:pt x="14" y="270"/>
                </a:lnTo>
                <a:lnTo>
                  <a:pt x="14" y="270"/>
                </a:lnTo>
                <a:lnTo>
                  <a:pt x="16" y="270"/>
                </a:lnTo>
                <a:lnTo>
                  <a:pt x="16" y="270"/>
                </a:lnTo>
                <a:lnTo>
                  <a:pt x="20" y="266"/>
                </a:lnTo>
                <a:lnTo>
                  <a:pt x="20" y="266"/>
                </a:lnTo>
                <a:lnTo>
                  <a:pt x="20" y="266"/>
                </a:lnTo>
                <a:lnTo>
                  <a:pt x="20" y="264"/>
                </a:lnTo>
                <a:lnTo>
                  <a:pt x="20" y="264"/>
                </a:lnTo>
                <a:lnTo>
                  <a:pt x="24" y="262"/>
                </a:lnTo>
                <a:lnTo>
                  <a:pt x="24" y="262"/>
                </a:lnTo>
                <a:lnTo>
                  <a:pt x="24" y="256"/>
                </a:lnTo>
                <a:lnTo>
                  <a:pt x="24" y="250"/>
                </a:lnTo>
                <a:lnTo>
                  <a:pt x="24" y="250"/>
                </a:lnTo>
                <a:lnTo>
                  <a:pt x="28" y="244"/>
                </a:lnTo>
                <a:lnTo>
                  <a:pt x="32" y="238"/>
                </a:lnTo>
                <a:lnTo>
                  <a:pt x="32" y="238"/>
                </a:lnTo>
                <a:lnTo>
                  <a:pt x="28" y="236"/>
                </a:lnTo>
                <a:lnTo>
                  <a:pt x="28" y="236"/>
                </a:lnTo>
                <a:lnTo>
                  <a:pt x="28" y="232"/>
                </a:lnTo>
                <a:lnTo>
                  <a:pt x="28" y="232"/>
                </a:lnTo>
                <a:lnTo>
                  <a:pt x="26" y="232"/>
                </a:lnTo>
                <a:lnTo>
                  <a:pt x="26" y="230"/>
                </a:lnTo>
                <a:lnTo>
                  <a:pt x="26" y="224"/>
                </a:lnTo>
                <a:lnTo>
                  <a:pt x="26" y="224"/>
                </a:lnTo>
                <a:lnTo>
                  <a:pt x="20" y="224"/>
                </a:lnTo>
                <a:lnTo>
                  <a:pt x="20" y="224"/>
                </a:lnTo>
                <a:lnTo>
                  <a:pt x="20" y="222"/>
                </a:lnTo>
                <a:lnTo>
                  <a:pt x="20" y="220"/>
                </a:lnTo>
                <a:lnTo>
                  <a:pt x="20" y="220"/>
                </a:lnTo>
                <a:lnTo>
                  <a:pt x="14" y="218"/>
                </a:lnTo>
                <a:lnTo>
                  <a:pt x="14" y="218"/>
                </a:lnTo>
                <a:close/>
                <a:moveTo>
                  <a:pt x="58" y="212"/>
                </a:moveTo>
                <a:lnTo>
                  <a:pt x="58" y="212"/>
                </a:lnTo>
                <a:lnTo>
                  <a:pt x="54" y="212"/>
                </a:lnTo>
                <a:lnTo>
                  <a:pt x="54" y="212"/>
                </a:lnTo>
                <a:lnTo>
                  <a:pt x="54" y="216"/>
                </a:lnTo>
                <a:lnTo>
                  <a:pt x="52" y="218"/>
                </a:lnTo>
                <a:lnTo>
                  <a:pt x="52" y="218"/>
                </a:lnTo>
                <a:lnTo>
                  <a:pt x="48" y="218"/>
                </a:lnTo>
                <a:lnTo>
                  <a:pt x="44" y="218"/>
                </a:lnTo>
                <a:lnTo>
                  <a:pt x="44" y="218"/>
                </a:lnTo>
                <a:lnTo>
                  <a:pt x="42" y="222"/>
                </a:lnTo>
                <a:lnTo>
                  <a:pt x="42" y="222"/>
                </a:lnTo>
                <a:lnTo>
                  <a:pt x="38" y="228"/>
                </a:lnTo>
                <a:lnTo>
                  <a:pt x="38" y="228"/>
                </a:lnTo>
                <a:lnTo>
                  <a:pt x="36" y="228"/>
                </a:lnTo>
                <a:lnTo>
                  <a:pt x="36" y="228"/>
                </a:lnTo>
                <a:lnTo>
                  <a:pt x="36" y="228"/>
                </a:lnTo>
                <a:lnTo>
                  <a:pt x="34" y="228"/>
                </a:lnTo>
                <a:lnTo>
                  <a:pt x="36" y="230"/>
                </a:lnTo>
                <a:lnTo>
                  <a:pt x="40" y="234"/>
                </a:lnTo>
                <a:lnTo>
                  <a:pt x="40" y="234"/>
                </a:lnTo>
                <a:lnTo>
                  <a:pt x="40" y="234"/>
                </a:lnTo>
                <a:lnTo>
                  <a:pt x="40" y="236"/>
                </a:lnTo>
                <a:lnTo>
                  <a:pt x="42" y="240"/>
                </a:lnTo>
                <a:lnTo>
                  <a:pt x="42" y="240"/>
                </a:lnTo>
                <a:lnTo>
                  <a:pt x="44" y="242"/>
                </a:lnTo>
                <a:lnTo>
                  <a:pt x="44" y="242"/>
                </a:lnTo>
                <a:lnTo>
                  <a:pt x="44" y="244"/>
                </a:lnTo>
                <a:lnTo>
                  <a:pt x="44" y="244"/>
                </a:lnTo>
                <a:lnTo>
                  <a:pt x="46" y="244"/>
                </a:lnTo>
                <a:lnTo>
                  <a:pt x="46" y="244"/>
                </a:lnTo>
                <a:lnTo>
                  <a:pt x="48" y="240"/>
                </a:lnTo>
                <a:lnTo>
                  <a:pt x="48" y="240"/>
                </a:lnTo>
                <a:lnTo>
                  <a:pt x="48" y="236"/>
                </a:lnTo>
                <a:lnTo>
                  <a:pt x="50" y="232"/>
                </a:lnTo>
                <a:lnTo>
                  <a:pt x="50" y="232"/>
                </a:lnTo>
                <a:lnTo>
                  <a:pt x="54" y="232"/>
                </a:lnTo>
                <a:lnTo>
                  <a:pt x="54" y="232"/>
                </a:lnTo>
                <a:lnTo>
                  <a:pt x="56" y="230"/>
                </a:lnTo>
                <a:lnTo>
                  <a:pt x="58" y="228"/>
                </a:lnTo>
                <a:lnTo>
                  <a:pt x="58" y="228"/>
                </a:lnTo>
                <a:lnTo>
                  <a:pt x="58" y="232"/>
                </a:lnTo>
                <a:lnTo>
                  <a:pt x="58" y="232"/>
                </a:lnTo>
                <a:lnTo>
                  <a:pt x="62" y="230"/>
                </a:lnTo>
                <a:lnTo>
                  <a:pt x="62" y="230"/>
                </a:lnTo>
                <a:lnTo>
                  <a:pt x="62" y="228"/>
                </a:lnTo>
                <a:lnTo>
                  <a:pt x="62" y="228"/>
                </a:lnTo>
                <a:lnTo>
                  <a:pt x="66" y="224"/>
                </a:lnTo>
                <a:lnTo>
                  <a:pt x="66" y="224"/>
                </a:lnTo>
                <a:lnTo>
                  <a:pt x="66" y="220"/>
                </a:lnTo>
                <a:lnTo>
                  <a:pt x="66" y="220"/>
                </a:lnTo>
                <a:lnTo>
                  <a:pt x="62" y="218"/>
                </a:lnTo>
                <a:lnTo>
                  <a:pt x="62" y="218"/>
                </a:lnTo>
                <a:lnTo>
                  <a:pt x="62" y="212"/>
                </a:lnTo>
                <a:lnTo>
                  <a:pt x="62" y="212"/>
                </a:lnTo>
                <a:lnTo>
                  <a:pt x="58" y="212"/>
                </a:lnTo>
                <a:lnTo>
                  <a:pt x="58" y="212"/>
                </a:lnTo>
                <a:close/>
                <a:moveTo>
                  <a:pt x="146" y="84"/>
                </a:moveTo>
                <a:lnTo>
                  <a:pt x="146" y="84"/>
                </a:lnTo>
                <a:lnTo>
                  <a:pt x="142" y="84"/>
                </a:lnTo>
                <a:lnTo>
                  <a:pt x="142" y="84"/>
                </a:lnTo>
                <a:lnTo>
                  <a:pt x="142" y="92"/>
                </a:lnTo>
                <a:lnTo>
                  <a:pt x="136" y="96"/>
                </a:lnTo>
                <a:lnTo>
                  <a:pt x="136" y="96"/>
                </a:lnTo>
                <a:lnTo>
                  <a:pt x="136" y="98"/>
                </a:lnTo>
                <a:lnTo>
                  <a:pt x="138" y="98"/>
                </a:lnTo>
                <a:lnTo>
                  <a:pt x="138" y="98"/>
                </a:lnTo>
                <a:lnTo>
                  <a:pt x="138" y="106"/>
                </a:lnTo>
                <a:lnTo>
                  <a:pt x="132" y="112"/>
                </a:lnTo>
                <a:lnTo>
                  <a:pt x="132" y="112"/>
                </a:lnTo>
                <a:lnTo>
                  <a:pt x="134" y="112"/>
                </a:lnTo>
                <a:lnTo>
                  <a:pt x="134" y="112"/>
                </a:lnTo>
                <a:lnTo>
                  <a:pt x="134" y="112"/>
                </a:lnTo>
                <a:lnTo>
                  <a:pt x="140" y="110"/>
                </a:lnTo>
                <a:lnTo>
                  <a:pt x="140" y="110"/>
                </a:lnTo>
                <a:lnTo>
                  <a:pt x="138" y="116"/>
                </a:lnTo>
                <a:lnTo>
                  <a:pt x="138" y="120"/>
                </a:lnTo>
                <a:lnTo>
                  <a:pt x="138" y="120"/>
                </a:lnTo>
                <a:lnTo>
                  <a:pt x="134" y="124"/>
                </a:lnTo>
                <a:lnTo>
                  <a:pt x="134" y="124"/>
                </a:lnTo>
                <a:lnTo>
                  <a:pt x="134" y="132"/>
                </a:lnTo>
                <a:lnTo>
                  <a:pt x="134" y="132"/>
                </a:lnTo>
                <a:lnTo>
                  <a:pt x="130" y="134"/>
                </a:lnTo>
                <a:lnTo>
                  <a:pt x="130" y="134"/>
                </a:lnTo>
                <a:lnTo>
                  <a:pt x="128" y="140"/>
                </a:lnTo>
                <a:lnTo>
                  <a:pt x="128" y="140"/>
                </a:lnTo>
                <a:lnTo>
                  <a:pt x="120" y="150"/>
                </a:lnTo>
                <a:lnTo>
                  <a:pt x="120" y="150"/>
                </a:lnTo>
                <a:lnTo>
                  <a:pt x="118" y="152"/>
                </a:lnTo>
                <a:lnTo>
                  <a:pt x="116" y="154"/>
                </a:lnTo>
                <a:lnTo>
                  <a:pt x="116" y="154"/>
                </a:lnTo>
                <a:lnTo>
                  <a:pt x="114" y="158"/>
                </a:lnTo>
                <a:lnTo>
                  <a:pt x="114" y="160"/>
                </a:lnTo>
                <a:lnTo>
                  <a:pt x="112" y="162"/>
                </a:lnTo>
                <a:lnTo>
                  <a:pt x="112" y="164"/>
                </a:lnTo>
                <a:lnTo>
                  <a:pt x="112" y="164"/>
                </a:lnTo>
                <a:lnTo>
                  <a:pt x="108" y="164"/>
                </a:lnTo>
                <a:lnTo>
                  <a:pt x="108" y="164"/>
                </a:lnTo>
                <a:lnTo>
                  <a:pt x="102" y="166"/>
                </a:lnTo>
                <a:lnTo>
                  <a:pt x="98" y="170"/>
                </a:lnTo>
                <a:lnTo>
                  <a:pt x="98" y="170"/>
                </a:lnTo>
                <a:lnTo>
                  <a:pt x="94" y="168"/>
                </a:lnTo>
                <a:lnTo>
                  <a:pt x="94" y="168"/>
                </a:lnTo>
                <a:lnTo>
                  <a:pt x="94" y="166"/>
                </a:lnTo>
                <a:lnTo>
                  <a:pt x="94" y="166"/>
                </a:lnTo>
                <a:lnTo>
                  <a:pt x="92" y="166"/>
                </a:lnTo>
                <a:lnTo>
                  <a:pt x="92" y="164"/>
                </a:lnTo>
                <a:lnTo>
                  <a:pt x="92" y="162"/>
                </a:lnTo>
                <a:lnTo>
                  <a:pt x="92" y="162"/>
                </a:lnTo>
                <a:lnTo>
                  <a:pt x="96" y="160"/>
                </a:lnTo>
                <a:lnTo>
                  <a:pt x="98" y="158"/>
                </a:lnTo>
                <a:lnTo>
                  <a:pt x="98" y="158"/>
                </a:lnTo>
                <a:lnTo>
                  <a:pt x="98" y="156"/>
                </a:lnTo>
                <a:lnTo>
                  <a:pt x="98" y="156"/>
                </a:lnTo>
                <a:lnTo>
                  <a:pt x="98" y="154"/>
                </a:lnTo>
                <a:lnTo>
                  <a:pt x="96" y="156"/>
                </a:lnTo>
                <a:lnTo>
                  <a:pt x="96" y="156"/>
                </a:lnTo>
                <a:lnTo>
                  <a:pt x="92" y="158"/>
                </a:lnTo>
                <a:lnTo>
                  <a:pt x="90" y="162"/>
                </a:lnTo>
                <a:lnTo>
                  <a:pt x="90" y="162"/>
                </a:lnTo>
                <a:lnTo>
                  <a:pt x="90" y="166"/>
                </a:lnTo>
                <a:lnTo>
                  <a:pt x="90" y="170"/>
                </a:lnTo>
                <a:lnTo>
                  <a:pt x="90" y="170"/>
                </a:lnTo>
                <a:lnTo>
                  <a:pt x="84" y="180"/>
                </a:lnTo>
                <a:lnTo>
                  <a:pt x="84" y="180"/>
                </a:lnTo>
                <a:lnTo>
                  <a:pt x="84" y="188"/>
                </a:lnTo>
                <a:lnTo>
                  <a:pt x="84" y="188"/>
                </a:lnTo>
                <a:lnTo>
                  <a:pt x="84" y="190"/>
                </a:lnTo>
                <a:lnTo>
                  <a:pt x="84" y="190"/>
                </a:lnTo>
                <a:lnTo>
                  <a:pt x="80" y="192"/>
                </a:lnTo>
                <a:lnTo>
                  <a:pt x="78" y="194"/>
                </a:lnTo>
                <a:lnTo>
                  <a:pt x="72" y="192"/>
                </a:lnTo>
                <a:lnTo>
                  <a:pt x="72" y="190"/>
                </a:lnTo>
                <a:lnTo>
                  <a:pt x="72" y="190"/>
                </a:lnTo>
                <a:lnTo>
                  <a:pt x="68" y="190"/>
                </a:lnTo>
                <a:lnTo>
                  <a:pt x="64" y="190"/>
                </a:lnTo>
                <a:lnTo>
                  <a:pt x="60" y="194"/>
                </a:lnTo>
                <a:lnTo>
                  <a:pt x="60" y="194"/>
                </a:lnTo>
                <a:lnTo>
                  <a:pt x="54" y="194"/>
                </a:lnTo>
                <a:lnTo>
                  <a:pt x="50" y="192"/>
                </a:lnTo>
                <a:lnTo>
                  <a:pt x="50" y="192"/>
                </a:lnTo>
                <a:lnTo>
                  <a:pt x="50" y="194"/>
                </a:lnTo>
                <a:lnTo>
                  <a:pt x="50" y="196"/>
                </a:lnTo>
                <a:lnTo>
                  <a:pt x="52" y="196"/>
                </a:lnTo>
                <a:lnTo>
                  <a:pt x="52" y="196"/>
                </a:lnTo>
                <a:lnTo>
                  <a:pt x="52" y="198"/>
                </a:lnTo>
                <a:lnTo>
                  <a:pt x="50" y="198"/>
                </a:lnTo>
                <a:lnTo>
                  <a:pt x="48" y="198"/>
                </a:lnTo>
                <a:lnTo>
                  <a:pt x="48" y="198"/>
                </a:lnTo>
                <a:lnTo>
                  <a:pt x="48" y="194"/>
                </a:lnTo>
                <a:lnTo>
                  <a:pt x="46" y="194"/>
                </a:lnTo>
                <a:lnTo>
                  <a:pt x="46" y="194"/>
                </a:lnTo>
                <a:lnTo>
                  <a:pt x="44" y="196"/>
                </a:lnTo>
                <a:lnTo>
                  <a:pt x="44" y="196"/>
                </a:lnTo>
                <a:lnTo>
                  <a:pt x="42" y="198"/>
                </a:lnTo>
                <a:lnTo>
                  <a:pt x="42" y="200"/>
                </a:lnTo>
                <a:lnTo>
                  <a:pt x="42" y="200"/>
                </a:lnTo>
                <a:lnTo>
                  <a:pt x="38" y="202"/>
                </a:lnTo>
                <a:lnTo>
                  <a:pt x="36" y="202"/>
                </a:lnTo>
                <a:lnTo>
                  <a:pt x="36" y="202"/>
                </a:lnTo>
                <a:lnTo>
                  <a:pt x="36" y="206"/>
                </a:lnTo>
                <a:lnTo>
                  <a:pt x="34" y="208"/>
                </a:lnTo>
                <a:lnTo>
                  <a:pt x="34" y="208"/>
                </a:lnTo>
                <a:lnTo>
                  <a:pt x="28" y="212"/>
                </a:lnTo>
                <a:lnTo>
                  <a:pt x="22" y="212"/>
                </a:lnTo>
                <a:lnTo>
                  <a:pt x="22" y="212"/>
                </a:lnTo>
                <a:lnTo>
                  <a:pt x="20" y="212"/>
                </a:lnTo>
                <a:lnTo>
                  <a:pt x="20" y="210"/>
                </a:lnTo>
                <a:lnTo>
                  <a:pt x="20" y="210"/>
                </a:lnTo>
                <a:lnTo>
                  <a:pt x="16" y="216"/>
                </a:lnTo>
                <a:lnTo>
                  <a:pt x="16" y="216"/>
                </a:lnTo>
                <a:lnTo>
                  <a:pt x="26" y="218"/>
                </a:lnTo>
                <a:lnTo>
                  <a:pt x="36" y="218"/>
                </a:lnTo>
                <a:lnTo>
                  <a:pt x="36" y="218"/>
                </a:lnTo>
                <a:lnTo>
                  <a:pt x="36" y="216"/>
                </a:lnTo>
                <a:lnTo>
                  <a:pt x="38" y="212"/>
                </a:lnTo>
                <a:lnTo>
                  <a:pt x="38" y="212"/>
                </a:lnTo>
                <a:lnTo>
                  <a:pt x="44" y="214"/>
                </a:lnTo>
                <a:lnTo>
                  <a:pt x="52" y="212"/>
                </a:lnTo>
                <a:lnTo>
                  <a:pt x="52" y="212"/>
                </a:lnTo>
                <a:lnTo>
                  <a:pt x="56" y="208"/>
                </a:lnTo>
                <a:lnTo>
                  <a:pt x="56" y="208"/>
                </a:lnTo>
                <a:lnTo>
                  <a:pt x="58" y="210"/>
                </a:lnTo>
                <a:lnTo>
                  <a:pt x="60" y="210"/>
                </a:lnTo>
                <a:lnTo>
                  <a:pt x="60" y="210"/>
                </a:lnTo>
                <a:lnTo>
                  <a:pt x="64" y="206"/>
                </a:lnTo>
                <a:lnTo>
                  <a:pt x="64" y="206"/>
                </a:lnTo>
                <a:lnTo>
                  <a:pt x="76" y="208"/>
                </a:lnTo>
                <a:lnTo>
                  <a:pt x="76" y="208"/>
                </a:lnTo>
                <a:lnTo>
                  <a:pt x="74" y="212"/>
                </a:lnTo>
                <a:lnTo>
                  <a:pt x="74" y="212"/>
                </a:lnTo>
                <a:lnTo>
                  <a:pt x="72" y="214"/>
                </a:lnTo>
                <a:lnTo>
                  <a:pt x="72" y="220"/>
                </a:lnTo>
                <a:lnTo>
                  <a:pt x="72" y="220"/>
                </a:lnTo>
                <a:lnTo>
                  <a:pt x="70" y="220"/>
                </a:lnTo>
                <a:lnTo>
                  <a:pt x="70" y="220"/>
                </a:lnTo>
                <a:lnTo>
                  <a:pt x="70" y="220"/>
                </a:lnTo>
                <a:lnTo>
                  <a:pt x="74" y="226"/>
                </a:lnTo>
                <a:lnTo>
                  <a:pt x="76" y="228"/>
                </a:lnTo>
                <a:lnTo>
                  <a:pt x="80" y="228"/>
                </a:lnTo>
                <a:lnTo>
                  <a:pt x="80" y="228"/>
                </a:lnTo>
                <a:lnTo>
                  <a:pt x="82" y="228"/>
                </a:lnTo>
                <a:lnTo>
                  <a:pt x="84" y="224"/>
                </a:lnTo>
                <a:lnTo>
                  <a:pt x="88" y="220"/>
                </a:lnTo>
                <a:lnTo>
                  <a:pt x="88" y="220"/>
                </a:lnTo>
                <a:lnTo>
                  <a:pt x="94" y="216"/>
                </a:lnTo>
                <a:lnTo>
                  <a:pt x="94" y="216"/>
                </a:lnTo>
                <a:lnTo>
                  <a:pt x="92" y="210"/>
                </a:lnTo>
                <a:lnTo>
                  <a:pt x="92" y="210"/>
                </a:lnTo>
                <a:lnTo>
                  <a:pt x="92" y="210"/>
                </a:lnTo>
                <a:lnTo>
                  <a:pt x="92" y="208"/>
                </a:lnTo>
                <a:lnTo>
                  <a:pt x="92" y="208"/>
                </a:lnTo>
                <a:lnTo>
                  <a:pt x="96" y="208"/>
                </a:lnTo>
                <a:lnTo>
                  <a:pt x="96" y="208"/>
                </a:lnTo>
                <a:lnTo>
                  <a:pt x="102" y="208"/>
                </a:lnTo>
                <a:lnTo>
                  <a:pt x="102" y="210"/>
                </a:lnTo>
                <a:lnTo>
                  <a:pt x="102" y="210"/>
                </a:lnTo>
                <a:lnTo>
                  <a:pt x="102" y="210"/>
                </a:lnTo>
                <a:lnTo>
                  <a:pt x="100" y="212"/>
                </a:lnTo>
                <a:lnTo>
                  <a:pt x="100" y="212"/>
                </a:lnTo>
                <a:lnTo>
                  <a:pt x="100" y="212"/>
                </a:lnTo>
                <a:lnTo>
                  <a:pt x="106" y="212"/>
                </a:lnTo>
                <a:lnTo>
                  <a:pt x="106" y="212"/>
                </a:lnTo>
                <a:lnTo>
                  <a:pt x="108" y="208"/>
                </a:lnTo>
                <a:lnTo>
                  <a:pt x="108" y="208"/>
                </a:lnTo>
                <a:lnTo>
                  <a:pt x="110" y="210"/>
                </a:lnTo>
                <a:lnTo>
                  <a:pt x="116" y="210"/>
                </a:lnTo>
                <a:lnTo>
                  <a:pt x="116" y="210"/>
                </a:lnTo>
                <a:lnTo>
                  <a:pt x="116" y="208"/>
                </a:lnTo>
                <a:lnTo>
                  <a:pt x="116" y="208"/>
                </a:lnTo>
                <a:lnTo>
                  <a:pt x="120" y="208"/>
                </a:lnTo>
                <a:lnTo>
                  <a:pt x="120" y="208"/>
                </a:lnTo>
                <a:lnTo>
                  <a:pt x="124" y="204"/>
                </a:lnTo>
                <a:lnTo>
                  <a:pt x="124" y="204"/>
                </a:lnTo>
                <a:lnTo>
                  <a:pt x="124" y="212"/>
                </a:lnTo>
                <a:lnTo>
                  <a:pt x="126" y="212"/>
                </a:lnTo>
                <a:lnTo>
                  <a:pt x="126" y="212"/>
                </a:lnTo>
                <a:lnTo>
                  <a:pt x="128" y="202"/>
                </a:lnTo>
                <a:lnTo>
                  <a:pt x="132" y="200"/>
                </a:lnTo>
                <a:lnTo>
                  <a:pt x="132" y="200"/>
                </a:lnTo>
                <a:lnTo>
                  <a:pt x="134" y="202"/>
                </a:lnTo>
                <a:lnTo>
                  <a:pt x="134" y="202"/>
                </a:lnTo>
                <a:lnTo>
                  <a:pt x="134" y="202"/>
                </a:lnTo>
                <a:lnTo>
                  <a:pt x="136" y="200"/>
                </a:lnTo>
                <a:lnTo>
                  <a:pt x="134" y="200"/>
                </a:lnTo>
                <a:lnTo>
                  <a:pt x="134" y="200"/>
                </a:lnTo>
                <a:lnTo>
                  <a:pt x="136" y="190"/>
                </a:lnTo>
                <a:lnTo>
                  <a:pt x="136" y="190"/>
                </a:lnTo>
                <a:lnTo>
                  <a:pt x="142" y="188"/>
                </a:lnTo>
                <a:lnTo>
                  <a:pt x="142" y="188"/>
                </a:lnTo>
                <a:lnTo>
                  <a:pt x="142" y="190"/>
                </a:lnTo>
                <a:lnTo>
                  <a:pt x="142" y="192"/>
                </a:lnTo>
                <a:lnTo>
                  <a:pt x="142" y="192"/>
                </a:lnTo>
                <a:lnTo>
                  <a:pt x="140" y="194"/>
                </a:lnTo>
                <a:lnTo>
                  <a:pt x="140" y="194"/>
                </a:lnTo>
                <a:lnTo>
                  <a:pt x="138" y="198"/>
                </a:lnTo>
                <a:lnTo>
                  <a:pt x="138" y="202"/>
                </a:lnTo>
                <a:lnTo>
                  <a:pt x="142" y="204"/>
                </a:lnTo>
                <a:lnTo>
                  <a:pt x="142" y="204"/>
                </a:lnTo>
                <a:lnTo>
                  <a:pt x="150" y="190"/>
                </a:lnTo>
                <a:lnTo>
                  <a:pt x="150" y="190"/>
                </a:lnTo>
                <a:lnTo>
                  <a:pt x="150" y="188"/>
                </a:lnTo>
                <a:lnTo>
                  <a:pt x="150" y="188"/>
                </a:lnTo>
                <a:lnTo>
                  <a:pt x="144" y="186"/>
                </a:lnTo>
                <a:lnTo>
                  <a:pt x="144" y="186"/>
                </a:lnTo>
                <a:lnTo>
                  <a:pt x="148" y="184"/>
                </a:lnTo>
                <a:lnTo>
                  <a:pt x="148" y="184"/>
                </a:lnTo>
                <a:lnTo>
                  <a:pt x="146" y="172"/>
                </a:lnTo>
                <a:lnTo>
                  <a:pt x="146" y="172"/>
                </a:lnTo>
                <a:lnTo>
                  <a:pt x="148" y="166"/>
                </a:lnTo>
                <a:lnTo>
                  <a:pt x="150" y="158"/>
                </a:lnTo>
                <a:lnTo>
                  <a:pt x="150" y="158"/>
                </a:lnTo>
                <a:lnTo>
                  <a:pt x="150" y="148"/>
                </a:lnTo>
                <a:lnTo>
                  <a:pt x="150" y="136"/>
                </a:lnTo>
                <a:lnTo>
                  <a:pt x="150" y="136"/>
                </a:lnTo>
                <a:lnTo>
                  <a:pt x="156" y="136"/>
                </a:lnTo>
                <a:lnTo>
                  <a:pt x="156" y="136"/>
                </a:lnTo>
                <a:lnTo>
                  <a:pt x="156" y="132"/>
                </a:lnTo>
                <a:lnTo>
                  <a:pt x="156" y="130"/>
                </a:lnTo>
                <a:lnTo>
                  <a:pt x="156" y="130"/>
                </a:lnTo>
                <a:lnTo>
                  <a:pt x="160" y="130"/>
                </a:lnTo>
                <a:lnTo>
                  <a:pt x="160" y="130"/>
                </a:lnTo>
                <a:lnTo>
                  <a:pt x="160" y="126"/>
                </a:lnTo>
                <a:lnTo>
                  <a:pt x="160" y="126"/>
                </a:lnTo>
                <a:lnTo>
                  <a:pt x="164" y="120"/>
                </a:lnTo>
                <a:lnTo>
                  <a:pt x="164" y="120"/>
                </a:lnTo>
                <a:lnTo>
                  <a:pt x="162" y="104"/>
                </a:lnTo>
                <a:lnTo>
                  <a:pt x="160" y="102"/>
                </a:lnTo>
                <a:lnTo>
                  <a:pt x="160" y="102"/>
                </a:lnTo>
                <a:lnTo>
                  <a:pt x="158" y="96"/>
                </a:lnTo>
                <a:lnTo>
                  <a:pt x="158" y="92"/>
                </a:lnTo>
                <a:lnTo>
                  <a:pt x="156" y="90"/>
                </a:lnTo>
                <a:lnTo>
                  <a:pt x="156" y="90"/>
                </a:lnTo>
                <a:lnTo>
                  <a:pt x="148" y="88"/>
                </a:lnTo>
                <a:lnTo>
                  <a:pt x="148" y="88"/>
                </a:lnTo>
                <a:lnTo>
                  <a:pt x="148" y="86"/>
                </a:lnTo>
                <a:lnTo>
                  <a:pt x="148" y="86"/>
                </a:lnTo>
                <a:lnTo>
                  <a:pt x="148" y="86"/>
                </a:lnTo>
                <a:lnTo>
                  <a:pt x="146" y="84"/>
                </a:lnTo>
                <a:lnTo>
                  <a:pt x="146" y="84"/>
                </a:lnTo>
                <a:close/>
                <a:moveTo>
                  <a:pt x="162" y="0"/>
                </a:moveTo>
                <a:lnTo>
                  <a:pt x="162" y="0"/>
                </a:lnTo>
                <a:lnTo>
                  <a:pt x="158" y="4"/>
                </a:lnTo>
                <a:lnTo>
                  <a:pt x="158" y="6"/>
                </a:lnTo>
                <a:lnTo>
                  <a:pt x="158" y="10"/>
                </a:lnTo>
                <a:lnTo>
                  <a:pt x="160" y="14"/>
                </a:lnTo>
                <a:lnTo>
                  <a:pt x="160" y="14"/>
                </a:lnTo>
                <a:lnTo>
                  <a:pt x="164" y="16"/>
                </a:lnTo>
                <a:lnTo>
                  <a:pt x="164" y="16"/>
                </a:lnTo>
                <a:lnTo>
                  <a:pt x="162" y="20"/>
                </a:lnTo>
                <a:lnTo>
                  <a:pt x="160" y="24"/>
                </a:lnTo>
                <a:lnTo>
                  <a:pt x="160" y="24"/>
                </a:lnTo>
                <a:lnTo>
                  <a:pt x="160" y="32"/>
                </a:lnTo>
                <a:lnTo>
                  <a:pt x="160" y="32"/>
                </a:lnTo>
                <a:lnTo>
                  <a:pt x="158" y="34"/>
                </a:lnTo>
                <a:lnTo>
                  <a:pt x="156" y="36"/>
                </a:lnTo>
                <a:lnTo>
                  <a:pt x="156" y="36"/>
                </a:lnTo>
                <a:lnTo>
                  <a:pt x="156" y="40"/>
                </a:lnTo>
                <a:lnTo>
                  <a:pt x="158" y="46"/>
                </a:lnTo>
                <a:lnTo>
                  <a:pt x="158" y="48"/>
                </a:lnTo>
                <a:lnTo>
                  <a:pt x="156" y="48"/>
                </a:lnTo>
                <a:lnTo>
                  <a:pt x="150" y="48"/>
                </a:lnTo>
                <a:lnTo>
                  <a:pt x="150" y="48"/>
                </a:lnTo>
                <a:lnTo>
                  <a:pt x="148" y="46"/>
                </a:lnTo>
                <a:lnTo>
                  <a:pt x="144" y="44"/>
                </a:lnTo>
                <a:lnTo>
                  <a:pt x="144" y="44"/>
                </a:lnTo>
                <a:lnTo>
                  <a:pt x="142" y="46"/>
                </a:lnTo>
                <a:lnTo>
                  <a:pt x="144" y="48"/>
                </a:lnTo>
                <a:lnTo>
                  <a:pt x="144" y="48"/>
                </a:lnTo>
                <a:lnTo>
                  <a:pt x="142" y="52"/>
                </a:lnTo>
                <a:lnTo>
                  <a:pt x="136" y="56"/>
                </a:lnTo>
                <a:lnTo>
                  <a:pt x="136" y="56"/>
                </a:lnTo>
                <a:lnTo>
                  <a:pt x="136" y="62"/>
                </a:lnTo>
                <a:lnTo>
                  <a:pt x="136" y="62"/>
                </a:lnTo>
                <a:lnTo>
                  <a:pt x="140" y="66"/>
                </a:lnTo>
                <a:lnTo>
                  <a:pt x="140" y="66"/>
                </a:lnTo>
                <a:lnTo>
                  <a:pt x="140" y="76"/>
                </a:lnTo>
                <a:lnTo>
                  <a:pt x="140" y="76"/>
                </a:lnTo>
                <a:lnTo>
                  <a:pt x="142" y="76"/>
                </a:lnTo>
                <a:lnTo>
                  <a:pt x="144" y="76"/>
                </a:lnTo>
                <a:lnTo>
                  <a:pt x="144" y="76"/>
                </a:lnTo>
                <a:lnTo>
                  <a:pt x="148" y="72"/>
                </a:lnTo>
                <a:lnTo>
                  <a:pt x="148" y="72"/>
                </a:lnTo>
                <a:lnTo>
                  <a:pt x="156" y="72"/>
                </a:lnTo>
                <a:lnTo>
                  <a:pt x="156" y="72"/>
                </a:lnTo>
                <a:lnTo>
                  <a:pt x="146" y="66"/>
                </a:lnTo>
                <a:lnTo>
                  <a:pt x="146" y="66"/>
                </a:lnTo>
                <a:lnTo>
                  <a:pt x="146" y="60"/>
                </a:lnTo>
                <a:lnTo>
                  <a:pt x="146" y="60"/>
                </a:lnTo>
                <a:lnTo>
                  <a:pt x="148" y="58"/>
                </a:lnTo>
                <a:lnTo>
                  <a:pt x="152" y="58"/>
                </a:lnTo>
                <a:lnTo>
                  <a:pt x="152" y="58"/>
                </a:lnTo>
                <a:lnTo>
                  <a:pt x="154" y="60"/>
                </a:lnTo>
                <a:lnTo>
                  <a:pt x="156" y="60"/>
                </a:lnTo>
                <a:lnTo>
                  <a:pt x="156" y="60"/>
                </a:lnTo>
                <a:lnTo>
                  <a:pt x="158" y="58"/>
                </a:lnTo>
                <a:lnTo>
                  <a:pt x="158" y="58"/>
                </a:lnTo>
                <a:lnTo>
                  <a:pt x="160" y="58"/>
                </a:lnTo>
                <a:lnTo>
                  <a:pt x="162" y="58"/>
                </a:lnTo>
                <a:lnTo>
                  <a:pt x="164" y="58"/>
                </a:lnTo>
                <a:lnTo>
                  <a:pt x="164" y="58"/>
                </a:lnTo>
                <a:lnTo>
                  <a:pt x="166" y="62"/>
                </a:lnTo>
                <a:lnTo>
                  <a:pt x="166" y="62"/>
                </a:lnTo>
                <a:lnTo>
                  <a:pt x="166" y="66"/>
                </a:lnTo>
                <a:lnTo>
                  <a:pt x="166" y="66"/>
                </a:lnTo>
                <a:lnTo>
                  <a:pt x="182" y="66"/>
                </a:lnTo>
                <a:lnTo>
                  <a:pt x="182" y="66"/>
                </a:lnTo>
                <a:lnTo>
                  <a:pt x="186" y="54"/>
                </a:lnTo>
                <a:lnTo>
                  <a:pt x="192" y="52"/>
                </a:lnTo>
                <a:lnTo>
                  <a:pt x="198" y="50"/>
                </a:lnTo>
                <a:lnTo>
                  <a:pt x="198" y="50"/>
                </a:lnTo>
                <a:lnTo>
                  <a:pt x="200" y="54"/>
                </a:lnTo>
                <a:lnTo>
                  <a:pt x="200" y="54"/>
                </a:lnTo>
                <a:lnTo>
                  <a:pt x="202" y="52"/>
                </a:lnTo>
                <a:lnTo>
                  <a:pt x="202" y="50"/>
                </a:lnTo>
                <a:lnTo>
                  <a:pt x="202" y="50"/>
                </a:lnTo>
                <a:lnTo>
                  <a:pt x="210" y="50"/>
                </a:lnTo>
                <a:lnTo>
                  <a:pt x="210" y="50"/>
                </a:lnTo>
                <a:lnTo>
                  <a:pt x="214" y="48"/>
                </a:lnTo>
                <a:lnTo>
                  <a:pt x="214" y="46"/>
                </a:lnTo>
                <a:lnTo>
                  <a:pt x="212" y="44"/>
                </a:lnTo>
                <a:lnTo>
                  <a:pt x="212" y="44"/>
                </a:lnTo>
                <a:lnTo>
                  <a:pt x="212" y="42"/>
                </a:lnTo>
                <a:lnTo>
                  <a:pt x="212" y="42"/>
                </a:lnTo>
                <a:lnTo>
                  <a:pt x="208" y="42"/>
                </a:lnTo>
                <a:lnTo>
                  <a:pt x="208" y="40"/>
                </a:lnTo>
                <a:lnTo>
                  <a:pt x="210" y="34"/>
                </a:lnTo>
                <a:lnTo>
                  <a:pt x="210" y="34"/>
                </a:lnTo>
                <a:lnTo>
                  <a:pt x="202" y="34"/>
                </a:lnTo>
                <a:lnTo>
                  <a:pt x="200" y="32"/>
                </a:lnTo>
                <a:lnTo>
                  <a:pt x="196" y="28"/>
                </a:lnTo>
                <a:lnTo>
                  <a:pt x="196" y="28"/>
                </a:lnTo>
                <a:lnTo>
                  <a:pt x="190" y="30"/>
                </a:lnTo>
                <a:lnTo>
                  <a:pt x="184" y="30"/>
                </a:lnTo>
                <a:lnTo>
                  <a:pt x="182" y="30"/>
                </a:lnTo>
                <a:lnTo>
                  <a:pt x="182" y="30"/>
                </a:lnTo>
                <a:lnTo>
                  <a:pt x="178" y="22"/>
                </a:lnTo>
                <a:lnTo>
                  <a:pt x="174" y="12"/>
                </a:lnTo>
                <a:lnTo>
                  <a:pt x="174" y="12"/>
                </a:lnTo>
                <a:lnTo>
                  <a:pt x="168" y="10"/>
                </a:lnTo>
                <a:lnTo>
                  <a:pt x="168" y="10"/>
                </a:lnTo>
                <a:lnTo>
                  <a:pt x="166" y="4"/>
                </a:lnTo>
                <a:lnTo>
                  <a:pt x="166" y="4"/>
                </a:lnTo>
                <a:lnTo>
                  <a:pt x="162" y="0"/>
                </a:lnTo>
                <a:lnTo>
                  <a:pt x="16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6" name="Freeform 160">
            <a:extLst>
              <a:ext uri="{FF2B5EF4-FFF2-40B4-BE49-F238E27FC236}">
                <a16:creationId xmlns:a16="http://schemas.microsoft.com/office/drawing/2014/main" id="{E72A8D1E-99F7-4981-8595-80E8FF6F4CDA}"/>
              </a:ext>
            </a:extLst>
          </p:cNvPr>
          <p:cNvSpPr>
            <a:spLocks/>
          </p:cNvSpPr>
          <p:nvPr userDrawn="1"/>
        </p:nvSpPr>
        <p:spPr bwMode="auto">
          <a:xfrm>
            <a:off x="4094928" y="3141828"/>
            <a:ext cx="50311" cy="27456"/>
          </a:xfrm>
          <a:custGeom>
            <a:avLst/>
            <a:gdLst>
              <a:gd name="T0" fmla="*/ 8 w 30"/>
              <a:gd name="T1" fmla="*/ 0 h 16"/>
              <a:gd name="T2" fmla="*/ 8 w 30"/>
              <a:gd name="T3" fmla="*/ 0 h 16"/>
              <a:gd name="T4" fmla="*/ 4 w 30"/>
              <a:gd name="T5" fmla="*/ 2 h 16"/>
              <a:gd name="T6" fmla="*/ 0 w 30"/>
              <a:gd name="T7" fmla="*/ 4 h 16"/>
              <a:gd name="T8" fmla="*/ 0 w 30"/>
              <a:gd name="T9" fmla="*/ 4 h 16"/>
              <a:gd name="T10" fmla="*/ 2 w 30"/>
              <a:gd name="T11" fmla="*/ 6 h 16"/>
              <a:gd name="T12" fmla="*/ 2 w 30"/>
              <a:gd name="T13" fmla="*/ 6 h 16"/>
              <a:gd name="T14" fmla="*/ 6 w 30"/>
              <a:gd name="T15" fmla="*/ 6 h 16"/>
              <a:gd name="T16" fmla="*/ 6 w 30"/>
              <a:gd name="T17" fmla="*/ 6 h 16"/>
              <a:gd name="T18" fmla="*/ 6 w 30"/>
              <a:gd name="T19" fmla="*/ 8 h 16"/>
              <a:gd name="T20" fmla="*/ 8 w 30"/>
              <a:gd name="T21" fmla="*/ 10 h 16"/>
              <a:gd name="T22" fmla="*/ 8 w 30"/>
              <a:gd name="T23" fmla="*/ 10 h 16"/>
              <a:gd name="T24" fmla="*/ 14 w 30"/>
              <a:gd name="T25" fmla="*/ 14 h 16"/>
              <a:gd name="T26" fmla="*/ 22 w 30"/>
              <a:gd name="T27" fmla="*/ 16 h 16"/>
              <a:gd name="T28" fmla="*/ 22 w 30"/>
              <a:gd name="T29" fmla="*/ 16 h 16"/>
              <a:gd name="T30" fmla="*/ 22 w 30"/>
              <a:gd name="T31" fmla="*/ 12 h 16"/>
              <a:gd name="T32" fmla="*/ 22 w 30"/>
              <a:gd name="T33" fmla="*/ 12 h 16"/>
              <a:gd name="T34" fmla="*/ 30 w 30"/>
              <a:gd name="T35" fmla="*/ 12 h 16"/>
              <a:gd name="T36" fmla="*/ 30 w 30"/>
              <a:gd name="T37" fmla="*/ 12 h 16"/>
              <a:gd name="T38" fmla="*/ 30 w 30"/>
              <a:gd name="T39" fmla="*/ 8 h 16"/>
              <a:gd name="T40" fmla="*/ 30 w 30"/>
              <a:gd name="T41" fmla="*/ 8 h 16"/>
              <a:gd name="T42" fmla="*/ 24 w 30"/>
              <a:gd name="T43" fmla="*/ 2 h 16"/>
              <a:gd name="T44" fmla="*/ 24 w 30"/>
              <a:gd name="T45" fmla="*/ 2 h 16"/>
              <a:gd name="T46" fmla="*/ 20 w 30"/>
              <a:gd name="T47" fmla="*/ 2 h 16"/>
              <a:gd name="T48" fmla="*/ 14 w 30"/>
              <a:gd name="T49" fmla="*/ 2 h 16"/>
              <a:gd name="T50" fmla="*/ 14 w 30"/>
              <a:gd name="T51" fmla="*/ 2 h 16"/>
              <a:gd name="T52" fmla="*/ 14 w 30"/>
              <a:gd name="T53" fmla="*/ 2 h 16"/>
              <a:gd name="T54" fmla="*/ 8 w 30"/>
              <a:gd name="T55" fmla="*/ 0 h 16"/>
              <a:gd name="T56" fmla="*/ 8 w 30"/>
              <a:gd name="T5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16">
                <a:moveTo>
                  <a:pt x="8" y="0"/>
                </a:moveTo>
                <a:lnTo>
                  <a:pt x="8" y="0"/>
                </a:lnTo>
                <a:lnTo>
                  <a:pt x="4" y="2"/>
                </a:lnTo>
                <a:lnTo>
                  <a:pt x="0" y="4"/>
                </a:lnTo>
                <a:lnTo>
                  <a:pt x="0" y="4"/>
                </a:lnTo>
                <a:lnTo>
                  <a:pt x="2" y="6"/>
                </a:lnTo>
                <a:lnTo>
                  <a:pt x="2" y="6"/>
                </a:lnTo>
                <a:lnTo>
                  <a:pt x="6" y="6"/>
                </a:lnTo>
                <a:lnTo>
                  <a:pt x="6" y="6"/>
                </a:lnTo>
                <a:lnTo>
                  <a:pt x="6" y="8"/>
                </a:lnTo>
                <a:lnTo>
                  <a:pt x="8" y="10"/>
                </a:lnTo>
                <a:lnTo>
                  <a:pt x="8" y="10"/>
                </a:lnTo>
                <a:lnTo>
                  <a:pt x="14" y="14"/>
                </a:lnTo>
                <a:lnTo>
                  <a:pt x="22" y="16"/>
                </a:lnTo>
                <a:lnTo>
                  <a:pt x="22" y="16"/>
                </a:lnTo>
                <a:lnTo>
                  <a:pt x="22" y="12"/>
                </a:lnTo>
                <a:lnTo>
                  <a:pt x="22" y="12"/>
                </a:lnTo>
                <a:lnTo>
                  <a:pt x="30" y="12"/>
                </a:lnTo>
                <a:lnTo>
                  <a:pt x="30" y="12"/>
                </a:lnTo>
                <a:lnTo>
                  <a:pt x="30" y="8"/>
                </a:lnTo>
                <a:lnTo>
                  <a:pt x="30" y="8"/>
                </a:lnTo>
                <a:lnTo>
                  <a:pt x="24" y="2"/>
                </a:lnTo>
                <a:lnTo>
                  <a:pt x="24" y="2"/>
                </a:lnTo>
                <a:lnTo>
                  <a:pt x="20" y="2"/>
                </a:lnTo>
                <a:lnTo>
                  <a:pt x="14" y="2"/>
                </a:lnTo>
                <a:lnTo>
                  <a:pt x="14" y="2"/>
                </a:lnTo>
                <a:lnTo>
                  <a:pt x="14" y="2"/>
                </a:lnTo>
                <a:lnTo>
                  <a:pt x="8" y="0"/>
                </a:lnTo>
                <a:lnTo>
                  <a:pt x="8"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7" name="Freeform 161">
            <a:extLst>
              <a:ext uri="{FF2B5EF4-FFF2-40B4-BE49-F238E27FC236}">
                <a16:creationId xmlns:a16="http://schemas.microsoft.com/office/drawing/2014/main" id="{1680E49F-44BA-48FA-9E8D-514303F31807}"/>
              </a:ext>
            </a:extLst>
          </p:cNvPr>
          <p:cNvSpPr>
            <a:spLocks/>
          </p:cNvSpPr>
          <p:nvPr userDrawn="1"/>
        </p:nvSpPr>
        <p:spPr bwMode="auto">
          <a:xfrm>
            <a:off x="5651217" y="3378634"/>
            <a:ext cx="147579" cy="185327"/>
          </a:xfrm>
          <a:custGeom>
            <a:avLst/>
            <a:gdLst>
              <a:gd name="T0" fmla="*/ 18 w 88"/>
              <a:gd name="T1" fmla="*/ 108 h 108"/>
              <a:gd name="T2" fmla="*/ 36 w 88"/>
              <a:gd name="T3" fmla="*/ 100 h 108"/>
              <a:gd name="T4" fmla="*/ 40 w 88"/>
              <a:gd name="T5" fmla="*/ 94 h 108"/>
              <a:gd name="T6" fmla="*/ 50 w 88"/>
              <a:gd name="T7" fmla="*/ 94 h 108"/>
              <a:gd name="T8" fmla="*/ 60 w 88"/>
              <a:gd name="T9" fmla="*/ 94 h 108"/>
              <a:gd name="T10" fmla="*/ 70 w 88"/>
              <a:gd name="T11" fmla="*/ 100 h 108"/>
              <a:gd name="T12" fmla="*/ 74 w 88"/>
              <a:gd name="T13" fmla="*/ 92 h 108"/>
              <a:gd name="T14" fmla="*/ 74 w 88"/>
              <a:gd name="T15" fmla="*/ 88 h 108"/>
              <a:gd name="T16" fmla="*/ 72 w 88"/>
              <a:gd name="T17" fmla="*/ 76 h 108"/>
              <a:gd name="T18" fmla="*/ 74 w 88"/>
              <a:gd name="T19" fmla="*/ 66 h 108"/>
              <a:gd name="T20" fmla="*/ 78 w 88"/>
              <a:gd name="T21" fmla="*/ 56 h 108"/>
              <a:gd name="T22" fmla="*/ 82 w 88"/>
              <a:gd name="T23" fmla="*/ 46 h 108"/>
              <a:gd name="T24" fmla="*/ 86 w 88"/>
              <a:gd name="T25" fmla="*/ 38 h 108"/>
              <a:gd name="T26" fmla="*/ 88 w 88"/>
              <a:gd name="T27" fmla="*/ 26 h 108"/>
              <a:gd name="T28" fmla="*/ 86 w 88"/>
              <a:gd name="T29" fmla="*/ 20 h 108"/>
              <a:gd name="T30" fmla="*/ 84 w 88"/>
              <a:gd name="T31" fmla="*/ 18 h 108"/>
              <a:gd name="T32" fmla="*/ 84 w 88"/>
              <a:gd name="T33" fmla="*/ 12 h 108"/>
              <a:gd name="T34" fmla="*/ 84 w 88"/>
              <a:gd name="T35" fmla="*/ 8 h 108"/>
              <a:gd name="T36" fmla="*/ 74 w 88"/>
              <a:gd name="T37" fmla="*/ 10 h 108"/>
              <a:gd name="T38" fmla="*/ 72 w 88"/>
              <a:gd name="T39" fmla="*/ 6 h 108"/>
              <a:gd name="T40" fmla="*/ 66 w 88"/>
              <a:gd name="T41" fmla="*/ 2 h 108"/>
              <a:gd name="T42" fmla="*/ 56 w 88"/>
              <a:gd name="T43" fmla="*/ 4 h 108"/>
              <a:gd name="T44" fmla="*/ 44 w 88"/>
              <a:gd name="T45" fmla="*/ 0 h 108"/>
              <a:gd name="T46" fmla="*/ 42 w 88"/>
              <a:gd name="T47" fmla="*/ 4 h 108"/>
              <a:gd name="T48" fmla="*/ 40 w 88"/>
              <a:gd name="T49" fmla="*/ 8 h 108"/>
              <a:gd name="T50" fmla="*/ 38 w 88"/>
              <a:gd name="T51" fmla="*/ 10 h 108"/>
              <a:gd name="T52" fmla="*/ 34 w 88"/>
              <a:gd name="T53" fmla="*/ 8 h 108"/>
              <a:gd name="T54" fmla="*/ 30 w 88"/>
              <a:gd name="T55" fmla="*/ 8 h 108"/>
              <a:gd name="T56" fmla="*/ 28 w 88"/>
              <a:gd name="T57" fmla="*/ 16 h 108"/>
              <a:gd name="T58" fmla="*/ 26 w 88"/>
              <a:gd name="T59" fmla="*/ 12 h 108"/>
              <a:gd name="T60" fmla="*/ 24 w 88"/>
              <a:gd name="T61" fmla="*/ 14 h 108"/>
              <a:gd name="T62" fmla="*/ 18 w 88"/>
              <a:gd name="T63" fmla="*/ 18 h 108"/>
              <a:gd name="T64" fmla="*/ 16 w 88"/>
              <a:gd name="T65" fmla="*/ 22 h 108"/>
              <a:gd name="T66" fmla="*/ 14 w 88"/>
              <a:gd name="T67" fmla="*/ 26 h 108"/>
              <a:gd name="T68" fmla="*/ 18 w 88"/>
              <a:gd name="T69" fmla="*/ 30 h 108"/>
              <a:gd name="T70" fmla="*/ 18 w 88"/>
              <a:gd name="T71" fmla="*/ 34 h 108"/>
              <a:gd name="T72" fmla="*/ 16 w 88"/>
              <a:gd name="T73" fmla="*/ 36 h 108"/>
              <a:gd name="T74" fmla="*/ 10 w 88"/>
              <a:gd name="T75" fmla="*/ 38 h 108"/>
              <a:gd name="T76" fmla="*/ 10 w 88"/>
              <a:gd name="T77" fmla="*/ 40 h 108"/>
              <a:gd name="T78" fmla="*/ 6 w 88"/>
              <a:gd name="T79" fmla="*/ 48 h 108"/>
              <a:gd name="T80" fmla="*/ 8 w 88"/>
              <a:gd name="T81" fmla="*/ 52 h 108"/>
              <a:gd name="T82" fmla="*/ 8 w 88"/>
              <a:gd name="T83" fmla="*/ 58 h 108"/>
              <a:gd name="T84" fmla="*/ 4 w 88"/>
              <a:gd name="T85" fmla="*/ 64 h 108"/>
              <a:gd name="T86" fmla="*/ 0 w 88"/>
              <a:gd name="T87" fmla="*/ 68 h 108"/>
              <a:gd name="T88" fmla="*/ 10 w 88"/>
              <a:gd name="T89" fmla="*/ 70 h 108"/>
              <a:gd name="T90" fmla="*/ 14 w 88"/>
              <a:gd name="T91" fmla="*/ 78 h 108"/>
              <a:gd name="T92" fmla="*/ 16 w 88"/>
              <a:gd name="T93" fmla="*/ 84 h 108"/>
              <a:gd name="T94" fmla="*/ 20 w 88"/>
              <a:gd name="T95" fmla="*/ 86 h 108"/>
              <a:gd name="T96" fmla="*/ 22 w 88"/>
              <a:gd name="T97" fmla="*/ 86 h 108"/>
              <a:gd name="T98" fmla="*/ 20 w 88"/>
              <a:gd name="T99" fmla="*/ 90 h 108"/>
              <a:gd name="T100" fmla="*/ 18 w 88"/>
              <a:gd name="T101" fmla="*/ 98 h 108"/>
              <a:gd name="T102" fmla="*/ 16 w 88"/>
              <a:gd name="T103" fmla="*/ 100 h 108"/>
              <a:gd name="T104" fmla="*/ 18 w 88"/>
              <a:gd name="T105" fmla="*/ 104 h 108"/>
              <a:gd name="T106" fmla="*/ 16 w 88"/>
              <a:gd name="T10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108">
                <a:moveTo>
                  <a:pt x="18" y="108"/>
                </a:moveTo>
                <a:lnTo>
                  <a:pt x="18" y="108"/>
                </a:lnTo>
                <a:lnTo>
                  <a:pt x="28" y="104"/>
                </a:lnTo>
                <a:lnTo>
                  <a:pt x="36" y="100"/>
                </a:lnTo>
                <a:lnTo>
                  <a:pt x="36" y="100"/>
                </a:lnTo>
                <a:lnTo>
                  <a:pt x="40" y="94"/>
                </a:lnTo>
                <a:lnTo>
                  <a:pt x="40" y="94"/>
                </a:lnTo>
                <a:lnTo>
                  <a:pt x="50" y="94"/>
                </a:lnTo>
                <a:lnTo>
                  <a:pt x="60" y="94"/>
                </a:lnTo>
                <a:lnTo>
                  <a:pt x="60" y="94"/>
                </a:lnTo>
                <a:lnTo>
                  <a:pt x="66" y="96"/>
                </a:lnTo>
                <a:lnTo>
                  <a:pt x="70" y="100"/>
                </a:lnTo>
                <a:lnTo>
                  <a:pt x="70" y="100"/>
                </a:lnTo>
                <a:lnTo>
                  <a:pt x="74" y="92"/>
                </a:lnTo>
                <a:lnTo>
                  <a:pt x="74" y="92"/>
                </a:lnTo>
                <a:lnTo>
                  <a:pt x="74" y="88"/>
                </a:lnTo>
                <a:lnTo>
                  <a:pt x="72" y="86"/>
                </a:lnTo>
                <a:lnTo>
                  <a:pt x="72" y="76"/>
                </a:lnTo>
                <a:lnTo>
                  <a:pt x="74" y="66"/>
                </a:lnTo>
                <a:lnTo>
                  <a:pt x="74" y="66"/>
                </a:lnTo>
                <a:lnTo>
                  <a:pt x="78" y="56"/>
                </a:lnTo>
                <a:lnTo>
                  <a:pt x="78" y="56"/>
                </a:lnTo>
                <a:lnTo>
                  <a:pt x="82" y="46"/>
                </a:lnTo>
                <a:lnTo>
                  <a:pt x="82" y="46"/>
                </a:lnTo>
                <a:lnTo>
                  <a:pt x="84" y="40"/>
                </a:lnTo>
                <a:lnTo>
                  <a:pt x="86" y="38"/>
                </a:lnTo>
                <a:lnTo>
                  <a:pt x="86" y="38"/>
                </a:lnTo>
                <a:lnTo>
                  <a:pt x="88" y="26"/>
                </a:lnTo>
                <a:lnTo>
                  <a:pt x="88" y="26"/>
                </a:lnTo>
                <a:lnTo>
                  <a:pt x="86" y="20"/>
                </a:lnTo>
                <a:lnTo>
                  <a:pt x="84" y="20"/>
                </a:lnTo>
                <a:lnTo>
                  <a:pt x="84" y="18"/>
                </a:lnTo>
                <a:lnTo>
                  <a:pt x="84" y="18"/>
                </a:lnTo>
                <a:lnTo>
                  <a:pt x="84" y="12"/>
                </a:lnTo>
                <a:lnTo>
                  <a:pt x="84" y="8"/>
                </a:lnTo>
                <a:lnTo>
                  <a:pt x="84" y="8"/>
                </a:lnTo>
                <a:lnTo>
                  <a:pt x="74" y="10"/>
                </a:lnTo>
                <a:lnTo>
                  <a:pt x="74" y="10"/>
                </a:lnTo>
                <a:lnTo>
                  <a:pt x="72" y="8"/>
                </a:lnTo>
                <a:lnTo>
                  <a:pt x="72" y="6"/>
                </a:lnTo>
                <a:lnTo>
                  <a:pt x="72" y="2"/>
                </a:lnTo>
                <a:lnTo>
                  <a:pt x="66" y="2"/>
                </a:lnTo>
                <a:lnTo>
                  <a:pt x="62" y="6"/>
                </a:lnTo>
                <a:lnTo>
                  <a:pt x="56" y="4"/>
                </a:lnTo>
                <a:lnTo>
                  <a:pt x="56" y="0"/>
                </a:lnTo>
                <a:lnTo>
                  <a:pt x="44" y="0"/>
                </a:lnTo>
                <a:lnTo>
                  <a:pt x="42" y="4"/>
                </a:lnTo>
                <a:lnTo>
                  <a:pt x="42" y="4"/>
                </a:lnTo>
                <a:lnTo>
                  <a:pt x="42" y="6"/>
                </a:lnTo>
                <a:lnTo>
                  <a:pt x="40" y="8"/>
                </a:lnTo>
                <a:lnTo>
                  <a:pt x="38" y="10"/>
                </a:lnTo>
                <a:lnTo>
                  <a:pt x="38" y="10"/>
                </a:lnTo>
                <a:lnTo>
                  <a:pt x="36" y="10"/>
                </a:lnTo>
                <a:lnTo>
                  <a:pt x="34" y="8"/>
                </a:lnTo>
                <a:lnTo>
                  <a:pt x="32" y="6"/>
                </a:lnTo>
                <a:lnTo>
                  <a:pt x="30" y="8"/>
                </a:lnTo>
                <a:lnTo>
                  <a:pt x="28" y="16"/>
                </a:lnTo>
                <a:lnTo>
                  <a:pt x="28" y="16"/>
                </a:lnTo>
                <a:lnTo>
                  <a:pt x="28" y="14"/>
                </a:lnTo>
                <a:lnTo>
                  <a:pt x="26" y="12"/>
                </a:lnTo>
                <a:lnTo>
                  <a:pt x="24" y="14"/>
                </a:lnTo>
                <a:lnTo>
                  <a:pt x="24" y="14"/>
                </a:lnTo>
                <a:lnTo>
                  <a:pt x="20" y="16"/>
                </a:lnTo>
                <a:lnTo>
                  <a:pt x="18" y="18"/>
                </a:lnTo>
                <a:lnTo>
                  <a:pt x="18" y="18"/>
                </a:lnTo>
                <a:lnTo>
                  <a:pt x="16" y="22"/>
                </a:lnTo>
                <a:lnTo>
                  <a:pt x="14" y="24"/>
                </a:lnTo>
                <a:lnTo>
                  <a:pt x="14" y="26"/>
                </a:lnTo>
                <a:lnTo>
                  <a:pt x="14" y="26"/>
                </a:lnTo>
                <a:lnTo>
                  <a:pt x="18" y="30"/>
                </a:lnTo>
                <a:lnTo>
                  <a:pt x="18" y="32"/>
                </a:lnTo>
                <a:lnTo>
                  <a:pt x="18" y="34"/>
                </a:lnTo>
                <a:lnTo>
                  <a:pt x="18" y="34"/>
                </a:lnTo>
                <a:lnTo>
                  <a:pt x="16" y="36"/>
                </a:lnTo>
                <a:lnTo>
                  <a:pt x="12" y="38"/>
                </a:lnTo>
                <a:lnTo>
                  <a:pt x="10" y="38"/>
                </a:lnTo>
                <a:lnTo>
                  <a:pt x="10" y="40"/>
                </a:lnTo>
                <a:lnTo>
                  <a:pt x="10" y="40"/>
                </a:lnTo>
                <a:lnTo>
                  <a:pt x="10" y="44"/>
                </a:lnTo>
                <a:lnTo>
                  <a:pt x="6" y="48"/>
                </a:lnTo>
                <a:lnTo>
                  <a:pt x="6" y="48"/>
                </a:lnTo>
                <a:lnTo>
                  <a:pt x="8" y="52"/>
                </a:lnTo>
                <a:lnTo>
                  <a:pt x="8" y="54"/>
                </a:lnTo>
                <a:lnTo>
                  <a:pt x="8" y="58"/>
                </a:lnTo>
                <a:lnTo>
                  <a:pt x="8" y="58"/>
                </a:lnTo>
                <a:lnTo>
                  <a:pt x="4" y="64"/>
                </a:lnTo>
                <a:lnTo>
                  <a:pt x="0" y="68"/>
                </a:lnTo>
                <a:lnTo>
                  <a:pt x="0" y="68"/>
                </a:lnTo>
                <a:lnTo>
                  <a:pt x="10" y="70"/>
                </a:lnTo>
                <a:lnTo>
                  <a:pt x="10" y="70"/>
                </a:lnTo>
                <a:lnTo>
                  <a:pt x="12" y="74"/>
                </a:lnTo>
                <a:lnTo>
                  <a:pt x="14" y="78"/>
                </a:lnTo>
                <a:lnTo>
                  <a:pt x="14" y="78"/>
                </a:lnTo>
                <a:lnTo>
                  <a:pt x="16" y="84"/>
                </a:lnTo>
                <a:lnTo>
                  <a:pt x="18" y="86"/>
                </a:lnTo>
                <a:lnTo>
                  <a:pt x="20" y="86"/>
                </a:lnTo>
                <a:lnTo>
                  <a:pt x="20" y="86"/>
                </a:lnTo>
                <a:lnTo>
                  <a:pt x="22" y="86"/>
                </a:lnTo>
                <a:lnTo>
                  <a:pt x="20" y="90"/>
                </a:lnTo>
                <a:lnTo>
                  <a:pt x="20" y="90"/>
                </a:lnTo>
                <a:lnTo>
                  <a:pt x="20" y="94"/>
                </a:lnTo>
                <a:lnTo>
                  <a:pt x="18" y="98"/>
                </a:lnTo>
                <a:lnTo>
                  <a:pt x="18" y="98"/>
                </a:lnTo>
                <a:lnTo>
                  <a:pt x="16" y="100"/>
                </a:lnTo>
                <a:lnTo>
                  <a:pt x="16" y="100"/>
                </a:lnTo>
                <a:lnTo>
                  <a:pt x="18" y="104"/>
                </a:lnTo>
                <a:lnTo>
                  <a:pt x="18" y="104"/>
                </a:lnTo>
                <a:lnTo>
                  <a:pt x="16" y="108"/>
                </a:lnTo>
                <a:lnTo>
                  <a:pt x="18"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8" name="Freeform 162">
            <a:extLst>
              <a:ext uri="{FF2B5EF4-FFF2-40B4-BE49-F238E27FC236}">
                <a16:creationId xmlns:a16="http://schemas.microsoft.com/office/drawing/2014/main" id="{950DD46D-7669-40BC-9F24-DBD8889439A2}"/>
              </a:ext>
            </a:extLst>
          </p:cNvPr>
          <p:cNvSpPr>
            <a:spLocks noEditPoints="1"/>
          </p:cNvSpPr>
          <p:nvPr userDrawn="1"/>
        </p:nvSpPr>
        <p:spPr bwMode="auto">
          <a:xfrm>
            <a:off x="6003394" y="2276970"/>
            <a:ext cx="259941" cy="332902"/>
          </a:xfrm>
          <a:custGeom>
            <a:avLst/>
            <a:gdLst>
              <a:gd name="T0" fmla="*/ 79 w 155"/>
              <a:gd name="T1" fmla="*/ 176 h 194"/>
              <a:gd name="T2" fmla="*/ 93 w 155"/>
              <a:gd name="T3" fmla="*/ 186 h 194"/>
              <a:gd name="T4" fmla="*/ 107 w 155"/>
              <a:gd name="T5" fmla="*/ 192 h 194"/>
              <a:gd name="T6" fmla="*/ 111 w 155"/>
              <a:gd name="T7" fmla="*/ 188 h 194"/>
              <a:gd name="T8" fmla="*/ 115 w 155"/>
              <a:gd name="T9" fmla="*/ 178 h 194"/>
              <a:gd name="T10" fmla="*/ 117 w 155"/>
              <a:gd name="T11" fmla="*/ 168 h 194"/>
              <a:gd name="T12" fmla="*/ 89 w 155"/>
              <a:gd name="T13" fmla="*/ 170 h 194"/>
              <a:gd name="T14" fmla="*/ 81 w 155"/>
              <a:gd name="T15" fmla="*/ 168 h 194"/>
              <a:gd name="T16" fmla="*/ 18 w 155"/>
              <a:gd name="T17" fmla="*/ 62 h 194"/>
              <a:gd name="T18" fmla="*/ 22 w 155"/>
              <a:gd name="T19" fmla="*/ 52 h 194"/>
              <a:gd name="T20" fmla="*/ 40 w 155"/>
              <a:gd name="T21" fmla="*/ 54 h 194"/>
              <a:gd name="T22" fmla="*/ 48 w 155"/>
              <a:gd name="T23" fmla="*/ 64 h 194"/>
              <a:gd name="T24" fmla="*/ 52 w 155"/>
              <a:gd name="T25" fmla="*/ 76 h 194"/>
              <a:gd name="T26" fmla="*/ 61 w 155"/>
              <a:gd name="T27" fmla="*/ 90 h 194"/>
              <a:gd name="T28" fmla="*/ 77 w 155"/>
              <a:gd name="T29" fmla="*/ 108 h 194"/>
              <a:gd name="T30" fmla="*/ 93 w 155"/>
              <a:gd name="T31" fmla="*/ 112 h 194"/>
              <a:gd name="T32" fmla="*/ 103 w 155"/>
              <a:gd name="T33" fmla="*/ 124 h 194"/>
              <a:gd name="T34" fmla="*/ 111 w 155"/>
              <a:gd name="T35" fmla="*/ 132 h 194"/>
              <a:gd name="T36" fmla="*/ 125 w 155"/>
              <a:gd name="T37" fmla="*/ 158 h 194"/>
              <a:gd name="T38" fmla="*/ 119 w 155"/>
              <a:gd name="T39" fmla="*/ 170 h 194"/>
              <a:gd name="T40" fmla="*/ 125 w 155"/>
              <a:gd name="T41" fmla="*/ 176 h 194"/>
              <a:gd name="T42" fmla="*/ 133 w 155"/>
              <a:gd name="T43" fmla="*/ 158 h 194"/>
              <a:gd name="T44" fmla="*/ 137 w 155"/>
              <a:gd name="T45" fmla="*/ 148 h 194"/>
              <a:gd name="T46" fmla="*/ 129 w 155"/>
              <a:gd name="T47" fmla="*/ 138 h 194"/>
              <a:gd name="T48" fmla="*/ 139 w 155"/>
              <a:gd name="T49" fmla="*/ 128 h 194"/>
              <a:gd name="T50" fmla="*/ 153 w 155"/>
              <a:gd name="T51" fmla="*/ 136 h 194"/>
              <a:gd name="T52" fmla="*/ 153 w 155"/>
              <a:gd name="T53" fmla="*/ 126 h 194"/>
              <a:gd name="T54" fmla="*/ 143 w 155"/>
              <a:gd name="T55" fmla="*/ 118 h 194"/>
              <a:gd name="T56" fmla="*/ 117 w 155"/>
              <a:gd name="T57" fmla="*/ 100 h 194"/>
              <a:gd name="T58" fmla="*/ 95 w 155"/>
              <a:gd name="T59" fmla="*/ 76 h 194"/>
              <a:gd name="T60" fmla="*/ 87 w 155"/>
              <a:gd name="T61" fmla="*/ 64 h 194"/>
              <a:gd name="T62" fmla="*/ 75 w 155"/>
              <a:gd name="T63" fmla="*/ 56 h 194"/>
              <a:gd name="T64" fmla="*/ 77 w 155"/>
              <a:gd name="T65" fmla="*/ 42 h 194"/>
              <a:gd name="T66" fmla="*/ 75 w 155"/>
              <a:gd name="T67" fmla="*/ 32 h 194"/>
              <a:gd name="T68" fmla="*/ 93 w 155"/>
              <a:gd name="T69" fmla="*/ 26 h 194"/>
              <a:gd name="T70" fmla="*/ 91 w 155"/>
              <a:gd name="T71" fmla="*/ 14 h 194"/>
              <a:gd name="T72" fmla="*/ 89 w 155"/>
              <a:gd name="T73" fmla="*/ 4 h 194"/>
              <a:gd name="T74" fmla="*/ 75 w 155"/>
              <a:gd name="T75" fmla="*/ 6 h 194"/>
              <a:gd name="T76" fmla="*/ 65 w 155"/>
              <a:gd name="T77" fmla="*/ 2 h 194"/>
              <a:gd name="T78" fmla="*/ 59 w 155"/>
              <a:gd name="T79" fmla="*/ 2 h 194"/>
              <a:gd name="T80" fmla="*/ 50 w 155"/>
              <a:gd name="T81" fmla="*/ 4 h 194"/>
              <a:gd name="T82" fmla="*/ 48 w 155"/>
              <a:gd name="T83" fmla="*/ 10 h 194"/>
              <a:gd name="T84" fmla="*/ 40 w 155"/>
              <a:gd name="T85" fmla="*/ 12 h 194"/>
              <a:gd name="T86" fmla="*/ 36 w 155"/>
              <a:gd name="T87" fmla="*/ 22 h 194"/>
              <a:gd name="T88" fmla="*/ 24 w 155"/>
              <a:gd name="T89" fmla="*/ 20 h 194"/>
              <a:gd name="T90" fmla="*/ 20 w 155"/>
              <a:gd name="T91" fmla="*/ 20 h 194"/>
              <a:gd name="T92" fmla="*/ 8 w 155"/>
              <a:gd name="T93" fmla="*/ 32 h 194"/>
              <a:gd name="T94" fmla="*/ 0 w 155"/>
              <a:gd name="T95" fmla="*/ 40 h 194"/>
              <a:gd name="T96" fmla="*/ 2 w 155"/>
              <a:gd name="T97" fmla="*/ 52 h 194"/>
              <a:gd name="T98" fmla="*/ 10 w 155"/>
              <a:gd name="T99" fmla="*/ 56 h 194"/>
              <a:gd name="T100" fmla="*/ 8 w 155"/>
              <a:gd name="T101" fmla="*/ 64 h 194"/>
              <a:gd name="T102" fmla="*/ 22 w 155"/>
              <a:gd name="T103" fmla="*/ 118 h 194"/>
              <a:gd name="T104" fmla="*/ 28 w 155"/>
              <a:gd name="T105" fmla="*/ 148 h 194"/>
              <a:gd name="T106" fmla="*/ 36 w 155"/>
              <a:gd name="T107" fmla="*/ 152 h 194"/>
              <a:gd name="T108" fmla="*/ 40 w 155"/>
              <a:gd name="T109" fmla="*/ 118 h 194"/>
              <a:gd name="T110" fmla="*/ 34 w 155"/>
              <a:gd name="T111" fmla="*/ 1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194">
                <a:moveTo>
                  <a:pt x="81" y="168"/>
                </a:moveTo>
                <a:lnTo>
                  <a:pt x="81" y="168"/>
                </a:lnTo>
                <a:lnTo>
                  <a:pt x="81" y="170"/>
                </a:lnTo>
                <a:lnTo>
                  <a:pt x="79" y="170"/>
                </a:lnTo>
                <a:lnTo>
                  <a:pt x="79" y="170"/>
                </a:lnTo>
                <a:lnTo>
                  <a:pt x="79" y="176"/>
                </a:lnTo>
                <a:lnTo>
                  <a:pt x="79" y="176"/>
                </a:lnTo>
                <a:lnTo>
                  <a:pt x="85" y="180"/>
                </a:lnTo>
                <a:lnTo>
                  <a:pt x="85" y="180"/>
                </a:lnTo>
                <a:lnTo>
                  <a:pt x="91" y="182"/>
                </a:lnTo>
                <a:lnTo>
                  <a:pt x="91" y="182"/>
                </a:lnTo>
                <a:lnTo>
                  <a:pt x="93" y="186"/>
                </a:lnTo>
                <a:lnTo>
                  <a:pt x="93" y="186"/>
                </a:lnTo>
                <a:lnTo>
                  <a:pt x="95" y="186"/>
                </a:lnTo>
                <a:lnTo>
                  <a:pt x="99" y="186"/>
                </a:lnTo>
                <a:lnTo>
                  <a:pt x="99" y="186"/>
                </a:lnTo>
                <a:lnTo>
                  <a:pt x="101" y="188"/>
                </a:lnTo>
                <a:lnTo>
                  <a:pt x="107" y="192"/>
                </a:lnTo>
                <a:lnTo>
                  <a:pt x="107" y="194"/>
                </a:lnTo>
                <a:lnTo>
                  <a:pt x="107" y="194"/>
                </a:lnTo>
                <a:lnTo>
                  <a:pt x="113" y="194"/>
                </a:lnTo>
                <a:lnTo>
                  <a:pt x="113" y="194"/>
                </a:lnTo>
                <a:lnTo>
                  <a:pt x="111" y="188"/>
                </a:lnTo>
                <a:lnTo>
                  <a:pt x="111" y="188"/>
                </a:lnTo>
                <a:lnTo>
                  <a:pt x="115" y="186"/>
                </a:lnTo>
                <a:lnTo>
                  <a:pt x="115" y="186"/>
                </a:lnTo>
                <a:lnTo>
                  <a:pt x="115" y="182"/>
                </a:lnTo>
                <a:lnTo>
                  <a:pt x="115" y="178"/>
                </a:lnTo>
                <a:lnTo>
                  <a:pt x="115" y="178"/>
                </a:lnTo>
                <a:lnTo>
                  <a:pt x="115" y="178"/>
                </a:lnTo>
                <a:lnTo>
                  <a:pt x="115" y="176"/>
                </a:lnTo>
                <a:lnTo>
                  <a:pt x="115" y="176"/>
                </a:lnTo>
                <a:lnTo>
                  <a:pt x="115" y="174"/>
                </a:lnTo>
                <a:lnTo>
                  <a:pt x="117" y="172"/>
                </a:lnTo>
                <a:lnTo>
                  <a:pt x="117" y="172"/>
                </a:lnTo>
                <a:lnTo>
                  <a:pt x="117" y="168"/>
                </a:lnTo>
                <a:lnTo>
                  <a:pt x="117" y="168"/>
                </a:lnTo>
                <a:lnTo>
                  <a:pt x="105" y="172"/>
                </a:lnTo>
                <a:lnTo>
                  <a:pt x="99" y="174"/>
                </a:lnTo>
                <a:lnTo>
                  <a:pt x="93" y="172"/>
                </a:lnTo>
                <a:lnTo>
                  <a:pt x="93" y="172"/>
                </a:lnTo>
                <a:lnTo>
                  <a:pt x="89" y="170"/>
                </a:lnTo>
                <a:lnTo>
                  <a:pt x="89" y="170"/>
                </a:lnTo>
                <a:lnTo>
                  <a:pt x="87" y="170"/>
                </a:lnTo>
                <a:lnTo>
                  <a:pt x="83" y="170"/>
                </a:lnTo>
                <a:lnTo>
                  <a:pt x="83" y="170"/>
                </a:lnTo>
                <a:lnTo>
                  <a:pt x="81" y="168"/>
                </a:lnTo>
                <a:lnTo>
                  <a:pt x="81" y="168"/>
                </a:lnTo>
                <a:close/>
                <a:moveTo>
                  <a:pt x="8" y="64"/>
                </a:moveTo>
                <a:lnTo>
                  <a:pt x="8" y="64"/>
                </a:lnTo>
                <a:lnTo>
                  <a:pt x="12" y="62"/>
                </a:lnTo>
                <a:lnTo>
                  <a:pt x="12" y="62"/>
                </a:lnTo>
                <a:lnTo>
                  <a:pt x="18" y="62"/>
                </a:lnTo>
                <a:lnTo>
                  <a:pt x="18" y="62"/>
                </a:lnTo>
                <a:lnTo>
                  <a:pt x="18" y="58"/>
                </a:lnTo>
                <a:lnTo>
                  <a:pt x="18" y="58"/>
                </a:lnTo>
                <a:lnTo>
                  <a:pt x="22" y="56"/>
                </a:lnTo>
                <a:lnTo>
                  <a:pt x="22" y="56"/>
                </a:lnTo>
                <a:lnTo>
                  <a:pt x="22" y="52"/>
                </a:lnTo>
                <a:lnTo>
                  <a:pt x="22" y="52"/>
                </a:lnTo>
                <a:lnTo>
                  <a:pt x="26" y="50"/>
                </a:lnTo>
                <a:lnTo>
                  <a:pt x="32" y="50"/>
                </a:lnTo>
                <a:lnTo>
                  <a:pt x="32" y="50"/>
                </a:lnTo>
                <a:lnTo>
                  <a:pt x="36" y="54"/>
                </a:lnTo>
                <a:lnTo>
                  <a:pt x="36" y="54"/>
                </a:lnTo>
                <a:lnTo>
                  <a:pt x="40" y="54"/>
                </a:lnTo>
                <a:lnTo>
                  <a:pt x="40" y="54"/>
                </a:lnTo>
                <a:lnTo>
                  <a:pt x="46" y="58"/>
                </a:lnTo>
                <a:lnTo>
                  <a:pt x="46" y="60"/>
                </a:lnTo>
                <a:lnTo>
                  <a:pt x="48" y="60"/>
                </a:lnTo>
                <a:lnTo>
                  <a:pt x="48" y="60"/>
                </a:lnTo>
                <a:lnTo>
                  <a:pt x="48" y="64"/>
                </a:lnTo>
                <a:lnTo>
                  <a:pt x="48" y="66"/>
                </a:lnTo>
                <a:lnTo>
                  <a:pt x="48" y="66"/>
                </a:lnTo>
                <a:lnTo>
                  <a:pt x="52" y="70"/>
                </a:lnTo>
                <a:lnTo>
                  <a:pt x="52" y="70"/>
                </a:lnTo>
                <a:lnTo>
                  <a:pt x="52" y="76"/>
                </a:lnTo>
                <a:lnTo>
                  <a:pt x="52" y="76"/>
                </a:lnTo>
                <a:lnTo>
                  <a:pt x="57" y="78"/>
                </a:lnTo>
                <a:lnTo>
                  <a:pt x="57" y="78"/>
                </a:lnTo>
                <a:lnTo>
                  <a:pt x="57" y="82"/>
                </a:lnTo>
                <a:lnTo>
                  <a:pt x="59" y="88"/>
                </a:lnTo>
                <a:lnTo>
                  <a:pt x="59" y="88"/>
                </a:lnTo>
                <a:lnTo>
                  <a:pt x="61" y="90"/>
                </a:lnTo>
                <a:lnTo>
                  <a:pt x="65" y="94"/>
                </a:lnTo>
                <a:lnTo>
                  <a:pt x="73" y="100"/>
                </a:lnTo>
                <a:lnTo>
                  <a:pt x="73" y="100"/>
                </a:lnTo>
                <a:lnTo>
                  <a:pt x="75" y="104"/>
                </a:lnTo>
                <a:lnTo>
                  <a:pt x="77" y="108"/>
                </a:lnTo>
                <a:lnTo>
                  <a:pt x="77" y="108"/>
                </a:lnTo>
                <a:lnTo>
                  <a:pt x="87" y="112"/>
                </a:lnTo>
                <a:lnTo>
                  <a:pt x="87" y="114"/>
                </a:lnTo>
                <a:lnTo>
                  <a:pt x="87" y="114"/>
                </a:lnTo>
                <a:lnTo>
                  <a:pt x="91" y="112"/>
                </a:lnTo>
                <a:lnTo>
                  <a:pt x="93" y="112"/>
                </a:lnTo>
                <a:lnTo>
                  <a:pt x="93" y="112"/>
                </a:lnTo>
                <a:lnTo>
                  <a:pt x="97" y="116"/>
                </a:lnTo>
                <a:lnTo>
                  <a:pt x="101" y="120"/>
                </a:lnTo>
                <a:lnTo>
                  <a:pt x="103" y="120"/>
                </a:lnTo>
                <a:lnTo>
                  <a:pt x="103" y="120"/>
                </a:lnTo>
                <a:lnTo>
                  <a:pt x="103" y="122"/>
                </a:lnTo>
                <a:lnTo>
                  <a:pt x="103" y="124"/>
                </a:lnTo>
                <a:lnTo>
                  <a:pt x="103" y="124"/>
                </a:lnTo>
                <a:lnTo>
                  <a:pt x="105" y="124"/>
                </a:lnTo>
                <a:lnTo>
                  <a:pt x="109" y="124"/>
                </a:lnTo>
                <a:lnTo>
                  <a:pt x="109" y="124"/>
                </a:lnTo>
                <a:lnTo>
                  <a:pt x="109" y="128"/>
                </a:lnTo>
                <a:lnTo>
                  <a:pt x="111" y="132"/>
                </a:lnTo>
                <a:lnTo>
                  <a:pt x="111" y="132"/>
                </a:lnTo>
                <a:lnTo>
                  <a:pt x="115" y="134"/>
                </a:lnTo>
                <a:lnTo>
                  <a:pt x="119" y="136"/>
                </a:lnTo>
                <a:lnTo>
                  <a:pt x="119" y="136"/>
                </a:lnTo>
                <a:lnTo>
                  <a:pt x="123" y="146"/>
                </a:lnTo>
                <a:lnTo>
                  <a:pt x="125" y="158"/>
                </a:lnTo>
                <a:lnTo>
                  <a:pt x="121" y="158"/>
                </a:lnTo>
                <a:lnTo>
                  <a:pt x="121" y="158"/>
                </a:lnTo>
                <a:lnTo>
                  <a:pt x="121" y="166"/>
                </a:lnTo>
                <a:lnTo>
                  <a:pt x="121" y="166"/>
                </a:lnTo>
                <a:lnTo>
                  <a:pt x="119" y="170"/>
                </a:lnTo>
                <a:lnTo>
                  <a:pt x="119" y="170"/>
                </a:lnTo>
                <a:lnTo>
                  <a:pt x="119" y="174"/>
                </a:lnTo>
                <a:lnTo>
                  <a:pt x="121" y="176"/>
                </a:lnTo>
                <a:lnTo>
                  <a:pt x="121" y="176"/>
                </a:lnTo>
                <a:lnTo>
                  <a:pt x="123" y="176"/>
                </a:lnTo>
                <a:lnTo>
                  <a:pt x="125" y="176"/>
                </a:lnTo>
                <a:lnTo>
                  <a:pt x="125" y="176"/>
                </a:lnTo>
                <a:lnTo>
                  <a:pt x="127" y="170"/>
                </a:lnTo>
                <a:lnTo>
                  <a:pt x="127" y="170"/>
                </a:lnTo>
                <a:lnTo>
                  <a:pt x="133" y="166"/>
                </a:lnTo>
                <a:lnTo>
                  <a:pt x="133" y="166"/>
                </a:lnTo>
                <a:lnTo>
                  <a:pt x="133" y="162"/>
                </a:lnTo>
                <a:lnTo>
                  <a:pt x="133" y="158"/>
                </a:lnTo>
                <a:lnTo>
                  <a:pt x="133" y="158"/>
                </a:lnTo>
                <a:lnTo>
                  <a:pt x="135" y="158"/>
                </a:lnTo>
                <a:lnTo>
                  <a:pt x="139" y="156"/>
                </a:lnTo>
                <a:lnTo>
                  <a:pt x="139" y="156"/>
                </a:lnTo>
                <a:lnTo>
                  <a:pt x="139" y="150"/>
                </a:lnTo>
                <a:lnTo>
                  <a:pt x="137" y="148"/>
                </a:lnTo>
                <a:lnTo>
                  <a:pt x="137" y="148"/>
                </a:lnTo>
                <a:lnTo>
                  <a:pt x="135" y="146"/>
                </a:lnTo>
                <a:lnTo>
                  <a:pt x="135" y="146"/>
                </a:lnTo>
                <a:lnTo>
                  <a:pt x="133" y="140"/>
                </a:lnTo>
                <a:lnTo>
                  <a:pt x="133" y="140"/>
                </a:lnTo>
                <a:lnTo>
                  <a:pt x="129" y="138"/>
                </a:lnTo>
                <a:lnTo>
                  <a:pt x="129" y="138"/>
                </a:lnTo>
                <a:lnTo>
                  <a:pt x="133" y="130"/>
                </a:lnTo>
                <a:lnTo>
                  <a:pt x="135" y="126"/>
                </a:lnTo>
                <a:lnTo>
                  <a:pt x="139" y="126"/>
                </a:lnTo>
                <a:lnTo>
                  <a:pt x="139" y="128"/>
                </a:lnTo>
                <a:lnTo>
                  <a:pt x="139" y="128"/>
                </a:lnTo>
                <a:lnTo>
                  <a:pt x="149" y="130"/>
                </a:lnTo>
                <a:lnTo>
                  <a:pt x="149" y="130"/>
                </a:lnTo>
                <a:lnTo>
                  <a:pt x="149" y="136"/>
                </a:lnTo>
                <a:lnTo>
                  <a:pt x="149" y="136"/>
                </a:lnTo>
                <a:lnTo>
                  <a:pt x="153" y="136"/>
                </a:lnTo>
                <a:lnTo>
                  <a:pt x="153" y="136"/>
                </a:lnTo>
                <a:lnTo>
                  <a:pt x="153" y="134"/>
                </a:lnTo>
                <a:lnTo>
                  <a:pt x="155" y="132"/>
                </a:lnTo>
                <a:lnTo>
                  <a:pt x="155" y="132"/>
                </a:lnTo>
                <a:lnTo>
                  <a:pt x="153" y="130"/>
                </a:lnTo>
                <a:lnTo>
                  <a:pt x="153" y="130"/>
                </a:lnTo>
                <a:lnTo>
                  <a:pt x="153" y="126"/>
                </a:lnTo>
                <a:lnTo>
                  <a:pt x="153" y="126"/>
                </a:lnTo>
                <a:lnTo>
                  <a:pt x="151" y="126"/>
                </a:lnTo>
                <a:lnTo>
                  <a:pt x="149" y="124"/>
                </a:lnTo>
                <a:lnTo>
                  <a:pt x="149" y="124"/>
                </a:lnTo>
                <a:lnTo>
                  <a:pt x="143" y="118"/>
                </a:lnTo>
                <a:lnTo>
                  <a:pt x="143" y="118"/>
                </a:lnTo>
                <a:lnTo>
                  <a:pt x="135" y="112"/>
                </a:lnTo>
                <a:lnTo>
                  <a:pt x="125" y="108"/>
                </a:lnTo>
                <a:lnTo>
                  <a:pt x="125" y="108"/>
                </a:lnTo>
                <a:lnTo>
                  <a:pt x="125" y="100"/>
                </a:lnTo>
                <a:lnTo>
                  <a:pt x="125" y="100"/>
                </a:lnTo>
                <a:lnTo>
                  <a:pt x="117" y="100"/>
                </a:lnTo>
                <a:lnTo>
                  <a:pt x="109" y="96"/>
                </a:lnTo>
                <a:lnTo>
                  <a:pt x="109" y="96"/>
                </a:lnTo>
                <a:lnTo>
                  <a:pt x="101" y="90"/>
                </a:lnTo>
                <a:lnTo>
                  <a:pt x="95" y="80"/>
                </a:lnTo>
                <a:lnTo>
                  <a:pt x="95" y="80"/>
                </a:lnTo>
                <a:lnTo>
                  <a:pt x="95" y="76"/>
                </a:lnTo>
                <a:lnTo>
                  <a:pt x="93" y="72"/>
                </a:lnTo>
                <a:lnTo>
                  <a:pt x="93" y="72"/>
                </a:lnTo>
                <a:lnTo>
                  <a:pt x="93" y="72"/>
                </a:lnTo>
                <a:lnTo>
                  <a:pt x="91" y="70"/>
                </a:lnTo>
                <a:lnTo>
                  <a:pt x="91" y="70"/>
                </a:lnTo>
                <a:lnTo>
                  <a:pt x="87" y="64"/>
                </a:lnTo>
                <a:lnTo>
                  <a:pt x="87" y="64"/>
                </a:lnTo>
                <a:lnTo>
                  <a:pt x="87" y="64"/>
                </a:lnTo>
                <a:lnTo>
                  <a:pt x="87" y="64"/>
                </a:lnTo>
                <a:lnTo>
                  <a:pt x="81" y="60"/>
                </a:lnTo>
                <a:lnTo>
                  <a:pt x="77" y="60"/>
                </a:lnTo>
                <a:lnTo>
                  <a:pt x="75" y="56"/>
                </a:lnTo>
                <a:lnTo>
                  <a:pt x="75" y="56"/>
                </a:lnTo>
                <a:lnTo>
                  <a:pt x="73" y="56"/>
                </a:lnTo>
                <a:lnTo>
                  <a:pt x="73" y="56"/>
                </a:lnTo>
                <a:lnTo>
                  <a:pt x="73" y="52"/>
                </a:lnTo>
                <a:lnTo>
                  <a:pt x="75" y="46"/>
                </a:lnTo>
                <a:lnTo>
                  <a:pt x="77" y="42"/>
                </a:lnTo>
                <a:lnTo>
                  <a:pt x="77" y="42"/>
                </a:lnTo>
                <a:lnTo>
                  <a:pt x="77" y="38"/>
                </a:lnTo>
                <a:lnTo>
                  <a:pt x="77" y="36"/>
                </a:lnTo>
                <a:lnTo>
                  <a:pt x="75" y="34"/>
                </a:lnTo>
                <a:lnTo>
                  <a:pt x="75" y="34"/>
                </a:lnTo>
                <a:lnTo>
                  <a:pt x="75" y="32"/>
                </a:lnTo>
                <a:lnTo>
                  <a:pt x="75" y="30"/>
                </a:lnTo>
                <a:lnTo>
                  <a:pt x="75" y="30"/>
                </a:lnTo>
                <a:lnTo>
                  <a:pt x="77" y="30"/>
                </a:lnTo>
                <a:lnTo>
                  <a:pt x="77" y="32"/>
                </a:lnTo>
                <a:lnTo>
                  <a:pt x="77" y="32"/>
                </a:lnTo>
                <a:lnTo>
                  <a:pt x="93" y="26"/>
                </a:lnTo>
                <a:lnTo>
                  <a:pt x="93" y="26"/>
                </a:lnTo>
                <a:lnTo>
                  <a:pt x="91" y="24"/>
                </a:lnTo>
                <a:lnTo>
                  <a:pt x="91" y="22"/>
                </a:lnTo>
                <a:lnTo>
                  <a:pt x="93" y="18"/>
                </a:lnTo>
                <a:lnTo>
                  <a:pt x="93" y="18"/>
                </a:lnTo>
                <a:lnTo>
                  <a:pt x="91" y="14"/>
                </a:lnTo>
                <a:lnTo>
                  <a:pt x="91" y="14"/>
                </a:lnTo>
                <a:lnTo>
                  <a:pt x="89" y="14"/>
                </a:lnTo>
                <a:lnTo>
                  <a:pt x="89" y="14"/>
                </a:lnTo>
                <a:lnTo>
                  <a:pt x="87" y="12"/>
                </a:lnTo>
                <a:lnTo>
                  <a:pt x="87" y="8"/>
                </a:lnTo>
                <a:lnTo>
                  <a:pt x="89" y="4"/>
                </a:lnTo>
                <a:lnTo>
                  <a:pt x="89" y="4"/>
                </a:lnTo>
                <a:lnTo>
                  <a:pt x="81" y="4"/>
                </a:lnTo>
                <a:lnTo>
                  <a:pt x="81" y="4"/>
                </a:lnTo>
                <a:lnTo>
                  <a:pt x="77" y="6"/>
                </a:lnTo>
                <a:lnTo>
                  <a:pt x="75" y="6"/>
                </a:lnTo>
                <a:lnTo>
                  <a:pt x="75" y="6"/>
                </a:lnTo>
                <a:lnTo>
                  <a:pt x="73" y="4"/>
                </a:lnTo>
                <a:lnTo>
                  <a:pt x="73" y="4"/>
                </a:lnTo>
                <a:lnTo>
                  <a:pt x="71" y="2"/>
                </a:lnTo>
                <a:lnTo>
                  <a:pt x="69" y="2"/>
                </a:lnTo>
                <a:lnTo>
                  <a:pt x="69" y="2"/>
                </a:lnTo>
                <a:lnTo>
                  <a:pt x="65" y="2"/>
                </a:lnTo>
                <a:lnTo>
                  <a:pt x="63" y="0"/>
                </a:lnTo>
                <a:lnTo>
                  <a:pt x="63" y="0"/>
                </a:lnTo>
                <a:lnTo>
                  <a:pt x="59" y="0"/>
                </a:lnTo>
                <a:lnTo>
                  <a:pt x="59" y="2"/>
                </a:lnTo>
                <a:lnTo>
                  <a:pt x="59" y="2"/>
                </a:lnTo>
                <a:lnTo>
                  <a:pt x="59" y="2"/>
                </a:lnTo>
                <a:lnTo>
                  <a:pt x="57" y="2"/>
                </a:lnTo>
                <a:lnTo>
                  <a:pt x="52" y="0"/>
                </a:lnTo>
                <a:lnTo>
                  <a:pt x="52" y="0"/>
                </a:lnTo>
                <a:lnTo>
                  <a:pt x="52" y="2"/>
                </a:lnTo>
                <a:lnTo>
                  <a:pt x="50" y="4"/>
                </a:lnTo>
                <a:lnTo>
                  <a:pt x="50" y="4"/>
                </a:lnTo>
                <a:lnTo>
                  <a:pt x="48" y="6"/>
                </a:lnTo>
                <a:lnTo>
                  <a:pt x="50" y="6"/>
                </a:lnTo>
                <a:lnTo>
                  <a:pt x="52" y="8"/>
                </a:lnTo>
                <a:lnTo>
                  <a:pt x="50" y="8"/>
                </a:lnTo>
                <a:lnTo>
                  <a:pt x="50" y="8"/>
                </a:lnTo>
                <a:lnTo>
                  <a:pt x="48" y="10"/>
                </a:lnTo>
                <a:lnTo>
                  <a:pt x="46" y="10"/>
                </a:lnTo>
                <a:lnTo>
                  <a:pt x="46" y="10"/>
                </a:lnTo>
                <a:lnTo>
                  <a:pt x="44" y="8"/>
                </a:lnTo>
                <a:lnTo>
                  <a:pt x="42" y="10"/>
                </a:lnTo>
                <a:lnTo>
                  <a:pt x="40" y="12"/>
                </a:lnTo>
                <a:lnTo>
                  <a:pt x="40" y="12"/>
                </a:lnTo>
                <a:lnTo>
                  <a:pt x="40" y="14"/>
                </a:lnTo>
                <a:lnTo>
                  <a:pt x="38" y="14"/>
                </a:lnTo>
                <a:lnTo>
                  <a:pt x="36" y="16"/>
                </a:lnTo>
                <a:lnTo>
                  <a:pt x="34" y="18"/>
                </a:lnTo>
                <a:lnTo>
                  <a:pt x="34" y="18"/>
                </a:lnTo>
                <a:lnTo>
                  <a:pt x="36" y="22"/>
                </a:lnTo>
                <a:lnTo>
                  <a:pt x="34" y="22"/>
                </a:lnTo>
                <a:lnTo>
                  <a:pt x="34" y="22"/>
                </a:lnTo>
                <a:lnTo>
                  <a:pt x="32" y="22"/>
                </a:lnTo>
                <a:lnTo>
                  <a:pt x="28" y="20"/>
                </a:lnTo>
                <a:lnTo>
                  <a:pt x="28" y="20"/>
                </a:lnTo>
                <a:lnTo>
                  <a:pt x="24" y="20"/>
                </a:lnTo>
                <a:lnTo>
                  <a:pt x="22" y="16"/>
                </a:lnTo>
                <a:lnTo>
                  <a:pt x="22" y="16"/>
                </a:lnTo>
                <a:lnTo>
                  <a:pt x="20" y="14"/>
                </a:lnTo>
                <a:lnTo>
                  <a:pt x="20" y="16"/>
                </a:lnTo>
                <a:lnTo>
                  <a:pt x="20" y="20"/>
                </a:lnTo>
                <a:lnTo>
                  <a:pt x="20" y="20"/>
                </a:lnTo>
                <a:lnTo>
                  <a:pt x="18" y="22"/>
                </a:lnTo>
                <a:lnTo>
                  <a:pt x="16" y="24"/>
                </a:lnTo>
                <a:lnTo>
                  <a:pt x="12" y="24"/>
                </a:lnTo>
                <a:lnTo>
                  <a:pt x="10" y="26"/>
                </a:lnTo>
                <a:lnTo>
                  <a:pt x="8" y="32"/>
                </a:lnTo>
                <a:lnTo>
                  <a:pt x="8" y="32"/>
                </a:lnTo>
                <a:lnTo>
                  <a:pt x="6" y="34"/>
                </a:lnTo>
                <a:lnTo>
                  <a:pt x="4" y="36"/>
                </a:lnTo>
                <a:lnTo>
                  <a:pt x="2" y="36"/>
                </a:lnTo>
                <a:lnTo>
                  <a:pt x="2" y="36"/>
                </a:lnTo>
                <a:lnTo>
                  <a:pt x="0" y="38"/>
                </a:lnTo>
                <a:lnTo>
                  <a:pt x="0" y="40"/>
                </a:lnTo>
                <a:lnTo>
                  <a:pt x="0" y="42"/>
                </a:lnTo>
                <a:lnTo>
                  <a:pt x="2" y="44"/>
                </a:lnTo>
                <a:lnTo>
                  <a:pt x="2" y="44"/>
                </a:lnTo>
                <a:lnTo>
                  <a:pt x="4" y="46"/>
                </a:lnTo>
                <a:lnTo>
                  <a:pt x="4" y="48"/>
                </a:lnTo>
                <a:lnTo>
                  <a:pt x="2" y="52"/>
                </a:lnTo>
                <a:lnTo>
                  <a:pt x="4" y="56"/>
                </a:lnTo>
                <a:lnTo>
                  <a:pt x="4" y="56"/>
                </a:lnTo>
                <a:lnTo>
                  <a:pt x="6" y="56"/>
                </a:lnTo>
                <a:lnTo>
                  <a:pt x="8" y="56"/>
                </a:lnTo>
                <a:lnTo>
                  <a:pt x="10" y="56"/>
                </a:lnTo>
                <a:lnTo>
                  <a:pt x="10" y="56"/>
                </a:lnTo>
                <a:lnTo>
                  <a:pt x="10" y="56"/>
                </a:lnTo>
                <a:lnTo>
                  <a:pt x="6" y="60"/>
                </a:lnTo>
                <a:lnTo>
                  <a:pt x="6" y="60"/>
                </a:lnTo>
                <a:lnTo>
                  <a:pt x="6" y="62"/>
                </a:lnTo>
                <a:lnTo>
                  <a:pt x="6" y="62"/>
                </a:lnTo>
                <a:lnTo>
                  <a:pt x="8" y="64"/>
                </a:lnTo>
                <a:lnTo>
                  <a:pt x="8" y="64"/>
                </a:lnTo>
                <a:close/>
                <a:moveTo>
                  <a:pt x="34" y="110"/>
                </a:moveTo>
                <a:lnTo>
                  <a:pt x="34" y="110"/>
                </a:lnTo>
                <a:lnTo>
                  <a:pt x="24" y="118"/>
                </a:lnTo>
                <a:lnTo>
                  <a:pt x="24" y="118"/>
                </a:lnTo>
                <a:lnTo>
                  <a:pt x="22" y="118"/>
                </a:lnTo>
                <a:lnTo>
                  <a:pt x="22" y="118"/>
                </a:lnTo>
                <a:lnTo>
                  <a:pt x="24" y="126"/>
                </a:lnTo>
                <a:lnTo>
                  <a:pt x="24" y="126"/>
                </a:lnTo>
                <a:lnTo>
                  <a:pt x="24" y="138"/>
                </a:lnTo>
                <a:lnTo>
                  <a:pt x="28" y="148"/>
                </a:lnTo>
                <a:lnTo>
                  <a:pt x="28" y="148"/>
                </a:lnTo>
                <a:lnTo>
                  <a:pt x="30" y="150"/>
                </a:lnTo>
                <a:lnTo>
                  <a:pt x="32" y="152"/>
                </a:lnTo>
                <a:lnTo>
                  <a:pt x="32" y="152"/>
                </a:lnTo>
                <a:lnTo>
                  <a:pt x="32" y="152"/>
                </a:lnTo>
                <a:lnTo>
                  <a:pt x="36" y="152"/>
                </a:lnTo>
                <a:lnTo>
                  <a:pt x="36" y="152"/>
                </a:lnTo>
                <a:lnTo>
                  <a:pt x="40" y="148"/>
                </a:lnTo>
                <a:lnTo>
                  <a:pt x="40" y="148"/>
                </a:lnTo>
                <a:lnTo>
                  <a:pt x="40" y="148"/>
                </a:lnTo>
                <a:lnTo>
                  <a:pt x="44" y="122"/>
                </a:lnTo>
                <a:lnTo>
                  <a:pt x="44" y="122"/>
                </a:lnTo>
                <a:lnTo>
                  <a:pt x="40" y="118"/>
                </a:lnTo>
                <a:lnTo>
                  <a:pt x="40" y="118"/>
                </a:lnTo>
                <a:lnTo>
                  <a:pt x="40" y="114"/>
                </a:lnTo>
                <a:lnTo>
                  <a:pt x="38" y="112"/>
                </a:lnTo>
                <a:lnTo>
                  <a:pt x="38" y="112"/>
                </a:lnTo>
                <a:lnTo>
                  <a:pt x="34" y="110"/>
                </a:lnTo>
                <a:lnTo>
                  <a:pt x="34" y="1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9" name="Freeform 163">
            <a:extLst>
              <a:ext uri="{FF2B5EF4-FFF2-40B4-BE49-F238E27FC236}">
                <a16:creationId xmlns:a16="http://schemas.microsoft.com/office/drawing/2014/main" id="{8F785BCB-938A-4EBC-96AA-A8D79954A8D1}"/>
              </a:ext>
            </a:extLst>
          </p:cNvPr>
          <p:cNvSpPr>
            <a:spLocks noEditPoints="1"/>
          </p:cNvSpPr>
          <p:nvPr userDrawn="1"/>
        </p:nvSpPr>
        <p:spPr bwMode="auto">
          <a:xfrm>
            <a:off x="6628929" y="2736855"/>
            <a:ext cx="36895" cy="102959"/>
          </a:xfrm>
          <a:custGeom>
            <a:avLst/>
            <a:gdLst>
              <a:gd name="T0" fmla="*/ 20 w 22"/>
              <a:gd name="T1" fmla="*/ 20 h 60"/>
              <a:gd name="T2" fmla="*/ 20 w 22"/>
              <a:gd name="T3" fmla="*/ 22 h 60"/>
              <a:gd name="T4" fmla="*/ 20 w 22"/>
              <a:gd name="T5" fmla="*/ 28 h 60"/>
              <a:gd name="T6" fmla="*/ 16 w 22"/>
              <a:gd name="T7" fmla="*/ 28 h 60"/>
              <a:gd name="T8" fmla="*/ 14 w 22"/>
              <a:gd name="T9" fmla="*/ 28 h 60"/>
              <a:gd name="T10" fmla="*/ 14 w 22"/>
              <a:gd name="T11" fmla="*/ 20 h 60"/>
              <a:gd name="T12" fmla="*/ 14 w 22"/>
              <a:gd name="T13" fmla="*/ 12 h 60"/>
              <a:gd name="T14" fmla="*/ 16 w 22"/>
              <a:gd name="T15" fmla="*/ 10 h 60"/>
              <a:gd name="T16" fmla="*/ 20 w 22"/>
              <a:gd name="T17" fmla="*/ 12 h 60"/>
              <a:gd name="T18" fmla="*/ 18 w 22"/>
              <a:gd name="T19" fmla="*/ 14 h 60"/>
              <a:gd name="T20" fmla="*/ 16 w 22"/>
              <a:gd name="T21" fmla="*/ 16 h 60"/>
              <a:gd name="T22" fmla="*/ 16 w 22"/>
              <a:gd name="T23" fmla="*/ 22 h 60"/>
              <a:gd name="T24" fmla="*/ 20 w 22"/>
              <a:gd name="T25" fmla="*/ 20 h 60"/>
              <a:gd name="T26" fmla="*/ 4 w 22"/>
              <a:gd name="T27" fmla="*/ 20 h 60"/>
              <a:gd name="T28" fmla="*/ 2 w 22"/>
              <a:gd name="T29" fmla="*/ 26 h 60"/>
              <a:gd name="T30" fmla="*/ 4 w 22"/>
              <a:gd name="T31" fmla="*/ 20 h 60"/>
              <a:gd name="T32" fmla="*/ 6 w 22"/>
              <a:gd name="T33" fmla="*/ 60 h 60"/>
              <a:gd name="T34" fmla="*/ 16 w 22"/>
              <a:gd name="T35" fmla="*/ 48 h 60"/>
              <a:gd name="T36" fmla="*/ 16 w 22"/>
              <a:gd name="T37" fmla="*/ 44 h 60"/>
              <a:gd name="T38" fmla="*/ 18 w 22"/>
              <a:gd name="T39" fmla="*/ 34 h 60"/>
              <a:gd name="T40" fmla="*/ 20 w 22"/>
              <a:gd name="T41" fmla="*/ 28 h 60"/>
              <a:gd name="T42" fmla="*/ 16 w 22"/>
              <a:gd name="T43" fmla="*/ 28 h 60"/>
              <a:gd name="T44" fmla="*/ 14 w 22"/>
              <a:gd name="T45" fmla="*/ 28 h 60"/>
              <a:gd name="T46" fmla="*/ 14 w 22"/>
              <a:gd name="T47" fmla="*/ 20 h 60"/>
              <a:gd name="T48" fmla="*/ 14 w 22"/>
              <a:gd name="T49" fmla="*/ 12 h 60"/>
              <a:gd name="T50" fmla="*/ 16 w 22"/>
              <a:gd name="T51" fmla="*/ 10 h 60"/>
              <a:gd name="T52" fmla="*/ 20 w 22"/>
              <a:gd name="T53" fmla="*/ 12 h 60"/>
              <a:gd name="T54" fmla="*/ 20 w 22"/>
              <a:gd name="T55" fmla="*/ 12 h 60"/>
              <a:gd name="T56" fmla="*/ 22 w 22"/>
              <a:gd name="T57" fmla="*/ 6 h 60"/>
              <a:gd name="T58" fmla="*/ 20 w 22"/>
              <a:gd name="T59" fmla="*/ 0 h 60"/>
              <a:gd name="T60" fmla="*/ 16 w 22"/>
              <a:gd name="T61" fmla="*/ 2 h 60"/>
              <a:gd name="T62" fmla="*/ 16 w 22"/>
              <a:gd name="T63" fmla="*/ 2 h 60"/>
              <a:gd name="T64" fmla="*/ 10 w 22"/>
              <a:gd name="T65" fmla="*/ 2 h 60"/>
              <a:gd name="T66" fmla="*/ 10 w 22"/>
              <a:gd name="T67" fmla="*/ 6 h 60"/>
              <a:gd name="T68" fmla="*/ 6 w 22"/>
              <a:gd name="T69" fmla="*/ 12 h 60"/>
              <a:gd name="T70" fmla="*/ 6 w 22"/>
              <a:gd name="T71" fmla="*/ 16 h 60"/>
              <a:gd name="T72" fmla="*/ 6 w 22"/>
              <a:gd name="T73" fmla="*/ 20 h 60"/>
              <a:gd name="T74" fmla="*/ 6 w 22"/>
              <a:gd name="T75" fmla="*/ 24 h 60"/>
              <a:gd name="T76" fmla="*/ 4 w 22"/>
              <a:gd name="T77"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60">
                <a:moveTo>
                  <a:pt x="20" y="20"/>
                </a:moveTo>
                <a:lnTo>
                  <a:pt x="20" y="20"/>
                </a:lnTo>
                <a:lnTo>
                  <a:pt x="20" y="22"/>
                </a:lnTo>
                <a:lnTo>
                  <a:pt x="20" y="22"/>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18" y="14"/>
                </a:lnTo>
                <a:lnTo>
                  <a:pt x="16" y="16"/>
                </a:lnTo>
                <a:lnTo>
                  <a:pt x="16" y="16"/>
                </a:lnTo>
                <a:lnTo>
                  <a:pt x="16" y="22"/>
                </a:lnTo>
                <a:lnTo>
                  <a:pt x="16" y="22"/>
                </a:lnTo>
                <a:lnTo>
                  <a:pt x="20" y="20"/>
                </a:lnTo>
                <a:lnTo>
                  <a:pt x="20" y="20"/>
                </a:lnTo>
                <a:close/>
                <a:moveTo>
                  <a:pt x="4" y="20"/>
                </a:moveTo>
                <a:lnTo>
                  <a:pt x="4" y="20"/>
                </a:lnTo>
                <a:lnTo>
                  <a:pt x="0" y="24"/>
                </a:lnTo>
                <a:lnTo>
                  <a:pt x="2" y="26"/>
                </a:lnTo>
                <a:lnTo>
                  <a:pt x="6" y="24"/>
                </a:lnTo>
                <a:lnTo>
                  <a:pt x="4" y="20"/>
                </a:lnTo>
                <a:close/>
                <a:moveTo>
                  <a:pt x="6" y="60"/>
                </a:moveTo>
                <a:lnTo>
                  <a:pt x="6" y="60"/>
                </a:lnTo>
                <a:lnTo>
                  <a:pt x="12" y="54"/>
                </a:lnTo>
                <a:lnTo>
                  <a:pt x="16" y="48"/>
                </a:lnTo>
                <a:lnTo>
                  <a:pt x="16" y="44"/>
                </a:lnTo>
                <a:lnTo>
                  <a:pt x="16" y="44"/>
                </a:lnTo>
                <a:lnTo>
                  <a:pt x="16" y="38"/>
                </a:lnTo>
                <a:lnTo>
                  <a:pt x="18" y="34"/>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20" y="12"/>
                </a:lnTo>
                <a:lnTo>
                  <a:pt x="20" y="10"/>
                </a:lnTo>
                <a:lnTo>
                  <a:pt x="22" y="6"/>
                </a:lnTo>
                <a:lnTo>
                  <a:pt x="20" y="0"/>
                </a:lnTo>
                <a:lnTo>
                  <a:pt x="20" y="0"/>
                </a:lnTo>
                <a:lnTo>
                  <a:pt x="18" y="0"/>
                </a:lnTo>
                <a:lnTo>
                  <a:pt x="16" y="2"/>
                </a:lnTo>
                <a:lnTo>
                  <a:pt x="16" y="2"/>
                </a:lnTo>
                <a:lnTo>
                  <a:pt x="16" y="2"/>
                </a:lnTo>
                <a:lnTo>
                  <a:pt x="14" y="2"/>
                </a:lnTo>
                <a:lnTo>
                  <a:pt x="10" y="2"/>
                </a:lnTo>
                <a:lnTo>
                  <a:pt x="10" y="2"/>
                </a:lnTo>
                <a:lnTo>
                  <a:pt x="10" y="6"/>
                </a:lnTo>
                <a:lnTo>
                  <a:pt x="10" y="6"/>
                </a:lnTo>
                <a:lnTo>
                  <a:pt x="6" y="12"/>
                </a:lnTo>
                <a:lnTo>
                  <a:pt x="6" y="12"/>
                </a:lnTo>
                <a:lnTo>
                  <a:pt x="6" y="16"/>
                </a:lnTo>
                <a:lnTo>
                  <a:pt x="6" y="20"/>
                </a:lnTo>
                <a:lnTo>
                  <a:pt x="6" y="20"/>
                </a:lnTo>
                <a:lnTo>
                  <a:pt x="4" y="20"/>
                </a:lnTo>
                <a:lnTo>
                  <a:pt x="6" y="24"/>
                </a:lnTo>
                <a:lnTo>
                  <a:pt x="2" y="26"/>
                </a:lnTo>
                <a:lnTo>
                  <a:pt x="4" y="34"/>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0" name="Freeform 164">
            <a:extLst>
              <a:ext uri="{FF2B5EF4-FFF2-40B4-BE49-F238E27FC236}">
                <a16:creationId xmlns:a16="http://schemas.microsoft.com/office/drawing/2014/main" id="{9E33A3E9-3D64-44A2-A429-8E2DA7755C9E}"/>
              </a:ext>
            </a:extLst>
          </p:cNvPr>
          <p:cNvSpPr>
            <a:spLocks noEditPoints="1"/>
          </p:cNvSpPr>
          <p:nvPr userDrawn="1"/>
        </p:nvSpPr>
        <p:spPr bwMode="auto">
          <a:xfrm>
            <a:off x="5624384" y="1978388"/>
            <a:ext cx="90560" cy="144143"/>
          </a:xfrm>
          <a:custGeom>
            <a:avLst/>
            <a:gdLst>
              <a:gd name="T0" fmla="*/ 46 w 54"/>
              <a:gd name="T1" fmla="*/ 4 h 84"/>
              <a:gd name="T2" fmla="*/ 42 w 54"/>
              <a:gd name="T3" fmla="*/ 0 h 84"/>
              <a:gd name="T4" fmla="*/ 42 w 54"/>
              <a:gd name="T5" fmla="*/ 4 h 84"/>
              <a:gd name="T6" fmla="*/ 38 w 54"/>
              <a:gd name="T7" fmla="*/ 6 h 84"/>
              <a:gd name="T8" fmla="*/ 34 w 54"/>
              <a:gd name="T9" fmla="*/ 4 h 84"/>
              <a:gd name="T10" fmla="*/ 30 w 54"/>
              <a:gd name="T11" fmla="*/ 10 h 84"/>
              <a:gd name="T12" fmla="*/ 30 w 54"/>
              <a:gd name="T13" fmla="*/ 12 h 84"/>
              <a:gd name="T14" fmla="*/ 28 w 54"/>
              <a:gd name="T15" fmla="*/ 16 h 84"/>
              <a:gd name="T16" fmla="*/ 24 w 54"/>
              <a:gd name="T17" fmla="*/ 20 h 84"/>
              <a:gd name="T18" fmla="*/ 22 w 54"/>
              <a:gd name="T19" fmla="*/ 24 h 84"/>
              <a:gd name="T20" fmla="*/ 22 w 54"/>
              <a:gd name="T21" fmla="*/ 24 h 84"/>
              <a:gd name="T22" fmla="*/ 14 w 54"/>
              <a:gd name="T23" fmla="*/ 24 h 84"/>
              <a:gd name="T24" fmla="*/ 12 w 54"/>
              <a:gd name="T25" fmla="*/ 24 h 84"/>
              <a:gd name="T26" fmla="*/ 8 w 54"/>
              <a:gd name="T27" fmla="*/ 20 h 84"/>
              <a:gd name="T28" fmla="*/ 14 w 54"/>
              <a:gd name="T29" fmla="*/ 30 h 84"/>
              <a:gd name="T30" fmla="*/ 12 w 54"/>
              <a:gd name="T31" fmla="*/ 34 h 84"/>
              <a:gd name="T32" fmla="*/ 4 w 54"/>
              <a:gd name="T33" fmla="*/ 34 h 84"/>
              <a:gd name="T34" fmla="*/ 2 w 54"/>
              <a:gd name="T35" fmla="*/ 38 h 84"/>
              <a:gd name="T36" fmla="*/ 2 w 54"/>
              <a:gd name="T37" fmla="*/ 44 h 84"/>
              <a:gd name="T38" fmla="*/ 18 w 54"/>
              <a:gd name="T39" fmla="*/ 46 h 84"/>
              <a:gd name="T40" fmla="*/ 18 w 54"/>
              <a:gd name="T41" fmla="*/ 42 h 84"/>
              <a:gd name="T42" fmla="*/ 18 w 54"/>
              <a:gd name="T43" fmla="*/ 46 h 84"/>
              <a:gd name="T44" fmla="*/ 14 w 54"/>
              <a:gd name="T45" fmla="*/ 50 h 84"/>
              <a:gd name="T46" fmla="*/ 12 w 54"/>
              <a:gd name="T47" fmla="*/ 56 h 84"/>
              <a:gd name="T48" fmla="*/ 12 w 54"/>
              <a:gd name="T49" fmla="*/ 62 h 84"/>
              <a:gd name="T50" fmla="*/ 6 w 54"/>
              <a:gd name="T51" fmla="*/ 64 h 84"/>
              <a:gd name="T52" fmla="*/ 4 w 54"/>
              <a:gd name="T53" fmla="*/ 68 h 84"/>
              <a:gd name="T54" fmla="*/ 0 w 54"/>
              <a:gd name="T55" fmla="*/ 72 h 84"/>
              <a:gd name="T56" fmla="*/ 2 w 54"/>
              <a:gd name="T57" fmla="*/ 76 h 84"/>
              <a:gd name="T58" fmla="*/ 0 w 54"/>
              <a:gd name="T59" fmla="*/ 80 h 84"/>
              <a:gd name="T60" fmla="*/ 4 w 54"/>
              <a:gd name="T61" fmla="*/ 78 h 84"/>
              <a:gd name="T62" fmla="*/ 8 w 54"/>
              <a:gd name="T63" fmla="*/ 80 h 84"/>
              <a:gd name="T64" fmla="*/ 6 w 54"/>
              <a:gd name="T65" fmla="*/ 84 h 84"/>
              <a:gd name="T66" fmla="*/ 16 w 54"/>
              <a:gd name="T67" fmla="*/ 78 h 84"/>
              <a:gd name="T68" fmla="*/ 16 w 54"/>
              <a:gd name="T69" fmla="*/ 82 h 84"/>
              <a:gd name="T70" fmla="*/ 24 w 54"/>
              <a:gd name="T71" fmla="*/ 80 h 84"/>
              <a:gd name="T72" fmla="*/ 26 w 54"/>
              <a:gd name="T73" fmla="*/ 80 h 84"/>
              <a:gd name="T74" fmla="*/ 28 w 54"/>
              <a:gd name="T75" fmla="*/ 74 h 84"/>
              <a:gd name="T76" fmla="*/ 34 w 54"/>
              <a:gd name="T77" fmla="*/ 76 h 84"/>
              <a:gd name="T78" fmla="*/ 38 w 54"/>
              <a:gd name="T79" fmla="*/ 72 h 84"/>
              <a:gd name="T80" fmla="*/ 38 w 54"/>
              <a:gd name="T81" fmla="*/ 68 h 84"/>
              <a:gd name="T82" fmla="*/ 44 w 54"/>
              <a:gd name="T83" fmla="*/ 66 h 84"/>
              <a:gd name="T84" fmla="*/ 46 w 54"/>
              <a:gd name="T85" fmla="*/ 64 h 84"/>
              <a:gd name="T86" fmla="*/ 48 w 54"/>
              <a:gd name="T87" fmla="*/ 64 h 84"/>
              <a:gd name="T88" fmla="*/ 48 w 54"/>
              <a:gd name="T89" fmla="*/ 60 h 84"/>
              <a:gd name="T90" fmla="*/ 52 w 54"/>
              <a:gd name="T91" fmla="*/ 48 h 84"/>
              <a:gd name="T92" fmla="*/ 50 w 54"/>
              <a:gd name="T93" fmla="*/ 44 h 84"/>
              <a:gd name="T94" fmla="*/ 50 w 54"/>
              <a:gd name="T95" fmla="*/ 36 h 84"/>
              <a:gd name="T96" fmla="*/ 50 w 54"/>
              <a:gd name="T97" fmla="*/ 34 h 84"/>
              <a:gd name="T98" fmla="*/ 50 w 54"/>
              <a:gd name="T99" fmla="*/ 30 h 84"/>
              <a:gd name="T100" fmla="*/ 52 w 54"/>
              <a:gd name="T101" fmla="*/ 28 h 84"/>
              <a:gd name="T102" fmla="*/ 44 w 54"/>
              <a:gd name="T103" fmla="*/ 26 h 84"/>
              <a:gd name="T104" fmla="*/ 40 w 54"/>
              <a:gd name="T105" fmla="*/ 28 h 84"/>
              <a:gd name="T106" fmla="*/ 38 w 54"/>
              <a:gd name="T107" fmla="*/ 24 h 84"/>
              <a:gd name="T108" fmla="*/ 34 w 54"/>
              <a:gd name="T109" fmla="*/ 22 h 84"/>
              <a:gd name="T110" fmla="*/ 34 w 54"/>
              <a:gd name="T111" fmla="*/ 18 h 84"/>
              <a:gd name="T112" fmla="*/ 38 w 54"/>
              <a:gd name="T113" fmla="*/ 14 h 84"/>
              <a:gd name="T114" fmla="*/ 42 w 54"/>
              <a:gd name="T115" fmla="*/ 8 h 84"/>
              <a:gd name="T116" fmla="*/ 18 w 54"/>
              <a:gd name="T117" fmla="*/ 56 h 84"/>
              <a:gd name="T118" fmla="*/ 18 w 54"/>
              <a:gd name="T119" fmla="*/ 58 h 84"/>
              <a:gd name="T120" fmla="*/ 14 w 54"/>
              <a:gd name="T121" fmla="*/ 60 h 84"/>
              <a:gd name="T122" fmla="*/ 18 w 54"/>
              <a:gd name="T123" fmla="*/ 5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4">
                <a:moveTo>
                  <a:pt x="46" y="6"/>
                </a:moveTo>
                <a:lnTo>
                  <a:pt x="46" y="6"/>
                </a:lnTo>
                <a:lnTo>
                  <a:pt x="46" y="4"/>
                </a:lnTo>
                <a:lnTo>
                  <a:pt x="46" y="4"/>
                </a:lnTo>
                <a:lnTo>
                  <a:pt x="44" y="2"/>
                </a:lnTo>
                <a:lnTo>
                  <a:pt x="42" y="0"/>
                </a:lnTo>
                <a:lnTo>
                  <a:pt x="42" y="0"/>
                </a:lnTo>
                <a:lnTo>
                  <a:pt x="42" y="0"/>
                </a:lnTo>
                <a:lnTo>
                  <a:pt x="42" y="4"/>
                </a:lnTo>
                <a:lnTo>
                  <a:pt x="42" y="4"/>
                </a:lnTo>
                <a:lnTo>
                  <a:pt x="40" y="6"/>
                </a:lnTo>
                <a:lnTo>
                  <a:pt x="38" y="6"/>
                </a:lnTo>
                <a:lnTo>
                  <a:pt x="38" y="4"/>
                </a:lnTo>
                <a:lnTo>
                  <a:pt x="38" y="4"/>
                </a:lnTo>
                <a:lnTo>
                  <a:pt x="34" y="4"/>
                </a:lnTo>
                <a:lnTo>
                  <a:pt x="30" y="4"/>
                </a:lnTo>
                <a:lnTo>
                  <a:pt x="30" y="4"/>
                </a:lnTo>
                <a:lnTo>
                  <a:pt x="30" y="10"/>
                </a:lnTo>
                <a:lnTo>
                  <a:pt x="30" y="10"/>
                </a:lnTo>
                <a:lnTo>
                  <a:pt x="26" y="10"/>
                </a:lnTo>
                <a:lnTo>
                  <a:pt x="30" y="12"/>
                </a:lnTo>
                <a:lnTo>
                  <a:pt x="30" y="16"/>
                </a:lnTo>
                <a:lnTo>
                  <a:pt x="30" y="16"/>
                </a:lnTo>
                <a:lnTo>
                  <a:pt x="28" y="16"/>
                </a:lnTo>
                <a:lnTo>
                  <a:pt x="24" y="18"/>
                </a:lnTo>
                <a:lnTo>
                  <a:pt x="24" y="18"/>
                </a:lnTo>
                <a:lnTo>
                  <a:pt x="24" y="20"/>
                </a:lnTo>
                <a:lnTo>
                  <a:pt x="24" y="24"/>
                </a:lnTo>
                <a:lnTo>
                  <a:pt x="24" y="24"/>
                </a:lnTo>
                <a:lnTo>
                  <a:pt x="22" y="24"/>
                </a:lnTo>
                <a:lnTo>
                  <a:pt x="22" y="24"/>
                </a:lnTo>
                <a:lnTo>
                  <a:pt x="22" y="24"/>
                </a:lnTo>
                <a:lnTo>
                  <a:pt x="22" y="24"/>
                </a:lnTo>
                <a:lnTo>
                  <a:pt x="16" y="22"/>
                </a:lnTo>
                <a:lnTo>
                  <a:pt x="16" y="22"/>
                </a:lnTo>
                <a:lnTo>
                  <a:pt x="14" y="24"/>
                </a:lnTo>
                <a:lnTo>
                  <a:pt x="14" y="24"/>
                </a:lnTo>
                <a:lnTo>
                  <a:pt x="12" y="24"/>
                </a:lnTo>
                <a:lnTo>
                  <a:pt x="12" y="24"/>
                </a:lnTo>
                <a:lnTo>
                  <a:pt x="10" y="20"/>
                </a:lnTo>
                <a:lnTo>
                  <a:pt x="8" y="20"/>
                </a:lnTo>
                <a:lnTo>
                  <a:pt x="8" y="20"/>
                </a:lnTo>
                <a:lnTo>
                  <a:pt x="8" y="26"/>
                </a:lnTo>
                <a:lnTo>
                  <a:pt x="14" y="30"/>
                </a:lnTo>
                <a:lnTo>
                  <a:pt x="14" y="30"/>
                </a:lnTo>
                <a:lnTo>
                  <a:pt x="12" y="32"/>
                </a:lnTo>
                <a:lnTo>
                  <a:pt x="12" y="34"/>
                </a:lnTo>
                <a:lnTo>
                  <a:pt x="12" y="34"/>
                </a:lnTo>
                <a:lnTo>
                  <a:pt x="8" y="34"/>
                </a:lnTo>
                <a:lnTo>
                  <a:pt x="4" y="34"/>
                </a:lnTo>
                <a:lnTo>
                  <a:pt x="4" y="34"/>
                </a:lnTo>
                <a:lnTo>
                  <a:pt x="6" y="38"/>
                </a:lnTo>
                <a:lnTo>
                  <a:pt x="6" y="38"/>
                </a:lnTo>
                <a:lnTo>
                  <a:pt x="2" y="38"/>
                </a:lnTo>
                <a:lnTo>
                  <a:pt x="2" y="38"/>
                </a:lnTo>
                <a:lnTo>
                  <a:pt x="2" y="44"/>
                </a:lnTo>
                <a:lnTo>
                  <a:pt x="2" y="44"/>
                </a:lnTo>
                <a:lnTo>
                  <a:pt x="10" y="44"/>
                </a:lnTo>
                <a:lnTo>
                  <a:pt x="18" y="46"/>
                </a:lnTo>
                <a:lnTo>
                  <a:pt x="18" y="46"/>
                </a:lnTo>
                <a:lnTo>
                  <a:pt x="18" y="42"/>
                </a:lnTo>
                <a:lnTo>
                  <a:pt x="18" y="42"/>
                </a:lnTo>
                <a:lnTo>
                  <a:pt x="18" y="42"/>
                </a:lnTo>
                <a:lnTo>
                  <a:pt x="18" y="42"/>
                </a:lnTo>
                <a:lnTo>
                  <a:pt x="18" y="44"/>
                </a:lnTo>
                <a:lnTo>
                  <a:pt x="18" y="46"/>
                </a:lnTo>
                <a:lnTo>
                  <a:pt x="18" y="46"/>
                </a:lnTo>
                <a:lnTo>
                  <a:pt x="14" y="50"/>
                </a:lnTo>
                <a:lnTo>
                  <a:pt x="14" y="50"/>
                </a:lnTo>
                <a:lnTo>
                  <a:pt x="14" y="54"/>
                </a:lnTo>
                <a:lnTo>
                  <a:pt x="14" y="54"/>
                </a:lnTo>
                <a:lnTo>
                  <a:pt x="12" y="56"/>
                </a:lnTo>
                <a:lnTo>
                  <a:pt x="8" y="58"/>
                </a:lnTo>
                <a:lnTo>
                  <a:pt x="8" y="60"/>
                </a:lnTo>
                <a:lnTo>
                  <a:pt x="12" y="62"/>
                </a:lnTo>
                <a:lnTo>
                  <a:pt x="12" y="62"/>
                </a:lnTo>
                <a:lnTo>
                  <a:pt x="6" y="64"/>
                </a:lnTo>
                <a:lnTo>
                  <a:pt x="6" y="64"/>
                </a:lnTo>
                <a:lnTo>
                  <a:pt x="8" y="68"/>
                </a:lnTo>
                <a:lnTo>
                  <a:pt x="8" y="68"/>
                </a:lnTo>
                <a:lnTo>
                  <a:pt x="4" y="68"/>
                </a:lnTo>
                <a:lnTo>
                  <a:pt x="0" y="68"/>
                </a:lnTo>
                <a:lnTo>
                  <a:pt x="0" y="72"/>
                </a:lnTo>
                <a:lnTo>
                  <a:pt x="0" y="72"/>
                </a:lnTo>
                <a:lnTo>
                  <a:pt x="4" y="72"/>
                </a:lnTo>
                <a:lnTo>
                  <a:pt x="4" y="72"/>
                </a:lnTo>
                <a:lnTo>
                  <a:pt x="2" y="76"/>
                </a:lnTo>
                <a:lnTo>
                  <a:pt x="2" y="76"/>
                </a:lnTo>
                <a:lnTo>
                  <a:pt x="2" y="76"/>
                </a:lnTo>
                <a:lnTo>
                  <a:pt x="0" y="80"/>
                </a:lnTo>
                <a:lnTo>
                  <a:pt x="0" y="80"/>
                </a:lnTo>
                <a:lnTo>
                  <a:pt x="4" y="78"/>
                </a:lnTo>
                <a:lnTo>
                  <a:pt x="4" y="78"/>
                </a:lnTo>
                <a:lnTo>
                  <a:pt x="10" y="78"/>
                </a:lnTo>
                <a:lnTo>
                  <a:pt x="10" y="78"/>
                </a:lnTo>
                <a:lnTo>
                  <a:pt x="8" y="80"/>
                </a:lnTo>
                <a:lnTo>
                  <a:pt x="8" y="80"/>
                </a:lnTo>
                <a:lnTo>
                  <a:pt x="6" y="82"/>
                </a:lnTo>
                <a:lnTo>
                  <a:pt x="6" y="84"/>
                </a:lnTo>
                <a:lnTo>
                  <a:pt x="8" y="84"/>
                </a:lnTo>
                <a:lnTo>
                  <a:pt x="8" y="84"/>
                </a:lnTo>
                <a:lnTo>
                  <a:pt x="16" y="78"/>
                </a:lnTo>
                <a:lnTo>
                  <a:pt x="16" y="78"/>
                </a:lnTo>
                <a:lnTo>
                  <a:pt x="16" y="82"/>
                </a:lnTo>
                <a:lnTo>
                  <a:pt x="16" y="82"/>
                </a:lnTo>
                <a:lnTo>
                  <a:pt x="20" y="84"/>
                </a:lnTo>
                <a:lnTo>
                  <a:pt x="20" y="84"/>
                </a:lnTo>
                <a:lnTo>
                  <a:pt x="24" y="80"/>
                </a:lnTo>
                <a:lnTo>
                  <a:pt x="24" y="80"/>
                </a:lnTo>
                <a:lnTo>
                  <a:pt x="26" y="80"/>
                </a:lnTo>
                <a:lnTo>
                  <a:pt x="26" y="80"/>
                </a:lnTo>
                <a:lnTo>
                  <a:pt x="28" y="78"/>
                </a:lnTo>
                <a:lnTo>
                  <a:pt x="28" y="76"/>
                </a:lnTo>
                <a:lnTo>
                  <a:pt x="28" y="74"/>
                </a:lnTo>
                <a:lnTo>
                  <a:pt x="28" y="74"/>
                </a:lnTo>
                <a:lnTo>
                  <a:pt x="32" y="74"/>
                </a:lnTo>
                <a:lnTo>
                  <a:pt x="34" y="76"/>
                </a:lnTo>
                <a:lnTo>
                  <a:pt x="34" y="76"/>
                </a:lnTo>
                <a:lnTo>
                  <a:pt x="36" y="72"/>
                </a:lnTo>
                <a:lnTo>
                  <a:pt x="38" y="72"/>
                </a:lnTo>
                <a:lnTo>
                  <a:pt x="38" y="72"/>
                </a:lnTo>
                <a:lnTo>
                  <a:pt x="38" y="68"/>
                </a:lnTo>
                <a:lnTo>
                  <a:pt x="38" y="68"/>
                </a:lnTo>
                <a:lnTo>
                  <a:pt x="44" y="68"/>
                </a:lnTo>
                <a:lnTo>
                  <a:pt x="44" y="68"/>
                </a:lnTo>
                <a:lnTo>
                  <a:pt x="44" y="66"/>
                </a:lnTo>
                <a:lnTo>
                  <a:pt x="44" y="64"/>
                </a:lnTo>
                <a:lnTo>
                  <a:pt x="44" y="64"/>
                </a:lnTo>
                <a:lnTo>
                  <a:pt x="46" y="64"/>
                </a:lnTo>
                <a:lnTo>
                  <a:pt x="50" y="66"/>
                </a:lnTo>
                <a:lnTo>
                  <a:pt x="50" y="66"/>
                </a:lnTo>
                <a:lnTo>
                  <a:pt x="48" y="64"/>
                </a:lnTo>
                <a:lnTo>
                  <a:pt x="48" y="62"/>
                </a:lnTo>
                <a:lnTo>
                  <a:pt x="48" y="60"/>
                </a:lnTo>
                <a:lnTo>
                  <a:pt x="48" y="60"/>
                </a:lnTo>
                <a:lnTo>
                  <a:pt x="52" y="60"/>
                </a:lnTo>
                <a:lnTo>
                  <a:pt x="52" y="60"/>
                </a:lnTo>
                <a:lnTo>
                  <a:pt x="52" y="48"/>
                </a:lnTo>
                <a:lnTo>
                  <a:pt x="50" y="48"/>
                </a:lnTo>
                <a:lnTo>
                  <a:pt x="50" y="48"/>
                </a:lnTo>
                <a:lnTo>
                  <a:pt x="50" y="44"/>
                </a:lnTo>
                <a:lnTo>
                  <a:pt x="48" y="44"/>
                </a:lnTo>
                <a:lnTo>
                  <a:pt x="48" y="44"/>
                </a:lnTo>
                <a:lnTo>
                  <a:pt x="50" y="36"/>
                </a:lnTo>
                <a:lnTo>
                  <a:pt x="50" y="36"/>
                </a:lnTo>
                <a:lnTo>
                  <a:pt x="50" y="34"/>
                </a:lnTo>
                <a:lnTo>
                  <a:pt x="50" y="34"/>
                </a:lnTo>
                <a:lnTo>
                  <a:pt x="50" y="34"/>
                </a:lnTo>
                <a:lnTo>
                  <a:pt x="50" y="34"/>
                </a:lnTo>
                <a:lnTo>
                  <a:pt x="50" y="30"/>
                </a:lnTo>
                <a:lnTo>
                  <a:pt x="50" y="30"/>
                </a:lnTo>
                <a:lnTo>
                  <a:pt x="54" y="28"/>
                </a:lnTo>
                <a:lnTo>
                  <a:pt x="52" y="28"/>
                </a:lnTo>
                <a:lnTo>
                  <a:pt x="48" y="28"/>
                </a:lnTo>
                <a:lnTo>
                  <a:pt x="44" y="26"/>
                </a:lnTo>
                <a:lnTo>
                  <a:pt x="44" y="26"/>
                </a:lnTo>
                <a:lnTo>
                  <a:pt x="44" y="26"/>
                </a:lnTo>
                <a:lnTo>
                  <a:pt x="40" y="28"/>
                </a:lnTo>
                <a:lnTo>
                  <a:pt x="40" y="28"/>
                </a:lnTo>
                <a:lnTo>
                  <a:pt x="38" y="28"/>
                </a:lnTo>
                <a:lnTo>
                  <a:pt x="38" y="26"/>
                </a:lnTo>
                <a:lnTo>
                  <a:pt x="38" y="24"/>
                </a:lnTo>
                <a:lnTo>
                  <a:pt x="36" y="22"/>
                </a:lnTo>
                <a:lnTo>
                  <a:pt x="36" y="22"/>
                </a:lnTo>
                <a:lnTo>
                  <a:pt x="34" y="22"/>
                </a:lnTo>
                <a:lnTo>
                  <a:pt x="34" y="20"/>
                </a:lnTo>
                <a:lnTo>
                  <a:pt x="34" y="20"/>
                </a:lnTo>
                <a:lnTo>
                  <a:pt x="34" y="18"/>
                </a:lnTo>
                <a:lnTo>
                  <a:pt x="36" y="18"/>
                </a:lnTo>
                <a:lnTo>
                  <a:pt x="38" y="16"/>
                </a:lnTo>
                <a:lnTo>
                  <a:pt x="38" y="14"/>
                </a:lnTo>
                <a:lnTo>
                  <a:pt x="38" y="14"/>
                </a:lnTo>
                <a:lnTo>
                  <a:pt x="40" y="10"/>
                </a:lnTo>
                <a:lnTo>
                  <a:pt x="42" y="8"/>
                </a:lnTo>
                <a:lnTo>
                  <a:pt x="46" y="6"/>
                </a:lnTo>
                <a:lnTo>
                  <a:pt x="46" y="6"/>
                </a:lnTo>
                <a:close/>
                <a:moveTo>
                  <a:pt x="18" y="56"/>
                </a:moveTo>
                <a:lnTo>
                  <a:pt x="18" y="56"/>
                </a:lnTo>
                <a:lnTo>
                  <a:pt x="18" y="56"/>
                </a:lnTo>
                <a:lnTo>
                  <a:pt x="18" y="58"/>
                </a:lnTo>
                <a:lnTo>
                  <a:pt x="16" y="60"/>
                </a:lnTo>
                <a:lnTo>
                  <a:pt x="16" y="60"/>
                </a:lnTo>
                <a:lnTo>
                  <a:pt x="14" y="60"/>
                </a:lnTo>
                <a:lnTo>
                  <a:pt x="14" y="60"/>
                </a:lnTo>
                <a:lnTo>
                  <a:pt x="18" y="56"/>
                </a:lnTo>
                <a:lnTo>
                  <a:pt x="18" y="5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1" name="Freeform 165">
            <a:extLst>
              <a:ext uri="{FF2B5EF4-FFF2-40B4-BE49-F238E27FC236}">
                <a16:creationId xmlns:a16="http://schemas.microsoft.com/office/drawing/2014/main" id="{85A60478-DBF6-409C-8992-F8C7C2C82E6F}"/>
              </a:ext>
            </a:extLst>
          </p:cNvPr>
          <p:cNvSpPr>
            <a:spLocks/>
          </p:cNvSpPr>
          <p:nvPr userDrawn="1"/>
        </p:nvSpPr>
        <p:spPr bwMode="auto">
          <a:xfrm>
            <a:off x="6729551" y="2589280"/>
            <a:ext cx="231431" cy="243670"/>
          </a:xfrm>
          <a:custGeom>
            <a:avLst/>
            <a:gdLst>
              <a:gd name="T0" fmla="*/ 136 w 138"/>
              <a:gd name="T1" fmla="*/ 128 h 142"/>
              <a:gd name="T2" fmla="*/ 132 w 138"/>
              <a:gd name="T3" fmla="*/ 122 h 142"/>
              <a:gd name="T4" fmla="*/ 126 w 138"/>
              <a:gd name="T5" fmla="*/ 114 h 142"/>
              <a:gd name="T6" fmla="*/ 124 w 138"/>
              <a:gd name="T7" fmla="*/ 102 h 142"/>
              <a:gd name="T8" fmla="*/ 122 w 138"/>
              <a:gd name="T9" fmla="*/ 94 h 142"/>
              <a:gd name="T10" fmla="*/ 116 w 138"/>
              <a:gd name="T11" fmla="*/ 86 h 142"/>
              <a:gd name="T12" fmla="*/ 110 w 138"/>
              <a:gd name="T13" fmla="*/ 84 h 142"/>
              <a:gd name="T14" fmla="*/ 110 w 138"/>
              <a:gd name="T15" fmla="*/ 82 h 142"/>
              <a:gd name="T16" fmla="*/ 106 w 138"/>
              <a:gd name="T17" fmla="*/ 74 h 142"/>
              <a:gd name="T18" fmla="*/ 96 w 138"/>
              <a:gd name="T19" fmla="*/ 68 h 142"/>
              <a:gd name="T20" fmla="*/ 92 w 138"/>
              <a:gd name="T21" fmla="*/ 58 h 142"/>
              <a:gd name="T22" fmla="*/ 88 w 138"/>
              <a:gd name="T23" fmla="*/ 52 h 142"/>
              <a:gd name="T24" fmla="*/ 90 w 138"/>
              <a:gd name="T25" fmla="*/ 50 h 142"/>
              <a:gd name="T26" fmla="*/ 90 w 138"/>
              <a:gd name="T27" fmla="*/ 46 h 142"/>
              <a:gd name="T28" fmla="*/ 94 w 138"/>
              <a:gd name="T29" fmla="*/ 44 h 142"/>
              <a:gd name="T30" fmla="*/ 96 w 138"/>
              <a:gd name="T31" fmla="*/ 40 h 142"/>
              <a:gd name="T32" fmla="*/ 94 w 138"/>
              <a:gd name="T33" fmla="*/ 34 h 142"/>
              <a:gd name="T34" fmla="*/ 100 w 138"/>
              <a:gd name="T35" fmla="*/ 34 h 142"/>
              <a:gd name="T36" fmla="*/ 102 w 138"/>
              <a:gd name="T37" fmla="*/ 30 h 142"/>
              <a:gd name="T38" fmla="*/ 98 w 138"/>
              <a:gd name="T39" fmla="*/ 30 h 142"/>
              <a:gd name="T40" fmla="*/ 90 w 138"/>
              <a:gd name="T41" fmla="*/ 28 h 142"/>
              <a:gd name="T42" fmla="*/ 86 w 138"/>
              <a:gd name="T43" fmla="*/ 28 h 142"/>
              <a:gd name="T44" fmla="*/ 82 w 138"/>
              <a:gd name="T45" fmla="*/ 26 h 142"/>
              <a:gd name="T46" fmla="*/ 80 w 138"/>
              <a:gd name="T47" fmla="*/ 22 h 142"/>
              <a:gd name="T48" fmla="*/ 78 w 138"/>
              <a:gd name="T49" fmla="*/ 20 h 142"/>
              <a:gd name="T50" fmla="*/ 78 w 138"/>
              <a:gd name="T51" fmla="*/ 16 h 142"/>
              <a:gd name="T52" fmla="*/ 78 w 138"/>
              <a:gd name="T53" fmla="*/ 14 h 142"/>
              <a:gd name="T54" fmla="*/ 78 w 138"/>
              <a:gd name="T55" fmla="*/ 10 h 142"/>
              <a:gd name="T56" fmla="*/ 66 w 138"/>
              <a:gd name="T57" fmla="*/ 6 h 142"/>
              <a:gd name="T58" fmla="*/ 62 w 138"/>
              <a:gd name="T59" fmla="*/ 0 h 142"/>
              <a:gd name="T60" fmla="*/ 56 w 138"/>
              <a:gd name="T61" fmla="*/ 4 h 142"/>
              <a:gd name="T62" fmla="*/ 50 w 138"/>
              <a:gd name="T63" fmla="*/ 2 h 142"/>
              <a:gd name="T64" fmla="*/ 46 w 138"/>
              <a:gd name="T65" fmla="*/ 4 h 142"/>
              <a:gd name="T66" fmla="*/ 42 w 138"/>
              <a:gd name="T67" fmla="*/ 12 h 142"/>
              <a:gd name="T68" fmla="*/ 36 w 138"/>
              <a:gd name="T69" fmla="*/ 18 h 142"/>
              <a:gd name="T70" fmla="*/ 36 w 138"/>
              <a:gd name="T71" fmla="*/ 24 h 142"/>
              <a:gd name="T72" fmla="*/ 34 w 138"/>
              <a:gd name="T73" fmla="*/ 30 h 142"/>
              <a:gd name="T74" fmla="*/ 34 w 138"/>
              <a:gd name="T75" fmla="*/ 36 h 142"/>
              <a:gd name="T76" fmla="*/ 34 w 138"/>
              <a:gd name="T77" fmla="*/ 42 h 142"/>
              <a:gd name="T78" fmla="*/ 28 w 138"/>
              <a:gd name="T79" fmla="*/ 54 h 142"/>
              <a:gd name="T80" fmla="*/ 46 w 138"/>
              <a:gd name="T81" fmla="*/ 120 h 142"/>
              <a:gd name="T82" fmla="*/ 58 w 138"/>
              <a:gd name="T83" fmla="*/ 134 h 142"/>
              <a:gd name="T84" fmla="*/ 92 w 138"/>
              <a:gd name="T85" fmla="*/ 142 h 142"/>
              <a:gd name="T86" fmla="*/ 104 w 138"/>
              <a:gd name="T87" fmla="*/ 132 h 142"/>
              <a:gd name="T88" fmla="*/ 114 w 138"/>
              <a:gd name="T89" fmla="*/ 122 h 142"/>
              <a:gd name="T90" fmla="*/ 122 w 138"/>
              <a:gd name="T91" fmla="*/ 124 h 142"/>
              <a:gd name="T92" fmla="*/ 126 w 138"/>
              <a:gd name="T93" fmla="*/ 128 h 142"/>
              <a:gd name="T94" fmla="*/ 132 w 138"/>
              <a:gd name="T95" fmla="*/ 128 h 142"/>
              <a:gd name="T96" fmla="*/ 134 w 138"/>
              <a:gd name="T97" fmla="*/ 126 h 142"/>
              <a:gd name="T98" fmla="*/ 138 w 138"/>
              <a:gd name="T99" fmla="*/ 1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8" h="142">
                <a:moveTo>
                  <a:pt x="138" y="130"/>
                </a:moveTo>
                <a:lnTo>
                  <a:pt x="136" y="128"/>
                </a:lnTo>
                <a:lnTo>
                  <a:pt x="136" y="128"/>
                </a:lnTo>
                <a:lnTo>
                  <a:pt x="134" y="124"/>
                </a:lnTo>
                <a:lnTo>
                  <a:pt x="134" y="124"/>
                </a:lnTo>
                <a:lnTo>
                  <a:pt x="132" y="122"/>
                </a:lnTo>
                <a:lnTo>
                  <a:pt x="130" y="120"/>
                </a:lnTo>
                <a:lnTo>
                  <a:pt x="130" y="114"/>
                </a:lnTo>
                <a:lnTo>
                  <a:pt x="126" y="114"/>
                </a:lnTo>
                <a:lnTo>
                  <a:pt x="126" y="114"/>
                </a:lnTo>
                <a:lnTo>
                  <a:pt x="124" y="108"/>
                </a:lnTo>
                <a:lnTo>
                  <a:pt x="124" y="102"/>
                </a:lnTo>
                <a:lnTo>
                  <a:pt x="124" y="102"/>
                </a:lnTo>
                <a:lnTo>
                  <a:pt x="124" y="98"/>
                </a:lnTo>
                <a:lnTo>
                  <a:pt x="122" y="94"/>
                </a:lnTo>
                <a:lnTo>
                  <a:pt x="122" y="94"/>
                </a:lnTo>
                <a:lnTo>
                  <a:pt x="116" y="86"/>
                </a:lnTo>
                <a:lnTo>
                  <a:pt x="116" y="86"/>
                </a:lnTo>
                <a:lnTo>
                  <a:pt x="114" y="84"/>
                </a:lnTo>
                <a:lnTo>
                  <a:pt x="110" y="84"/>
                </a:lnTo>
                <a:lnTo>
                  <a:pt x="110" y="84"/>
                </a:lnTo>
                <a:lnTo>
                  <a:pt x="108" y="84"/>
                </a:lnTo>
                <a:lnTo>
                  <a:pt x="108" y="84"/>
                </a:lnTo>
                <a:lnTo>
                  <a:pt x="110" y="82"/>
                </a:lnTo>
                <a:lnTo>
                  <a:pt x="110" y="80"/>
                </a:lnTo>
                <a:lnTo>
                  <a:pt x="110" y="80"/>
                </a:lnTo>
                <a:lnTo>
                  <a:pt x="106" y="74"/>
                </a:lnTo>
                <a:lnTo>
                  <a:pt x="100" y="70"/>
                </a:lnTo>
                <a:lnTo>
                  <a:pt x="100" y="70"/>
                </a:lnTo>
                <a:lnTo>
                  <a:pt x="96" y="68"/>
                </a:lnTo>
                <a:lnTo>
                  <a:pt x="96" y="64"/>
                </a:lnTo>
                <a:lnTo>
                  <a:pt x="94" y="62"/>
                </a:lnTo>
                <a:lnTo>
                  <a:pt x="92" y="58"/>
                </a:lnTo>
                <a:lnTo>
                  <a:pt x="92" y="58"/>
                </a:lnTo>
                <a:lnTo>
                  <a:pt x="90" y="56"/>
                </a:lnTo>
                <a:lnTo>
                  <a:pt x="88" y="52"/>
                </a:lnTo>
                <a:lnTo>
                  <a:pt x="88" y="52"/>
                </a:lnTo>
                <a:lnTo>
                  <a:pt x="88" y="52"/>
                </a:lnTo>
                <a:lnTo>
                  <a:pt x="90" y="50"/>
                </a:lnTo>
                <a:lnTo>
                  <a:pt x="92" y="48"/>
                </a:lnTo>
                <a:lnTo>
                  <a:pt x="90" y="46"/>
                </a:lnTo>
                <a:lnTo>
                  <a:pt x="90" y="46"/>
                </a:lnTo>
                <a:lnTo>
                  <a:pt x="90" y="44"/>
                </a:lnTo>
                <a:lnTo>
                  <a:pt x="92" y="44"/>
                </a:lnTo>
                <a:lnTo>
                  <a:pt x="94" y="44"/>
                </a:lnTo>
                <a:lnTo>
                  <a:pt x="96" y="44"/>
                </a:lnTo>
                <a:lnTo>
                  <a:pt x="96" y="44"/>
                </a:lnTo>
                <a:lnTo>
                  <a:pt x="96" y="40"/>
                </a:lnTo>
                <a:lnTo>
                  <a:pt x="94" y="36"/>
                </a:lnTo>
                <a:lnTo>
                  <a:pt x="94" y="36"/>
                </a:lnTo>
                <a:lnTo>
                  <a:pt x="94" y="34"/>
                </a:lnTo>
                <a:lnTo>
                  <a:pt x="96" y="34"/>
                </a:lnTo>
                <a:lnTo>
                  <a:pt x="98" y="34"/>
                </a:lnTo>
                <a:lnTo>
                  <a:pt x="100" y="34"/>
                </a:lnTo>
                <a:lnTo>
                  <a:pt x="100" y="34"/>
                </a:lnTo>
                <a:lnTo>
                  <a:pt x="102" y="32"/>
                </a:lnTo>
                <a:lnTo>
                  <a:pt x="102" y="30"/>
                </a:lnTo>
                <a:lnTo>
                  <a:pt x="100" y="30"/>
                </a:lnTo>
                <a:lnTo>
                  <a:pt x="100" y="30"/>
                </a:lnTo>
                <a:lnTo>
                  <a:pt x="98" y="30"/>
                </a:lnTo>
                <a:lnTo>
                  <a:pt x="94" y="30"/>
                </a:lnTo>
                <a:lnTo>
                  <a:pt x="94" y="30"/>
                </a:lnTo>
                <a:lnTo>
                  <a:pt x="90" y="28"/>
                </a:lnTo>
                <a:lnTo>
                  <a:pt x="88" y="28"/>
                </a:lnTo>
                <a:lnTo>
                  <a:pt x="88" y="28"/>
                </a:lnTo>
                <a:lnTo>
                  <a:pt x="86" y="28"/>
                </a:lnTo>
                <a:lnTo>
                  <a:pt x="86" y="26"/>
                </a:lnTo>
                <a:lnTo>
                  <a:pt x="82" y="26"/>
                </a:lnTo>
                <a:lnTo>
                  <a:pt x="82" y="26"/>
                </a:lnTo>
                <a:lnTo>
                  <a:pt x="82" y="24"/>
                </a:lnTo>
                <a:lnTo>
                  <a:pt x="82" y="24"/>
                </a:lnTo>
                <a:lnTo>
                  <a:pt x="80" y="22"/>
                </a:lnTo>
                <a:lnTo>
                  <a:pt x="80" y="20"/>
                </a:lnTo>
                <a:lnTo>
                  <a:pt x="80" y="20"/>
                </a:lnTo>
                <a:lnTo>
                  <a:pt x="78" y="20"/>
                </a:lnTo>
                <a:lnTo>
                  <a:pt x="80" y="18"/>
                </a:lnTo>
                <a:lnTo>
                  <a:pt x="80" y="16"/>
                </a:lnTo>
                <a:lnTo>
                  <a:pt x="78" y="16"/>
                </a:lnTo>
                <a:lnTo>
                  <a:pt x="78" y="16"/>
                </a:lnTo>
                <a:lnTo>
                  <a:pt x="76" y="16"/>
                </a:lnTo>
                <a:lnTo>
                  <a:pt x="78" y="14"/>
                </a:lnTo>
                <a:lnTo>
                  <a:pt x="78" y="12"/>
                </a:lnTo>
                <a:lnTo>
                  <a:pt x="78" y="10"/>
                </a:lnTo>
                <a:lnTo>
                  <a:pt x="78" y="10"/>
                </a:lnTo>
                <a:lnTo>
                  <a:pt x="76" y="4"/>
                </a:lnTo>
                <a:lnTo>
                  <a:pt x="70" y="2"/>
                </a:lnTo>
                <a:lnTo>
                  <a:pt x="66" y="6"/>
                </a:lnTo>
                <a:lnTo>
                  <a:pt x="64" y="2"/>
                </a:lnTo>
                <a:lnTo>
                  <a:pt x="62" y="0"/>
                </a:lnTo>
                <a:lnTo>
                  <a:pt x="62" y="0"/>
                </a:lnTo>
                <a:lnTo>
                  <a:pt x="58" y="4"/>
                </a:lnTo>
                <a:lnTo>
                  <a:pt x="58" y="4"/>
                </a:lnTo>
                <a:lnTo>
                  <a:pt x="56" y="4"/>
                </a:lnTo>
                <a:lnTo>
                  <a:pt x="54" y="4"/>
                </a:lnTo>
                <a:lnTo>
                  <a:pt x="52" y="2"/>
                </a:lnTo>
                <a:lnTo>
                  <a:pt x="50" y="2"/>
                </a:lnTo>
                <a:lnTo>
                  <a:pt x="50" y="2"/>
                </a:lnTo>
                <a:lnTo>
                  <a:pt x="46" y="4"/>
                </a:lnTo>
                <a:lnTo>
                  <a:pt x="46" y="4"/>
                </a:lnTo>
                <a:lnTo>
                  <a:pt x="46" y="6"/>
                </a:lnTo>
                <a:lnTo>
                  <a:pt x="44" y="10"/>
                </a:lnTo>
                <a:lnTo>
                  <a:pt x="42" y="12"/>
                </a:lnTo>
                <a:lnTo>
                  <a:pt x="42" y="12"/>
                </a:lnTo>
                <a:lnTo>
                  <a:pt x="38" y="16"/>
                </a:lnTo>
                <a:lnTo>
                  <a:pt x="36" y="18"/>
                </a:lnTo>
                <a:lnTo>
                  <a:pt x="36" y="20"/>
                </a:lnTo>
                <a:lnTo>
                  <a:pt x="36" y="20"/>
                </a:lnTo>
                <a:lnTo>
                  <a:pt x="36" y="24"/>
                </a:lnTo>
                <a:lnTo>
                  <a:pt x="38" y="28"/>
                </a:lnTo>
                <a:lnTo>
                  <a:pt x="38" y="28"/>
                </a:lnTo>
                <a:lnTo>
                  <a:pt x="34" y="30"/>
                </a:lnTo>
                <a:lnTo>
                  <a:pt x="34" y="32"/>
                </a:lnTo>
                <a:lnTo>
                  <a:pt x="34" y="36"/>
                </a:lnTo>
                <a:lnTo>
                  <a:pt x="34" y="36"/>
                </a:lnTo>
                <a:lnTo>
                  <a:pt x="36" y="40"/>
                </a:lnTo>
                <a:lnTo>
                  <a:pt x="34" y="42"/>
                </a:lnTo>
                <a:lnTo>
                  <a:pt x="34" y="42"/>
                </a:lnTo>
                <a:lnTo>
                  <a:pt x="32" y="50"/>
                </a:lnTo>
                <a:lnTo>
                  <a:pt x="32" y="50"/>
                </a:lnTo>
                <a:lnTo>
                  <a:pt x="28" y="54"/>
                </a:lnTo>
                <a:lnTo>
                  <a:pt x="0" y="76"/>
                </a:lnTo>
                <a:lnTo>
                  <a:pt x="8" y="100"/>
                </a:lnTo>
                <a:lnTo>
                  <a:pt x="46" y="120"/>
                </a:lnTo>
                <a:lnTo>
                  <a:pt x="46" y="126"/>
                </a:lnTo>
                <a:lnTo>
                  <a:pt x="56" y="126"/>
                </a:lnTo>
                <a:lnTo>
                  <a:pt x="58" y="134"/>
                </a:lnTo>
                <a:lnTo>
                  <a:pt x="68" y="140"/>
                </a:lnTo>
                <a:lnTo>
                  <a:pt x="92" y="142"/>
                </a:lnTo>
                <a:lnTo>
                  <a:pt x="92" y="142"/>
                </a:lnTo>
                <a:lnTo>
                  <a:pt x="98" y="140"/>
                </a:lnTo>
                <a:lnTo>
                  <a:pt x="104" y="132"/>
                </a:lnTo>
                <a:lnTo>
                  <a:pt x="104" y="132"/>
                </a:lnTo>
                <a:lnTo>
                  <a:pt x="110" y="126"/>
                </a:lnTo>
                <a:lnTo>
                  <a:pt x="112" y="124"/>
                </a:lnTo>
                <a:lnTo>
                  <a:pt x="114" y="122"/>
                </a:lnTo>
                <a:lnTo>
                  <a:pt x="114" y="122"/>
                </a:lnTo>
                <a:lnTo>
                  <a:pt x="122" y="124"/>
                </a:lnTo>
                <a:lnTo>
                  <a:pt x="122" y="124"/>
                </a:lnTo>
                <a:lnTo>
                  <a:pt x="124" y="124"/>
                </a:lnTo>
                <a:lnTo>
                  <a:pt x="124" y="124"/>
                </a:lnTo>
                <a:lnTo>
                  <a:pt x="126" y="128"/>
                </a:lnTo>
                <a:lnTo>
                  <a:pt x="126" y="128"/>
                </a:lnTo>
                <a:lnTo>
                  <a:pt x="132" y="128"/>
                </a:lnTo>
                <a:lnTo>
                  <a:pt x="132" y="128"/>
                </a:lnTo>
                <a:lnTo>
                  <a:pt x="132" y="128"/>
                </a:lnTo>
                <a:lnTo>
                  <a:pt x="134" y="126"/>
                </a:lnTo>
                <a:lnTo>
                  <a:pt x="134" y="126"/>
                </a:lnTo>
                <a:lnTo>
                  <a:pt x="136" y="128"/>
                </a:lnTo>
                <a:lnTo>
                  <a:pt x="136" y="128"/>
                </a:lnTo>
                <a:lnTo>
                  <a:pt x="138" y="130"/>
                </a:lnTo>
                <a:lnTo>
                  <a:pt x="138" y="1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2" name="Freeform 166">
            <a:extLst>
              <a:ext uri="{FF2B5EF4-FFF2-40B4-BE49-F238E27FC236}">
                <a16:creationId xmlns:a16="http://schemas.microsoft.com/office/drawing/2014/main" id="{E600EEDA-7AEC-448E-9892-F46E5ADCBBBB}"/>
              </a:ext>
            </a:extLst>
          </p:cNvPr>
          <p:cNvSpPr>
            <a:spLocks/>
          </p:cNvSpPr>
          <p:nvPr userDrawn="1"/>
        </p:nvSpPr>
        <p:spPr bwMode="auto">
          <a:xfrm>
            <a:off x="6843590" y="2513777"/>
            <a:ext cx="439384" cy="453021"/>
          </a:xfrm>
          <a:custGeom>
            <a:avLst/>
            <a:gdLst>
              <a:gd name="T0" fmla="*/ 256 w 262"/>
              <a:gd name="T1" fmla="*/ 232 h 264"/>
              <a:gd name="T2" fmla="*/ 252 w 262"/>
              <a:gd name="T3" fmla="*/ 206 h 264"/>
              <a:gd name="T4" fmla="*/ 234 w 262"/>
              <a:gd name="T5" fmla="*/ 172 h 264"/>
              <a:gd name="T6" fmla="*/ 232 w 262"/>
              <a:gd name="T7" fmla="*/ 144 h 264"/>
              <a:gd name="T8" fmla="*/ 228 w 262"/>
              <a:gd name="T9" fmla="*/ 112 h 264"/>
              <a:gd name="T10" fmla="*/ 230 w 262"/>
              <a:gd name="T11" fmla="*/ 88 h 264"/>
              <a:gd name="T12" fmla="*/ 242 w 262"/>
              <a:gd name="T13" fmla="*/ 64 h 264"/>
              <a:gd name="T14" fmla="*/ 224 w 262"/>
              <a:gd name="T15" fmla="*/ 44 h 264"/>
              <a:gd name="T16" fmla="*/ 186 w 262"/>
              <a:gd name="T17" fmla="*/ 28 h 264"/>
              <a:gd name="T18" fmla="*/ 146 w 262"/>
              <a:gd name="T19" fmla="*/ 30 h 264"/>
              <a:gd name="T20" fmla="*/ 132 w 262"/>
              <a:gd name="T21" fmla="*/ 42 h 264"/>
              <a:gd name="T22" fmla="*/ 126 w 262"/>
              <a:gd name="T23" fmla="*/ 54 h 264"/>
              <a:gd name="T24" fmla="*/ 124 w 262"/>
              <a:gd name="T25" fmla="*/ 50 h 264"/>
              <a:gd name="T26" fmla="*/ 106 w 262"/>
              <a:gd name="T27" fmla="*/ 58 h 264"/>
              <a:gd name="T28" fmla="*/ 82 w 262"/>
              <a:gd name="T29" fmla="*/ 42 h 264"/>
              <a:gd name="T30" fmla="*/ 72 w 262"/>
              <a:gd name="T31" fmla="*/ 42 h 264"/>
              <a:gd name="T32" fmla="*/ 64 w 262"/>
              <a:gd name="T33" fmla="*/ 30 h 264"/>
              <a:gd name="T34" fmla="*/ 56 w 262"/>
              <a:gd name="T35" fmla="*/ 14 h 264"/>
              <a:gd name="T36" fmla="*/ 54 w 262"/>
              <a:gd name="T37" fmla="*/ 8 h 264"/>
              <a:gd name="T38" fmla="*/ 52 w 262"/>
              <a:gd name="T39" fmla="*/ 0 h 264"/>
              <a:gd name="T40" fmla="*/ 48 w 262"/>
              <a:gd name="T41" fmla="*/ 2 h 264"/>
              <a:gd name="T42" fmla="*/ 38 w 262"/>
              <a:gd name="T43" fmla="*/ 12 h 264"/>
              <a:gd name="T44" fmla="*/ 26 w 262"/>
              <a:gd name="T45" fmla="*/ 14 h 264"/>
              <a:gd name="T46" fmla="*/ 18 w 262"/>
              <a:gd name="T47" fmla="*/ 6 h 264"/>
              <a:gd name="T48" fmla="*/ 12 w 262"/>
              <a:gd name="T49" fmla="*/ 6 h 264"/>
              <a:gd name="T50" fmla="*/ 6 w 262"/>
              <a:gd name="T51" fmla="*/ 4 h 264"/>
              <a:gd name="T52" fmla="*/ 4 w 262"/>
              <a:gd name="T53" fmla="*/ 14 h 264"/>
              <a:gd name="T54" fmla="*/ 4 w 262"/>
              <a:gd name="T55" fmla="*/ 22 h 264"/>
              <a:gd name="T56" fmla="*/ 6 w 262"/>
              <a:gd name="T57" fmla="*/ 34 h 264"/>
              <a:gd name="T58" fmla="*/ 8 w 262"/>
              <a:gd name="T59" fmla="*/ 46 h 264"/>
              <a:gd name="T60" fmla="*/ 10 w 262"/>
              <a:gd name="T61" fmla="*/ 56 h 264"/>
              <a:gd name="T62" fmla="*/ 12 w 262"/>
              <a:gd name="T63" fmla="*/ 60 h 264"/>
              <a:gd name="T64" fmla="*/ 12 w 262"/>
              <a:gd name="T65" fmla="*/ 66 h 264"/>
              <a:gd name="T66" fmla="*/ 18 w 262"/>
              <a:gd name="T67" fmla="*/ 70 h 264"/>
              <a:gd name="T68" fmla="*/ 26 w 262"/>
              <a:gd name="T69" fmla="*/ 74 h 264"/>
              <a:gd name="T70" fmla="*/ 34 w 262"/>
              <a:gd name="T71" fmla="*/ 74 h 264"/>
              <a:gd name="T72" fmla="*/ 28 w 262"/>
              <a:gd name="T73" fmla="*/ 78 h 264"/>
              <a:gd name="T74" fmla="*/ 28 w 262"/>
              <a:gd name="T75" fmla="*/ 88 h 264"/>
              <a:gd name="T76" fmla="*/ 22 w 262"/>
              <a:gd name="T77" fmla="*/ 90 h 264"/>
              <a:gd name="T78" fmla="*/ 20 w 262"/>
              <a:gd name="T79" fmla="*/ 96 h 264"/>
              <a:gd name="T80" fmla="*/ 26 w 262"/>
              <a:gd name="T81" fmla="*/ 106 h 264"/>
              <a:gd name="T82" fmla="*/ 38 w 262"/>
              <a:gd name="T83" fmla="*/ 118 h 264"/>
              <a:gd name="T84" fmla="*/ 40 w 262"/>
              <a:gd name="T85" fmla="*/ 128 h 264"/>
              <a:gd name="T86" fmla="*/ 48 w 262"/>
              <a:gd name="T87" fmla="*/ 130 h 264"/>
              <a:gd name="T88" fmla="*/ 56 w 262"/>
              <a:gd name="T89" fmla="*/ 146 h 264"/>
              <a:gd name="T90" fmla="*/ 62 w 262"/>
              <a:gd name="T91" fmla="*/ 164 h 264"/>
              <a:gd name="T92" fmla="*/ 68 w 262"/>
              <a:gd name="T93" fmla="*/ 172 h 264"/>
              <a:gd name="T94" fmla="*/ 82 w 262"/>
              <a:gd name="T95" fmla="*/ 172 h 264"/>
              <a:gd name="T96" fmla="*/ 88 w 262"/>
              <a:gd name="T97" fmla="*/ 190 h 264"/>
              <a:gd name="T98" fmla="*/ 96 w 262"/>
              <a:gd name="T99" fmla="*/ 202 h 264"/>
              <a:gd name="T100" fmla="*/ 102 w 262"/>
              <a:gd name="T101" fmla="*/ 210 h 264"/>
              <a:gd name="T102" fmla="*/ 108 w 262"/>
              <a:gd name="T103" fmla="*/ 222 h 264"/>
              <a:gd name="T104" fmla="*/ 120 w 262"/>
              <a:gd name="T105" fmla="*/ 234 h 264"/>
              <a:gd name="T106" fmla="*/ 132 w 262"/>
              <a:gd name="T107" fmla="*/ 238 h 264"/>
              <a:gd name="T108" fmla="*/ 144 w 262"/>
              <a:gd name="T109" fmla="*/ 238 h 264"/>
              <a:gd name="T110" fmla="*/ 172 w 262"/>
              <a:gd name="T111" fmla="*/ 232 h 264"/>
              <a:gd name="T112" fmla="*/ 184 w 262"/>
              <a:gd name="T113" fmla="*/ 256 h 264"/>
              <a:gd name="T114" fmla="*/ 202 w 262"/>
              <a:gd name="T115" fmla="*/ 260 h 264"/>
              <a:gd name="T116" fmla="*/ 226 w 262"/>
              <a:gd name="T11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264">
                <a:moveTo>
                  <a:pt x="230" y="264"/>
                </a:moveTo>
                <a:lnTo>
                  <a:pt x="232" y="248"/>
                </a:lnTo>
                <a:lnTo>
                  <a:pt x="240" y="236"/>
                </a:lnTo>
                <a:lnTo>
                  <a:pt x="248" y="234"/>
                </a:lnTo>
                <a:lnTo>
                  <a:pt x="256" y="232"/>
                </a:lnTo>
                <a:lnTo>
                  <a:pt x="262" y="228"/>
                </a:lnTo>
                <a:lnTo>
                  <a:pt x="262" y="222"/>
                </a:lnTo>
                <a:lnTo>
                  <a:pt x="256" y="220"/>
                </a:lnTo>
                <a:lnTo>
                  <a:pt x="256" y="212"/>
                </a:lnTo>
                <a:lnTo>
                  <a:pt x="252" y="206"/>
                </a:lnTo>
                <a:lnTo>
                  <a:pt x="246" y="204"/>
                </a:lnTo>
                <a:lnTo>
                  <a:pt x="240" y="194"/>
                </a:lnTo>
                <a:lnTo>
                  <a:pt x="238" y="190"/>
                </a:lnTo>
                <a:lnTo>
                  <a:pt x="240" y="186"/>
                </a:lnTo>
                <a:lnTo>
                  <a:pt x="234" y="172"/>
                </a:lnTo>
                <a:lnTo>
                  <a:pt x="248" y="156"/>
                </a:lnTo>
                <a:lnTo>
                  <a:pt x="248" y="152"/>
                </a:lnTo>
                <a:lnTo>
                  <a:pt x="246" y="148"/>
                </a:lnTo>
                <a:lnTo>
                  <a:pt x="234" y="146"/>
                </a:lnTo>
                <a:lnTo>
                  <a:pt x="232" y="144"/>
                </a:lnTo>
                <a:lnTo>
                  <a:pt x="232" y="136"/>
                </a:lnTo>
                <a:lnTo>
                  <a:pt x="230" y="128"/>
                </a:lnTo>
                <a:lnTo>
                  <a:pt x="224" y="122"/>
                </a:lnTo>
                <a:lnTo>
                  <a:pt x="224" y="116"/>
                </a:lnTo>
                <a:lnTo>
                  <a:pt x="228" y="112"/>
                </a:lnTo>
                <a:lnTo>
                  <a:pt x="224" y="110"/>
                </a:lnTo>
                <a:lnTo>
                  <a:pt x="224" y="106"/>
                </a:lnTo>
                <a:lnTo>
                  <a:pt x="224" y="96"/>
                </a:lnTo>
                <a:lnTo>
                  <a:pt x="228" y="90"/>
                </a:lnTo>
                <a:lnTo>
                  <a:pt x="230" y="88"/>
                </a:lnTo>
                <a:lnTo>
                  <a:pt x="236" y="88"/>
                </a:lnTo>
                <a:lnTo>
                  <a:pt x="238" y="82"/>
                </a:lnTo>
                <a:lnTo>
                  <a:pt x="240" y="76"/>
                </a:lnTo>
                <a:lnTo>
                  <a:pt x="242" y="70"/>
                </a:lnTo>
                <a:lnTo>
                  <a:pt x="242" y="64"/>
                </a:lnTo>
                <a:lnTo>
                  <a:pt x="242" y="58"/>
                </a:lnTo>
                <a:lnTo>
                  <a:pt x="234" y="56"/>
                </a:lnTo>
                <a:lnTo>
                  <a:pt x="230" y="50"/>
                </a:lnTo>
                <a:lnTo>
                  <a:pt x="228" y="46"/>
                </a:lnTo>
                <a:lnTo>
                  <a:pt x="224" y="44"/>
                </a:lnTo>
                <a:lnTo>
                  <a:pt x="216" y="38"/>
                </a:lnTo>
                <a:lnTo>
                  <a:pt x="208" y="34"/>
                </a:lnTo>
                <a:lnTo>
                  <a:pt x="198" y="30"/>
                </a:lnTo>
                <a:lnTo>
                  <a:pt x="194" y="28"/>
                </a:lnTo>
                <a:lnTo>
                  <a:pt x="186" y="28"/>
                </a:lnTo>
                <a:lnTo>
                  <a:pt x="170" y="24"/>
                </a:lnTo>
                <a:lnTo>
                  <a:pt x="164" y="26"/>
                </a:lnTo>
                <a:lnTo>
                  <a:pt x="158" y="28"/>
                </a:lnTo>
                <a:lnTo>
                  <a:pt x="150" y="28"/>
                </a:lnTo>
                <a:lnTo>
                  <a:pt x="146" y="30"/>
                </a:lnTo>
                <a:lnTo>
                  <a:pt x="144" y="34"/>
                </a:lnTo>
                <a:lnTo>
                  <a:pt x="144" y="36"/>
                </a:lnTo>
                <a:lnTo>
                  <a:pt x="140" y="42"/>
                </a:lnTo>
                <a:lnTo>
                  <a:pt x="132" y="42"/>
                </a:lnTo>
                <a:lnTo>
                  <a:pt x="132" y="42"/>
                </a:lnTo>
                <a:lnTo>
                  <a:pt x="132" y="52"/>
                </a:lnTo>
                <a:lnTo>
                  <a:pt x="132" y="52"/>
                </a:lnTo>
                <a:lnTo>
                  <a:pt x="130" y="54"/>
                </a:lnTo>
                <a:lnTo>
                  <a:pt x="130" y="54"/>
                </a:lnTo>
                <a:lnTo>
                  <a:pt x="126" y="54"/>
                </a:lnTo>
                <a:lnTo>
                  <a:pt x="124" y="52"/>
                </a:lnTo>
                <a:lnTo>
                  <a:pt x="124" y="52"/>
                </a:lnTo>
                <a:lnTo>
                  <a:pt x="126" y="52"/>
                </a:lnTo>
                <a:lnTo>
                  <a:pt x="126" y="52"/>
                </a:lnTo>
                <a:lnTo>
                  <a:pt x="124" y="50"/>
                </a:lnTo>
                <a:lnTo>
                  <a:pt x="120" y="50"/>
                </a:lnTo>
                <a:lnTo>
                  <a:pt x="120" y="50"/>
                </a:lnTo>
                <a:lnTo>
                  <a:pt x="112" y="54"/>
                </a:lnTo>
                <a:lnTo>
                  <a:pt x="106" y="58"/>
                </a:lnTo>
                <a:lnTo>
                  <a:pt x="106" y="58"/>
                </a:lnTo>
                <a:lnTo>
                  <a:pt x="96" y="54"/>
                </a:lnTo>
                <a:lnTo>
                  <a:pt x="86" y="48"/>
                </a:lnTo>
                <a:lnTo>
                  <a:pt x="86" y="48"/>
                </a:lnTo>
                <a:lnTo>
                  <a:pt x="82" y="42"/>
                </a:lnTo>
                <a:lnTo>
                  <a:pt x="82" y="42"/>
                </a:lnTo>
                <a:lnTo>
                  <a:pt x="78" y="42"/>
                </a:lnTo>
                <a:lnTo>
                  <a:pt x="78" y="40"/>
                </a:lnTo>
                <a:lnTo>
                  <a:pt x="78" y="40"/>
                </a:lnTo>
                <a:lnTo>
                  <a:pt x="74" y="42"/>
                </a:lnTo>
                <a:lnTo>
                  <a:pt x="72" y="42"/>
                </a:lnTo>
                <a:lnTo>
                  <a:pt x="70" y="44"/>
                </a:lnTo>
                <a:lnTo>
                  <a:pt x="68" y="40"/>
                </a:lnTo>
                <a:lnTo>
                  <a:pt x="66" y="38"/>
                </a:lnTo>
                <a:lnTo>
                  <a:pt x="66" y="38"/>
                </a:lnTo>
                <a:lnTo>
                  <a:pt x="64" y="30"/>
                </a:lnTo>
                <a:lnTo>
                  <a:pt x="62" y="20"/>
                </a:lnTo>
                <a:lnTo>
                  <a:pt x="62" y="20"/>
                </a:lnTo>
                <a:lnTo>
                  <a:pt x="58" y="16"/>
                </a:lnTo>
                <a:lnTo>
                  <a:pt x="58" y="16"/>
                </a:lnTo>
                <a:lnTo>
                  <a:pt x="56" y="14"/>
                </a:lnTo>
                <a:lnTo>
                  <a:pt x="54" y="12"/>
                </a:lnTo>
                <a:lnTo>
                  <a:pt x="54" y="12"/>
                </a:lnTo>
                <a:lnTo>
                  <a:pt x="54" y="10"/>
                </a:lnTo>
                <a:lnTo>
                  <a:pt x="54" y="8"/>
                </a:lnTo>
                <a:lnTo>
                  <a:pt x="54" y="8"/>
                </a:lnTo>
                <a:lnTo>
                  <a:pt x="56" y="6"/>
                </a:lnTo>
                <a:lnTo>
                  <a:pt x="56" y="6"/>
                </a:lnTo>
                <a:lnTo>
                  <a:pt x="56" y="4"/>
                </a:lnTo>
                <a:lnTo>
                  <a:pt x="52" y="0"/>
                </a:lnTo>
                <a:lnTo>
                  <a:pt x="52" y="0"/>
                </a:lnTo>
                <a:lnTo>
                  <a:pt x="52" y="0"/>
                </a:lnTo>
                <a:lnTo>
                  <a:pt x="52" y="0"/>
                </a:lnTo>
                <a:lnTo>
                  <a:pt x="50" y="2"/>
                </a:lnTo>
                <a:lnTo>
                  <a:pt x="48" y="2"/>
                </a:lnTo>
                <a:lnTo>
                  <a:pt x="48" y="2"/>
                </a:lnTo>
                <a:lnTo>
                  <a:pt x="44" y="6"/>
                </a:lnTo>
                <a:lnTo>
                  <a:pt x="42" y="10"/>
                </a:lnTo>
                <a:lnTo>
                  <a:pt x="42" y="10"/>
                </a:lnTo>
                <a:lnTo>
                  <a:pt x="38" y="12"/>
                </a:lnTo>
                <a:lnTo>
                  <a:pt x="38" y="12"/>
                </a:lnTo>
                <a:lnTo>
                  <a:pt x="34" y="14"/>
                </a:lnTo>
                <a:lnTo>
                  <a:pt x="34" y="14"/>
                </a:lnTo>
                <a:lnTo>
                  <a:pt x="28" y="16"/>
                </a:lnTo>
                <a:lnTo>
                  <a:pt x="28" y="16"/>
                </a:lnTo>
                <a:lnTo>
                  <a:pt x="26" y="14"/>
                </a:lnTo>
                <a:lnTo>
                  <a:pt x="24" y="12"/>
                </a:lnTo>
                <a:lnTo>
                  <a:pt x="24" y="12"/>
                </a:lnTo>
                <a:lnTo>
                  <a:pt x="22" y="10"/>
                </a:lnTo>
                <a:lnTo>
                  <a:pt x="18" y="6"/>
                </a:lnTo>
                <a:lnTo>
                  <a:pt x="18" y="6"/>
                </a:lnTo>
                <a:lnTo>
                  <a:pt x="16" y="4"/>
                </a:lnTo>
                <a:lnTo>
                  <a:pt x="16" y="2"/>
                </a:lnTo>
                <a:lnTo>
                  <a:pt x="14" y="2"/>
                </a:lnTo>
                <a:lnTo>
                  <a:pt x="12" y="6"/>
                </a:lnTo>
                <a:lnTo>
                  <a:pt x="12" y="6"/>
                </a:lnTo>
                <a:lnTo>
                  <a:pt x="12" y="6"/>
                </a:lnTo>
                <a:lnTo>
                  <a:pt x="8" y="4"/>
                </a:lnTo>
                <a:lnTo>
                  <a:pt x="8" y="4"/>
                </a:lnTo>
                <a:lnTo>
                  <a:pt x="6" y="4"/>
                </a:lnTo>
                <a:lnTo>
                  <a:pt x="6" y="4"/>
                </a:lnTo>
                <a:lnTo>
                  <a:pt x="4" y="8"/>
                </a:lnTo>
                <a:lnTo>
                  <a:pt x="4" y="8"/>
                </a:lnTo>
                <a:lnTo>
                  <a:pt x="2" y="10"/>
                </a:lnTo>
                <a:lnTo>
                  <a:pt x="2" y="10"/>
                </a:lnTo>
                <a:lnTo>
                  <a:pt x="4" y="14"/>
                </a:lnTo>
                <a:lnTo>
                  <a:pt x="4" y="14"/>
                </a:lnTo>
                <a:lnTo>
                  <a:pt x="4" y="16"/>
                </a:lnTo>
                <a:lnTo>
                  <a:pt x="4" y="18"/>
                </a:lnTo>
                <a:lnTo>
                  <a:pt x="4" y="18"/>
                </a:lnTo>
                <a:lnTo>
                  <a:pt x="4" y="22"/>
                </a:lnTo>
                <a:lnTo>
                  <a:pt x="2" y="24"/>
                </a:lnTo>
                <a:lnTo>
                  <a:pt x="2" y="24"/>
                </a:lnTo>
                <a:lnTo>
                  <a:pt x="0" y="26"/>
                </a:lnTo>
                <a:lnTo>
                  <a:pt x="2" y="30"/>
                </a:lnTo>
                <a:lnTo>
                  <a:pt x="6" y="34"/>
                </a:lnTo>
                <a:lnTo>
                  <a:pt x="6" y="34"/>
                </a:lnTo>
                <a:lnTo>
                  <a:pt x="6" y="38"/>
                </a:lnTo>
                <a:lnTo>
                  <a:pt x="8" y="42"/>
                </a:lnTo>
                <a:lnTo>
                  <a:pt x="8" y="42"/>
                </a:lnTo>
                <a:lnTo>
                  <a:pt x="8" y="46"/>
                </a:lnTo>
                <a:lnTo>
                  <a:pt x="8" y="48"/>
                </a:lnTo>
                <a:lnTo>
                  <a:pt x="8" y="48"/>
                </a:lnTo>
                <a:lnTo>
                  <a:pt x="10" y="54"/>
                </a:lnTo>
                <a:lnTo>
                  <a:pt x="10" y="54"/>
                </a:lnTo>
                <a:lnTo>
                  <a:pt x="10" y="56"/>
                </a:lnTo>
                <a:lnTo>
                  <a:pt x="10" y="58"/>
                </a:lnTo>
                <a:lnTo>
                  <a:pt x="8" y="60"/>
                </a:lnTo>
                <a:lnTo>
                  <a:pt x="10" y="60"/>
                </a:lnTo>
                <a:lnTo>
                  <a:pt x="10" y="60"/>
                </a:lnTo>
                <a:lnTo>
                  <a:pt x="12" y="60"/>
                </a:lnTo>
                <a:lnTo>
                  <a:pt x="12" y="62"/>
                </a:lnTo>
                <a:lnTo>
                  <a:pt x="10" y="64"/>
                </a:lnTo>
                <a:lnTo>
                  <a:pt x="12" y="64"/>
                </a:lnTo>
                <a:lnTo>
                  <a:pt x="12" y="64"/>
                </a:lnTo>
                <a:lnTo>
                  <a:pt x="12" y="66"/>
                </a:lnTo>
                <a:lnTo>
                  <a:pt x="14" y="68"/>
                </a:lnTo>
                <a:lnTo>
                  <a:pt x="14" y="68"/>
                </a:lnTo>
                <a:lnTo>
                  <a:pt x="14" y="70"/>
                </a:lnTo>
                <a:lnTo>
                  <a:pt x="14" y="70"/>
                </a:lnTo>
                <a:lnTo>
                  <a:pt x="18" y="70"/>
                </a:lnTo>
                <a:lnTo>
                  <a:pt x="18" y="72"/>
                </a:lnTo>
                <a:lnTo>
                  <a:pt x="20" y="72"/>
                </a:lnTo>
                <a:lnTo>
                  <a:pt x="20" y="72"/>
                </a:lnTo>
                <a:lnTo>
                  <a:pt x="22" y="72"/>
                </a:lnTo>
                <a:lnTo>
                  <a:pt x="26" y="74"/>
                </a:lnTo>
                <a:lnTo>
                  <a:pt x="26" y="74"/>
                </a:lnTo>
                <a:lnTo>
                  <a:pt x="30" y="74"/>
                </a:lnTo>
                <a:lnTo>
                  <a:pt x="32" y="74"/>
                </a:lnTo>
                <a:lnTo>
                  <a:pt x="32" y="74"/>
                </a:lnTo>
                <a:lnTo>
                  <a:pt x="34" y="74"/>
                </a:lnTo>
                <a:lnTo>
                  <a:pt x="34" y="76"/>
                </a:lnTo>
                <a:lnTo>
                  <a:pt x="32" y="78"/>
                </a:lnTo>
                <a:lnTo>
                  <a:pt x="32" y="78"/>
                </a:lnTo>
                <a:lnTo>
                  <a:pt x="30" y="78"/>
                </a:lnTo>
                <a:lnTo>
                  <a:pt x="28" y="78"/>
                </a:lnTo>
                <a:lnTo>
                  <a:pt x="26" y="78"/>
                </a:lnTo>
                <a:lnTo>
                  <a:pt x="26" y="80"/>
                </a:lnTo>
                <a:lnTo>
                  <a:pt x="26" y="80"/>
                </a:lnTo>
                <a:lnTo>
                  <a:pt x="28" y="84"/>
                </a:lnTo>
                <a:lnTo>
                  <a:pt x="28" y="88"/>
                </a:lnTo>
                <a:lnTo>
                  <a:pt x="28" y="88"/>
                </a:lnTo>
                <a:lnTo>
                  <a:pt x="26" y="88"/>
                </a:lnTo>
                <a:lnTo>
                  <a:pt x="24" y="88"/>
                </a:lnTo>
                <a:lnTo>
                  <a:pt x="22" y="88"/>
                </a:lnTo>
                <a:lnTo>
                  <a:pt x="22" y="90"/>
                </a:lnTo>
                <a:lnTo>
                  <a:pt x="22" y="90"/>
                </a:lnTo>
                <a:lnTo>
                  <a:pt x="24" y="92"/>
                </a:lnTo>
                <a:lnTo>
                  <a:pt x="22" y="94"/>
                </a:lnTo>
                <a:lnTo>
                  <a:pt x="20" y="96"/>
                </a:lnTo>
                <a:lnTo>
                  <a:pt x="20" y="96"/>
                </a:lnTo>
                <a:lnTo>
                  <a:pt x="20" y="96"/>
                </a:lnTo>
                <a:lnTo>
                  <a:pt x="22" y="100"/>
                </a:lnTo>
                <a:lnTo>
                  <a:pt x="24" y="102"/>
                </a:lnTo>
                <a:lnTo>
                  <a:pt x="24" y="102"/>
                </a:lnTo>
                <a:lnTo>
                  <a:pt x="26" y="106"/>
                </a:lnTo>
                <a:lnTo>
                  <a:pt x="28" y="108"/>
                </a:lnTo>
                <a:lnTo>
                  <a:pt x="28" y="112"/>
                </a:lnTo>
                <a:lnTo>
                  <a:pt x="32" y="114"/>
                </a:lnTo>
                <a:lnTo>
                  <a:pt x="32" y="114"/>
                </a:lnTo>
                <a:lnTo>
                  <a:pt x="38" y="118"/>
                </a:lnTo>
                <a:lnTo>
                  <a:pt x="42" y="124"/>
                </a:lnTo>
                <a:lnTo>
                  <a:pt x="42" y="124"/>
                </a:lnTo>
                <a:lnTo>
                  <a:pt x="42" y="126"/>
                </a:lnTo>
                <a:lnTo>
                  <a:pt x="40" y="128"/>
                </a:lnTo>
                <a:lnTo>
                  <a:pt x="40" y="128"/>
                </a:lnTo>
                <a:lnTo>
                  <a:pt x="42" y="128"/>
                </a:lnTo>
                <a:lnTo>
                  <a:pt x="42" y="128"/>
                </a:lnTo>
                <a:lnTo>
                  <a:pt x="46" y="128"/>
                </a:lnTo>
                <a:lnTo>
                  <a:pt x="48" y="130"/>
                </a:lnTo>
                <a:lnTo>
                  <a:pt x="48" y="130"/>
                </a:lnTo>
                <a:lnTo>
                  <a:pt x="54" y="138"/>
                </a:lnTo>
                <a:lnTo>
                  <a:pt x="54" y="138"/>
                </a:lnTo>
                <a:lnTo>
                  <a:pt x="56" y="142"/>
                </a:lnTo>
                <a:lnTo>
                  <a:pt x="56" y="146"/>
                </a:lnTo>
                <a:lnTo>
                  <a:pt x="56" y="146"/>
                </a:lnTo>
                <a:lnTo>
                  <a:pt x="56" y="152"/>
                </a:lnTo>
                <a:lnTo>
                  <a:pt x="58" y="158"/>
                </a:lnTo>
                <a:lnTo>
                  <a:pt x="62" y="158"/>
                </a:lnTo>
                <a:lnTo>
                  <a:pt x="62" y="164"/>
                </a:lnTo>
                <a:lnTo>
                  <a:pt x="62" y="164"/>
                </a:lnTo>
                <a:lnTo>
                  <a:pt x="64" y="166"/>
                </a:lnTo>
                <a:lnTo>
                  <a:pt x="66" y="168"/>
                </a:lnTo>
                <a:lnTo>
                  <a:pt x="66" y="168"/>
                </a:lnTo>
                <a:lnTo>
                  <a:pt x="68" y="172"/>
                </a:lnTo>
                <a:lnTo>
                  <a:pt x="68" y="172"/>
                </a:lnTo>
                <a:lnTo>
                  <a:pt x="68" y="172"/>
                </a:lnTo>
                <a:lnTo>
                  <a:pt x="68" y="172"/>
                </a:lnTo>
                <a:lnTo>
                  <a:pt x="76" y="174"/>
                </a:lnTo>
                <a:lnTo>
                  <a:pt x="82" y="172"/>
                </a:lnTo>
                <a:lnTo>
                  <a:pt x="82" y="172"/>
                </a:lnTo>
                <a:lnTo>
                  <a:pt x="88" y="184"/>
                </a:lnTo>
                <a:lnTo>
                  <a:pt x="88" y="184"/>
                </a:lnTo>
                <a:lnTo>
                  <a:pt x="88" y="188"/>
                </a:lnTo>
                <a:lnTo>
                  <a:pt x="88" y="190"/>
                </a:lnTo>
                <a:lnTo>
                  <a:pt x="88" y="190"/>
                </a:lnTo>
                <a:lnTo>
                  <a:pt x="92" y="192"/>
                </a:lnTo>
                <a:lnTo>
                  <a:pt x="92" y="196"/>
                </a:lnTo>
                <a:lnTo>
                  <a:pt x="92" y="196"/>
                </a:lnTo>
                <a:lnTo>
                  <a:pt x="94" y="200"/>
                </a:lnTo>
                <a:lnTo>
                  <a:pt x="96" y="202"/>
                </a:lnTo>
                <a:lnTo>
                  <a:pt x="96" y="202"/>
                </a:lnTo>
                <a:lnTo>
                  <a:pt x="96" y="206"/>
                </a:lnTo>
                <a:lnTo>
                  <a:pt x="96" y="206"/>
                </a:lnTo>
                <a:lnTo>
                  <a:pt x="100" y="208"/>
                </a:lnTo>
                <a:lnTo>
                  <a:pt x="102" y="210"/>
                </a:lnTo>
                <a:lnTo>
                  <a:pt x="102" y="210"/>
                </a:lnTo>
                <a:lnTo>
                  <a:pt x="102" y="212"/>
                </a:lnTo>
                <a:lnTo>
                  <a:pt x="102" y="216"/>
                </a:lnTo>
                <a:lnTo>
                  <a:pt x="102" y="216"/>
                </a:lnTo>
                <a:lnTo>
                  <a:pt x="108" y="222"/>
                </a:lnTo>
                <a:lnTo>
                  <a:pt x="112" y="222"/>
                </a:lnTo>
                <a:lnTo>
                  <a:pt x="112" y="222"/>
                </a:lnTo>
                <a:lnTo>
                  <a:pt x="112" y="226"/>
                </a:lnTo>
                <a:lnTo>
                  <a:pt x="120" y="234"/>
                </a:lnTo>
                <a:lnTo>
                  <a:pt x="120" y="234"/>
                </a:lnTo>
                <a:lnTo>
                  <a:pt x="124" y="234"/>
                </a:lnTo>
                <a:lnTo>
                  <a:pt x="124" y="234"/>
                </a:lnTo>
                <a:lnTo>
                  <a:pt x="128" y="238"/>
                </a:lnTo>
                <a:lnTo>
                  <a:pt x="128" y="238"/>
                </a:lnTo>
                <a:lnTo>
                  <a:pt x="132" y="238"/>
                </a:lnTo>
                <a:lnTo>
                  <a:pt x="132" y="238"/>
                </a:lnTo>
                <a:lnTo>
                  <a:pt x="136" y="240"/>
                </a:lnTo>
                <a:lnTo>
                  <a:pt x="140" y="242"/>
                </a:lnTo>
                <a:lnTo>
                  <a:pt x="142" y="240"/>
                </a:lnTo>
                <a:lnTo>
                  <a:pt x="144" y="238"/>
                </a:lnTo>
                <a:lnTo>
                  <a:pt x="144" y="238"/>
                </a:lnTo>
                <a:lnTo>
                  <a:pt x="156" y="234"/>
                </a:lnTo>
                <a:lnTo>
                  <a:pt x="166" y="228"/>
                </a:lnTo>
                <a:lnTo>
                  <a:pt x="166" y="228"/>
                </a:lnTo>
                <a:lnTo>
                  <a:pt x="172" y="232"/>
                </a:lnTo>
                <a:lnTo>
                  <a:pt x="176" y="238"/>
                </a:lnTo>
                <a:lnTo>
                  <a:pt x="176" y="238"/>
                </a:lnTo>
                <a:lnTo>
                  <a:pt x="178" y="248"/>
                </a:lnTo>
                <a:lnTo>
                  <a:pt x="180" y="252"/>
                </a:lnTo>
                <a:lnTo>
                  <a:pt x="184" y="256"/>
                </a:lnTo>
                <a:lnTo>
                  <a:pt x="184" y="256"/>
                </a:lnTo>
                <a:lnTo>
                  <a:pt x="192" y="258"/>
                </a:lnTo>
                <a:lnTo>
                  <a:pt x="202" y="258"/>
                </a:lnTo>
                <a:lnTo>
                  <a:pt x="202" y="260"/>
                </a:lnTo>
                <a:lnTo>
                  <a:pt x="202" y="260"/>
                </a:lnTo>
                <a:lnTo>
                  <a:pt x="212" y="260"/>
                </a:lnTo>
                <a:lnTo>
                  <a:pt x="220" y="258"/>
                </a:lnTo>
                <a:lnTo>
                  <a:pt x="220" y="258"/>
                </a:lnTo>
                <a:lnTo>
                  <a:pt x="226" y="262"/>
                </a:lnTo>
                <a:lnTo>
                  <a:pt x="226" y="264"/>
                </a:lnTo>
                <a:lnTo>
                  <a:pt x="226" y="264"/>
                </a:lnTo>
                <a:lnTo>
                  <a:pt x="230" y="264"/>
                </a:lnTo>
                <a:lnTo>
                  <a:pt x="230" y="26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3" name="Line 167">
            <a:extLst>
              <a:ext uri="{FF2B5EF4-FFF2-40B4-BE49-F238E27FC236}">
                <a16:creationId xmlns:a16="http://schemas.microsoft.com/office/drawing/2014/main" id="{0A08B6AB-15C4-455F-86BC-A68EE77D0F28}"/>
              </a:ext>
            </a:extLst>
          </p:cNvPr>
          <p:cNvSpPr>
            <a:spLocks noChangeShapeType="1"/>
          </p:cNvSpPr>
          <p:nvPr userDrawn="1"/>
        </p:nvSpPr>
        <p:spPr bwMode="auto">
          <a:xfrm>
            <a:off x="8631310" y="3742423"/>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4" name="Line 168">
            <a:extLst>
              <a:ext uri="{FF2B5EF4-FFF2-40B4-BE49-F238E27FC236}">
                <a16:creationId xmlns:a16="http://schemas.microsoft.com/office/drawing/2014/main" id="{B4FD65DF-4665-4A78-99C8-446A170E112C}"/>
              </a:ext>
            </a:extLst>
          </p:cNvPr>
          <p:cNvSpPr>
            <a:spLocks noChangeShapeType="1"/>
          </p:cNvSpPr>
          <p:nvPr userDrawn="1"/>
        </p:nvSpPr>
        <p:spPr bwMode="auto">
          <a:xfrm>
            <a:off x="8631310" y="3742423"/>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5" name="Freeform 169">
            <a:extLst>
              <a:ext uri="{FF2B5EF4-FFF2-40B4-BE49-F238E27FC236}">
                <a16:creationId xmlns:a16="http://schemas.microsoft.com/office/drawing/2014/main" id="{7309FCE3-C804-4F05-8CB8-ACDD40C0C313}"/>
              </a:ext>
            </a:extLst>
          </p:cNvPr>
          <p:cNvSpPr>
            <a:spLocks/>
          </p:cNvSpPr>
          <p:nvPr userDrawn="1"/>
        </p:nvSpPr>
        <p:spPr bwMode="auto">
          <a:xfrm>
            <a:off x="8178511" y="3701239"/>
            <a:ext cx="3354" cy="6864"/>
          </a:xfrm>
          <a:custGeom>
            <a:avLst/>
            <a:gdLst>
              <a:gd name="T0" fmla="*/ 0 w 2"/>
              <a:gd name="T1" fmla="*/ 0 h 4"/>
              <a:gd name="T2" fmla="*/ 0 w 2"/>
              <a:gd name="T3" fmla="*/ 4 h 4"/>
              <a:gd name="T4" fmla="*/ 0 w 2"/>
              <a:gd name="T5" fmla="*/ 4 h 4"/>
              <a:gd name="T6" fmla="*/ 2 w 2"/>
              <a:gd name="T7" fmla="*/ 2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4"/>
                </a:lnTo>
                <a:lnTo>
                  <a:pt x="0" y="4"/>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6" name="Freeform 170">
            <a:extLst>
              <a:ext uri="{FF2B5EF4-FFF2-40B4-BE49-F238E27FC236}">
                <a16:creationId xmlns:a16="http://schemas.microsoft.com/office/drawing/2014/main" id="{F29224B5-933B-4F56-A561-4640AB1DE52F}"/>
              </a:ext>
            </a:extLst>
          </p:cNvPr>
          <p:cNvSpPr>
            <a:spLocks noEditPoints="1"/>
          </p:cNvSpPr>
          <p:nvPr userDrawn="1"/>
        </p:nvSpPr>
        <p:spPr bwMode="auto">
          <a:xfrm>
            <a:off x="7983975" y="3522777"/>
            <a:ext cx="1016284" cy="487340"/>
          </a:xfrm>
          <a:custGeom>
            <a:avLst/>
            <a:gdLst>
              <a:gd name="T0" fmla="*/ 18 w 606"/>
              <a:gd name="T1" fmla="*/ 34 h 284"/>
              <a:gd name="T2" fmla="*/ 50 w 606"/>
              <a:gd name="T3" fmla="*/ 66 h 284"/>
              <a:gd name="T4" fmla="*/ 80 w 606"/>
              <a:gd name="T5" fmla="*/ 126 h 284"/>
              <a:gd name="T6" fmla="*/ 112 w 606"/>
              <a:gd name="T7" fmla="*/ 178 h 284"/>
              <a:gd name="T8" fmla="*/ 140 w 606"/>
              <a:gd name="T9" fmla="*/ 184 h 284"/>
              <a:gd name="T10" fmla="*/ 128 w 606"/>
              <a:gd name="T11" fmla="*/ 116 h 284"/>
              <a:gd name="T12" fmla="*/ 112 w 606"/>
              <a:gd name="T13" fmla="*/ 86 h 284"/>
              <a:gd name="T14" fmla="*/ 90 w 606"/>
              <a:gd name="T15" fmla="*/ 70 h 284"/>
              <a:gd name="T16" fmla="*/ 72 w 606"/>
              <a:gd name="T17" fmla="*/ 46 h 284"/>
              <a:gd name="T18" fmla="*/ 34 w 606"/>
              <a:gd name="T19" fmla="*/ 6 h 284"/>
              <a:gd name="T20" fmla="*/ 434 w 606"/>
              <a:gd name="T21" fmla="*/ 58 h 284"/>
              <a:gd name="T22" fmla="*/ 438 w 606"/>
              <a:gd name="T23" fmla="*/ 106 h 284"/>
              <a:gd name="T24" fmla="*/ 446 w 606"/>
              <a:gd name="T25" fmla="*/ 78 h 284"/>
              <a:gd name="T26" fmla="*/ 434 w 606"/>
              <a:gd name="T27" fmla="*/ 58 h 284"/>
              <a:gd name="T28" fmla="*/ 340 w 606"/>
              <a:gd name="T29" fmla="*/ 78 h 284"/>
              <a:gd name="T30" fmla="*/ 320 w 606"/>
              <a:gd name="T31" fmla="*/ 132 h 284"/>
              <a:gd name="T32" fmla="*/ 336 w 606"/>
              <a:gd name="T33" fmla="*/ 188 h 284"/>
              <a:gd name="T34" fmla="*/ 348 w 606"/>
              <a:gd name="T35" fmla="*/ 168 h 284"/>
              <a:gd name="T36" fmla="*/ 364 w 606"/>
              <a:gd name="T37" fmla="*/ 160 h 284"/>
              <a:gd name="T38" fmla="*/ 368 w 606"/>
              <a:gd name="T39" fmla="*/ 122 h 284"/>
              <a:gd name="T40" fmla="*/ 336 w 606"/>
              <a:gd name="T41" fmla="*/ 100 h 284"/>
              <a:gd name="T42" fmla="*/ 388 w 606"/>
              <a:gd name="T43" fmla="*/ 92 h 284"/>
              <a:gd name="T44" fmla="*/ 478 w 606"/>
              <a:gd name="T45" fmla="*/ 106 h 284"/>
              <a:gd name="T46" fmla="*/ 154 w 606"/>
              <a:gd name="T47" fmla="*/ 148 h 284"/>
              <a:gd name="T48" fmla="*/ 444 w 606"/>
              <a:gd name="T49" fmla="*/ 156 h 284"/>
              <a:gd name="T50" fmla="*/ 450 w 606"/>
              <a:gd name="T51" fmla="*/ 148 h 284"/>
              <a:gd name="T52" fmla="*/ 424 w 606"/>
              <a:gd name="T53" fmla="*/ 150 h 284"/>
              <a:gd name="T54" fmla="*/ 364 w 606"/>
              <a:gd name="T55" fmla="*/ 186 h 284"/>
              <a:gd name="T56" fmla="*/ 140 w 606"/>
              <a:gd name="T57" fmla="*/ 190 h 284"/>
              <a:gd name="T58" fmla="*/ 194 w 606"/>
              <a:gd name="T59" fmla="*/ 222 h 284"/>
              <a:gd name="T60" fmla="*/ 258 w 606"/>
              <a:gd name="T61" fmla="*/ 238 h 284"/>
              <a:gd name="T62" fmla="*/ 226 w 606"/>
              <a:gd name="T63" fmla="*/ 204 h 284"/>
              <a:gd name="T64" fmla="*/ 158 w 606"/>
              <a:gd name="T65" fmla="*/ 190 h 284"/>
              <a:gd name="T66" fmla="*/ 526 w 606"/>
              <a:gd name="T67" fmla="*/ 210 h 284"/>
              <a:gd name="T68" fmla="*/ 266 w 606"/>
              <a:gd name="T69" fmla="*/ 244 h 284"/>
              <a:gd name="T70" fmla="*/ 408 w 606"/>
              <a:gd name="T71" fmla="*/ 234 h 284"/>
              <a:gd name="T72" fmla="*/ 298 w 606"/>
              <a:gd name="T73" fmla="*/ 248 h 284"/>
              <a:gd name="T74" fmla="*/ 316 w 606"/>
              <a:gd name="T75" fmla="*/ 244 h 284"/>
              <a:gd name="T76" fmla="*/ 368 w 606"/>
              <a:gd name="T77" fmla="*/ 250 h 284"/>
              <a:gd name="T78" fmla="*/ 416 w 606"/>
              <a:gd name="T79" fmla="*/ 246 h 284"/>
              <a:gd name="T80" fmla="*/ 376 w 606"/>
              <a:gd name="T81" fmla="*/ 274 h 284"/>
              <a:gd name="T82" fmla="*/ 398 w 606"/>
              <a:gd name="T83" fmla="*/ 264 h 284"/>
              <a:gd name="T84" fmla="*/ 420 w 606"/>
              <a:gd name="T85" fmla="*/ 244 h 284"/>
              <a:gd name="T86" fmla="*/ 192 w 606"/>
              <a:gd name="T87" fmla="*/ 62 h 284"/>
              <a:gd name="T88" fmla="*/ 188 w 606"/>
              <a:gd name="T89" fmla="*/ 114 h 284"/>
              <a:gd name="T90" fmla="*/ 216 w 606"/>
              <a:gd name="T91" fmla="*/ 150 h 284"/>
              <a:gd name="T92" fmla="*/ 250 w 606"/>
              <a:gd name="T93" fmla="*/ 154 h 284"/>
              <a:gd name="T94" fmla="*/ 294 w 606"/>
              <a:gd name="T95" fmla="*/ 136 h 284"/>
              <a:gd name="T96" fmla="*/ 316 w 606"/>
              <a:gd name="T97" fmla="*/ 82 h 284"/>
              <a:gd name="T98" fmla="*/ 300 w 606"/>
              <a:gd name="T99" fmla="*/ 38 h 284"/>
              <a:gd name="T100" fmla="*/ 242 w 606"/>
              <a:gd name="T101" fmla="*/ 78 h 284"/>
              <a:gd name="T102" fmla="*/ 478 w 606"/>
              <a:gd name="T103" fmla="*/ 128 h 284"/>
              <a:gd name="T104" fmla="*/ 504 w 606"/>
              <a:gd name="T105" fmla="*/ 142 h 284"/>
              <a:gd name="T106" fmla="*/ 508 w 606"/>
              <a:gd name="T107" fmla="*/ 154 h 284"/>
              <a:gd name="T108" fmla="*/ 542 w 606"/>
              <a:gd name="T109" fmla="*/ 174 h 284"/>
              <a:gd name="T110" fmla="*/ 576 w 606"/>
              <a:gd name="T111" fmla="*/ 216 h 284"/>
              <a:gd name="T112" fmla="*/ 584 w 606"/>
              <a:gd name="T113" fmla="*/ 236 h 284"/>
              <a:gd name="T114" fmla="*/ 602 w 606"/>
              <a:gd name="T115" fmla="*/ 142 h 284"/>
              <a:gd name="T116" fmla="*/ 542 w 606"/>
              <a:gd name="T117" fmla="*/ 146 h 284"/>
              <a:gd name="T118" fmla="*/ 518 w 606"/>
              <a:gd name="T119" fmla="*/ 126 h 284"/>
              <a:gd name="T120" fmla="*/ 490 w 606"/>
              <a:gd name="T121" fmla="*/ 11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6" h="284">
                <a:moveTo>
                  <a:pt x="18" y="6"/>
                </a:moveTo>
                <a:lnTo>
                  <a:pt x="18" y="6"/>
                </a:lnTo>
                <a:lnTo>
                  <a:pt x="14" y="2"/>
                </a:lnTo>
                <a:lnTo>
                  <a:pt x="12" y="0"/>
                </a:lnTo>
                <a:lnTo>
                  <a:pt x="12" y="0"/>
                </a:lnTo>
                <a:lnTo>
                  <a:pt x="6" y="0"/>
                </a:lnTo>
                <a:lnTo>
                  <a:pt x="0" y="0"/>
                </a:lnTo>
                <a:lnTo>
                  <a:pt x="0" y="0"/>
                </a:lnTo>
                <a:lnTo>
                  <a:pt x="0" y="10"/>
                </a:lnTo>
                <a:lnTo>
                  <a:pt x="2" y="10"/>
                </a:lnTo>
                <a:lnTo>
                  <a:pt x="2" y="10"/>
                </a:lnTo>
                <a:lnTo>
                  <a:pt x="6" y="18"/>
                </a:lnTo>
                <a:lnTo>
                  <a:pt x="8" y="22"/>
                </a:lnTo>
                <a:lnTo>
                  <a:pt x="10" y="24"/>
                </a:lnTo>
                <a:lnTo>
                  <a:pt x="10" y="24"/>
                </a:lnTo>
                <a:lnTo>
                  <a:pt x="14" y="26"/>
                </a:lnTo>
                <a:lnTo>
                  <a:pt x="14" y="26"/>
                </a:lnTo>
                <a:lnTo>
                  <a:pt x="16" y="30"/>
                </a:lnTo>
                <a:lnTo>
                  <a:pt x="18" y="34"/>
                </a:lnTo>
                <a:lnTo>
                  <a:pt x="18" y="34"/>
                </a:lnTo>
                <a:lnTo>
                  <a:pt x="22" y="34"/>
                </a:lnTo>
                <a:lnTo>
                  <a:pt x="24" y="36"/>
                </a:lnTo>
                <a:lnTo>
                  <a:pt x="24" y="36"/>
                </a:lnTo>
                <a:lnTo>
                  <a:pt x="26" y="40"/>
                </a:lnTo>
                <a:lnTo>
                  <a:pt x="26" y="40"/>
                </a:lnTo>
                <a:lnTo>
                  <a:pt x="32" y="46"/>
                </a:lnTo>
                <a:lnTo>
                  <a:pt x="32" y="46"/>
                </a:lnTo>
                <a:lnTo>
                  <a:pt x="32" y="50"/>
                </a:lnTo>
                <a:lnTo>
                  <a:pt x="32" y="50"/>
                </a:lnTo>
                <a:lnTo>
                  <a:pt x="36" y="52"/>
                </a:lnTo>
                <a:lnTo>
                  <a:pt x="36" y="52"/>
                </a:lnTo>
                <a:lnTo>
                  <a:pt x="36" y="56"/>
                </a:lnTo>
                <a:lnTo>
                  <a:pt x="36" y="60"/>
                </a:lnTo>
                <a:lnTo>
                  <a:pt x="36" y="60"/>
                </a:lnTo>
                <a:lnTo>
                  <a:pt x="42" y="60"/>
                </a:lnTo>
                <a:lnTo>
                  <a:pt x="44" y="62"/>
                </a:lnTo>
                <a:lnTo>
                  <a:pt x="44" y="62"/>
                </a:lnTo>
                <a:lnTo>
                  <a:pt x="48" y="66"/>
                </a:lnTo>
                <a:lnTo>
                  <a:pt x="48" y="66"/>
                </a:lnTo>
                <a:lnTo>
                  <a:pt x="50" y="66"/>
                </a:lnTo>
                <a:lnTo>
                  <a:pt x="52" y="68"/>
                </a:lnTo>
                <a:lnTo>
                  <a:pt x="52" y="68"/>
                </a:lnTo>
                <a:lnTo>
                  <a:pt x="52" y="72"/>
                </a:lnTo>
                <a:lnTo>
                  <a:pt x="52" y="78"/>
                </a:lnTo>
                <a:lnTo>
                  <a:pt x="52" y="78"/>
                </a:lnTo>
                <a:lnTo>
                  <a:pt x="56" y="86"/>
                </a:lnTo>
                <a:lnTo>
                  <a:pt x="56" y="86"/>
                </a:lnTo>
                <a:lnTo>
                  <a:pt x="56" y="90"/>
                </a:lnTo>
                <a:lnTo>
                  <a:pt x="56" y="90"/>
                </a:lnTo>
                <a:lnTo>
                  <a:pt x="58" y="92"/>
                </a:lnTo>
                <a:lnTo>
                  <a:pt x="60" y="94"/>
                </a:lnTo>
                <a:lnTo>
                  <a:pt x="60" y="94"/>
                </a:lnTo>
                <a:lnTo>
                  <a:pt x="64" y="102"/>
                </a:lnTo>
                <a:lnTo>
                  <a:pt x="64" y="102"/>
                </a:lnTo>
                <a:lnTo>
                  <a:pt x="68" y="104"/>
                </a:lnTo>
                <a:lnTo>
                  <a:pt x="72" y="108"/>
                </a:lnTo>
                <a:lnTo>
                  <a:pt x="72" y="108"/>
                </a:lnTo>
                <a:lnTo>
                  <a:pt x="76" y="118"/>
                </a:lnTo>
                <a:lnTo>
                  <a:pt x="78" y="122"/>
                </a:lnTo>
                <a:lnTo>
                  <a:pt x="80" y="126"/>
                </a:lnTo>
                <a:lnTo>
                  <a:pt x="82" y="126"/>
                </a:lnTo>
                <a:lnTo>
                  <a:pt x="82" y="126"/>
                </a:lnTo>
                <a:lnTo>
                  <a:pt x="82" y="130"/>
                </a:lnTo>
                <a:lnTo>
                  <a:pt x="82" y="134"/>
                </a:lnTo>
                <a:lnTo>
                  <a:pt x="82" y="134"/>
                </a:lnTo>
                <a:lnTo>
                  <a:pt x="86" y="136"/>
                </a:lnTo>
                <a:lnTo>
                  <a:pt x="86" y="136"/>
                </a:lnTo>
                <a:lnTo>
                  <a:pt x="88" y="144"/>
                </a:lnTo>
                <a:lnTo>
                  <a:pt x="92" y="150"/>
                </a:lnTo>
                <a:lnTo>
                  <a:pt x="92" y="150"/>
                </a:lnTo>
                <a:lnTo>
                  <a:pt x="94" y="152"/>
                </a:lnTo>
                <a:lnTo>
                  <a:pt x="94" y="152"/>
                </a:lnTo>
                <a:lnTo>
                  <a:pt x="96" y="158"/>
                </a:lnTo>
                <a:lnTo>
                  <a:pt x="98" y="166"/>
                </a:lnTo>
                <a:lnTo>
                  <a:pt x="98" y="166"/>
                </a:lnTo>
                <a:lnTo>
                  <a:pt x="102" y="172"/>
                </a:lnTo>
                <a:lnTo>
                  <a:pt x="102" y="174"/>
                </a:lnTo>
                <a:lnTo>
                  <a:pt x="102" y="174"/>
                </a:lnTo>
                <a:lnTo>
                  <a:pt x="112" y="178"/>
                </a:lnTo>
                <a:lnTo>
                  <a:pt x="112" y="178"/>
                </a:lnTo>
                <a:lnTo>
                  <a:pt x="116" y="180"/>
                </a:lnTo>
                <a:lnTo>
                  <a:pt x="116" y="180"/>
                </a:lnTo>
                <a:lnTo>
                  <a:pt x="124" y="188"/>
                </a:lnTo>
                <a:lnTo>
                  <a:pt x="124" y="188"/>
                </a:lnTo>
                <a:lnTo>
                  <a:pt x="130" y="190"/>
                </a:lnTo>
                <a:lnTo>
                  <a:pt x="130" y="190"/>
                </a:lnTo>
                <a:lnTo>
                  <a:pt x="130" y="186"/>
                </a:lnTo>
                <a:lnTo>
                  <a:pt x="128" y="184"/>
                </a:lnTo>
                <a:lnTo>
                  <a:pt x="128" y="184"/>
                </a:lnTo>
                <a:lnTo>
                  <a:pt x="128" y="184"/>
                </a:lnTo>
                <a:lnTo>
                  <a:pt x="130" y="184"/>
                </a:lnTo>
                <a:lnTo>
                  <a:pt x="130" y="184"/>
                </a:lnTo>
                <a:lnTo>
                  <a:pt x="134" y="186"/>
                </a:lnTo>
                <a:lnTo>
                  <a:pt x="136" y="186"/>
                </a:lnTo>
                <a:lnTo>
                  <a:pt x="138" y="186"/>
                </a:lnTo>
                <a:lnTo>
                  <a:pt x="138" y="186"/>
                </a:lnTo>
                <a:lnTo>
                  <a:pt x="138" y="184"/>
                </a:lnTo>
                <a:lnTo>
                  <a:pt x="140" y="184"/>
                </a:lnTo>
                <a:lnTo>
                  <a:pt x="140" y="184"/>
                </a:lnTo>
                <a:lnTo>
                  <a:pt x="140" y="184"/>
                </a:lnTo>
                <a:lnTo>
                  <a:pt x="144" y="184"/>
                </a:lnTo>
                <a:lnTo>
                  <a:pt x="144" y="184"/>
                </a:lnTo>
                <a:lnTo>
                  <a:pt x="144" y="180"/>
                </a:lnTo>
                <a:lnTo>
                  <a:pt x="144" y="168"/>
                </a:lnTo>
                <a:lnTo>
                  <a:pt x="148" y="150"/>
                </a:lnTo>
                <a:lnTo>
                  <a:pt x="148" y="150"/>
                </a:lnTo>
                <a:lnTo>
                  <a:pt x="144" y="148"/>
                </a:lnTo>
                <a:lnTo>
                  <a:pt x="144" y="148"/>
                </a:lnTo>
                <a:lnTo>
                  <a:pt x="140" y="138"/>
                </a:lnTo>
                <a:lnTo>
                  <a:pt x="140" y="138"/>
                </a:lnTo>
                <a:lnTo>
                  <a:pt x="134" y="138"/>
                </a:lnTo>
                <a:lnTo>
                  <a:pt x="134" y="138"/>
                </a:lnTo>
                <a:lnTo>
                  <a:pt x="130" y="136"/>
                </a:lnTo>
                <a:lnTo>
                  <a:pt x="130" y="136"/>
                </a:lnTo>
                <a:lnTo>
                  <a:pt x="132" y="134"/>
                </a:lnTo>
                <a:lnTo>
                  <a:pt x="132" y="130"/>
                </a:lnTo>
                <a:lnTo>
                  <a:pt x="132" y="130"/>
                </a:lnTo>
                <a:lnTo>
                  <a:pt x="126" y="128"/>
                </a:lnTo>
                <a:lnTo>
                  <a:pt x="126" y="128"/>
                </a:lnTo>
                <a:lnTo>
                  <a:pt x="128" y="116"/>
                </a:lnTo>
                <a:lnTo>
                  <a:pt x="128" y="116"/>
                </a:lnTo>
                <a:lnTo>
                  <a:pt x="122" y="116"/>
                </a:lnTo>
                <a:lnTo>
                  <a:pt x="122" y="114"/>
                </a:lnTo>
                <a:lnTo>
                  <a:pt x="120" y="114"/>
                </a:lnTo>
                <a:lnTo>
                  <a:pt x="120" y="114"/>
                </a:lnTo>
                <a:lnTo>
                  <a:pt x="118" y="116"/>
                </a:lnTo>
                <a:lnTo>
                  <a:pt x="118" y="116"/>
                </a:lnTo>
                <a:lnTo>
                  <a:pt x="118" y="116"/>
                </a:lnTo>
                <a:lnTo>
                  <a:pt x="112" y="114"/>
                </a:lnTo>
                <a:lnTo>
                  <a:pt x="112" y="114"/>
                </a:lnTo>
                <a:lnTo>
                  <a:pt x="112" y="106"/>
                </a:lnTo>
                <a:lnTo>
                  <a:pt x="112" y="106"/>
                </a:lnTo>
                <a:lnTo>
                  <a:pt x="118" y="102"/>
                </a:lnTo>
                <a:lnTo>
                  <a:pt x="118" y="102"/>
                </a:lnTo>
                <a:lnTo>
                  <a:pt x="118" y="98"/>
                </a:lnTo>
                <a:lnTo>
                  <a:pt x="118" y="98"/>
                </a:lnTo>
                <a:lnTo>
                  <a:pt x="112" y="90"/>
                </a:lnTo>
                <a:lnTo>
                  <a:pt x="112" y="90"/>
                </a:lnTo>
                <a:lnTo>
                  <a:pt x="112" y="86"/>
                </a:lnTo>
                <a:lnTo>
                  <a:pt x="112" y="86"/>
                </a:lnTo>
                <a:lnTo>
                  <a:pt x="110" y="84"/>
                </a:lnTo>
                <a:lnTo>
                  <a:pt x="106" y="84"/>
                </a:lnTo>
                <a:lnTo>
                  <a:pt x="106" y="84"/>
                </a:lnTo>
                <a:lnTo>
                  <a:pt x="108" y="78"/>
                </a:lnTo>
                <a:lnTo>
                  <a:pt x="108" y="78"/>
                </a:lnTo>
                <a:lnTo>
                  <a:pt x="106" y="78"/>
                </a:lnTo>
                <a:lnTo>
                  <a:pt x="106" y="78"/>
                </a:lnTo>
                <a:lnTo>
                  <a:pt x="104" y="84"/>
                </a:lnTo>
                <a:lnTo>
                  <a:pt x="104" y="84"/>
                </a:lnTo>
                <a:lnTo>
                  <a:pt x="100" y="84"/>
                </a:lnTo>
                <a:lnTo>
                  <a:pt x="100" y="84"/>
                </a:lnTo>
                <a:lnTo>
                  <a:pt x="100" y="82"/>
                </a:lnTo>
                <a:lnTo>
                  <a:pt x="100" y="82"/>
                </a:lnTo>
                <a:lnTo>
                  <a:pt x="96" y="82"/>
                </a:lnTo>
                <a:lnTo>
                  <a:pt x="96" y="82"/>
                </a:lnTo>
                <a:lnTo>
                  <a:pt x="96" y="80"/>
                </a:lnTo>
                <a:lnTo>
                  <a:pt x="96" y="78"/>
                </a:lnTo>
                <a:lnTo>
                  <a:pt x="94" y="74"/>
                </a:lnTo>
                <a:lnTo>
                  <a:pt x="94" y="74"/>
                </a:lnTo>
                <a:lnTo>
                  <a:pt x="90" y="70"/>
                </a:lnTo>
                <a:lnTo>
                  <a:pt x="88" y="68"/>
                </a:lnTo>
                <a:lnTo>
                  <a:pt x="88" y="68"/>
                </a:lnTo>
                <a:lnTo>
                  <a:pt x="86" y="64"/>
                </a:lnTo>
                <a:lnTo>
                  <a:pt x="84" y="60"/>
                </a:lnTo>
                <a:lnTo>
                  <a:pt x="80" y="60"/>
                </a:lnTo>
                <a:lnTo>
                  <a:pt x="80" y="60"/>
                </a:lnTo>
                <a:lnTo>
                  <a:pt x="80" y="60"/>
                </a:lnTo>
                <a:lnTo>
                  <a:pt x="80" y="62"/>
                </a:lnTo>
                <a:lnTo>
                  <a:pt x="80" y="62"/>
                </a:lnTo>
                <a:lnTo>
                  <a:pt x="78" y="62"/>
                </a:lnTo>
                <a:lnTo>
                  <a:pt x="78" y="62"/>
                </a:lnTo>
                <a:lnTo>
                  <a:pt x="78" y="62"/>
                </a:lnTo>
                <a:lnTo>
                  <a:pt x="76" y="60"/>
                </a:lnTo>
                <a:lnTo>
                  <a:pt x="76" y="60"/>
                </a:lnTo>
                <a:lnTo>
                  <a:pt x="74" y="58"/>
                </a:lnTo>
                <a:lnTo>
                  <a:pt x="72" y="54"/>
                </a:lnTo>
                <a:lnTo>
                  <a:pt x="72" y="54"/>
                </a:lnTo>
                <a:lnTo>
                  <a:pt x="72" y="54"/>
                </a:lnTo>
                <a:lnTo>
                  <a:pt x="72" y="50"/>
                </a:lnTo>
                <a:lnTo>
                  <a:pt x="72" y="46"/>
                </a:lnTo>
                <a:lnTo>
                  <a:pt x="66" y="46"/>
                </a:lnTo>
                <a:lnTo>
                  <a:pt x="66" y="46"/>
                </a:lnTo>
                <a:lnTo>
                  <a:pt x="66" y="40"/>
                </a:lnTo>
                <a:lnTo>
                  <a:pt x="66" y="40"/>
                </a:lnTo>
                <a:lnTo>
                  <a:pt x="60" y="36"/>
                </a:lnTo>
                <a:lnTo>
                  <a:pt x="54" y="32"/>
                </a:lnTo>
                <a:lnTo>
                  <a:pt x="54" y="32"/>
                </a:lnTo>
                <a:lnTo>
                  <a:pt x="52" y="30"/>
                </a:lnTo>
                <a:lnTo>
                  <a:pt x="52" y="26"/>
                </a:lnTo>
                <a:lnTo>
                  <a:pt x="52" y="26"/>
                </a:lnTo>
                <a:lnTo>
                  <a:pt x="48" y="24"/>
                </a:lnTo>
                <a:lnTo>
                  <a:pt x="48" y="24"/>
                </a:lnTo>
                <a:lnTo>
                  <a:pt x="46" y="22"/>
                </a:lnTo>
                <a:lnTo>
                  <a:pt x="44" y="18"/>
                </a:lnTo>
                <a:lnTo>
                  <a:pt x="44" y="18"/>
                </a:lnTo>
                <a:lnTo>
                  <a:pt x="40" y="18"/>
                </a:lnTo>
                <a:lnTo>
                  <a:pt x="40" y="18"/>
                </a:lnTo>
                <a:lnTo>
                  <a:pt x="40" y="14"/>
                </a:lnTo>
                <a:lnTo>
                  <a:pt x="34" y="6"/>
                </a:lnTo>
                <a:lnTo>
                  <a:pt x="34" y="6"/>
                </a:lnTo>
                <a:lnTo>
                  <a:pt x="30" y="4"/>
                </a:lnTo>
                <a:lnTo>
                  <a:pt x="26" y="4"/>
                </a:lnTo>
                <a:lnTo>
                  <a:pt x="20" y="6"/>
                </a:lnTo>
                <a:lnTo>
                  <a:pt x="18" y="6"/>
                </a:lnTo>
                <a:lnTo>
                  <a:pt x="18" y="6"/>
                </a:lnTo>
                <a:close/>
                <a:moveTo>
                  <a:pt x="440" y="52"/>
                </a:moveTo>
                <a:lnTo>
                  <a:pt x="440" y="52"/>
                </a:lnTo>
                <a:lnTo>
                  <a:pt x="442" y="64"/>
                </a:lnTo>
                <a:lnTo>
                  <a:pt x="442" y="64"/>
                </a:lnTo>
                <a:lnTo>
                  <a:pt x="446" y="64"/>
                </a:lnTo>
                <a:lnTo>
                  <a:pt x="446" y="64"/>
                </a:lnTo>
                <a:lnTo>
                  <a:pt x="448" y="62"/>
                </a:lnTo>
                <a:lnTo>
                  <a:pt x="446" y="62"/>
                </a:lnTo>
                <a:lnTo>
                  <a:pt x="446" y="62"/>
                </a:lnTo>
                <a:lnTo>
                  <a:pt x="446" y="56"/>
                </a:lnTo>
                <a:lnTo>
                  <a:pt x="446" y="56"/>
                </a:lnTo>
                <a:lnTo>
                  <a:pt x="440" y="52"/>
                </a:lnTo>
                <a:lnTo>
                  <a:pt x="440" y="52"/>
                </a:lnTo>
                <a:close/>
                <a:moveTo>
                  <a:pt x="434" y="58"/>
                </a:moveTo>
                <a:lnTo>
                  <a:pt x="434" y="58"/>
                </a:lnTo>
                <a:lnTo>
                  <a:pt x="428" y="68"/>
                </a:lnTo>
                <a:lnTo>
                  <a:pt x="426" y="80"/>
                </a:lnTo>
                <a:lnTo>
                  <a:pt x="426" y="80"/>
                </a:lnTo>
                <a:lnTo>
                  <a:pt x="432" y="84"/>
                </a:lnTo>
                <a:lnTo>
                  <a:pt x="432" y="84"/>
                </a:lnTo>
                <a:lnTo>
                  <a:pt x="430" y="86"/>
                </a:lnTo>
                <a:lnTo>
                  <a:pt x="430" y="86"/>
                </a:lnTo>
                <a:lnTo>
                  <a:pt x="430" y="88"/>
                </a:lnTo>
                <a:lnTo>
                  <a:pt x="430" y="88"/>
                </a:lnTo>
                <a:lnTo>
                  <a:pt x="430" y="92"/>
                </a:lnTo>
                <a:lnTo>
                  <a:pt x="430" y="94"/>
                </a:lnTo>
                <a:lnTo>
                  <a:pt x="428" y="96"/>
                </a:lnTo>
                <a:lnTo>
                  <a:pt x="428" y="96"/>
                </a:lnTo>
                <a:lnTo>
                  <a:pt x="428" y="96"/>
                </a:lnTo>
                <a:lnTo>
                  <a:pt x="430" y="100"/>
                </a:lnTo>
                <a:lnTo>
                  <a:pt x="434" y="104"/>
                </a:lnTo>
                <a:lnTo>
                  <a:pt x="434" y="104"/>
                </a:lnTo>
                <a:lnTo>
                  <a:pt x="438" y="108"/>
                </a:lnTo>
                <a:lnTo>
                  <a:pt x="438" y="108"/>
                </a:lnTo>
                <a:lnTo>
                  <a:pt x="438" y="106"/>
                </a:lnTo>
                <a:lnTo>
                  <a:pt x="436" y="104"/>
                </a:lnTo>
                <a:lnTo>
                  <a:pt x="432" y="100"/>
                </a:lnTo>
                <a:lnTo>
                  <a:pt x="432" y="100"/>
                </a:lnTo>
                <a:lnTo>
                  <a:pt x="432" y="92"/>
                </a:lnTo>
                <a:lnTo>
                  <a:pt x="432" y="92"/>
                </a:lnTo>
                <a:lnTo>
                  <a:pt x="436" y="90"/>
                </a:lnTo>
                <a:lnTo>
                  <a:pt x="436" y="90"/>
                </a:lnTo>
                <a:lnTo>
                  <a:pt x="440" y="90"/>
                </a:lnTo>
                <a:lnTo>
                  <a:pt x="440" y="90"/>
                </a:lnTo>
                <a:lnTo>
                  <a:pt x="442" y="94"/>
                </a:lnTo>
                <a:lnTo>
                  <a:pt x="442" y="94"/>
                </a:lnTo>
                <a:lnTo>
                  <a:pt x="446" y="94"/>
                </a:lnTo>
                <a:lnTo>
                  <a:pt x="446" y="94"/>
                </a:lnTo>
                <a:lnTo>
                  <a:pt x="444" y="86"/>
                </a:lnTo>
                <a:lnTo>
                  <a:pt x="444" y="86"/>
                </a:lnTo>
                <a:lnTo>
                  <a:pt x="438" y="86"/>
                </a:lnTo>
                <a:lnTo>
                  <a:pt x="438" y="86"/>
                </a:lnTo>
                <a:lnTo>
                  <a:pt x="446" y="80"/>
                </a:lnTo>
                <a:lnTo>
                  <a:pt x="446" y="80"/>
                </a:lnTo>
                <a:lnTo>
                  <a:pt x="446" y="78"/>
                </a:lnTo>
                <a:lnTo>
                  <a:pt x="442" y="76"/>
                </a:lnTo>
                <a:lnTo>
                  <a:pt x="442" y="74"/>
                </a:lnTo>
                <a:lnTo>
                  <a:pt x="442" y="74"/>
                </a:lnTo>
                <a:lnTo>
                  <a:pt x="438" y="78"/>
                </a:lnTo>
                <a:lnTo>
                  <a:pt x="438" y="78"/>
                </a:lnTo>
                <a:lnTo>
                  <a:pt x="438" y="82"/>
                </a:lnTo>
                <a:lnTo>
                  <a:pt x="436" y="82"/>
                </a:lnTo>
                <a:lnTo>
                  <a:pt x="436" y="82"/>
                </a:lnTo>
                <a:lnTo>
                  <a:pt x="436" y="74"/>
                </a:lnTo>
                <a:lnTo>
                  <a:pt x="436" y="70"/>
                </a:lnTo>
                <a:lnTo>
                  <a:pt x="436" y="68"/>
                </a:lnTo>
                <a:lnTo>
                  <a:pt x="436" y="68"/>
                </a:lnTo>
                <a:lnTo>
                  <a:pt x="436" y="66"/>
                </a:lnTo>
                <a:lnTo>
                  <a:pt x="436" y="66"/>
                </a:lnTo>
                <a:lnTo>
                  <a:pt x="436" y="66"/>
                </a:lnTo>
                <a:lnTo>
                  <a:pt x="438" y="64"/>
                </a:lnTo>
                <a:lnTo>
                  <a:pt x="438" y="64"/>
                </a:lnTo>
                <a:lnTo>
                  <a:pt x="436" y="62"/>
                </a:lnTo>
                <a:lnTo>
                  <a:pt x="436" y="60"/>
                </a:lnTo>
                <a:lnTo>
                  <a:pt x="434" y="58"/>
                </a:lnTo>
                <a:close/>
                <a:moveTo>
                  <a:pt x="394" y="72"/>
                </a:moveTo>
                <a:lnTo>
                  <a:pt x="394" y="72"/>
                </a:lnTo>
                <a:lnTo>
                  <a:pt x="392" y="76"/>
                </a:lnTo>
                <a:lnTo>
                  <a:pt x="392" y="76"/>
                </a:lnTo>
                <a:lnTo>
                  <a:pt x="388" y="76"/>
                </a:lnTo>
                <a:lnTo>
                  <a:pt x="388" y="76"/>
                </a:lnTo>
                <a:lnTo>
                  <a:pt x="388" y="80"/>
                </a:lnTo>
                <a:lnTo>
                  <a:pt x="388" y="80"/>
                </a:lnTo>
                <a:lnTo>
                  <a:pt x="380" y="84"/>
                </a:lnTo>
                <a:lnTo>
                  <a:pt x="380" y="84"/>
                </a:lnTo>
                <a:lnTo>
                  <a:pt x="366" y="84"/>
                </a:lnTo>
                <a:lnTo>
                  <a:pt x="352" y="84"/>
                </a:lnTo>
                <a:lnTo>
                  <a:pt x="352" y="82"/>
                </a:lnTo>
                <a:lnTo>
                  <a:pt x="352" y="82"/>
                </a:lnTo>
                <a:lnTo>
                  <a:pt x="350" y="82"/>
                </a:lnTo>
                <a:lnTo>
                  <a:pt x="348" y="82"/>
                </a:lnTo>
                <a:lnTo>
                  <a:pt x="348" y="78"/>
                </a:lnTo>
                <a:lnTo>
                  <a:pt x="348" y="78"/>
                </a:lnTo>
                <a:lnTo>
                  <a:pt x="344" y="78"/>
                </a:lnTo>
                <a:lnTo>
                  <a:pt x="340" y="78"/>
                </a:lnTo>
                <a:lnTo>
                  <a:pt x="334" y="82"/>
                </a:lnTo>
                <a:lnTo>
                  <a:pt x="334" y="84"/>
                </a:lnTo>
                <a:lnTo>
                  <a:pt x="334" y="84"/>
                </a:lnTo>
                <a:lnTo>
                  <a:pt x="332" y="84"/>
                </a:lnTo>
                <a:lnTo>
                  <a:pt x="332" y="82"/>
                </a:lnTo>
                <a:lnTo>
                  <a:pt x="332" y="82"/>
                </a:lnTo>
                <a:lnTo>
                  <a:pt x="326" y="88"/>
                </a:lnTo>
                <a:lnTo>
                  <a:pt x="326" y="88"/>
                </a:lnTo>
                <a:lnTo>
                  <a:pt x="326" y="90"/>
                </a:lnTo>
                <a:lnTo>
                  <a:pt x="326" y="90"/>
                </a:lnTo>
                <a:lnTo>
                  <a:pt x="326" y="90"/>
                </a:lnTo>
                <a:lnTo>
                  <a:pt x="326" y="94"/>
                </a:lnTo>
                <a:lnTo>
                  <a:pt x="326" y="94"/>
                </a:lnTo>
                <a:lnTo>
                  <a:pt x="326" y="94"/>
                </a:lnTo>
                <a:lnTo>
                  <a:pt x="326" y="106"/>
                </a:lnTo>
                <a:lnTo>
                  <a:pt x="324" y="114"/>
                </a:lnTo>
                <a:lnTo>
                  <a:pt x="322" y="114"/>
                </a:lnTo>
                <a:lnTo>
                  <a:pt x="322" y="114"/>
                </a:lnTo>
                <a:lnTo>
                  <a:pt x="320" y="122"/>
                </a:lnTo>
                <a:lnTo>
                  <a:pt x="320" y="132"/>
                </a:lnTo>
                <a:lnTo>
                  <a:pt x="320" y="132"/>
                </a:lnTo>
                <a:lnTo>
                  <a:pt x="318" y="140"/>
                </a:lnTo>
                <a:lnTo>
                  <a:pt x="316" y="142"/>
                </a:lnTo>
                <a:lnTo>
                  <a:pt x="316" y="142"/>
                </a:lnTo>
                <a:lnTo>
                  <a:pt x="314" y="150"/>
                </a:lnTo>
                <a:lnTo>
                  <a:pt x="316" y="158"/>
                </a:lnTo>
                <a:lnTo>
                  <a:pt x="316" y="158"/>
                </a:lnTo>
                <a:lnTo>
                  <a:pt x="322" y="158"/>
                </a:lnTo>
                <a:lnTo>
                  <a:pt x="324" y="160"/>
                </a:lnTo>
                <a:lnTo>
                  <a:pt x="324" y="160"/>
                </a:lnTo>
                <a:lnTo>
                  <a:pt x="322" y="164"/>
                </a:lnTo>
                <a:lnTo>
                  <a:pt x="324" y="168"/>
                </a:lnTo>
                <a:lnTo>
                  <a:pt x="324" y="168"/>
                </a:lnTo>
                <a:lnTo>
                  <a:pt x="322" y="172"/>
                </a:lnTo>
                <a:lnTo>
                  <a:pt x="318" y="176"/>
                </a:lnTo>
                <a:lnTo>
                  <a:pt x="318" y="176"/>
                </a:lnTo>
                <a:lnTo>
                  <a:pt x="318" y="182"/>
                </a:lnTo>
                <a:lnTo>
                  <a:pt x="318" y="190"/>
                </a:lnTo>
                <a:lnTo>
                  <a:pt x="318" y="190"/>
                </a:lnTo>
                <a:lnTo>
                  <a:pt x="336" y="188"/>
                </a:lnTo>
                <a:lnTo>
                  <a:pt x="336" y="188"/>
                </a:lnTo>
                <a:lnTo>
                  <a:pt x="336" y="184"/>
                </a:lnTo>
                <a:lnTo>
                  <a:pt x="336" y="184"/>
                </a:lnTo>
                <a:lnTo>
                  <a:pt x="334" y="182"/>
                </a:lnTo>
                <a:lnTo>
                  <a:pt x="334" y="182"/>
                </a:lnTo>
                <a:lnTo>
                  <a:pt x="334" y="182"/>
                </a:lnTo>
                <a:lnTo>
                  <a:pt x="336" y="180"/>
                </a:lnTo>
                <a:lnTo>
                  <a:pt x="336" y="178"/>
                </a:lnTo>
                <a:lnTo>
                  <a:pt x="336" y="176"/>
                </a:lnTo>
                <a:lnTo>
                  <a:pt x="336" y="176"/>
                </a:lnTo>
                <a:lnTo>
                  <a:pt x="334" y="168"/>
                </a:lnTo>
                <a:lnTo>
                  <a:pt x="334" y="168"/>
                </a:lnTo>
                <a:lnTo>
                  <a:pt x="338" y="164"/>
                </a:lnTo>
                <a:lnTo>
                  <a:pt x="338" y="164"/>
                </a:lnTo>
                <a:lnTo>
                  <a:pt x="338" y="158"/>
                </a:lnTo>
                <a:lnTo>
                  <a:pt x="336" y="154"/>
                </a:lnTo>
                <a:lnTo>
                  <a:pt x="336" y="154"/>
                </a:lnTo>
                <a:lnTo>
                  <a:pt x="346" y="152"/>
                </a:lnTo>
                <a:lnTo>
                  <a:pt x="346" y="152"/>
                </a:lnTo>
                <a:lnTo>
                  <a:pt x="348" y="168"/>
                </a:lnTo>
                <a:lnTo>
                  <a:pt x="348" y="168"/>
                </a:lnTo>
                <a:lnTo>
                  <a:pt x="350" y="174"/>
                </a:lnTo>
                <a:lnTo>
                  <a:pt x="350" y="182"/>
                </a:lnTo>
                <a:lnTo>
                  <a:pt x="350" y="182"/>
                </a:lnTo>
                <a:lnTo>
                  <a:pt x="360" y="184"/>
                </a:lnTo>
                <a:lnTo>
                  <a:pt x="360" y="182"/>
                </a:lnTo>
                <a:lnTo>
                  <a:pt x="360" y="182"/>
                </a:lnTo>
                <a:lnTo>
                  <a:pt x="360" y="182"/>
                </a:lnTo>
                <a:lnTo>
                  <a:pt x="360" y="180"/>
                </a:lnTo>
                <a:lnTo>
                  <a:pt x="360" y="176"/>
                </a:lnTo>
                <a:lnTo>
                  <a:pt x="360" y="176"/>
                </a:lnTo>
                <a:lnTo>
                  <a:pt x="360" y="176"/>
                </a:lnTo>
                <a:lnTo>
                  <a:pt x="364" y="174"/>
                </a:lnTo>
                <a:lnTo>
                  <a:pt x="370" y="174"/>
                </a:lnTo>
                <a:lnTo>
                  <a:pt x="372" y="170"/>
                </a:lnTo>
                <a:lnTo>
                  <a:pt x="370" y="170"/>
                </a:lnTo>
                <a:lnTo>
                  <a:pt x="370" y="170"/>
                </a:lnTo>
                <a:lnTo>
                  <a:pt x="366" y="164"/>
                </a:lnTo>
                <a:lnTo>
                  <a:pt x="366" y="164"/>
                </a:lnTo>
                <a:lnTo>
                  <a:pt x="364" y="160"/>
                </a:lnTo>
                <a:lnTo>
                  <a:pt x="364" y="154"/>
                </a:lnTo>
                <a:lnTo>
                  <a:pt x="362" y="154"/>
                </a:lnTo>
                <a:lnTo>
                  <a:pt x="362" y="154"/>
                </a:lnTo>
                <a:lnTo>
                  <a:pt x="362" y="152"/>
                </a:lnTo>
                <a:lnTo>
                  <a:pt x="362" y="152"/>
                </a:lnTo>
                <a:lnTo>
                  <a:pt x="358" y="150"/>
                </a:lnTo>
                <a:lnTo>
                  <a:pt x="356" y="150"/>
                </a:lnTo>
                <a:lnTo>
                  <a:pt x="356" y="150"/>
                </a:lnTo>
                <a:lnTo>
                  <a:pt x="356" y="144"/>
                </a:lnTo>
                <a:lnTo>
                  <a:pt x="354" y="140"/>
                </a:lnTo>
                <a:lnTo>
                  <a:pt x="354" y="140"/>
                </a:lnTo>
                <a:lnTo>
                  <a:pt x="344" y="136"/>
                </a:lnTo>
                <a:lnTo>
                  <a:pt x="344" y="136"/>
                </a:lnTo>
                <a:lnTo>
                  <a:pt x="348" y="134"/>
                </a:lnTo>
                <a:lnTo>
                  <a:pt x="348" y="134"/>
                </a:lnTo>
                <a:lnTo>
                  <a:pt x="354" y="134"/>
                </a:lnTo>
                <a:lnTo>
                  <a:pt x="354" y="134"/>
                </a:lnTo>
                <a:lnTo>
                  <a:pt x="360" y="130"/>
                </a:lnTo>
                <a:lnTo>
                  <a:pt x="364" y="126"/>
                </a:lnTo>
                <a:lnTo>
                  <a:pt x="368" y="122"/>
                </a:lnTo>
                <a:lnTo>
                  <a:pt x="374" y="120"/>
                </a:lnTo>
                <a:lnTo>
                  <a:pt x="374" y="120"/>
                </a:lnTo>
                <a:lnTo>
                  <a:pt x="374" y="114"/>
                </a:lnTo>
                <a:lnTo>
                  <a:pt x="374" y="114"/>
                </a:lnTo>
                <a:lnTo>
                  <a:pt x="362" y="114"/>
                </a:lnTo>
                <a:lnTo>
                  <a:pt x="350" y="114"/>
                </a:lnTo>
                <a:lnTo>
                  <a:pt x="350" y="114"/>
                </a:lnTo>
                <a:lnTo>
                  <a:pt x="348" y="118"/>
                </a:lnTo>
                <a:lnTo>
                  <a:pt x="348" y="118"/>
                </a:lnTo>
                <a:lnTo>
                  <a:pt x="346" y="118"/>
                </a:lnTo>
                <a:lnTo>
                  <a:pt x="344" y="120"/>
                </a:lnTo>
                <a:lnTo>
                  <a:pt x="344" y="120"/>
                </a:lnTo>
                <a:lnTo>
                  <a:pt x="342" y="114"/>
                </a:lnTo>
                <a:lnTo>
                  <a:pt x="342" y="114"/>
                </a:lnTo>
                <a:lnTo>
                  <a:pt x="336" y="114"/>
                </a:lnTo>
                <a:lnTo>
                  <a:pt x="336" y="114"/>
                </a:lnTo>
                <a:lnTo>
                  <a:pt x="334" y="110"/>
                </a:lnTo>
                <a:lnTo>
                  <a:pt x="334" y="110"/>
                </a:lnTo>
                <a:lnTo>
                  <a:pt x="334" y="104"/>
                </a:lnTo>
                <a:lnTo>
                  <a:pt x="336" y="100"/>
                </a:lnTo>
                <a:lnTo>
                  <a:pt x="336" y="100"/>
                </a:lnTo>
                <a:lnTo>
                  <a:pt x="336" y="92"/>
                </a:lnTo>
                <a:lnTo>
                  <a:pt x="336" y="92"/>
                </a:lnTo>
                <a:lnTo>
                  <a:pt x="340" y="92"/>
                </a:lnTo>
                <a:lnTo>
                  <a:pt x="340" y="92"/>
                </a:lnTo>
                <a:lnTo>
                  <a:pt x="348" y="90"/>
                </a:lnTo>
                <a:lnTo>
                  <a:pt x="348" y="90"/>
                </a:lnTo>
                <a:lnTo>
                  <a:pt x="350" y="92"/>
                </a:lnTo>
                <a:lnTo>
                  <a:pt x="354" y="92"/>
                </a:lnTo>
                <a:lnTo>
                  <a:pt x="354" y="92"/>
                </a:lnTo>
                <a:lnTo>
                  <a:pt x="360" y="92"/>
                </a:lnTo>
                <a:lnTo>
                  <a:pt x="368" y="92"/>
                </a:lnTo>
                <a:lnTo>
                  <a:pt x="368" y="92"/>
                </a:lnTo>
                <a:lnTo>
                  <a:pt x="374" y="94"/>
                </a:lnTo>
                <a:lnTo>
                  <a:pt x="380" y="96"/>
                </a:lnTo>
                <a:lnTo>
                  <a:pt x="384" y="94"/>
                </a:lnTo>
                <a:lnTo>
                  <a:pt x="384" y="92"/>
                </a:lnTo>
                <a:lnTo>
                  <a:pt x="384" y="92"/>
                </a:lnTo>
                <a:lnTo>
                  <a:pt x="386" y="92"/>
                </a:lnTo>
                <a:lnTo>
                  <a:pt x="388" y="92"/>
                </a:lnTo>
                <a:lnTo>
                  <a:pt x="388" y="92"/>
                </a:lnTo>
                <a:lnTo>
                  <a:pt x="390" y="88"/>
                </a:lnTo>
                <a:lnTo>
                  <a:pt x="392" y="84"/>
                </a:lnTo>
                <a:lnTo>
                  <a:pt x="392" y="84"/>
                </a:lnTo>
                <a:lnTo>
                  <a:pt x="396" y="82"/>
                </a:lnTo>
                <a:lnTo>
                  <a:pt x="398" y="80"/>
                </a:lnTo>
                <a:lnTo>
                  <a:pt x="398" y="80"/>
                </a:lnTo>
                <a:lnTo>
                  <a:pt x="398" y="74"/>
                </a:lnTo>
                <a:lnTo>
                  <a:pt x="398" y="74"/>
                </a:lnTo>
                <a:lnTo>
                  <a:pt x="396" y="72"/>
                </a:lnTo>
                <a:lnTo>
                  <a:pt x="396" y="72"/>
                </a:lnTo>
                <a:lnTo>
                  <a:pt x="396" y="72"/>
                </a:lnTo>
                <a:lnTo>
                  <a:pt x="394" y="72"/>
                </a:lnTo>
                <a:lnTo>
                  <a:pt x="394" y="72"/>
                </a:lnTo>
                <a:close/>
                <a:moveTo>
                  <a:pt x="470" y="100"/>
                </a:moveTo>
                <a:lnTo>
                  <a:pt x="468" y="102"/>
                </a:lnTo>
                <a:lnTo>
                  <a:pt x="468" y="102"/>
                </a:lnTo>
                <a:lnTo>
                  <a:pt x="464" y="104"/>
                </a:lnTo>
                <a:lnTo>
                  <a:pt x="466" y="106"/>
                </a:lnTo>
                <a:lnTo>
                  <a:pt x="478" y="106"/>
                </a:lnTo>
                <a:lnTo>
                  <a:pt x="478" y="106"/>
                </a:lnTo>
                <a:lnTo>
                  <a:pt x="480" y="104"/>
                </a:lnTo>
                <a:lnTo>
                  <a:pt x="480" y="104"/>
                </a:lnTo>
                <a:lnTo>
                  <a:pt x="470" y="100"/>
                </a:lnTo>
                <a:lnTo>
                  <a:pt x="470" y="100"/>
                </a:lnTo>
                <a:close/>
                <a:moveTo>
                  <a:pt x="142" y="126"/>
                </a:moveTo>
                <a:lnTo>
                  <a:pt x="142" y="126"/>
                </a:lnTo>
                <a:lnTo>
                  <a:pt x="140" y="130"/>
                </a:lnTo>
                <a:lnTo>
                  <a:pt x="138" y="134"/>
                </a:lnTo>
                <a:lnTo>
                  <a:pt x="138" y="134"/>
                </a:lnTo>
                <a:lnTo>
                  <a:pt x="144" y="136"/>
                </a:lnTo>
                <a:lnTo>
                  <a:pt x="144" y="136"/>
                </a:lnTo>
                <a:lnTo>
                  <a:pt x="144" y="138"/>
                </a:lnTo>
                <a:lnTo>
                  <a:pt x="144" y="142"/>
                </a:lnTo>
                <a:lnTo>
                  <a:pt x="144" y="142"/>
                </a:lnTo>
                <a:lnTo>
                  <a:pt x="146" y="144"/>
                </a:lnTo>
                <a:lnTo>
                  <a:pt x="150" y="146"/>
                </a:lnTo>
                <a:lnTo>
                  <a:pt x="150" y="146"/>
                </a:lnTo>
                <a:lnTo>
                  <a:pt x="152" y="150"/>
                </a:lnTo>
                <a:lnTo>
                  <a:pt x="154" y="148"/>
                </a:lnTo>
                <a:lnTo>
                  <a:pt x="154" y="148"/>
                </a:lnTo>
                <a:lnTo>
                  <a:pt x="152" y="138"/>
                </a:lnTo>
                <a:lnTo>
                  <a:pt x="148" y="132"/>
                </a:lnTo>
                <a:lnTo>
                  <a:pt x="148" y="132"/>
                </a:lnTo>
                <a:lnTo>
                  <a:pt x="146" y="128"/>
                </a:lnTo>
                <a:lnTo>
                  <a:pt x="142" y="126"/>
                </a:lnTo>
                <a:lnTo>
                  <a:pt x="142" y="126"/>
                </a:lnTo>
                <a:close/>
                <a:moveTo>
                  <a:pt x="440" y="148"/>
                </a:moveTo>
                <a:lnTo>
                  <a:pt x="440" y="148"/>
                </a:lnTo>
                <a:lnTo>
                  <a:pt x="440" y="150"/>
                </a:lnTo>
                <a:lnTo>
                  <a:pt x="440" y="150"/>
                </a:lnTo>
                <a:lnTo>
                  <a:pt x="436" y="150"/>
                </a:lnTo>
                <a:lnTo>
                  <a:pt x="436" y="154"/>
                </a:lnTo>
                <a:lnTo>
                  <a:pt x="436" y="154"/>
                </a:lnTo>
                <a:lnTo>
                  <a:pt x="440" y="154"/>
                </a:lnTo>
                <a:lnTo>
                  <a:pt x="440" y="154"/>
                </a:lnTo>
                <a:lnTo>
                  <a:pt x="442" y="156"/>
                </a:lnTo>
                <a:lnTo>
                  <a:pt x="442" y="156"/>
                </a:lnTo>
                <a:lnTo>
                  <a:pt x="444" y="156"/>
                </a:lnTo>
                <a:lnTo>
                  <a:pt x="444" y="156"/>
                </a:lnTo>
                <a:lnTo>
                  <a:pt x="446" y="154"/>
                </a:lnTo>
                <a:lnTo>
                  <a:pt x="446" y="154"/>
                </a:lnTo>
                <a:lnTo>
                  <a:pt x="448" y="154"/>
                </a:lnTo>
                <a:lnTo>
                  <a:pt x="450" y="154"/>
                </a:lnTo>
                <a:lnTo>
                  <a:pt x="454" y="156"/>
                </a:lnTo>
                <a:lnTo>
                  <a:pt x="454" y="156"/>
                </a:lnTo>
                <a:lnTo>
                  <a:pt x="458" y="154"/>
                </a:lnTo>
                <a:lnTo>
                  <a:pt x="458" y="154"/>
                </a:lnTo>
                <a:lnTo>
                  <a:pt x="464" y="156"/>
                </a:lnTo>
                <a:lnTo>
                  <a:pt x="470" y="158"/>
                </a:lnTo>
                <a:lnTo>
                  <a:pt x="470" y="158"/>
                </a:lnTo>
                <a:lnTo>
                  <a:pt x="470" y="158"/>
                </a:lnTo>
                <a:lnTo>
                  <a:pt x="472" y="154"/>
                </a:lnTo>
                <a:lnTo>
                  <a:pt x="472" y="154"/>
                </a:lnTo>
                <a:lnTo>
                  <a:pt x="470" y="152"/>
                </a:lnTo>
                <a:lnTo>
                  <a:pt x="470" y="152"/>
                </a:lnTo>
                <a:lnTo>
                  <a:pt x="460" y="150"/>
                </a:lnTo>
                <a:lnTo>
                  <a:pt x="452" y="150"/>
                </a:lnTo>
                <a:lnTo>
                  <a:pt x="450" y="148"/>
                </a:lnTo>
                <a:lnTo>
                  <a:pt x="450" y="148"/>
                </a:lnTo>
                <a:lnTo>
                  <a:pt x="440" y="148"/>
                </a:lnTo>
                <a:lnTo>
                  <a:pt x="440" y="148"/>
                </a:lnTo>
                <a:close/>
                <a:moveTo>
                  <a:pt x="422" y="150"/>
                </a:moveTo>
                <a:lnTo>
                  <a:pt x="422" y="150"/>
                </a:lnTo>
                <a:lnTo>
                  <a:pt x="408" y="152"/>
                </a:lnTo>
                <a:lnTo>
                  <a:pt x="408" y="152"/>
                </a:lnTo>
                <a:lnTo>
                  <a:pt x="408" y="154"/>
                </a:lnTo>
                <a:lnTo>
                  <a:pt x="408" y="154"/>
                </a:lnTo>
                <a:lnTo>
                  <a:pt x="414" y="156"/>
                </a:lnTo>
                <a:lnTo>
                  <a:pt x="414" y="156"/>
                </a:lnTo>
                <a:lnTo>
                  <a:pt x="416" y="160"/>
                </a:lnTo>
                <a:lnTo>
                  <a:pt x="416" y="160"/>
                </a:lnTo>
                <a:lnTo>
                  <a:pt x="422" y="160"/>
                </a:lnTo>
                <a:lnTo>
                  <a:pt x="428" y="158"/>
                </a:lnTo>
                <a:lnTo>
                  <a:pt x="428" y="158"/>
                </a:lnTo>
                <a:lnTo>
                  <a:pt x="428" y="154"/>
                </a:lnTo>
                <a:lnTo>
                  <a:pt x="428" y="154"/>
                </a:lnTo>
                <a:lnTo>
                  <a:pt x="424" y="154"/>
                </a:lnTo>
                <a:lnTo>
                  <a:pt x="424" y="154"/>
                </a:lnTo>
                <a:lnTo>
                  <a:pt x="424" y="150"/>
                </a:lnTo>
                <a:lnTo>
                  <a:pt x="422" y="150"/>
                </a:lnTo>
                <a:lnTo>
                  <a:pt x="422" y="150"/>
                </a:lnTo>
                <a:close/>
                <a:moveTo>
                  <a:pt x="374" y="174"/>
                </a:moveTo>
                <a:lnTo>
                  <a:pt x="374" y="174"/>
                </a:lnTo>
                <a:lnTo>
                  <a:pt x="372" y="176"/>
                </a:lnTo>
                <a:lnTo>
                  <a:pt x="372" y="176"/>
                </a:lnTo>
                <a:lnTo>
                  <a:pt x="372" y="176"/>
                </a:lnTo>
                <a:lnTo>
                  <a:pt x="372" y="182"/>
                </a:lnTo>
                <a:lnTo>
                  <a:pt x="372" y="182"/>
                </a:lnTo>
                <a:lnTo>
                  <a:pt x="370" y="184"/>
                </a:lnTo>
                <a:lnTo>
                  <a:pt x="370" y="184"/>
                </a:lnTo>
                <a:lnTo>
                  <a:pt x="370" y="182"/>
                </a:lnTo>
                <a:lnTo>
                  <a:pt x="370" y="182"/>
                </a:lnTo>
                <a:lnTo>
                  <a:pt x="368" y="180"/>
                </a:lnTo>
                <a:lnTo>
                  <a:pt x="368" y="180"/>
                </a:lnTo>
                <a:lnTo>
                  <a:pt x="368" y="180"/>
                </a:lnTo>
                <a:lnTo>
                  <a:pt x="366" y="180"/>
                </a:lnTo>
                <a:lnTo>
                  <a:pt x="366" y="180"/>
                </a:lnTo>
                <a:lnTo>
                  <a:pt x="364" y="184"/>
                </a:lnTo>
                <a:lnTo>
                  <a:pt x="364" y="186"/>
                </a:lnTo>
                <a:lnTo>
                  <a:pt x="364" y="186"/>
                </a:lnTo>
                <a:lnTo>
                  <a:pt x="368" y="188"/>
                </a:lnTo>
                <a:lnTo>
                  <a:pt x="370" y="192"/>
                </a:lnTo>
                <a:lnTo>
                  <a:pt x="370" y="192"/>
                </a:lnTo>
                <a:lnTo>
                  <a:pt x="374" y="192"/>
                </a:lnTo>
                <a:lnTo>
                  <a:pt x="374" y="192"/>
                </a:lnTo>
                <a:lnTo>
                  <a:pt x="378" y="188"/>
                </a:lnTo>
                <a:lnTo>
                  <a:pt x="378" y="188"/>
                </a:lnTo>
                <a:lnTo>
                  <a:pt x="374" y="184"/>
                </a:lnTo>
                <a:lnTo>
                  <a:pt x="374" y="184"/>
                </a:lnTo>
                <a:lnTo>
                  <a:pt x="374" y="180"/>
                </a:lnTo>
                <a:lnTo>
                  <a:pt x="376" y="178"/>
                </a:lnTo>
                <a:lnTo>
                  <a:pt x="376" y="176"/>
                </a:lnTo>
                <a:lnTo>
                  <a:pt x="374" y="174"/>
                </a:lnTo>
                <a:lnTo>
                  <a:pt x="374" y="174"/>
                </a:lnTo>
                <a:close/>
                <a:moveTo>
                  <a:pt x="158" y="190"/>
                </a:moveTo>
                <a:lnTo>
                  <a:pt x="156" y="192"/>
                </a:lnTo>
                <a:lnTo>
                  <a:pt x="156" y="192"/>
                </a:lnTo>
                <a:lnTo>
                  <a:pt x="140" y="190"/>
                </a:lnTo>
                <a:lnTo>
                  <a:pt x="140" y="190"/>
                </a:lnTo>
                <a:lnTo>
                  <a:pt x="138" y="200"/>
                </a:lnTo>
                <a:lnTo>
                  <a:pt x="134" y="206"/>
                </a:lnTo>
                <a:lnTo>
                  <a:pt x="134" y="206"/>
                </a:lnTo>
                <a:lnTo>
                  <a:pt x="134" y="208"/>
                </a:lnTo>
                <a:lnTo>
                  <a:pt x="134" y="208"/>
                </a:lnTo>
                <a:lnTo>
                  <a:pt x="148" y="208"/>
                </a:lnTo>
                <a:lnTo>
                  <a:pt x="148" y="208"/>
                </a:lnTo>
                <a:lnTo>
                  <a:pt x="148" y="210"/>
                </a:lnTo>
                <a:lnTo>
                  <a:pt x="146" y="212"/>
                </a:lnTo>
                <a:lnTo>
                  <a:pt x="146" y="212"/>
                </a:lnTo>
                <a:lnTo>
                  <a:pt x="146" y="216"/>
                </a:lnTo>
                <a:lnTo>
                  <a:pt x="146" y="216"/>
                </a:lnTo>
                <a:lnTo>
                  <a:pt x="156" y="216"/>
                </a:lnTo>
                <a:lnTo>
                  <a:pt x="164" y="218"/>
                </a:lnTo>
                <a:lnTo>
                  <a:pt x="164" y="218"/>
                </a:lnTo>
                <a:lnTo>
                  <a:pt x="168" y="222"/>
                </a:lnTo>
                <a:lnTo>
                  <a:pt x="188" y="222"/>
                </a:lnTo>
                <a:lnTo>
                  <a:pt x="188" y="222"/>
                </a:lnTo>
                <a:lnTo>
                  <a:pt x="190" y="220"/>
                </a:lnTo>
                <a:lnTo>
                  <a:pt x="194" y="222"/>
                </a:lnTo>
                <a:lnTo>
                  <a:pt x="194" y="222"/>
                </a:lnTo>
                <a:lnTo>
                  <a:pt x="208" y="226"/>
                </a:lnTo>
                <a:lnTo>
                  <a:pt x="208" y="226"/>
                </a:lnTo>
                <a:lnTo>
                  <a:pt x="214" y="230"/>
                </a:lnTo>
                <a:lnTo>
                  <a:pt x="214" y="230"/>
                </a:lnTo>
                <a:lnTo>
                  <a:pt x="218" y="230"/>
                </a:lnTo>
                <a:lnTo>
                  <a:pt x="224" y="228"/>
                </a:lnTo>
                <a:lnTo>
                  <a:pt x="224" y="228"/>
                </a:lnTo>
                <a:lnTo>
                  <a:pt x="228" y="232"/>
                </a:lnTo>
                <a:lnTo>
                  <a:pt x="232" y="232"/>
                </a:lnTo>
                <a:lnTo>
                  <a:pt x="236" y="232"/>
                </a:lnTo>
                <a:lnTo>
                  <a:pt x="236" y="232"/>
                </a:lnTo>
                <a:lnTo>
                  <a:pt x="238" y="232"/>
                </a:lnTo>
                <a:lnTo>
                  <a:pt x="242" y="230"/>
                </a:lnTo>
                <a:lnTo>
                  <a:pt x="242" y="230"/>
                </a:lnTo>
                <a:lnTo>
                  <a:pt x="246" y="234"/>
                </a:lnTo>
                <a:lnTo>
                  <a:pt x="246" y="236"/>
                </a:lnTo>
                <a:lnTo>
                  <a:pt x="246" y="236"/>
                </a:lnTo>
                <a:lnTo>
                  <a:pt x="252" y="238"/>
                </a:lnTo>
                <a:lnTo>
                  <a:pt x="258" y="238"/>
                </a:lnTo>
                <a:lnTo>
                  <a:pt x="258" y="238"/>
                </a:lnTo>
                <a:lnTo>
                  <a:pt x="262" y="242"/>
                </a:lnTo>
                <a:lnTo>
                  <a:pt x="262" y="242"/>
                </a:lnTo>
                <a:lnTo>
                  <a:pt x="260" y="232"/>
                </a:lnTo>
                <a:lnTo>
                  <a:pt x="260" y="232"/>
                </a:lnTo>
                <a:lnTo>
                  <a:pt x="256" y="230"/>
                </a:lnTo>
                <a:lnTo>
                  <a:pt x="256" y="230"/>
                </a:lnTo>
                <a:lnTo>
                  <a:pt x="258" y="222"/>
                </a:lnTo>
                <a:lnTo>
                  <a:pt x="258" y="222"/>
                </a:lnTo>
                <a:lnTo>
                  <a:pt x="248" y="218"/>
                </a:lnTo>
                <a:lnTo>
                  <a:pt x="236" y="218"/>
                </a:lnTo>
                <a:lnTo>
                  <a:pt x="236" y="218"/>
                </a:lnTo>
                <a:lnTo>
                  <a:pt x="236" y="210"/>
                </a:lnTo>
                <a:lnTo>
                  <a:pt x="236" y="210"/>
                </a:lnTo>
                <a:lnTo>
                  <a:pt x="234" y="208"/>
                </a:lnTo>
                <a:lnTo>
                  <a:pt x="234" y="208"/>
                </a:lnTo>
                <a:lnTo>
                  <a:pt x="234" y="202"/>
                </a:lnTo>
                <a:lnTo>
                  <a:pt x="234" y="202"/>
                </a:lnTo>
                <a:lnTo>
                  <a:pt x="226" y="204"/>
                </a:lnTo>
                <a:lnTo>
                  <a:pt x="226" y="204"/>
                </a:lnTo>
                <a:lnTo>
                  <a:pt x="226" y="202"/>
                </a:lnTo>
                <a:lnTo>
                  <a:pt x="226" y="202"/>
                </a:lnTo>
                <a:lnTo>
                  <a:pt x="222" y="202"/>
                </a:lnTo>
                <a:lnTo>
                  <a:pt x="218" y="198"/>
                </a:lnTo>
                <a:lnTo>
                  <a:pt x="218" y="198"/>
                </a:lnTo>
                <a:lnTo>
                  <a:pt x="214" y="198"/>
                </a:lnTo>
                <a:lnTo>
                  <a:pt x="208" y="196"/>
                </a:lnTo>
                <a:lnTo>
                  <a:pt x="208" y="196"/>
                </a:lnTo>
                <a:lnTo>
                  <a:pt x="206" y="202"/>
                </a:lnTo>
                <a:lnTo>
                  <a:pt x="206" y="202"/>
                </a:lnTo>
                <a:lnTo>
                  <a:pt x="192" y="202"/>
                </a:lnTo>
                <a:lnTo>
                  <a:pt x="188" y="200"/>
                </a:lnTo>
                <a:lnTo>
                  <a:pt x="188" y="200"/>
                </a:lnTo>
                <a:lnTo>
                  <a:pt x="180" y="198"/>
                </a:lnTo>
                <a:lnTo>
                  <a:pt x="176" y="192"/>
                </a:lnTo>
                <a:lnTo>
                  <a:pt x="176" y="192"/>
                </a:lnTo>
                <a:lnTo>
                  <a:pt x="166" y="192"/>
                </a:lnTo>
                <a:lnTo>
                  <a:pt x="166" y="190"/>
                </a:lnTo>
                <a:lnTo>
                  <a:pt x="166" y="190"/>
                </a:lnTo>
                <a:lnTo>
                  <a:pt x="158" y="190"/>
                </a:lnTo>
                <a:lnTo>
                  <a:pt x="158" y="190"/>
                </a:lnTo>
                <a:close/>
                <a:moveTo>
                  <a:pt x="518" y="196"/>
                </a:moveTo>
                <a:lnTo>
                  <a:pt x="518" y="196"/>
                </a:lnTo>
                <a:lnTo>
                  <a:pt x="518" y="198"/>
                </a:lnTo>
                <a:lnTo>
                  <a:pt x="518" y="198"/>
                </a:lnTo>
                <a:lnTo>
                  <a:pt x="518" y="198"/>
                </a:lnTo>
                <a:lnTo>
                  <a:pt x="520" y="200"/>
                </a:lnTo>
                <a:lnTo>
                  <a:pt x="520" y="202"/>
                </a:lnTo>
                <a:lnTo>
                  <a:pt x="520" y="210"/>
                </a:lnTo>
                <a:lnTo>
                  <a:pt x="520" y="210"/>
                </a:lnTo>
                <a:lnTo>
                  <a:pt x="516" y="212"/>
                </a:lnTo>
                <a:lnTo>
                  <a:pt x="516" y="212"/>
                </a:lnTo>
                <a:lnTo>
                  <a:pt x="518" y="216"/>
                </a:lnTo>
                <a:lnTo>
                  <a:pt x="518" y="216"/>
                </a:lnTo>
                <a:lnTo>
                  <a:pt x="518" y="218"/>
                </a:lnTo>
                <a:lnTo>
                  <a:pt x="518" y="218"/>
                </a:lnTo>
                <a:lnTo>
                  <a:pt x="520" y="220"/>
                </a:lnTo>
                <a:lnTo>
                  <a:pt x="520" y="220"/>
                </a:lnTo>
                <a:lnTo>
                  <a:pt x="522" y="212"/>
                </a:lnTo>
                <a:lnTo>
                  <a:pt x="526" y="210"/>
                </a:lnTo>
                <a:lnTo>
                  <a:pt x="526" y="210"/>
                </a:lnTo>
                <a:lnTo>
                  <a:pt x="526" y="206"/>
                </a:lnTo>
                <a:lnTo>
                  <a:pt x="526" y="206"/>
                </a:lnTo>
                <a:lnTo>
                  <a:pt x="524" y="206"/>
                </a:lnTo>
                <a:lnTo>
                  <a:pt x="526" y="204"/>
                </a:lnTo>
                <a:lnTo>
                  <a:pt x="526" y="200"/>
                </a:lnTo>
                <a:lnTo>
                  <a:pt x="524" y="198"/>
                </a:lnTo>
                <a:lnTo>
                  <a:pt x="524" y="198"/>
                </a:lnTo>
                <a:lnTo>
                  <a:pt x="522" y="196"/>
                </a:lnTo>
                <a:lnTo>
                  <a:pt x="518" y="196"/>
                </a:lnTo>
                <a:lnTo>
                  <a:pt x="518" y="196"/>
                </a:lnTo>
                <a:close/>
                <a:moveTo>
                  <a:pt x="262" y="230"/>
                </a:moveTo>
                <a:lnTo>
                  <a:pt x="262" y="230"/>
                </a:lnTo>
                <a:lnTo>
                  <a:pt x="262" y="236"/>
                </a:lnTo>
                <a:lnTo>
                  <a:pt x="262" y="236"/>
                </a:lnTo>
                <a:lnTo>
                  <a:pt x="262" y="236"/>
                </a:lnTo>
                <a:lnTo>
                  <a:pt x="264" y="236"/>
                </a:lnTo>
                <a:lnTo>
                  <a:pt x="264" y="236"/>
                </a:lnTo>
                <a:lnTo>
                  <a:pt x="266" y="240"/>
                </a:lnTo>
                <a:lnTo>
                  <a:pt x="266" y="244"/>
                </a:lnTo>
                <a:lnTo>
                  <a:pt x="266" y="244"/>
                </a:lnTo>
                <a:lnTo>
                  <a:pt x="268" y="242"/>
                </a:lnTo>
                <a:lnTo>
                  <a:pt x="268" y="242"/>
                </a:lnTo>
                <a:lnTo>
                  <a:pt x="268" y="242"/>
                </a:lnTo>
                <a:lnTo>
                  <a:pt x="272" y="236"/>
                </a:lnTo>
                <a:lnTo>
                  <a:pt x="272" y="236"/>
                </a:lnTo>
                <a:lnTo>
                  <a:pt x="272" y="234"/>
                </a:lnTo>
                <a:lnTo>
                  <a:pt x="272" y="232"/>
                </a:lnTo>
                <a:lnTo>
                  <a:pt x="272" y="232"/>
                </a:lnTo>
                <a:lnTo>
                  <a:pt x="266" y="232"/>
                </a:lnTo>
                <a:lnTo>
                  <a:pt x="262" y="230"/>
                </a:lnTo>
                <a:lnTo>
                  <a:pt x="262" y="230"/>
                </a:lnTo>
                <a:close/>
                <a:moveTo>
                  <a:pt x="408" y="234"/>
                </a:moveTo>
                <a:lnTo>
                  <a:pt x="408" y="234"/>
                </a:lnTo>
                <a:lnTo>
                  <a:pt x="406" y="238"/>
                </a:lnTo>
                <a:lnTo>
                  <a:pt x="420" y="238"/>
                </a:lnTo>
                <a:lnTo>
                  <a:pt x="420" y="238"/>
                </a:lnTo>
                <a:lnTo>
                  <a:pt x="418" y="234"/>
                </a:lnTo>
                <a:lnTo>
                  <a:pt x="418" y="234"/>
                </a:lnTo>
                <a:lnTo>
                  <a:pt x="408" y="234"/>
                </a:lnTo>
                <a:lnTo>
                  <a:pt x="408" y="234"/>
                </a:lnTo>
                <a:close/>
                <a:moveTo>
                  <a:pt x="282" y="238"/>
                </a:moveTo>
                <a:lnTo>
                  <a:pt x="282" y="238"/>
                </a:lnTo>
                <a:lnTo>
                  <a:pt x="278" y="246"/>
                </a:lnTo>
                <a:lnTo>
                  <a:pt x="278" y="246"/>
                </a:lnTo>
                <a:lnTo>
                  <a:pt x="286" y="246"/>
                </a:lnTo>
                <a:lnTo>
                  <a:pt x="286" y="238"/>
                </a:lnTo>
                <a:lnTo>
                  <a:pt x="286" y="238"/>
                </a:lnTo>
                <a:lnTo>
                  <a:pt x="282" y="238"/>
                </a:lnTo>
                <a:lnTo>
                  <a:pt x="282" y="238"/>
                </a:lnTo>
                <a:close/>
                <a:moveTo>
                  <a:pt x="300" y="238"/>
                </a:moveTo>
                <a:lnTo>
                  <a:pt x="300" y="238"/>
                </a:lnTo>
                <a:lnTo>
                  <a:pt x="300" y="244"/>
                </a:lnTo>
                <a:lnTo>
                  <a:pt x="300" y="244"/>
                </a:lnTo>
                <a:lnTo>
                  <a:pt x="304" y="244"/>
                </a:lnTo>
                <a:lnTo>
                  <a:pt x="304" y="244"/>
                </a:lnTo>
                <a:lnTo>
                  <a:pt x="302" y="244"/>
                </a:lnTo>
                <a:lnTo>
                  <a:pt x="304" y="246"/>
                </a:lnTo>
                <a:lnTo>
                  <a:pt x="302" y="248"/>
                </a:lnTo>
                <a:lnTo>
                  <a:pt x="298" y="248"/>
                </a:lnTo>
                <a:lnTo>
                  <a:pt x="298" y="248"/>
                </a:lnTo>
                <a:lnTo>
                  <a:pt x="294" y="246"/>
                </a:lnTo>
                <a:lnTo>
                  <a:pt x="292" y="244"/>
                </a:lnTo>
                <a:lnTo>
                  <a:pt x="292" y="244"/>
                </a:lnTo>
                <a:lnTo>
                  <a:pt x="290" y="244"/>
                </a:lnTo>
                <a:lnTo>
                  <a:pt x="290" y="244"/>
                </a:lnTo>
                <a:lnTo>
                  <a:pt x="290" y="244"/>
                </a:lnTo>
                <a:lnTo>
                  <a:pt x="286" y="254"/>
                </a:lnTo>
                <a:lnTo>
                  <a:pt x="286" y="254"/>
                </a:lnTo>
                <a:lnTo>
                  <a:pt x="294" y="252"/>
                </a:lnTo>
                <a:lnTo>
                  <a:pt x="294" y="252"/>
                </a:lnTo>
                <a:lnTo>
                  <a:pt x="294" y="254"/>
                </a:lnTo>
                <a:lnTo>
                  <a:pt x="298" y="254"/>
                </a:lnTo>
                <a:lnTo>
                  <a:pt x="300" y="252"/>
                </a:lnTo>
                <a:lnTo>
                  <a:pt x="300" y="252"/>
                </a:lnTo>
                <a:lnTo>
                  <a:pt x="310" y="250"/>
                </a:lnTo>
                <a:lnTo>
                  <a:pt x="318" y="250"/>
                </a:lnTo>
                <a:lnTo>
                  <a:pt x="318" y="250"/>
                </a:lnTo>
                <a:lnTo>
                  <a:pt x="316" y="244"/>
                </a:lnTo>
                <a:lnTo>
                  <a:pt x="316" y="244"/>
                </a:lnTo>
                <a:lnTo>
                  <a:pt x="308" y="242"/>
                </a:lnTo>
                <a:lnTo>
                  <a:pt x="300" y="238"/>
                </a:lnTo>
                <a:lnTo>
                  <a:pt x="300" y="238"/>
                </a:lnTo>
                <a:close/>
                <a:moveTo>
                  <a:pt x="332" y="242"/>
                </a:moveTo>
                <a:lnTo>
                  <a:pt x="332" y="242"/>
                </a:lnTo>
                <a:lnTo>
                  <a:pt x="326" y="244"/>
                </a:lnTo>
                <a:lnTo>
                  <a:pt x="326" y="244"/>
                </a:lnTo>
                <a:lnTo>
                  <a:pt x="326" y="246"/>
                </a:lnTo>
                <a:lnTo>
                  <a:pt x="328" y="248"/>
                </a:lnTo>
                <a:lnTo>
                  <a:pt x="328" y="248"/>
                </a:lnTo>
                <a:lnTo>
                  <a:pt x="338" y="250"/>
                </a:lnTo>
                <a:lnTo>
                  <a:pt x="348" y="250"/>
                </a:lnTo>
                <a:lnTo>
                  <a:pt x="348" y="252"/>
                </a:lnTo>
                <a:lnTo>
                  <a:pt x="348" y="252"/>
                </a:lnTo>
                <a:lnTo>
                  <a:pt x="352" y="252"/>
                </a:lnTo>
                <a:lnTo>
                  <a:pt x="358" y="250"/>
                </a:lnTo>
                <a:lnTo>
                  <a:pt x="362" y="248"/>
                </a:lnTo>
                <a:lnTo>
                  <a:pt x="366" y="248"/>
                </a:lnTo>
                <a:lnTo>
                  <a:pt x="366" y="248"/>
                </a:lnTo>
                <a:lnTo>
                  <a:pt x="368" y="250"/>
                </a:lnTo>
                <a:lnTo>
                  <a:pt x="368" y="250"/>
                </a:lnTo>
                <a:lnTo>
                  <a:pt x="370" y="246"/>
                </a:lnTo>
                <a:lnTo>
                  <a:pt x="370" y="246"/>
                </a:lnTo>
                <a:lnTo>
                  <a:pt x="368" y="244"/>
                </a:lnTo>
                <a:lnTo>
                  <a:pt x="364" y="244"/>
                </a:lnTo>
                <a:lnTo>
                  <a:pt x="364" y="244"/>
                </a:lnTo>
                <a:lnTo>
                  <a:pt x="360" y="244"/>
                </a:lnTo>
                <a:lnTo>
                  <a:pt x="356" y="246"/>
                </a:lnTo>
                <a:lnTo>
                  <a:pt x="356" y="246"/>
                </a:lnTo>
                <a:lnTo>
                  <a:pt x="352" y="242"/>
                </a:lnTo>
                <a:lnTo>
                  <a:pt x="352" y="242"/>
                </a:lnTo>
                <a:lnTo>
                  <a:pt x="348" y="242"/>
                </a:lnTo>
                <a:lnTo>
                  <a:pt x="344" y="244"/>
                </a:lnTo>
                <a:lnTo>
                  <a:pt x="344" y="244"/>
                </a:lnTo>
                <a:lnTo>
                  <a:pt x="338" y="242"/>
                </a:lnTo>
                <a:lnTo>
                  <a:pt x="332" y="242"/>
                </a:lnTo>
                <a:lnTo>
                  <a:pt x="332" y="242"/>
                </a:lnTo>
                <a:close/>
                <a:moveTo>
                  <a:pt x="420" y="244"/>
                </a:moveTo>
                <a:lnTo>
                  <a:pt x="416" y="246"/>
                </a:lnTo>
                <a:lnTo>
                  <a:pt x="416" y="246"/>
                </a:lnTo>
                <a:lnTo>
                  <a:pt x="410" y="246"/>
                </a:lnTo>
                <a:lnTo>
                  <a:pt x="410" y="246"/>
                </a:lnTo>
                <a:lnTo>
                  <a:pt x="408" y="250"/>
                </a:lnTo>
                <a:lnTo>
                  <a:pt x="408" y="250"/>
                </a:lnTo>
                <a:lnTo>
                  <a:pt x="400" y="250"/>
                </a:lnTo>
                <a:lnTo>
                  <a:pt x="398" y="250"/>
                </a:lnTo>
                <a:lnTo>
                  <a:pt x="394" y="250"/>
                </a:lnTo>
                <a:lnTo>
                  <a:pt x="394" y="250"/>
                </a:lnTo>
                <a:lnTo>
                  <a:pt x="394" y="252"/>
                </a:lnTo>
                <a:lnTo>
                  <a:pt x="394" y="256"/>
                </a:lnTo>
                <a:lnTo>
                  <a:pt x="394" y="256"/>
                </a:lnTo>
                <a:lnTo>
                  <a:pt x="390" y="256"/>
                </a:lnTo>
                <a:lnTo>
                  <a:pt x="386" y="258"/>
                </a:lnTo>
                <a:lnTo>
                  <a:pt x="386" y="258"/>
                </a:lnTo>
                <a:lnTo>
                  <a:pt x="386" y="262"/>
                </a:lnTo>
                <a:lnTo>
                  <a:pt x="386" y="262"/>
                </a:lnTo>
                <a:lnTo>
                  <a:pt x="374" y="268"/>
                </a:lnTo>
                <a:lnTo>
                  <a:pt x="374" y="268"/>
                </a:lnTo>
                <a:lnTo>
                  <a:pt x="376" y="274"/>
                </a:lnTo>
                <a:lnTo>
                  <a:pt x="376" y="274"/>
                </a:lnTo>
                <a:lnTo>
                  <a:pt x="370" y="276"/>
                </a:lnTo>
                <a:lnTo>
                  <a:pt x="364" y="278"/>
                </a:lnTo>
                <a:lnTo>
                  <a:pt x="364" y="278"/>
                </a:lnTo>
                <a:lnTo>
                  <a:pt x="362" y="280"/>
                </a:lnTo>
                <a:lnTo>
                  <a:pt x="362" y="282"/>
                </a:lnTo>
                <a:lnTo>
                  <a:pt x="362" y="282"/>
                </a:lnTo>
                <a:lnTo>
                  <a:pt x="364" y="284"/>
                </a:lnTo>
                <a:lnTo>
                  <a:pt x="364" y="284"/>
                </a:lnTo>
                <a:lnTo>
                  <a:pt x="370" y="284"/>
                </a:lnTo>
                <a:lnTo>
                  <a:pt x="374" y="282"/>
                </a:lnTo>
                <a:lnTo>
                  <a:pt x="374" y="282"/>
                </a:lnTo>
                <a:lnTo>
                  <a:pt x="374" y="280"/>
                </a:lnTo>
                <a:lnTo>
                  <a:pt x="374" y="280"/>
                </a:lnTo>
                <a:lnTo>
                  <a:pt x="380" y="274"/>
                </a:lnTo>
                <a:lnTo>
                  <a:pt x="380" y="274"/>
                </a:lnTo>
                <a:lnTo>
                  <a:pt x="386" y="274"/>
                </a:lnTo>
                <a:lnTo>
                  <a:pt x="392" y="272"/>
                </a:lnTo>
                <a:lnTo>
                  <a:pt x="392" y="272"/>
                </a:lnTo>
                <a:lnTo>
                  <a:pt x="396" y="268"/>
                </a:lnTo>
                <a:lnTo>
                  <a:pt x="398" y="264"/>
                </a:lnTo>
                <a:lnTo>
                  <a:pt x="398" y="264"/>
                </a:lnTo>
                <a:lnTo>
                  <a:pt x="402" y="264"/>
                </a:lnTo>
                <a:lnTo>
                  <a:pt x="402" y="264"/>
                </a:lnTo>
                <a:lnTo>
                  <a:pt x="402" y="262"/>
                </a:lnTo>
                <a:lnTo>
                  <a:pt x="402" y="260"/>
                </a:lnTo>
                <a:lnTo>
                  <a:pt x="402" y="260"/>
                </a:lnTo>
                <a:lnTo>
                  <a:pt x="406" y="260"/>
                </a:lnTo>
                <a:lnTo>
                  <a:pt x="408" y="258"/>
                </a:lnTo>
                <a:lnTo>
                  <a:pt x="408" y="258"/>
                </a:lnTo>
                <a:lnTo>
                  <a:pt x="410" y="254"/>
                </a:lnTo>
                <a:lnTo>
                  <a:pt x="410" y="254"/>
                </a:lnTo>
                <a:lnTo>
                  <a:pt x="414" y="254"/>
                </a:lnTo>
                <a:lnTo>
                  <a:pt x="418" y="252"/>
                </a:lnTo>
                <a:lnTo>
                  <a:pt x="418" y="252"/>
                </a:lnTo>
                <a:lnTo>
                  <a:pt x="420" y="250"/>
                </a:lnTo>
                <a:lnTo>
                  <a:pt x="420" y="250"/>
                </a:lnTo>
                <a:lnTo>
                  <a:pt x="424" y="246"/>
                </a:lnTo>
                <a:lnTo>
                  <a:pt x="424" y="244"/>
                </a:lnTo>
                <a:lnTo>
                  <a:pt x="420" y="244"/>
                </a:lnTo>
                <a:lnTo>
                  <a:pt x="420" y="244"/>
                </a:lnTo>
                <a:close/>
                <a:moveTo>
                  <a:pt x="320" y="262"/>
                </a:moveTo>
                <a:lnTo>
                  <a:pt x="318" y="268"/>
                </a:lnTo>
                <a:lnTo>
                  <a:pt x="318" y="268"/>
                </a:lnTo>
                <a:lnTo>
                  <a:pt x="328" y="272"/>
                </a:lnTo>
                <a:lnTo>
                  <a:pt x="334" y="274"/>
                </a:lnTo>
                <a:lnTo>
                  <a:pt x="340" y="276"/>
                </a:lnTo>
                <a:lnTo>
                  <a:pt x="340" y="276"/>
                </a:lnTo>
                <a:lnTo>
                  <a:pt x="340" y="272"/>
                </a:lnTo>
                <a:lnTo>
                  <a:pt x="340" y="270"/>
                </a:lnTo>
                <a:lnTo>
                  <a:pt x="340" y="270"/>
                </a:lnTo>
                <a:lnTo>
                  <a:pt x="338" y="268"/>
                </a:lnTo>
                <a:lnTo>
                  <a:pt x="338" y="268"/>
                </a:lnTo>
                <a:lnTo>
                  <a:pt x="320" y="262"/>
                </a:lnTo>
                <a:lnTo>
                  <a:pt x="320" y="262"/>
                </a:lnTo>
                <a:close/>
                <a:moveTo>
                  <a:pt x="196" y="64"/>
                </a:moveTo>
                <a:lnTo>
                  <a:pt x="196" y="64"/>
                </a:lnTo>
                <a:lnTo>
                  <a:pt x="196" y="62"/>
                </a:lnTo>
                <a:lnTo>
                  <a:pt x="196" y="62"/>
                </a:lnTo>
                <a:lnTo>
                  <a:pt x="192" y="62"/>
                </a:lnTo>
                <a:lnTo>
                  <a:pt x="192" y="62"/>
                </a:lnTo>
                <a:lnTo>
                  <a:pt x="192" y="68"/>
                </a:lnTo>
                <a:lnTo>
                  <a:pt x="192" y="68"/>
                </a:lnTo>
                <a:lnTo>
                  <a:pt x="188" y="70"/>
                </a:lnTo>
                <a:lnTo>
                  <a:pt x="188" y="70"/>
                </a:lnTo>
                <a:lnTo>
                  <a:pt x="186" y="74"/>
                </a:lnTo>
                <a:lnTo>
                  <a:pt x="184" y="78"/>
                </a:lnTo>
                <a:lnTo>
                  <a:pt x="182" y="80"/>
                </a:lnTo>
                <a:lnTo>
                  <a:pt x="182" y="80"/>
                </a:lnTo>
                <a:lnTo>
                  <a:pt x="182" y="94"/>
                </a:lnTo>
                <a:lnTo>
                  <a:pt x="182" y="94"/>
                </a:lnTo>
                <a:lnTo>
                  <a:pt x="186" y="96"/>
                </a:lnTo>
                <a:lnTo>
                  <a:pt x="188" y="100"/>
                </a:lnTo>
                <a:lnTo>
                  <a:pt x="188" y="100"/>
                </a:lnTo>
                <a:lnTo>
                  <a:pt x="186" y="102"/>
                </a:lnTo>
                <a:lnTo>
                  <a:pt x="186" y="106"/>
                </a:lnTo>
                <a:lnTo>
                  <a:pt x="186" y="106"/>
                </a:lnTo>
                <a:lnTo>
                  <a:pt x="190" y="108"/>
                </a:lnTo>
                <a:lnTo>
                  <a:pt x="190" y="108"/>
                </a:lnTo>
                <a:lnTo>
                  <a:pt x="188" y="112"/>
                </a:lnTo>
                <a:lnTo>
                  <a:pt x="188" y="114"/>
                </a:lnTo>
                <a:lnTo>
                  <a:pt x="188" y="114"/>
                </a:lnTo>
                <a:lnTo>
                  <a:pt x="192" y="114"/>
                </a:lnTo>
                <a:lnTo>
                  <a:pt x="192" y="114"/>
                </a:lnTo>
                <a:lnTo>
                  <a:pt x="190" y="120"/>
                </a:lnTo>
                <a:lnTo>
                  <a:pt x="190" y="120"/>
                </a:lnTo>
                <a:lnTo>
                  <a:pt x="192" y="120"/>
                </a:lnTo>
                <a:lnTo>
                  <a:pt x="192" y="120"/>
                </a:lnTo>
                <a:lnTo>
                  <a:pt x="196" y="118"/>
                </a:lnTo>
                <a:lnTo>
                  <a:pt x="196" y="118"/>
                </a:lnTo>
                <a:lnTo>
                  <a:pt x="198" y="118"/>
                </a:lnTo>
                <a:lnTo>
                  <a:pt x="198" y="118"/>
                </a:lnTo>
                <a:lnTo>
                  <a:pt x="198" y="118"/>
                </a:lnTo>
                <a:lnTo>
                  <a:pt x="202" y="136"/>
                </a:lnTo>
                <a:lnTo>
                  <a:pt x="202" y="136"/>
                </a:lnTo>
                <a:lnTo>
                  <a:pt x="204" y="140"/>
                </a:lnTo>
                <a:lnTo>
                  <a:pt x="204" y="140"/>
                </a:lnTo>
                <a:lnTo>
                  <a:pt x="206" y="148"/>
                </a:lnTo>
                <a:lnTo>
                  <a:pt x="206" y="148"/>
                </a:lnTo>
                <a:lnTo>
                  <a:pt x="210" y="148"/>
                </a:lnTo>
                <a:lnTo>
                  <a:pt x="216" y="150"/>
                </a:lnTo>
                <a:lnTo>
                  <a:pt x="216" y="150"/>
                </a:lnTo>
                <a:lnTo>
                  <a:pt x="218" y="148"/>
                </a:lnTo>
                <a:lnTo>
                  <a:pt x="218" y="146"/>
                </a:lnTo>
                <a:lnTo>
                  <a:pt x="222" y="146"/>
                </a:lnTo>
                <a:lnTo>
                  <a:pt x="222" y="148"/>
                </a:lnTo>
                <a:lnTo>
                  <a:pt x="222" y="148"/>
                </a:lnTo>
                <a:lnTo>
                  <a:pt x="226" y="148"/>
                </a:lnTo>
                <a:lnTo>
                  <a:pt x="226" y="148"/>
                </a:lnTo>
                <a:lnTo>
                  <a:pt x="226" y="154"/>
                </a:lnTo>
                <a:lnTo>
                  <a:pt x="226" y="154"/>
                </a:lnTo>
                <a:lnTo>
                  <a:pt x="228" y="154"/>
                </a:lnTo>
                <a:lnTo>
                  <a:pt x="230" y="154"/>
                </a:lnTo>
                <a:lnTo>
                  <a:pt x="230" y="154"/>
                </a:lnTo>
                <a:lnTo>
                  <a:pt x="240" y="154"/>
                </a:lnTo>
                <a:lnTo>
                  <a:pt x="242" y="150"/>
                </a:lnTo>
                <a:lnTo>
                  <a:pt x="242" y="150"/>
                </a:lnTo>
                <a:lnTo>
                  <a:pt x="244" y="150"/>
                </a:lnTo>
                <a:lnTo>
                  <a:pt x="244" y="150"/>
                </a:lnTo>
                <a:lnTo>
                  <a:pt x="248" y="154"/>
                </a:lnTo>
                <a:lnTo>
                  <a:pt x="250" y="154"/>
                </a:lnTo>
                <a:lnTo>
                  <a:pt x="252" y="154"/>
                </a:lnTo>
                <a:lnTo>
                  <a:pt x="252" y="154"/>
                </a:lnTo>
                <a:lnTo>
                  <a:pt x="254" y="152"/>
                </a:lnTo>
                <a:lnTo>
                  <a:pt x="256" y="152"/>
                </a:lnTo>
                <a:lnTo>
                  <a:pt x="258" y="154"/>
                </a:lnTo>
                <a:lnTo>
                  <a:pt x="258" y="154"/>
                </a:lnTo>
                <a:lnTo>
                  <a:pt x="262" y="156"/>
                </a:lnTo>
                <a:lnTo>
                  <a:pt x="264" y="156"/>
                </a:lnTo>
                <a:lnTo>
                  <a:pt x="264" y="158"/>
                </a:lnTo>
                <a:lnTo>
                  <a:pt x="264" y="158"/>
                </a:lnTo>
                <a:lnTo>
                  <a:pt x="266" y="158"/>
                </a:lnTo>
                <a:lnTo>
                  <a:pt x="266" y="158"/>
                </a:lnTo>
                <a:lnTo>
                  <a:pt x="270" y="156"/>
                </a:lnTo>
                <a:lnTo>
                  <a:pt x="270" y="156"/>
                </a:lnTo>
                <a:lnTo>
                  <a:pt x="274" y="154"/>
                </a:lnTo>
                <a:lnTo>
                  <a:pt x="280" y="152"/>
                </a:lnTo>
                <a:lnTo>
                  <a:pt x="280" y="152"/>
                </a:lnTo>
                <a:lnTo>
                  <a:pt x="286" y="142"/>
                </a:lnTo>
                <a:lnTo>
                  <a:pt x="290" y="138"/>
                </a:lnTo>
                <a:lnTo>
                  <a:pt x="294" y="136"/>
                </a:lnTo>
                <a:lnTo>
                  <a:pt x="294" y="136"/>
                </a:lnTo>
                <a:lnTo>
                  <a:pt x="290" y="128"/>
                </a:lnTo>
                <a:lnTo>
                  <a:pt x="290" y="128"/>
                </a:lnTo>
                <a:lnTo>
                  <a:pt x="298" y="116"/>
                </a:lnTo>
                <a:lnTo>
                  <a:pt x="298" y="116"/>
                </a:lnTo>
                <a:lnTo>
                  <a:pt x="298" y="112"/>
                </a:lnTo>
                <a:lnTo>
                  <a:pt x="298" y="112"/>
                </a:lnTo>
                <a:lnTo>
                  <a:pt x="296" y="112"/>
                </a:lnTo>
                <a:lnTo>
                  <a:pt x="296" y="110"/>
                </a:lnTo>
                <a:lnTo>
                  <a:pt x="296" y="110"/>
                </a:lnTo>
                <a:lnTo>
                  <a:pt x="296" y="108"/>
                </a:lnTo>
                <a:lnTo>
                  <a:pt x="298" y="108"/>
                </a:lnTo>
                <a:lnTo>
                  <a:pt x="298" y="108"/>
                </a:lnTo>
                <a:lnTo>
                  <a:pt x="300" y="104"/>
                </a:lnTo>
                <a:lnTo>
                  <a:pt x="300" y="100"/>
                </a:lnTo>
                <a:lnTo>
                  <a:pt x="300" y="88"/>
                </a:lnTo>
                <a:lnTo>
                  <a:pt x="300" y="88"/>
                </a:lnTo>
                <a:lnTo>
                  <a:pt x="306" y="84"/>
                </a:lnTo>
                <a:lnTo>
                  <a:pt x="316" y="82"/>
                </a:lnTo>
                <a:lnTo>
                  <a:pt x="316" y="82"/>
                </a:lnTo>
                <a:lnTo>
                  <a:pt x="314" y="78"/>
                </a:lnTo>
                <a:lnTo>
                  <a:pt x="314" y="78"/>
                </a:lnTo>
                <a:lnTo>
                  <a:pt x="306" y="74"/>
                </a:lnTo>
                <a:lnTo>
                  <a:pt x="304" y="72"/>
                </a:lnTo>
                <a:lnTo>
                  <a:pt x="302" y="70"/>
                </a:lnTo>
                <a:lnTo>
                  <a:pt x="302" y="70"/>
                </a:lnTo>
                <a:lnTo>
                  <a:pt x="302" y="66"/>
                </a:lnTo>
                <a:lnTo>
                  <a:pt x="304" y="62"/>
                </a:lnTo>
                <a:lnTo>
                  <a:pt x="304" y="62"/>
                </a:lnTo>
                <a:lnTo>
                  <a:pt x="304" y="58"/>
                </a:lnTo>
                <a:lnTo>
                  <a:pt x="302" y="54"/>
                </a:lnTo>
                <a:lnTo>
                  <a:pt x="296" y="46"/>
                </a:lnTo>
                <a:lnTo>
                  <a:pt x="296" y="46"/>
                </a:lnTo>
                <a:lnTo>
                  <a:pt x="296" y="42"/>
                </a:lnTo>
                <a:lnTo>
                  <a:pt x="296" y="42"/>
                </a:lnTo>
                <a:lnTo>
                  <a:pt x="298" y="40"/>
                </a:lnTo>
                <a:lnTo>
                  <a:pt x="298" y="40"/>
                </a:lnTo>
                <a:lnTo>
                  <a:pt x="300" y="40"/>
                </a:lnTo>
                <a:lnTo>
                  <a:pt x="300" y="38"/>
                </a:lnTo>
                <a:lnTo>
                  <a:pt x="300" y="38"/>
                </a:lnTo>
                <a:lnTo>
                  <a:pt x="300" y="38"/>
                </a:lnTo>
                <a:lnTo>
                  <a:pt x="300" y="38"/>
                </a:lnTo>
                <a:lnTo>
                  <a:pt x="300" y="36"/>
                </a:lnTo>
                <a:lnTo>
                  <a:pt x="300" y="36"/>
                </a:lnTo>
                <a:lnTo>
                  <a:pt x="296" y="34"/>
                </a:lnTo>
                <a:lnTo>
                  <a:pt x="296" y="34"/>
                </a:lnTo>
                <a:lnTo>
                  <a:pt x="296" y="32"/>
                </a:lnTo>
                <a:lnTo>
                  <a:pt x="286" y="34"/>
                </a:lnTo>
                <a:lnTo>
                  <a:pt x="278" y="32"/>
                </a:lnTo>
                <a:lnTo>
                  <a:pt x="276" y="36"/>
                </a:lnTo>
                <a:lnTo>
                  <a:pt x="274" y="46"/>
                </a:lnTo>
                <a:lnTo>
                  <a:pt x="270" y="50"/>
                </a:lnTo>
                <a:lnTo>
                  <a:pt x="268" y="54"/>
                </a:lnTo>
                <a:lnTo>
                  <a:pt x="264" y="58"/>
                </a:lnTo>
                <a:lnTo>
                  <a:pt x="260" y="60"/>
                </a:lnTo>
                <a:lnTo>
                  <a:pt x="260" y="64"/>
                </a:lnTo>
                <a:lnTo>
                  <a:pt x="258" y="72"/>
                </a:lnTo>
                <a:lnTo>
                  <a:pt x="256" y="74"/>
                </a:lnTo>
                <a:lnTo>
                  <a:pt x="250" y="78"/>
                </a:lnTo>
                <a:lnTo>
                  <a:pt x="242" y="78"/>
                </a:lnTo>
                <a:lnTo>
                  <a:pt x="238" y="76"/>
                </a:lnTo>
                <a:lnTo>
                  <a:pt x="230" y="78"/>
                </a:lnTo>
                <a:lnTo>
                  <a:pt x="228" y="80"/>
                </a:lnTo>
                <a:lnTo>
                  <a:pt x="220" y="82"/>
                </a:lnTo>
                <a:lnTo>
                  <a:pt x="214" y="84"/>
                </a:lnTo>
                <a:lnTo>
                  <a:pt x="208" y="82"/>
                </a:lnTo>
                <a:lnTo>
                  <a:pt x="204" y="80"/>
                </a:lnTo>
                <a:lnTo>
                  <a:pt x="198" y="78"/>
                </a:lnTo>
                <a:lnTo>
                  <a:pt x="196" y="72"/>
                </a:lnTo>
                <a:lnTo>
                  <a:pt x="196" y="64"/>
                </a:lnTo>
                <a:close/>
                <a:moveTo>
                  <a:pt x="486" y="116"/>
                </a:moveTo>
                <a:lnTo>
                  <a:pt x="486" y="116"/>
                </a:lnTo>
                <a:lnTo>
                  <a:pt x="478" y="116"/>
                </a:lnTo>
                <a:lnTo>
                  <a:pt x="478" y="116"/>
                </a:lnTo>
                <a:lnTo>
                  <a:pt x="478" y="124"/>
                </a:lnTo>
                <a:lnTo>
                  <a:pt x="478" y="124"/>
                </a:lnTo>
                <a:lnTo>
                  <a:pt x="476" y="124"/>
                </a:lnTo>
                <a:lnTo>
                  <a:pt x="476" y="126"/>
                </a:lnTo>
                <a:lnTo>
                  <a:pt x="478" y="128"/>
                </a:lnTo>
                <a:lnTo>
                  <a:pt x="478" y="128"/>
                </a:lnTo>
                <a:lnTo>
                  <a:pt x="482" y="128"/>
                </a:lnTo>
                <a:lnTo>
                  <a:pt x="486" y="128"/>
                </a:lnTo>
                <a:lnTo>
                  <a:pt x="486" y="128"/>
                </a:lnTo>
                <a:lnTo>
                  <a:pt x="490" y="130"/>
                </a:lnTo>
                <a:lnTo>
                  <a:pt x="490" y="130"/>
                </a:lnTo>
                <a:lnTo>
                  <a:pt x="490" y="132"/>
                </a:lnTo>
                <a:lnTo>
                  <a:pt x="490" y="136"/>
                </a:lnTo>
                <a:lnTo>
                  <a:pt x="490" y="136"/>
                </a:lnTo>
                <a:lnTo>
                  <a:pt x="490" y="136"/>
                </a:lnTo>
                <a:lnTo>
                  <a:pt x="488" y="136"/>
                </a:lnTo>
                <a:lnTo>
                  <a:pt x="488" y="136"/>
                </a:lnTo>
                <a:lnTo>
                  <a:pt x="488" y="136"/>
                </a:lnTo>
                <a:lnTo>
                  <a:pt x="492" y="136"/>
                </a:lnTo>
                <a:lnTo>
                  <a:pt x="496" y="136"/>
                </a:lnTo>
                <a:lnTo>
                  <a:pt x="504" y="136"/>
                </a:lnTo>
                <a:lnTo>
                  <a:pt x="504" y="136"/>
                </a:lnTo>
                <a:lnTo>
                  <a:pt x="514" y="138"/>
                </a:lnTo>
                <a:lnTo>
                  <a:pt x="514" y="140"/>
                </a:lnTo>
                <a:lnTo>
                  <a:pt x="514" y="140"/>
                </a:lnTo>
                <a:lnTo>
                  <a:pt x="504" y="142"/>
                </a:lnTo>
                <a:lnTo>
                  <a:pt x="502" y="144"/>
                </a:lnTo>
                <a:lnTo>
                  <a:pt x="502" y="144"/>
                </a:lnTo>
                <a:lnTo>
                  <a:pt x="494" y="144"/>
                </a:lnTo>
                <a:lnTo>
                  <a:pt x="486" y="144"/>
                </a:lnTo>
                <a:lnTo>
                  <a:pt x="488" y="148"/>
                </a:lnTo>
                <a:lnTo>
                  <a:pt x="488" y="148"/>
                </a:lnTo>
                <a:lnTo>
                  <a:pt x="494" y="146"/>
                </a:lnTo>
                <a:lnTo>
                  <a:pt x="494" y="146"/>
                </a:lnTo>
                <a:lnTo>
                  <a:pt x="496" y="152"/>
                </a:lnTo>
                <a:lnTo>
                  <a:pt x="500" y="154"/>
                </a:lnTo>
                <a:lnTo>
                  <a:pt x="500" y="154"/>
                </a:lnTo>
                <a:lnTo>
                  <a:pt x="500" y="156"/>
                </a:lnTo>
                <a:lnTo>
                  <a:pt x="500" y="160"/>
                </a:lnTo>
                <a:lnTo>
                  <a:pt x="500" y="160"/>
                </a:lnTo>
                <a:lnTo>
                  <a:pt x="502" y="162"/>
                </a:lnTo>
                <a:lnTo>
                  <a:pt x="502" y="162"/>
                </a:lnTo>
                <a:lnTo>
                  <a:pt x="504" y="162"/>
                </a:lnTo>
                <a:lnTo>
                  <a:pt x="504" y="162"/>
                </a:lnTo>
                <a:lnTo>
                  <a:pt x="508" y="154"/>
                </a:lnTo>
                <a:lnTo>
                  <a:pt x="508" y="154"/>
                </a:lnTo>
                <a:lnTo>
                  <a:pt x="510" y="154"/>
                </a:lnTo>
                <a:lnTo>
                  <a:pt x="510" y="154"/>
                </a:lnTo>
                <a:lnTo>
                  <a:pt x="510" y="156"/>
                </a:lnTo>
                <a:lnTo>
                  <a:pt x="516" y="160"/>
                </a:lnTo>
                <a:lnTo>
                  <a:pt x="516" y="160"/>
                </a:lnTo>
                <a:lnTo>
                  <a:pt x="516" y="160"/>
                </a:lnTo>
                <a:lnTo>
                  <a:pt x="522" y="162"/>
                </a:lnTo>
                <a:lnTo>
                  <a:pt x="522" y="162"/>
                </a:lnTo>
                <a:lnTo>
                  <a:pt x="522" y="162"/>
                </a:lnTo>
                <a:lnTo>
                  <a:pt x="522" y="166"/>
                </a:lnTo>
                <a:lnTo>
                  <a:pt x="524" y="170"/>
                </a:lnTo>
                <a:lnTo>
                  <a:pt x="526" y="172"/>
                </a:lnTo>
                <a:lnTo>
                  <a:pt x="526" y="172"/>
                </a:lnTo>
                <a:lnTo>
                  <a:pt x="530" y="172"/>
                </a:lnTo>
                <a:lnTo>
                  <a:pt x="534" y="172"/>
                </a:lnTo>
                <a:lnTo>
                  <a:pt x="536" y="174"/>
                </a:lnTo>
                <a:lnTo>
                  <a:pt x="536" y="174"/>
                </a:lnTo>
                <a:lnTo>
                  <a:pt x="538" y="172"/>
                </a:lnTo>
                <a:lnTo>
                  <a:pt x="542" y="172"/>
                </a:lnTo>
                <a:lnTo>
                  <a:pt x="542" y="174"/>
                </a:lnTo>
                <a:lnTo>
                  <a:pt x="542" y="174"/>
                </a:lnTo>
                <a:lnTo>
                  <a:pt x="548" y="178"/>
                </a:lnTo>
                <a:lnTo>
                  <a:pt x="552" y="184"/>
                </a:lnTo>
                <a:lnTo>
                  <a:pt x="552" y="184"/>
                </a:lnTo>
                <a:lnTo>
                  <a:pt x="560" y="184"/>
                </a:lnTo>
                <a:lnTo>
                  <a:pt x="564" y="186"/>
                </a:lnTo>
                <a:lnTo>
                  <a:pt x="564" y="186"/>
                </a:lnTo>
                <a:lnTo>
                  <a:pt x="566" y="186"/>
                </a:lnTo>
                <a:lnTo>
                  <a:pt x="570" y="188"/>
                </a:lnTo>
                <a:lnTo>
                  <a:pt x="574" y="194"/>
                </a:lnTo>
                <a:lnTo>
                  <a:pt x="574" y="206"/>
                </a:lnTo>
                <a:lnTo>
                  <a:pt x="574" y="206"/>
                </a:lnTo>
                <a:lnTo>
                  <a:pt x="572" y="206"/>
                </a:lnTo>
                <a:lnTo>
                  <a:pt x="572" y="208"/>
                </a:lnTo>
                <a:lnTo>
                  <a:pt x="572" y="208"/>
                </a:lnTo>
                <a:lnTo>
                  <a:pt x="576" y="210"/>
                </a:lnTo>
                <a:lnTo>
                  <a:pt x="576" y="210"/>
                </a:lnTo>
                <a:lnTo>
                  <a:pt x="576" y="214"/>
                </a:lnTo>
                <a:lnTo>
                  <a:pt x="576" y="216"/>
                </a:lnTo>
                <a:lnTo>
                  <a:pt x="576" y="216"/>
                </a:lnTo>
                <a:lnTo>
                  <a:pt x="580" y="220"/>
                </a:lnTo>
                <a:lnTo>
                  <a:pt x="580" y="220"/>
                </a:lnTo>
                <a:lnTo>
                  <a:pt x="580" y="226"/>
                </a:lnTo>
                <a:lnTo>
                  <a:pt x="580" y="232"/>
                </a:lnTo>
                <a:lnTo>
                  <a:pt x="580" y="232"/>
                </a:lnTo>
                <a:lnTo>
                  <a:pt x="576" y="228"/>
                </a:lnTo>
                <a:lnTo>
                  <a:pt x="576" y="228"/>
                </a:lnTo>
                <a:lnTo>
                  <a:pt x="574" y="230"/>
                </a:lnTo>
                <a:lnTo>
                  <a:pt x="570" y="230"/>
                </a:lnTo>
                <a:lnTo>
                  <a:pt x="570" y="230"/>
                </a:lnTo>
                <a:lnTo>
                  <a:pt x="562" y="240"/>
                </a:lnTo>
                <a:lnTo>
                  <a:pt x="562" y="240"/>
                </a:lnTo>
                <a:lnTo>
                  <a:pt x="578" y="238"/>
                </a:lnTo>
                <a:lnTo>
                  <a:pt x="578" y="238"/>
                </a:lnTo>
                <a:lnTo>
                  <a:pt x="578" y="234"/>
                </a:lnTo>
                <a:lnTo>
                  <a:pt x="578" y="234"/>
                </a:lnTo>
                <a:lnTo>
                  <a:pt x="580" y="234"/>
                </a:lnTo>
                <a:lnTo>
                  <a:pt x="580" y="236"/>
                </a:lnTo>
                <a:lnTo>
                  <a:pt x="580" y="236"/>
                </a:lnTo>
                <a:lnTo>
                  <a:pt x="584" y="236"/>
                </a:lnTo>
                <a:lnTo>
                  <a:pt x="586" y="236"/>
                </a:lnTo>
                <a:lnTo>
                  <a:pt x="592" y="236"/>
                </a:lnTo>
                <a:lnTo>
                  <a:pt x="592" y="236"/>
                </a:lnTo>
                <a:lnTo>
                  <a:pt x="596" y="240"/>
                </a:lnTo>
                <a:lnTo>
                  <a:pt x="600" y="244"/>
                </a:lnTo>
                <a:lnTo>
                  <a:pt x="600" y="244"/>
                </a:lnTo>
                <a:lnTo>
                  <a:pt x="600" y="248"/>
                </a:lnTo>
                <a:lnTo>
                  <a:pt x="602" y="248"/>
                </a:lnTo>
                <a:lnTo>
                  <a:pt x="602" y="248"/>
                </a:lnTo>
                <a:lnTo>
                  <a:pt x="604" y="252"/>
                </a:lnTo>
                <a:lnTo>
                  <a:pt x="604" y="252"/>
                </a:lnTo>
                <a:lnTo>
                  <a:pt x="606" y="252"/>
                </a:lnTo>
                <a:lnTo>
                  <a:pt x="606" y="218"/>
                </a:lnTo>
                <a:lnTo>
                  <a:pt x="604" y="212"/>
                </a:lnTo>
                <a:lnTo>
                  <a:pt x="606" y="206"/>
                </a:lnTo>
                <a:lnTo>
                  <a:pt x="606" y="146"/>
                </a:lnTo>
                <a:lnTo>
                  <a:pt x="606" y="146"/>
                </a:lnTo>
                <a:lnTo>
                  <a:pt x="604" y="146"/>
                </a:lnTo>
                <a:lnTo>
                  <a:pt x="604" y="146"/>
                </a:lnTo>
                <a:lnTo>
                  <a:pt x="602" y="142"/>
                </a:lnTo>
                <a:lnTo>
                  <a:pt x="600" y="140"/>
                </a:lnTo>
                <a:lnTo>
                  <a:pt x="600" y="140"/>
                </a:lnTo>
                <a:lnTo>
                  <a:pt x="598" y="140"/>
                </a:lnTo>
                <a:lnTo>
                  <a:pt x="594" y="142"/>
                </a:lnTo>
                <a:lnTo>
                  <a:pt x="594" y="142"/>
                </a:lnTo>
                <a:lnTo>
                  <a:pt x="586" y="140"/>
                </a:lnTo>
                <a:lnTo>
                  <a:pt x="580" y="138"/>
                </a:lnTo>
                <a:lnTo>
                  <a:pt x="580" y="138"/>
                </a:lnTo>
                <a:lnTo>
                  <a:pt x="572" y="132"/>
                </a:lnTo>
                <a:lnTo>
                  <a:pt x="566" y="128"/>
                </a:lnTo>
                <a:lnTo>
                  <a:pt x="562" y="128"/>
                </a:lnTo>
                <a:lnTo>
                  <a:pt x="562" y="130"/>
                </a:lnTo>
                <a:lnTo>
                  <a:pt x="562" y="130"/>
                </a:lnTo>
                <a:lnTo>
                  <a:pt x="558" y="130"/>
                </a:lnTo>
                <a:lnTo>
                  <a:pt x="558" y="130"/>
                </a:lnTo>
                <a:lnTo>
                  <a:pt x="552" y="138"/>
                </a:lnTo>
                <a:lnTo>
                  <a:pt x="552" y="138"/>
                </a:lnTo>
                <a:lnTo>
                  <a:pt x="546" y="140"/>
                </a:lnTo>
                <a:lnTo>
                  <a:pt x="546" y="140"/>
                </a:lnTo>
                <a:lnTo>
                  <a:pt x="542" y="146"/>
                </a:lnTo>
                <a:lnTo>
                  <a:pt x="540" y="152"/>
                </a:lnTo>
                <a:lnTo>
                  <a:pt x="540" y="152"/>
                </a:lnTo>
                <a:lnTo>
                  <a:pt x="532" y="156"/>
                </a:lnTo>
                <a:lnTo>
                  <a:pt x="532" y="156"/>
                </a:lnTo>
                <a:lnTo>
                  <a:pt x="530" y="154"/>
                </a:lnTo>
                <a:lnTo>
                  <a:pt x="530" y="154"/>
                </a:lnTo>
                <a:lnTo>
                  <a:pt x="530" y="154"/>
                </a:lnTo>
                <a:lnTo>
                  <a:pt x="528" y="150"/>
                </a:lnTo>
                <a:lnTo>
                  <a:pt x="524" y="150"/>
                </a:lnTo>
                <a:lnTo>
                  <a:pt x="524" y="150"/>
                </a:lnTo>
                <a:lnTo>
                  <a:pt x="524" y="144"/>
                </a:lnTo>
                <a:lnTo>
                  <a:pt x="522" y="142"/>
                </a:lnTo>
                <a:lnTo>
                  <a:pt x="522" y="142"/>
                </a:lnTo>
                <a:lnTo>
                  <a:pt x="522" y="144"/>
                </a:lnTo>
                <a:lnTo>
                  <a:pt x="520" y="146"/>
                </a:lnTo>
                <a:lnTo>
                  <a:pt x="520" y="146"/>
                </a:lnTo>
                <a:lnTo>
                  <a:pt x="518" y="136"/>
                </a:lnTo>
                <a:lnTo>
                  <a:pt x="518" y="132"/>
                </a:lnTo>
                <a:lnTo>
                  <a:pt x="518" y="126"/>
                </a:lnTo>
                <a:lnTo>
                  <a:pt x="518" y="126"/>
                </a:lnTo>
                <a:lnTo>
                  <a:pt x="518" y="124"/>
                </a:lnTo>
                <a:lnTo>
                  <a:pt x="520" y="120"/>
                </a:lnTo>
                <a:lnTo>
                  <a:pt x="520" y="120"/>
                </a:lnTo>
                <a:lnTo>
                  <a:pt x="518" y="116"/>
                </a:lnTo>
                <a:lnTo>
                  <a:pt x="514" y="112"/>
                </a:lnTo>
                <a:lnTo>
                  <a:pt x="512" y="112"/>
                </a:lnTo>
                <a:lnTo>
                  <a:pt x="512" y="112"/>
                </a:lnTo>
                <a:lnTo>
                  <a:pt x="510" y="114"/>
                </a:lnTo>
                <a:lnTo>
                  <a:pt x="510" y="114"/>
                </a:lnTo>
                <a:lnTo>
                  <a:pt x="508" y="112"/>
                </a:lnTo>
                <a:lnTo>
                  <a:pt x="508" y="112"/>
                </a:lnTo>
                <a:lnTo>
                  <a:pt x="506" y="112"/>
                </a:lnTo>
                <a:lnTo>
                  <a:pt x="506" y="112"/>
                </a:lnTo>
                <a:lnTo>
                  <a:pt x="506" y="112"/>
                </a:lnTo>
                <a:lnTo>
                  <a:pt x="504" y="114"/>
                </a:lnTo>
                <a:lnTo>
                  <a:pt x="504" y="114"/>
                </a:lnTo>
                <a:lnTo>
                  <a:pt x="500" y="112"/>
                </a:lnTo>
                <a:lnTo>
                  <a:pt x="494" y="110"/>
                </a:lnTo>
                <a:lnTo>
                  <a:pt x="494" y="110"/>
                </a:lnTo>
                <a:lnTo>
                  <a:pt x="490" y="110"/>
                </a:lnTo>
                <a:lnTo>
                  <a:pt x="488" y="112"/>
                </a:lnTo>
                <a:lnTo>
                  <a:pt x="486" y="116"/>
                </a:lnTo>
                <a:lnTo>
                  <a:pt x="486" y="1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7" name="Freeform 171">
            <a:extLst>
              <a:ext uri="{FF2B5EF4-FFF2-40B4-BE49-F238E27FC236}">
                <a16:creationId xmlns:a16="http://schemas.microsoft.com/office/drawing/2014/main" id="{30EEEFA5-5E19-4454-8947-2AEBF050FB0E}"/>
              </a:ext>
            </a:extLst>
          </p:cNvPr>
          <p:cNvSpPr>
            <a:spLocks/>
          </p:cNvSpPr>
          <p:nvPr userDrawn="1"/>
        </p:nvSpPr>
        <p:spPr bwMode="auto">
          <a:xfrm>
            <a:off x="7390303" y="2630463"/>
            <a:ext cx="654044" cy="827105"/>
          </a:xfrm>
          <a:custGeom>
            <a:avLst/>
            <a:gdLst>
              <a:gd name="T0" fmla="*/ 2 w 390"/>
              <a:gd name="T1" fmla="*/ 226 h 482"/>
              <a:gd name="T2" fmla="*/ 28 w 390"/>
              <a:gd name="T3" fmla="*/ 232 h 482"/>
              <a:gd name="T4" fmla="*/ 26 w 390"/>
              <a:gd name="T5" fmla="*/ 238 h 482"/>
              <a:gd name="T6" fmla="*/ 14 w 390"/>
              <a:gd name="T7" fmla="*/ 246 h 482"/>
              <a:gd name="T8" fmla="*/ 12 w 390"/>
              <a:gd name="T9" fmla="*/ 254 h 482"/>
              <a:gd name="T10" fmla="*/ 36 w 390"/>
              <a:gd name="T11" fmla="*/ 270 h 482"/>
              <a:gd name="T12" fmla="*/ 50 w 390"/>
              <a:gd name="T13" fmla="*/ 244 h 482"/>
              <a:gd name="T14" fmla="*/ 54 w 390"/>
              <a:gd name="T15" fmla="*/ 248 h 482"/>
              <a:gd name="T16" fmla="*/ 56 w 390"/>
              <a:gd name="T17" fmla="*/ 256 h 482"/>
              <a:gd name="T18" fmla="*/ 56 w 390"/>
              <a:gd name="T19" fmla="*/ 260 h 482"/>
              <a:gd name="T20" fmla="*/ 58 w 390"/>
              <a:gd name="T21" fmla="*/ 272 h 482"/>
              <a:gd name="T22" fmla="*/ 56 w 390"/>
              <a:gd name="T23" fmla="*/ 298 h 482"/>
              <a:gd name="T24" fmla="*/ 58 w 390"/>
              <a:gd name="T25" fmla="*/ 318 h 482"/>
              <a:gd name="T26" fmla="*/ 64 w 390"/>
              <a:gd name="T27" fmla="*/ 332 h 482"/>
              <a:gd name="T28" fmla="*/ 76 w 390"/>
              <a:gd name="T29" fmla="*/ 378 h 482"/>
              <a:gd name="T30" fmla="*/ 84 w 390"/>
              <a:gd name="T31" fmla="*/ 414 h 482"/>
              <a:gd name="T32" fmla="*/ 90 w 390"/>
              <a:gd name="T33" fmla="*/ 424 h 482"/>
              <a:gd name="T34" fmla="*/ 104 w 390"/>
              <a:gd name="T35" fmla="*/ 452 h 482"/>
              <a:gd name="T36" fmla="*/ 122 w 390"/>
              <a:gd name="T37" fmla="*/ 480 h 482"/>
              <a:gd name="T38" fmla="*/ 132 w 390"/>
              <a:gd name="T39" fmla="*/ 468 h 482"/>
              <a:gd name="T40" fmla="*/ 148 w 390"/>
              <a:gd name="T41" fmla="*/ 450 h 482"/>
              <a:gd name="T42" fmla="*/ 152 w 390"/>
              <a:gd name="T43" fmla="*/ 420 h 482"/>
              <a:gd name="T44" fmla="*/ 152 w 390"/>
              <a:gd name="T45" fmla="*/ 402 h 482"/>
              <a:gd name="T46" fmla="*/ 154 w 390"/>
              <a:gd name="T47" fmla="*/ 368 h 482"/>
              <a:gd name="T48" fmla="*/ 160 w 390"/>
              <a:gd name="T49" fmla="*/ 354 h 482"/>
              <a:gd name="T50" fmla="*/ 178 w 390"/>
              <a:gd name="T51" fmla="*/ 344 h 482"/>
              <a:gd name="T52" fmla="*/ 190 w 390"/>
              <a:gd name="T53" fmla="*/ 328 h 482"/>
              <a:gd name="T54" fmla="*/ 208 w 390"/>
              <a:gd name="T55" fmla="*/ 320 h 482"/>
              <a:gd name="T56" fmla="*/ 216 w 390"/>
              <a:gd name="T57" fmla="*/ 304 h 482"/>
              <a:gd name="T58" fmla="*/ 226 w 390"/>
              <a:gd name="T59" fmla="*/ 292 h 482"/>
              <a:gd name="T60" fmla="*/ 248 w 390"/>
              <a:gd name="T61" fmla="*/ 282 h 482"/>
              <a:gd name="T62" fmla="*/ 252 w 390"/>
              <a:gd name="T63" fmla="*/ 262 h 482"/>
              <a:gd name="T64" fmla="*/ 262 w 390"/>
              <a:gd name="T65" fmla="*/ 258 h 482"/>
              <a:gd name="T66" fmla="*/ 270 w 390"/>
              <a:gd name="T67" fmla="*/ 224 h 482"/>
              <a:gd name="T68" fmla="*/ 270 w 390"/>
              <a:gd name="T69" fmla="*/ 190 h 482"/>
              <a:gd name="T70" fmla="*/ 288 w 390"/>
              <a:gd name="T71" fmla="*/ 204 h 482"/>
              <a:gd name="T72" fmla="*/ 320 w 390"/>
              <a:gd name="T73" fmla="*/ 212 h 482"/>
              <a:gd name="T74" fmla="*/ 318 w 390"/>
              <a:gd name="T75" fmla="*/ 240 h 482"/>
              <a:gd name="T76" fmla="*/ 338 w 390"/>
              <a:gd name="T77" fmla="*/ 256 h 482"/>
              <a:gd name="T78" fmla="*/ 348 w 390"/>
              <a:gd name="T79" fmla="*/ 220 h 482"/>
              <a:gd name="T80" fmla="*/ 368 w 390"/>
              <a:gd name="T81" fmla="*/ 190 h 482"/>
              <a:gd name="T82" fmla="*/ 388 w 390"/>
              <a:gd name="T83" fmla="*/ 156 h 482"/>
              <a:gd name="T84" fmla="*/ 366 w 390"/>
              <a:gd name="T85" fmla="*/ 138 h 482"/>
              <a:gd name="T86" fmla="*/ 324 w 390"/>
              <a:gd name="T87" fmla="*/ 144 h 482"/>
              <a:gd name="T88" fmla="*/ 290 w 390"/>
              <a:gd name="T89" fmla="*/ 164 h 482"/>
              <a:gd name="T90" fmla="*/ 264 w 390"/>
              <a:gd name="T91" fmla="*/ 150 h 482"/>
              <a:gd name="T92" fmla="*/ 256 w 390"/>
              <a:gd name="T93" fmla="*/ 176 h 482"/>
              <a:gd name="T94" fmla="*/ 204 w 390"/>
              <a:gd name="T95" fmla="*/ 156 h 482"/>
              <a:gd name="T96" fmla="*/ 158 w 390"/>
              <a:gd name="T97" fmla="*/ 132 h 482"/>
              <a:gd name="T98" fmla="*/ 146 w 390"/>
              <a:gd name="T99" fmla="*/ 96 h 482"/>
              <a:gd name="T100" fmla="*/ 138 w 390"/>
              <a:gd name="T101" fmla="*/ 68 h 482"/>
              <a:gd name="T102" fmla="*/ 134 w 390"/>
              <a:gd name="T103" fmla="*/ 34 h 482"/>
              <a:gd name="T104" fmla="*/ 136 w 390"/>
              <a:gd name="T105" fmla="*/ 2 h 482"/>
              <a:gd name="T106" fmla="*/ 102 w 390"/>
              <a:gd name="T107" fmla="*/ 20 h 482"/>
              <a:gd name="T108" fmla="*/ 68 w 390"/>
              <a:gd name="T109" fmla="*/ 36 h 482"/>
              <a:gd name="T110" fmla="*/ 70 w 390"/>
              <a:gd name="T111" fmla="*/ 72 h 482"/>
              <a:gd name="T112" fmla="*/ 60 w 390"/>
              <a:gd name="T113" fmla="*/ 120 h 482"/>
              <a:gd name="T114" fmla="*/ 24 w 390"/>
              <a:gd name="T115" fmla="*/ 148 h 482"/>
              <a:gd name="T116" fmla="*/ 16 w 390"/>
              <a:gd name="T117" fmla="*/ 186 h 482"/>
              <a:gd name="T118" fmla="*/ 2 w 390"/>
              <a:gd name="T119" fmla="*/ 21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0" h="482">
                <a:moveTo>
                  <a:pt x="0" y="218"/>
                </a:moveTo>
                <a:lnTo>
                  <a:pt x="2" y="218"/>
                </a:lnTo>
                <a:lnTo>
                  <a:pt x="2" y="218"/>
                </a:lnTo>
                <a:lnTo>
                  <a:pt x="2" y="218"/>
                </a:lnTo>
                <a:lnTo>
                  <a:pt x="0" y="220"/>
                </a:lnTo>
                <a:lnTo>
                  <a:pt x="0" y="220"/>
                </a:lnTo>
                <a:lnTo>
                  <a:pt x="2" y="226"/>
                </a:lnTo>
                <a:lnTo>
                  <a:pt x="2" y="230"/>
                </a:lnTo>
                <a:lnTo>
                  <a:pt x="2" y="230"/>
                </a:lnTo>
                <a:lnTo>
                  <a:pt x="12" y="234"/>
                </a:lnTo>
                <a:lnTo>
                  <a:pt x="18" y="236"/>
                </a:lnTo>
                <a:lnTo>
                  <a:pt x="26" y="234"/>
                </a:lnTo>
                <a:lnTo>
                  <a:pt x="26" y="234"/>
                </a:lnTo>
                <a:lnTo>
                  <a:pt x="28" y="232"/>
                </a:lnTo>
                <a:lnTo>
                  <a:pt x="30" y="228"/>
                </a:lnTo>
                <a:lnTo>
                  <a:pt x="30" y="228"/>
                </a:lnTo>
                <a:lnTo>
                  <a:pt x="34" y="228"/>
                </a:lnTo>
                <a:lnTo>
                  <a:pt x="34" y="228"/>
                </a:lnTo>
                <a:lnTo>
                  <a:pt x="30" y="236"/>
                </a:lnTo>
                <a:lnTo>
                  <a:pt x="30" y="236"/>
                </a:lnTo>
                <a:lnTo>
                  <a:pt x="26" y="238"/>
                </a:lnTo>
                <a:lnTo>
                  <a:pt x="26" y="238"/>
                </a:lnTo>
                <a:lnTo>
                  <a:pt x="24" y="240"/>
                </a:lnTo>
                <a:lnTo>
                  <a:pt x="22" y="244"/>
                </a:lnTo>
                <a:lnTo>
                  <a:pt x="22" y="244"/>
                </a:lnTo>
                <a:lnTo>
                  <a:pt x="18" y="244"/>
                </a:lnTo>
                <a:lnTo>
                  <a:pt x="18" y="244"/>
                </a:lnTo>
                <a:lnTo>
                  <a:pt x="14" y="246"/>
                </a:lnTo>
                <a:lnTo>
                  <a:pt x="14" y="246"/>
                </a:lnTo>
                <a:lnTo>
                  <a:pt x="12" y="246"/>
                </a:lnTo>
                <a:lnTo>
                  <a:pt x="10" y="246"/>
                </a:lnTo>
                <a:lnTo>
                  <a:pt x="10" y="246"/>
                </a:lnTo>
                <a:lnTo>
                  <a:pt x="8" y="248"/>
                </a:lnTo>
                <a:lnTo>
                  <a:pt x="8" y="248"/>
                </a:lnTo>
                <a:lnTo>
                  <a:pt x="12" y="254"/>
                </a:lnTo>
                <a:lnTo>
                  <a:pt x="12" y="254"/>
                </a:lnTo>
                <a:lnTo>
                  <a:pt x="20" y="264"/>
                </a:lnTo>
                <a:lnTo>
                  <a:pt x="28" y="274"/>
                </a:lnTo>
                <a:lnTo>
                  <a:pt x="28" y="274"/>
                </a:lnTo>
                <a:lnTo>
                  <a:pt x="34" y="274"/>
                </a:lnTo>
                <a:lnTo>
                  <a:pt x="34" y="274"/>
                </a:lnTo>
                <a:lnTo>
                  <a:pt x="36" y="270"/>
                </a:lnTo>
                <a:lnTo>
                  <a:pt x="36" y="270"/>
                </a:lnTo>
                <a:lnTo>
                  <a:pt x="44" y="266"/>
                </a:lnTo>
                <a:lnTo>
                  <a:pt x="48" y="264"/>
                </a:lnTo>
                <a:lnTo>
                  <a:pt x="50" y="258"/>
                </a:lnTo>
                <a:lnTo>
                  <a:pt x="50" y="258"/>
                </a:lnTo>
                <a:lnTo>
                  <a:pt x="50" y="250"/>
                </a:lnTo>
                <a:lnTo>
                  <a:pt x="50" y="244"/>
                </a:lnTo>
                <a:lnTo>
                  <a:pt x="52" y="244"/>
                </a:lnTo>
                <a:lnTo>
                  <a:pt x="52" y="244"/>
                </a:lnTo>
                <a:lnTo>
                  <a:pt x="54" y="244"/>
                </a:lnTo>
                <a:lnTo>
                  <a:pt x="54" y="244"/>
                </a:lnTo>
                <a:lnTo>
                  <a:pt x="54" y="244"/>
                </a:lnTo>
                <a:lnTo>
                  <a:pt x="54" y="246"/>
                </a:lnTo>
                <a:lnTo>
                  <a:pt x="54" y="248"/>
                </a:lnTo>
                <a:lnTo>
                  <a:pt x="54" y="248"/>
                </a:lnTo>
                <a:lnTo>
                  <a:pt x="56" y="250"/>
                </a:lnTo>
                <a:lnTo>
                  <a:pt x="56" y="250"/>
                </a:lnTo>
                <a:lnTo>
                  <a:pt x="54" y="254"/>
                </a:lnTo>
                <a:lnTo>
                  <a:pt x="54" y="254"/>
                </a:lnTo>
                <a:lnTo>
                  <a:pt x="56" y="256"/>
                </a:lnTo>
                <a:lnTo>
                  <a:pt x="56" y="256"/>
                </a:lnTo>
                <a:lnTo>
                  <a:pt x="56" y="256"/>
                </a:lnTo>
                <a:lnTo>
                  <a:pt x="56" y="258"/>
                </a:lnTo>
                <a:lnTo>
                  <a:pt x="54" y="258"/>
                </a:lnTo>
                <a:lnTo>
                  <a:pt x="54" y="258"/>
                </a:lnTo>
                <a:lnTo>
                  <a:pt x="54" y="260"/>
                </a:lnTo>
                <a:lnTo>
                  <a:pt x="56" y="260"/>
                </a:lnTo>
                <a:lnTo>
                  <a:pt x="56" y="260"/>
                </a:lnTo>
                <a:lnTo>
                  <a:pt x="56" y="264"/>
                </a:lnTo>
                <a:lnTo>
                  <a:pt x="56" y="264"/>
                </a:lnTo>
                <a:lnTo>
                  <a:pt x="58" y="266"/>
                </a:lnTo>
                <a:lnTo>
                  <a:pt x="60" y="268"/>
                </a:lnTo>
                <a:lnTo>
                  <a:pt x="60" y="270"/>
                </a:lnTo>
                <a:lnTo>
                  <a:pt x="58" y="272"/>
                </a:lnTo>
                <a:lnTo>
                  <a:pt x="58" y="272"/>
                </a:lnTo>
                <a:lnTo>
                  <a:pt x="52" y="290"/>
                </a:lnTo>
                <a:lnTo>
                  <a:pt x="52" y="290"/>
                </a:lnTo>
                <a:lnTo>
                  <a:pt x="56" y="292"/>
                </a:lnTo>
                <a:lnTo>
                  <a:pt x="58" y="296"/>
                </a:lnTo>
                <a:lnTo>
                  <a:pt x="58" y="296"/>
                </a:lnTo>
                <a:lnTo>
                  <a:pt x="58" y="298"/>
                </a:lnTo>
                <a:lnTo>
                  <a:pt x="56" y="298"/>
                </a:lnTo>
                <a:lnTo>
                  <a:pt x="56" y="298"/>
                </a:lnTo>
                <a:lnTo>
                  <a:pt x="58" y="300"/>
                </a:lnTo>
                <a:lnTo>
                  <a:pt x="58" y="304"/>
                </a:lnTo>
                <a:lnTo>
                  <a:pt x="56" y="308"/>
                </a:lnTo>
                <a:lnTo>
                  <a:pt x="60" y="308"/>
                </a:lnTo>
                <a:lnTo>
                  <a:pt x="60" y="308"/>
                </a:lnTo>
                <a:lnTo>
                  <a:pt x="58" y="318"/>
                </a:lnTo>
                <a:lnTo>
                  <a:pt x="60" y="322"/>
                </a:lnTo>
                <a:lnTo>
                  <a:pt x="62" y="324"/>
                </a:lnTo>
                <a:lnTo>
                  <a:pt x="62" y="324"/>
                </a:lnTo>
                <a:lnTo>
                  <a:pt x="60" y="328"/>
                </a:lnTo>
                <a:lnTo>
                  <a:pt x="60" y="328"/>
                </a:lnTo>
                <a:lnTo>
                  <a:pt x="64" y="332"/>
                </a:lnTo>
                <a:lnTo>
                  <a:pt x="64" y="332"/>
                </a:lnTo>
                <a:lnTo>
                  <a:pt x="64" y="340"/>
                </a:lnTo>
                <a:lnTo>
                  <a:pt x="64" y="346"/>
                </a:lnTo>
                <a:lnTo>
                  <a:pt x="64" y="346"/>
                </a:lnTo>
                <a:lnTo>
                  <a:pt x="66" y="354"/>
                </a:lnTo>
                <a:lnTo>
                  <a:pt x="70" y="362"/>
                </a:lnTo>
                <a:lnTo>
                  <a:pt x="76" y="378"/>
                </a:lnTo>
                <a:lnTo>
                  <a:pt x="76" y="378"/>
                </a:lnTo>
                <a:lnTo>
                  <a:pt x="78" y="390"/>
                </a:lnTo>
                <a:lnTo>
                  <a:pt x="80" y="402"/>
                </a:lnTo>
                <a:lnTo>
                  <a:pt x="80" y="402"/>
                </a:lnTo>
                <a:lnTo>
                  <a:pt x="82" y="406"/>
                </a:lnTo>
                <a:lnTo>
                  <a:pt x="82" y="406"/>
                </a:lnTo>
                <a:lnTo>
                  <a:pt x="84" y="410"/>
                </a:lnTo>
                <a:lnTo>
                  <a:pt x="84" y="414"/>
                </a:lnTo>
                <a:lnTo>
                  <a:pt x="84" y="414"/>
                </a:lnTo>
                <a:lnTo>
                  <a:pt x="86" y="416"/>
                </a:lnTo>
                <a:lnTo>
                  <a:pt x="88" y="418"/>
                </a:lnTo>
                <a:lnTo>
                  <a:pt x="88" y="418"/>
                </a:lnTo>
                <a:lnTo>
                  <a:pt x="90" y="422"/>
                </a:lnTo>
                <a:lnTo>
                  <a:pt x="90" y="424"/>
                </a:lnTo>
                <a:lnTo>
                  <a:pt x="90" y="424"/>
                </a:lnTo>
                <a:lnTo>
                  <a:pt x="96" y="432"/>
                </a:lnTo>
                <a:lnTo>
                  <a:pt x="96" y="432"/>
                </a:lnTo>
                <a:lnTo>
                  <a:pt x="98" y="440"/>
                </a:lnTo>
                <a:lnTo>
                  <a:pt x="98" y="440"/>
                </a:lnTo>
                <a:lnTo>
                  <a:pt x="102" y="446"/>
                </a:lnTo>
                <a:lnTo>
                  <a:pt x="104" y="452"/>
                </a:lnTo>
                <a:lnTo>
                  <a:pt x="104" y="452"/>
                </a:lnTo>
                <a:lnTo>
                  <a:pt x="104" y="454"/>
                </a:lnTo>
                <a:lnTo>
                  <a:pt x="102" y="456"/>
                </a:lnTo>
                <a:lnTo>
                  <a:pt x="102" y="456"/>
                </a:lnTo>
                <a:lnTo>
                  <a:pt x="116" y="482"/>
                </a:lnTo>
                <a:lnTo>
                  <a:pt x="116" y="482"/>
                </a:lnTo>
                <a:lnTo>
                  <a:pt x="120" y="482"/>
                </a:lnTo>
                <a:lnTo>
                  <a:pt x="122" y="480"/>
                </a:lnTo>
                <a:lnTo>
                  <a:pt x="122" y="480"/>
                </a:lnTo>
                <a:lnTo>
                  <a:pt x="124" y="478"/>
                </a:lnTo>
                <a:lnTo>
                  <a:pt x="126" y="476"/>
                </a:lnTo>
                <a:lnTo>
                  <a:pt x="128" y="472"/>
                </a:lnTo>
                <a:lnTo>
                  <a:pt x="130" y="470"/>
                </a:lnTo>
                <a:lnTo>
                  <a:pt x="130" y="470"/>
                </a:lnTo>
                <a:lnTo>
                  <a:pt x="132" y="468"/>
                </a:lnTo>
                <a:lnTo>
                  <a:pt x="134" y="468"/>
                </a:lnTo>
                <a:lnTo>
                  <a:pt x="134" y="468"/>
                </a:lnTo>
                <a:lnTo>
                  <a:pt x="134" y="464"/>
                </a:lnTo>
                <a:lnTo>
                  <a:pt x="134" y="464"/>
                </a:lnTo>
                <a:lnTo>
                  <a:pt x="142" y="452"/>
                </a:lnTo>
                <a:lnTo>
                  <a:pt x="142" y="452"/>
                </a:lnTo>
                <a:lnTo>
                  <a:pt x="148" y="450"/>
                </a:lnTo>
                <a:lnTo>
                  <a:pt x="148" y="450"/>
                </a:lnTo>
                <a:lnTo>
                  <a:pt x="146" y="438"/>
                </a:lnTo>
                <a:lnTo>
                  <a:pt x="146" y="432"/>
                </a:lnTo>
                <a:lnTo>
                  <a:pt x="146" y="426"/>
                </a:lnTo>
                <a:lnTo>
                  <a:pt x="146" y="426"/>
                </a:lnTo>
                <a:lnTo>
                  <a:pt x="150" y="424"/>
                </a:lnTo>
                <a:lnTo>
                  <a:pt x="152" y="420"/>
                </a:lnTo>
                <a:lnTo>
                  <a:pt x="152" y="420"/>
                </a:lnTo>
                <a:lnTo>
                  <a:pt x="152" y="416"/>
                </a:lnTo>
                <a:lnTo>
                  <a:pt x="152" y="412"/>
                </a:lnTo>
                <a:lnTo>
                  <a:pt x="154" y="410"/>
                </a:lnTo>
                <a:lnTo>
                  <a:pt x="154" y="410"/>
                </a:lnTo>
                <a:lnTo>
                  <a:pt x="154" y="406"/>
                </a:lnTo>
                <a:lnTo>
                  <a:pt x="152" y="402"/>
                </a:lnTo>
                <a:lnTo>
                  <a:pt x="152" y="402"/>
                </a:lnTo>
                <a:lnTo>
                  <a:pt x="152" y="390"/>
                </a:lnTo>
                <a:lnTo>
                  <a:pt x="152" y="378"/>
                </a:lnTo>
                <a:lnTo>
                  <a:pt x="152" y="378"/>
                </a:lnTo>
                <a:lnTo>
                  <a:pt x="154" y="374"/>
                </a:lnTo>
                <a:lnTo>
                  <a:pt x="154" y="368"/>
                </a:lnTo>
                <a:lnTo>
                  <a:pt x="154" y="368"/>
                </a:lnTo>
                <a:lnTo>
                  <a:pt x="154" y="368"/>
                </a:lnTo>
                <a:lnTo>
                  <a:pt x="152" y="364"/>
                </a:lnTo>
                <a:lnTo>
                  <a:pt x="152" y="358"/>
                </a:lnTo>
                <a:lnTo>
                  <a:pt x="152" y="358"/>
                </a:lnTo>
                <a:lnTo>
                  <a:pt x="156" y="356"/>
                </a:lnTo>
                <a:lnTo>
                  <a:pt x="156" y="356"/>
                </a:lnTo>
                <a:lnTo>
                  <a:pt x="160" y="354"/>
                </a:lnTo>
                <a:lnTo>
                  <a:pt x="164" y="354"/>
                </a:lnTo>
                <a:lnTo>
                  <a:pt x="164" y="354"/>
                </a:lnTo>
                <a:lnTo>
                  <a:pt x="166" y="350"/>
                </a:lnTo>
                <a:lnTo>
                  <a:pt x="170" y="348"/>
                </a:lnTo>
                <a:lnTo>
                  <a:pt x="170" y="348"/>
                </a:lnTo>
                <a:lnTo>
                  <a:pt x="174" y="346"/>
                </a:lnTo>
                <a:lnTo>
                  <a:pt x="178" y="344"/>
                </a:lnTo>
                <a:lnTo>
                  <a:pt x="178" y="344"/>
                </a:lnTo>
                <a:lnTo>
                  <a:pt x="180" y="340"/>
                </a:lnTo>
                <a:lnTo>
                  <a:pt x="182" y="336"/>
                </a:lnTo>
                <a:lnTo>
                  <a:pt x="182" y="332"/>
                </a:lnTo>
                <a:lnTo>
                  <a:pt x="184" y="330"/>
                </a:lnTo>
                <a:lnTo>
                  <a:pt x="184" y="330"/>
                </a:lnTo>
                <a:lnTo>
                  <a:pt x="190" y="328"/>
                </a:lnTo>
                <a:lnTo>
                  <a:pt x="194" y="328"/>
                </a:lnTo>
                <a:lnTo>
                  <a:pt x="194" y="326"/>
                </a:lnTo>
                <a:lnTo>
                  <a:pt x="194" y="326"/>
                </a:lnTo>
                <a:lnTo>
                  <a:pt x="200" y="322"/>
                </a:lnTo>
                <a:lnTo>
                  <a:pt x="200" y="322"/>
                </a:lnTo>
                <a:lnTo>
                  <a:pt x="204" y="322"/>
                </a:lnTo>
                <a:lnTo>
                  <a:pt x="208" y="320"/>
                </a:lnTo>
                <a:lnTo>
                  <a:pt x="208" y="320"/>
                </a:lnTo>
                <a:lnTo>
                  <a:pt x="208" y="318"/>
                </a:lnTo>
                <a:lnTo>
                  <a:pt x="210" y="314"/>
                </a:lnTo>
                <a:lnTo>
                  <a:pt x="210" y="314"/>
                </a:lnTo>
                <a:lnTo>
                  <a:pt x="214" y="310"/>
                </a:lnTo>
                <a:lnTo>
                  <a:pt x="214" y="310"/>
                </a:lnTo>
                <a:lnTo>
                  <a:pt x="216" y="304"/>
                </a:lnTo>
                <a:lnTo>
                  <a:pt x="218" y="304"/>
                </a:lnTo>
                <a:lnTo>
                  <a:pt x="218" y="302"/>
                </a:lnTo>
                <a:lnTo>
                  <a:pt x="218" y="302"/>
                </a:lnTo>
                <a:lnTo>
                  <a:pt x="222" y="300"/>
                </a:lnTo>
                <a:lnTo>
                  <a:pt x="224" y="298"/>
                </a:lnTo>
                <a:lnTo>
                  <a:pt x="226" y="292"/>
                </a:lnTo>
                <a:lnTo>
                  <a:pt x="226" y="292"/>
                </a:lnTo>
                <a:lnTo>
                  <a:pt x="234" y="292"/>
                </a:lnTo>
                <a:lnTo>
                  <a:pt x="234" y="292"/>
                </a:lnTo>
                <a:lnTo>
                  <a:pt x="240" y="288"/>
                </a:lnTo>
                <a:lnTo>
                  <a:pt x="240" y="288"/>
                </a:lnTo>
                <a:lnTo>
                  <a:pt x="244" y="286"/>
                </a:lnTo>
                <a:lnTo>
                  <a:pt x="244" y="286"/>
                </a:lnTo>
                <a:lnTo>
                  <a:pt x="248" y="282"/>
                </a:lnTo>
                <a:lnTo>
                  <a:pt x="248" y="278"/>
                </a:lnTo>
                <a:lnTo>
                  <a:pt x="248" y="270"/>
                </a:lnTo>
                <a:lnTo>
                  <a:pt x="248" y="270"/>
                </a:lnTo>
                <a:lnTo>
                  <a:pt x="252" y="264"/>
                </a:lnTo>
                <a:lnTo>
                  <a:pt x="252" y="264"/>
                </a:lnTo>
                <a:lnTo>
                  <a:pt x="252" y="262"/>
                </a:lnTo>
                <a:lnTo>
                  <a:pt x="252" y="262"/>
                </a:lnTo>
                <a:lnTo>
                  <a:pt x="256" y="260"/>
                </a:lnTo>
                <a:lnTo>
                  <a:pt x="258" y="260"/>
                </a:lnTo>
                <a:lnTo>
                  <a:pt x="258" y="260"/>
                </a:lnTo>
                <a:lnTo>
                  <a:pt x="262" y="256"/>
                </a:lnTo>
                <a:lnTo>
                  <a:pt x="262" y="256"/>
                </a:lnTo>
                <a:lnTo>
                  <a:pt x="264" y="256"/>
                </a:lnTo>
                <a:lnTo>
                  <a:pt x="262" y="258"/>
                </a:lnTo>
                <a:lnTo>
                  <a:pt x="262" y="258"/>
                </a:lnTo>
                <a:lnTo>
                  <a:pt x="270" y="258"/>
                </a:lnTo>
                <a:lnTo>
                  <a:pt x="270" y="254"/>
                </a:lnTo>
                <a:lnTo>
                  <a:pt x="272" y="248"/>
                </a:lnTo>
                <a:lnTo>
                  <a:pt x="272" y="238"/>
                </a:lnTo>
                <a:lnTo>
                  <a:pt x="268" y="234"/>
                </a:lnTo>
                <a:lnTo>
                  <a:pt x="270" y="224"/>
                </a:lnTo>
                <a:lnTo>
                  <a:pt x="268" y="218"/>
                </a:lnTo>
                <a:lnTo>
                  <a:pt x="260" y="214"/>
                </a:lnTo>
                <a:lnTo>
                  <a:pt x="258" y="212"/>
                </a:lnTo>
                <a:lnTo>
                  <a:pt x="256" y="202"/>
                </a:lnTo>
                <a:lnTo>
                  <a:pt x="262" y="198"/>
                </a:lnTo>
                <a:lnTo>
                  <a:pt x="268" y="196"/>
                </a:lnTo>
                <a:lnTo>
                  <a:pt x="270" y="190"/>
                </a:lnTo>
                <a:lnTo>
                  <a:pt x="264" y="182"/>
                </a:lnTo>
                <a:lnTo>
                  <a:pt x="268" y="176"/>
                </a:lnTo>
                <a:lnTo>
                  <a:pt x="276" y="182"/>
                </a:lnTo>
                <a:lnTo>
                  <a:pt x="282" y="182"/>
                </a:lnTo>
                <a:lnTo>
                  <a:pt x="288" y="184"/>
                </a:lnTo>
                <a:lnTo>
                  <a:pt x="286" y="192"/>
                </a:lnTo>
                <a:lnTo>
                  <a:pt x="288" y="204"/>
                </a:lnTo>
                <a:lnTo>
                  <a:pt x="292" y="204"/>
                </a:lnTo>
                <a:lnTo>
                  <a:pt x="300" y="204"/>
                </a:lnTo>
                <a:lnTo>
                  <a:pt x="308" y="202"/>
                </a:lnTo>
                <a:lnTo>
                  <a:pt x="316" y="200"/>
                </a:lnTo>
                <a:lnTo>
                  <a:pt x="326" y="200"/>
                </a:lnTo>
                <a:lnTo>
                  <a:pt x="318" y="206"/>
                </a:lnTo>
                <a:lnTo>
                  <a:pt x="320" y="212"/>
                </a:lnTo>
                <a:lnTo>
                  <a:pt x="320" y="212"/>
                </a:lnTo>
                <a:lnTo>
                  <a:pt x="318" y="216"/>
                </a:lnTo>
                <a:lnTo>
                  <a:pt x="316" y="218"/>
                </a:lnTo>
                <a:lnTo>
                  <a:pt x="312" y="226"/>
                </a:lnTo>
                <a:lnTo>
                  <a:pt x="310" y="236"/>
                </a:lnTo>
                <a:lnTo>
                  <a:pt x="312" y="240"/>
                </a:lnTo>
                <a:lnTo>
                  <a:pt x="318" y="240"/>
                </a:lnTo>
                <a:lnTo>
                  <a:pt x="320" y="234"/>
                </a:lnTo>
                <a:lnTo>
                  <a:pt x="326" y="244"/>
                </a:lnTo>
                <a:lnTo>
                  <a:pt x="326" y="250"/>
                </a:lnTo>
                <a:lnTo>
                  <a:pt x="326" y="256"/>
                </a:lnTo>
                <a:lnTo>
                  <a:pt x="330" y="256"/>
                </a:lnTo>
                <a:lnTo>
                  <a:pt x="334" y="258"/>
                </a:lnTo>
                <a:lnTo>
                  <a:pt x="338" y="256"/>
                </a:lnTo>
                <a:lnTo>
                  <a:pt x="340" y="252"/>
                </a:lnTo>
                <a:lnTo>
                  <a:pt x="340" y="248"/>
                </a:lnTo>
                <a:lnTo>
                  <a:pt x="340" y="242"/>
                </a:lnTo>
                <a:lnTo>
                  <a:pt x="338" y="236"/>
                </a:lnTo>
                <a:lnTo>
                  <a:pt x="338" y="224"/>
                </a:lnTo>
                <a:lnTo>
                  <a:pt x="346" y="228"/>
                </a:lnTo>
                <a:lnTo>
                  <a:pt x="348" y="220"/>
                </a:lnTo>
                <a:lnTo>
                  <a:pt x="354" y="212"/>
                </a:lnTo>
                <a:lnTo>
                  <a:pt x="354" y="208"/>
                </a:lnTo>
                <a:lnTo>
                  <a:pt x="350" y="206"/>
                </a:lnTo>
                <a:lnTo>
                  <a:pt x="352" y="204"/>
                </a:lnTo>
                <a:lnTo>
                  <a:pt x="358" y="200"/>
                </a:lnTo>
                <a:lnTo>
                  <a:pt x="362" y="196"/>
                </a:lnTo>
                <a:lnTo>
                  <a:pt x="368" y="190"/>
                </a:lnTo>
                <a:lnTo>
                  <a:pt x="368" y="186"/>
                </a:lnTo>
                <a:lnTo>
                  <a:pt x="372" y="176"/>
                </a:lnTo>
                <a:lnTo>
                  <a:pt x="380" y="176"/>
                </a:lnTo>
                <a:lnTo>
                  <a:pt x="384" y="178"/>
                </a:lnTo>
                <a:lnTo>
                  <a:pt x="390" y="170"/>
                </a:lnTo>
                <a:lnTo>
                  <a:pt x="390" y="160"/>
                </a:lnTo>
                <a:lnTo>
                  <a:pt x="388" y="156"/>
                </a:lnTo>
                <a:lnTo>
                  <a:pt x="386" y="152"/>
                </a:lnTo>
                <a:lnTo>
                  <a:pt x="382" y="150"/>
                </a:lnTo>
                <a:lnTo>
                  <a:pt x="376" y="148"/>
                </a:lnTo>
                <a:lnTo>
                  <a:pt x="374" y="146"/>
                </a:lnTo>
                <a:lnTo>
                  <a:pt x="368" y="148"/>
                </a:lnTo>
                <a:lnTo>
                  <a:pt x="366" y="144"/>
                </a:lnTo>
                <a:lnTo>
                  <a:pt x="366" y="138"/>
                </a:lnTo>
                <a:lnTo>
                  <a:pt x="358" y="134"/>
                </a:lnTo>
                <a:lnTo>
                  <a:pt x="352" y="134"/>
                </a:lnTo>
                <a:lnTo>
                  <a:pt x="348" y="138"/>
                </a:lnTo>
                <a:lnTo>
                  <a:pt x="344" y="136"/>
                </a:lnTo>
                <a:lnTo>
                  <a:pt x="336" y="138"/>
                </a:lnTo>
                <a:lnTo>
                  <a:pt x="332" y="142"/>
                </a:lnTo>
                <a:lnTo>
                  <a:pt x="324" y="144"/>
                </a:lnTo>
                <a:lnTo>
                  <a:pt x="318" y="146"/>
                </a:lnTo>
                <a:lnTo>
                  <a:pt x="320" y="156"/>
                </a:lnTo>
                <a:lnTo>
                  <a:pt x="320" y="162"/>
                </a:lnTo>
                <a:lnTo>
                  <a:pt x="316" y="164"/>
                </a:lnTo>
                <a:lnTo>
                  <a:pt x="304" y="164"/>
                </a:lnTo>
                <a:lnTo>
                  <a:pt x="296" y="162"/>
                </a:lnTo>
                <a:lnTo>
                  <a:pt x="290" y="164"/>
                </a:lnTo>
                <a:lnTo>
                  <a:pt x="284" y="164"/>
                </a:lnTo>
                <a:lnTo>
                  <a:pt x="280" y="160"/>
                </a:lnTo>
                <a:lnTo>
                  <a:pt x="280" y="154"/>
                </a:lnTo>
                <a:lnTo>
                  <a:pt x="278" y="156"/>
                </a:lnTo>
                <a:lnTo>
                  <a:pt x="274" y="150"/>
                </a:lnTo>
                <a:lnTo>
                  <a:pt x="268" y="148"/>
                </a:lnTo>
                <a:lnTo>
                  <a:pt x="264" y="150"/>
                </a:lnTo>
                <a:lnTo>
                  <a:pt x="264" y="152"/>
                </a:lnTo>
                <a:lnTo>
                  <a:pt x="264" y="160"/>
                </a:lnTo>
                <a:lnTo>
                  <a:pt x="262" y="164"/>
                </a:lnTo>
                <a:lnTo>
                  <a:pt x="266" y="168"/>
                </a:lnTo>
                <a:lnTo>
                  <a:pt x="264" y="172"/>
                </a:lnTo>
                <a:lnTo>
                  <a:pt x="262" y="174"/>
                </a:lnTo>
                <a:lnTo>
                  <a:pt x="256" y="176"/>
                </a:lnTo>
                <a:lnTo>
                  <a:pt x="250" y="174"/>
                </a:lnTo>
                <a:lnTo>
                  <a:pt x="242" y="174"/>
                </a:lnTo>
                <a:lnTo>
                  <a:pt x="230" y="168"/>
                </a:lnTo>
                <a:lnTo>
                  <a:pt x="220" y="168"/>
                </a:lnTo>
                <a:lnTo>
                  <a:pt x="214" y="162"/>
                </a:lnTo>
                <a:lnTo>
                  <a:pt x="208" y="160"/>
                </a:lnTo>
                <a:lnTo>
                  <a:pt x="204" y="156"/>
                </a:lnTo>
                <a:lnTo>
                  <a:pt x="198" y="152"/>
                </a:lnTo>
                <a:lnTo>
                  <a:pt x="190" y="152"/>
                </a:lnTo>
                <a:lnTo>
                  <a:pt x="182" y="146"/>
                </a:lnTo>
                <a:lnTo>
                  <a:pt x="174" y="144"/>
                </a:lnTo>
                <a:lnTo>
                  <a:pt x="166" y="140"/>
                </a:lnTo>
                <a:lnTo>
                  <a:pt x="166" y="136"/>
                </a:lnTo>
                <a:lnTo>
                  <a:pt x="158" y="132"/>
                </a:lnTo>
                <a:lnTo>
                  <a:pt x="156" y="124"/>
                </a:lnTo>
                <a:lnTo>
                  <a:pt x="160" y="116"/>
                </a:lnTo>
                <a:lnTo>
                  <a:pt x="168" y="110"/>
                </a:lnTo>
                <a:lnTo>
                  <a:pt x="164" y="106"/>
                </a:lnTo>
                <a:lnTo>
                  <a:pt x="160" y="102"/>
                </a:lnTo>
                <a:lnTo>
                  <a:pt x="152" y="100"/>
                </a:lnTo>
                <a:lnTo>
                  <a:pt x="146" y="96"/>
                </a:lnTo>
                <a:lnTo>
                  <a:pt x="140" y="94"/>
                </a:lnTo>
                <a:lnTo>
                  <a:pt x="138" y="88"/>
                </a:lnTo>
                <a:lnTo>
                  <a:pt x="140" y="86"/>
                </a:lnTo>
                <a:lnTo>
                  <a:pt x="140" y="82"/>
                </a:lnTo>
                <a:lnTo>
                  <a:pt x="142" y="74"/>
                </a:lnTo>
                <a:lnTo>
                  <a:pt x="142" y="70"/>
                </a:lnTo>
                <a:lnTo>
                  <a:pt x="138" y="68"/>
                </a:lnTo>
                <a:lnTo>
                  <a:pt x="134" y="66"/>
                </a:lnTo>
                <a:lnTo>
                  <a:pt x="134" y="58"/>
                </a:lnTo>
                <a:lnTo>
                  <a:pt x="132" y="52"/>
                </a:lnTo>
                <a:lnTo>
                  <a:pt x="126" y="48"/>
                </a:lnTo>
                <a:lnTo>
                  <a:pt x="128" y="44"/>
                </a:lnTo>
                <a:lnTo>
                  <a:pt x="132" y="40"/>
                </a:lnTo>
                <a:lnTo>
                  <a:pt x="134" y="34"/>
                </a:lnTo>
                <a:lnTo>
                  <a:pt x="138" y="30"/>
                </a:lnTo>
                <a:lnTo>
                  <a:pt x="140" y="26"/>
                </a:lnTo>
                <a:lnTo>
                  <a:pt x="142" y="22"/>
                </a:lnTo>
                <a:lnTo>
                  <a:pt x="146" y="18"/>
                </a:lnTo>
                <a:lnTo>
                  <a:pt x="142" y="12"/>
                </a:lnTo>
                <a:lnTo>
                  <a:pt x="140" y="8"/>
                </a:lnTo>
                <a:lnTo>
                  <a:pt x="136" y="2"/>
                </a:lnTo>
                <a:lnTo>
                  <a:pt x="130" y="2"/>
                </a:lnTo>
                <a:lnTo>
                  <a:pt x="124" y="0"/>
                </a:lnTo>
                <a:lnTo>
                  <a:pt x="118" y="0"/>
                </a:lnTo>
                <a:lnTo>
                  <a:pt x="116" y="2"/>
                </a:lnTo>
                <a:lnTo>
                  <a:pt x="108" y="8"/>
                </a:lnTo>
                <a:lnTo>
                  <a:pt x="106" y="14"/>
                </a:lnTo>
                <a:lnTo>
                  <a:pt x="102" y="20"/>
                </a:lnTo>
                <a:lnTo>
                  <a:pt x="98" y="22"/>
                </a:lnTo>
                <a:lnTo>
                  <a:pt x="92" y="28"/>
                </a:lnTo>
                <a:lnTo>
                  <a:pt x="82" y="30"/>
                </a:lnTo>
                <a:lnTo>
                  <a:pt x="76" y="34"/>
                </a:lnTo>
                <a:lnTo>
                  <a:pt x="76" y="36"/>
                </a:lnTo>
                <a:lnTo>
                  <a:pt x="72" y="40"/>
                </a:lnTo>
                <a:lnTo>
                  <a:pt x="68" y="36"/>
                </a:lnTo>
                <a:lnTo>
                  <a:pt x="62" y="40"/>
                </a:lnTo>
                <a:lnTo>
                  <a:pt x="56" y="42"/>
                </a:lnTo>
                <a:lnTo>
                  <a:pt x="56" y="46"/>
                </a:lnTo>
                <a:lnTo>
                  <a:pt x="62" y="52"/>
                </a:lnTo>
                <a:lnTo>
                  <a:pt x="64" y="66"/>
                </a:lnTo>
                <a:lnTo>
                  <a:pt x="66" y="68"/>
                </a:lnTo>
                <a:lnTo>
                  <a:pt x="70" y="72"/>
                </a:lnTo>
                <a:lnTo>
                  <a:pt x="76" y="78"/>
                </a:lnTo>
                <a:lnTo>
                  <a:pt x="76" y="86"/>
                </a:lnTo>
                <a:lnTo>
                  <a:pt x="72" y="92"/>
                </a:lnTo>
                <a:lnTo>
                  <a:pt x="68" y="98"/>
                </a:lnTo>
                <a:lnTo>
                  <a:pt x="68" y="108"/>
                </a:lnTo>
                <a:lnTo>
                  <a:pt x="66" y="116"/>
                </a:lnTo>
                <a:lnTo>
                  <a:pt x="60" y="120"/>
                </a:lnTo>
                <a:lnTo>
                  <a:pt x="56" y="124"/>
                </a:lnTo>
                <a:lnTo>
                  <a:pt x="52" y="130"/>
                </a:lnTo>
                <a:lnTo>
                  <a:pt x="44" y="134"/>
                </a:lnTo>
                <a:lnTo>
                  <a:pt x="38" y="144"/>
                </a:lnTo>
                <a:lnTo>
                  <a:pt x="32" y="150"/>
                </a:lnTo>
                <a:lnTo>
                  <a:pt x="26" y="152"/>
                </a:lnTo>
                <a:lnTo>
                  <a:pt x="24" y="148"/>
                </a:lnTo>
                <a:lnTo>
                  <a:pt x="20" y="156"/>
                </a:lnTo>
                <a:lnTo>
                  <a:pt x="16" y="160"/>
                </a:lnTo>
                <a:lnTo>
                  <a:pt x="12" y="168"/>
                </a:lnTo>
                <a:lnTo>
                  <a:pt x="16" y="172"/>
                </a:lnTo>
                <a:lnTo>
                  <a:pt x="18" y="174"/>
                </a:lnTo>
                <a:lnTo>
                  <a:pt x="16" y="180"/>
                </a:lnTo>
                <a:lnTo>
                  <a:pt x="16" y="186"/>
                </a:lnTo>
                <a:lnTo>
                  <a:pt x="22" y="188"/>
                </a:lnTo>
                <a:lnTo>
                  <a:pt x="24" y="194"/>
                </a:lnTo>
                <a:lnTo>
                  <a:pt x="24" y="210"/>
                </a:lnTo>
                <a:lnTo>
                  <a:pt x="20" y="208"/>
                </a:lnTo>
                <a:lnTo>
                  <a:pt x="12" y="208"/>
                </a:lnTo>
                <a:lnTo>
                  <a:pt x="8" y="208"/>
                </a:lnTo>
                <a:lnTo>
                  <a:pt x="2" y="212"/>
                </a:lnTo>
                <a:lnTo>
                  <a:pt x="0" y="2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8" name="Freeform 172">
            <a:extLst>
              <a:ext uri="{FF2B5EF4-FFF2-40B4-BE49-F238E27FC236}">
                <a16:creationId xmlns:a16="http://schemas.microsoft.com/office/drawing/2014/main" id="{9CA8DB8A-2DDC-4DB5-85F7-39439B1769A2}"/>
              </a:ext>
            </a:extLst>
          </p:cNvPr>
          <p:cNvSpPr>
            <a:spLocks/>
          </p:cNvSpPr>
          <p:nvPr userDrawn="1"/>
        </p:nvSpPr>
        <p:spPr bwMode="auto">
          <a:xfrm>
            <a:off x="5319164" y="1545960"/>
            <a:ext cx="174412" cy="123551"/>
          </a:xfrm>
          <a:custGeom>
            <a:avLst/>
            <a:gdLst>
              <a:gd name="T0" fmla="*/ 76 w 104"/>
              <a:gd name="T1" fmla="*/ 8 h 72"/>
              <a:gd name="T2" fmla="*/ 72 w 104"/>
              <a:gd name="T3" fmla="*/ 8 h 72"/>
              <a:gd name="T4" fmla="*/ 68 w 104"/>
              <a:gd name="T5" fmla="*/ 10 h 72"/>
              <a:gd name="T6" fmla="*/ 58 w 104"/>
              <a:gd name="T7" fmla="*/ 8 h 72"/>
              <a:gd name="T8" fmla="*/ 54 w 104"/>
              <a:gd name="T9" fmla="*/ 10 h 72"/>
              <a:gd name="T10" fmla="*/ 54 w 104"/>
              <a:gd name="T11" fmla="*/ 6 h 72"/>
              <a:gd name="T12" fmla="*/ 48 w 104"/>
              <a:gd name="T13" fmla="*/ 10 h 72"/>
              <a:gd name="T14" fmla="*/ 44 w 104"/>
              <a:gd name="T15" fmla="*/ 16 h 72"/>
              <a:gd name="T16" fmla="*/ 40 w 104"/>
              <a:gd name="T17" fmla="*/ 8 h 72"/>
              <a:gd name="T18" fmla="*/ 38 w 104"/>
              <a:gd name="T19" fmla="*/ 24 h 72"/>
              <a:gd name="T20" fmla="*/ 32 w 104"/>
              <a:gd name="T21" fmla="*/ 28 h 72"/>
              <a:gd name="T22" fmla="*/ 28 w 104"/>
              <a:gd name="T23" fmla="*/ 26 h 72"/>
              <a:gd name="T24" fmla="*/ 28 w 104"/>
              <a:gd name="T25" fmla="*/ 14 h 72"/>
              <a:gd name="T26" fmla="*/ 26 w 104"/>
              <a:gd name="T27" fmla="*/ 10 h 72"/>
              <a:gd name="T28" fmla="*/ 16 w 104"/>
              <a:gd name="T29" fmla="*/ 8 h 72"/>
              <a:gd name="T30" fmla="*/ 20 w 104"/>
              <a:gd name="T31" fmla="*/ 16 h 72"/>
              <a:gd name="T32" fmla="*/ 12 w 104"/>
              <a:gd name="T33" fmla="*/ 8 h 72"/>
              <a:gd name="T34" fmla="*/ 10 w 104"/>
              <a:gd name="T35" fmla="*/ 10 h 72"/>
              <a:gd name="T36" fmla="*/ 10 w 104"/>
              <a:gd name="T37" fmla="*/ 10 h 72"/>
              <a:gd name="T38" fmla="*/ 10 w 104"/>
              <a:gd name="T39" fmla="*/ 12 h 72"/>
              <a:gd name="T40" fmla="*/ 4 w 104"/>
              <a:gd name="T41" fmla="*/ 26 h 72"/>
              <a:gd name="T42" fmla="*/ 0 w 104"/>
              <a:gd name="T43" fmla="*/ 28 h 72"/>
              <a:gd name="T44" fmla="*/ 6 w 104"/>
              <a:gd name="T45" fmla="*/ 28 h 72"/>
              <a:gd name="T46" fmla="*/ 18 w 104"/>
              <a:gd name="T47" fmla="*/ 24 h 72"/>
              <a:gd name="T48" fmla="*/ 16 w 104"/>
              <a:gd name="T49" fmla="*/ 26 h 72"/>
              <a:gd name="T50" fmla="*/ 20 w 104"/>
              <a:gd name="T51" fmla="*/ 30 h 72"/>
              <a:gd name="T52" fmla="*/ 14 w 104"/>
              <a:gd name="T53" fmla="*/ 32 h 72"/>
              <a:gd name="T54" fmla="*/ 4 w 104"/>
              <a:gd name="T55" fmla="*/ 38 h 72"/>
              <a:gd name="T56" fmla="*/ 10 w 104"/>
              <a:gd name="T57" fmla="*/ 40 h 72"/>
              <a:gd name="T58" fmla="*/ 20 w 104"/>
              <a:gd name="T59" fmla="*/ 46 h 72"/>
              <a:gd name="T60" fmla="*/ 22 w 104"/>
              <a:gd name="T61" fmla="*/ 52 h 72"/>
              <a:gd name="T62" fmla="*/ 14 w 104"/>
              <a:gd name="T63" fmla="*/ 58 h 72"/>
              <a:gd name="T64" fmla="*/ 30 w 104"/>
              <a:gd name="T65" fmla="*/ 60 h 72"/>
              <a:gd name="T66" fmla="*/ 34 w 104"/>
              <a:gd name="T67" fmla="*/ 62 h 72"/>
              <a:gd name="T68" fmla="*/ 38 w 104"/>
              <a:gd name="T69" fmla="*/ 70 h 72"/>
              <a:gd name="T70" fmla="*/ 54 w 104"/>
              <a:gd name="T71" fmla="*/ 70 h 72"/>
              <a:gd name="T72" fmla="*/ 56 w 104"/>
              <a:gd name="T73" fmla="*/ 70 h 72"/>
              <a:gd name="T74" fmla="*/ 60 w 104"/>
              <a:gd name="T75" fmla="*/ 64 h 72"/>
              <a:gd name="T76" fmla="*/ 64 w 104"/>
              <a:gd name="T77" fmla="*/ 60 h 72"/>
              <a:gd name="T78" fmla="*/ 70 w 104"/>
              <a:gd name="T79" fmla="*/ 58 h 72"/>
              <a:gd name="T80" fmla="*/ 80 w 104"/>
              <a:gd name="T81" fmla="*/ 54 h 72"/>
              <a:gd name="T82" fmla="*/ 90 w 104"/>
              <a:gd name="T83" fmla="*/ 48 h 72"/>
              <a:gd name="T84" fmla="*/ 94 w 104"/>
              <a:gd name="T85" fmla="*/ 40 h 72"/>
              <a:gd name="T86" fmla="*/ 98 w 104"/>
              <a:gd name="T87" fmla="*/ 36 h 72"/>
              <a:gd name="T88" fmla="*/ 102 w 104"/>
              <a:gd name="T89" fmla="*/ 38 h 72"/>
              <a:gd name="T90" fmla="*/ 104 w 104"/>
              <a:gd name="T91" fmla="*/ 32 h 72"/>
              <a:gd name="T92" fmla="*/ 102 w 104"/>
              <a:gd name="T93" fmla="*/ 26 h 72"/>
              <a:gd name="T94" fmla="*/ 98 w 104"/>
              <a:gd name="T95" fmla="*/ 24 h 72"/>
              <a:gd name="T96" fmla="*/ 94 w 104"/>
              <a:gd name="T97" fmla="*/ 20 h 72"/>
              <a:gd name="T98" fmla="*/ 90 w 104"/>
              <a:gd name="T99" fmla="*/ 12 h 72"/>
              <a:gd name="T100" fmla="*/ 94 w 104"/>
              <a:gd name="T101" fmla="*/ 6 h 72"/>
              <a:gd name="T102" fmla="*/ 88 w 104"/>
              <a:gd name="T103" fmla="*/ 8 h 72"/>
              <a:gd name="T104" fmla="*/ 80 w 104"/>
              <a:gd name="T10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72">
                <a:moveTo>
                  <a:pt x="80" y="0"/>
                </a:moveTo>
                <a:lnTo>
                  <a:pt x="80" y="0"/>
                </a:lnTo>
                <a:lnTo>
                  <a:pt x="76" y="0"/>
                </a:lnTo>
                <a:lnTo>
                  <a:pt x="76" y="0"/>
                </a:lnTo>
                <a:lnTo>
                  <a:pt x="76" y="8"/>
                </a:lnTo>
                <a:lnTo>
                  <a:pt x="76" y="8"/>
                </a:lnTo>
                <a:lnTo>
                  <a:pt x="74" y="10"/>
                </a:lnTo>
                <a:lnTo>
                  <a:pt x="72" y="10"/>
                </a:lnTo>
                <a:lnTo>
                  <a:pt x="72" y="10"/>
                </a:lnTo>
                <a:lnTo>
                  <a:pt x="72" y="8"/>
                </a:lnTo>
                <a:lnTo>
                  <a:pt x="70" y="6"/>
                </a:lnTo>
                <a:lnTo>
                  <a:pt x="70" y="6"/>
                </a:lnTo>
                <a:lnTo>
                  <a:pt x="70" y="6"/>
                </a:lnTo>
                <a:lnTo>
                  <a:pt x="68" y="10"/>
                </a:lnTo>
                <a:lnTo>
                  <a:pt x="68" y="10"/>
                </a:lnTo>
                <a:lnTo>
                  <a:pt x="66" y="10"/>
                </a:lnTo>
                <a:lnTo>
                  <a:pt x="64" y="12"/>
                </a:lnTo>
                <a:lnTo>
                  <a:pt x="64" y="12"/>
                </a:lnTo>
                <a:lnTo>
                  <a:pt x="60" y="10"/>
                </a:lnTo>
                <a:lnTo>
                  <a:pt x="58" y="8"/>
                </a:lnTo>
                <a:lnTo>
                  <a:pt x="58" y="8"/>
                </a:lnTo>
                <a:lnTo>
                  <a:pt x="58" y="16"/>
                </a:lnTo>
                <a:lnTo>
                  <a:pt x="58" y="16"/>
                </a:lnTo>
                <a:lnTo>
                  <a:pt x="56" y="14"/>
                </a:lnTo>
                <a:lnTo>
                  <a:pt x="54" y="10"/>
                </a:lnTo>
                <a:lnTo>
                  <a:pt x="54" y="10"/>
                </a:lnTo>
                <a:lnTo>
                  <a:pt x="54" y="8"/>
                </a:lnTo>
                <a:lnTo>
                  <a:pt x="54" y="8"/>
                </a:lnTo>
                <a:lnTo>
                  <a:pt x="54" y="6"/>
                </a:lnTo>
                <a:lnTo>
                  <a:pt x="54" y="6"/>
                </a:lnTo>
                <a:lnTo>
                  <a:pt x="52" y="6"/>
                </a:lnTo>
                <a:lnTo>
                  <a:pt x="52" y="6"/>
                </a:lnTo>
                <a:lnTo>
                  <a:pt x="50" y="8"/>
                </a:lnTo>
                <a:lnTo>
                  <a:pt x="50" y="8"/>
                </a:lnTo>
                <a:lnTo>
                  <a:pt x="48" y="10"/>
                </a:lnTo>
                <a:lnTo>
                  <a:pt x="46" y="10"/>
                </a:lnTo>
                <a:lnTo>
                  <a:pt x="44" y="12"/>
                </a:lnTo>
                <a:lnTo>
                  <a:pt x="46" y="16"/>
                </a:lnTo>
                <a:lnTo>
                  <a:pt x="46" y="16"/>
                </a:lnTo>
                <a:lnTo>
                  <a:pt x="44" y="16"/>
                </a:lnTo>
                <a:lnTo>
                  <a:pt x="44" y="18"/>
                </a:lnTo>
                <a:lnTo>
                  <a:pt x="44" y="18"/>
                </a:lnTo>
                <a:lnTo>
                  <a:pt x="42" y="12"/>
                </a:lnTo>
                <a:lnTo>
                  <a:pt x="42" y="12"/>
                </a:lnTo>
                <a:lnTo>
                  <a:pt x="40" y="8"/>
                </a:lnTo>
                <a:lnTo>
                  <a:pt x="40" y="8"/>
                </a:lnTo>
                <a:lnTo>
                  <a:pt x="38" y="10"/>
                </a:lnTo>
                <a:lnTo>
                  <a:pt x="38" y="10"/>
                </a:lnTo>
                <a:lnTo>
                  <a:pt x="38" y="16"/>
                </a:lnTo>
                <a:lnTo>
                  <a:pt x="38" y="24"/>
                </a:lnTo>
                <a:lnTo>
                  <a:pt x="38" y="24"/>
                </a:lnTo>
                <a:lnTo>
                  <a:pt x="34" y="22"/>
                </a:lnTo>
                <a:lnTo>
                  <a:pt x="32" y="22"/>
                </a:lnTo>
                <a:lnTo>
                  <a:pt x="32" y="22"/>
                </a:lnTo>
                <a:lnTo>
                  <a:pt x="32" y="28"/>
                </a:lnTo>
                <a:lnTo>
                  <a:pt x="32" y="28"/>
                </a:lnTo>
                <a:lnTo>
                  <a:pt x="28" y="30"/>
                </a:lnTo>
                <a:lnTo>
                  <a:pt x="28" y="30"/>
                </a:lnTo>
                <a:lnTo>
                  <a:pt x="28" y="26"/>
                </a:lnTo>
                <a:lnTo>
                  <a:pt x="28" y="26"/>
                </a:lnTo>
                <a:lnTo>
                  <a:pt x="28" y="20"/>
                </a:lnTo>
                <a:lnTo>
                  <a:pt x="28" y="18"/>
                </a:lnTo>
                <a:lnTo>
                  <a:pt x="28" y="16"/>
                </a:lnTo>
                <a:lnTo>
                  <a:pt x="28" y="16"/>
                </a:lnTo>
                <a:lnTo>
                  <a:pt x="28" y="14"/>
                </a:lnTo>
                <a:lnTo>
                  <a:pt x="28" y="12"/>
                </a:lnTo>
                <a:lnTo>
                  <a:pt x="26" y="12"/>
                </a:lnTo>
                <a:lnTo>
                  <a:pt x="26" y="12"/>
                </a:lnTo>
                <a:lnTo>
                  <a:pt x="26" y="10"/>
                </a:lnTo>
                <a:lnTo>
                  <a:pt x="26" y="10"/>
                </a:lnTo>
                <a:lnTo>
                  <a:pt x="24" y="6"/>
                </a:lnTo>
                <a:lnTo>
                  <a:pt x="24" y="6"/>
                </a:lnTo>
                <a:lnTo>
                  <a:pt x="16" y="6"/>
                </a:lnTo>
                <a:lnTo>
                  <a:pt x="16" y="8"/>
                </a:lnTo>
                <a:lnTo>
                  <a:pt x="16" y="8"/>
                </a:lnTo>
                <a:lnTo>
                  <a:pt x="20" y="10"/>
                </a:lnTo>
                <a:lnTo>
                  <a:pt x="20" y="10"/>
                </a:lnTo>
                <a:lnTo>
                  <a:pt x="20" y="14"/>
                </a:lnTo>
                <a:lnTo>
                  <a:pt x="22" y="16"/>
                </a:lnTo>
                <a:lnTo>
                  <a:pt x="20" y="16"/>
                </a:lnTo>
                <a:lnTo>
                  <a:pt x="20" y="16"/>
                </a:lnTo>
                <a:lnTo>
                  <a:pt x="18" y="14"/>
                </a:lnTo>
                <a:lnTo>
                  <a:pt x="18" y="14"/>
                </a:lnTo>
                <a:lnTo>
                  <a:pt x="14" y="12"/>
                </a:lnTo>
                <a:lnTo>
                  <a:pt x="12" y="8"/>
                </a:lnTo>
                <a:lnTo>
                  <a:pt x="12" y="8"/>
                </a:lnTo>
                <a:lnTo>
                  <a:pt x="12" y="8"/>
                </a:lnTo>
                <a:lnTo>
                  <a:pt x="12" y="8"/>
                </a:lnTo>
                <a:lnTo>
                  <a:pt x="10" y="6"/>
                </a:lnTo>
                <a:lnTo>
                  <a:pt x="10" y="10"/>
                </a:lnTo>
                <a:lnTo>
                  <a:pt x="10" y="10"/>
                </a:lnTo>
                <a:lnTo>
                  <a:pt x="10" y="10"/>
                </a:lnTo>
                <a:lnTo>
                  <a:pt x="10" y="10"/>
                </a:lnTo>
                <a:lnTo>
                  <a:pt x="10" y="10"/>
                </a:lnTo>
                <a:lnTo>
                  <a:pt x="10" y="10"/>
                </a:lnTo>
                <a:lnTo>
                  <a:pt x="10" y="10"/>
                </a:lnTo>
                <a:lnTo>
                  <a:pt x="6" y="12"/>
                </a:lnTo>
                <a:lnTo>
                  <a:pt x="6" y="12"/>
                </a:lnTo>
                <a:lnTo>
                  <a:pt x="8" y="12"/>
                </a:lnTo>
                <a:lnTo>
                  <a:pt x="10" y="12"/>
                </a:lnTo>
                <a:lnTo>
                  <a:pt x="10" y="12"/>
                </a:lnTo>
                <a:lnTo>
                  <a:pt x="10" y="18"/>
                </a:lnTo>
                <a:lnTo>
                  <a:pt x="8" y="20"/>
                </a:lnTo>
                <a:lnTo>
                  <a:pt x="8" y="20"/>
                </a:lnTo>
                <a:lnTo>
                  <a:pt x="4" y="26"/>
                </a:lnTo>
                <a:lnTo>
                  <a:pt x="4" y="26"/>
                </a:lnTo>
                <a:lnTo>
                  <a:pt x="2" y="26"/>
                </a:lnTo>
                <a:lnTo>
                  <a:pt x="0" y="24"/>
                </a:lnTo>
                <a:lnTo>
                  <a:pt x="0" y="28"/>
                </a:lnTo>
                <a:lnTo>
                  <a:pt x="0" y="28"/>
                </a:lnTo>
                <a:lnTo>
                  <a:pt x="4" y="28"/>
                </a:lnTo>
                <a:lnTo>
                  <a:pt x="4" y="28"/>
                </a:lnTo>
                <a:lnTo>
                  <a:pt x="4" y="28"/>
                </a:lnTo>
                <a:lnTo>
                  <a:pt x="6" y="28"/>
                </a:lnTo>
                <a:lnTo>
                  <a:pt x="6" y="28"/>
                </a:lnTo>
                <a:lnTo>
                  <a:pt x="8" y="26"/>
                </a:lnTo>
                <a:lnTo>
                  <a:pt x="8" y="26"/>
                </a:lnTo>
                <a:lnTo>
                  <a:pt x="16" y="22"/>
                </a:lnTo>
                <a:lnTo>
                  <a:pt x="16" y="22"/>
                </a:lnTo>
                <a:lnTo>
                  <a:pt x="18" y="24"/>
                </a:lnTo>
                <a:lnTo>
                  <a:pt x="18" y="24"/>
                </a:lnTo>
                <a:lnTo>
                  <a:pt x="20" y="24"/>
                </a:lnTo>
                <a:lnTo>
                  <a:pt x="20" y="26"/>
                </a:lnTo>
                <a:lnTo>
                  <a:pt x="16" y="26"/>
                </a:lnTo>
                <a:lnTo>
                  <a:pt x="16" y="26"/>
                </a:lnTo>
                <a:lnTo>
                  <a:pt x="18" y="32"/>
                </a:lnTo>
                <a:lnTo>
                  <a:pt x="18" y="32"/>
                </a:lnTo>
                <a:lnTo>
                  <a:pt x="20" y="30"/>
                </a:lnTo>
                <a:lnTo>
                  <a:pt x="20" y="30"/>
                </a:lnTo>
                <a:lnTo>
                  <a:pt x="20" y="30"/>
                </a:lnTo>
                <a:lnTo>
                  <a:pt x="20" y="32"/>
                </a:lnTo>
                <a:lnTo>
                  <a:pt x="20" y="34"/>
                </a:lnTo>
                <a:lnTo>
                  <a:pt x="20" y="34"/>
                </a:lnTo>
                <a:lnTo>
                  <a:pt x="14" y="32"/>
                </a:lnTo>
                <a:lnTo>
                  <a:pt x="14" y="32"/>
                </a:lnTo>
                <a:lnTo>
                  <a:pt x="12" y="34"/>
                </a:lnTo>
                <a:lnTo>
                  <a:pt x="8" y="38"/>
                </a:lnTo>
                <a:lnTo>
                  <a:pt x="8" y="38"/>
                </a:lnTo>
                <a:lnTo>
                  <a:pt x="4" y="38"/>
                </a:lnTo>
                <a:lnTo>
                  <a:pt x="4" y="38"/>
                </a:lnTo>
                <a:lnTo>
                  <a:pt x="4" y="40"/>
                </a:lnTo>
                <a:lnTo>
                  <a:pt x="4" y="42"/>
                </a:lnTo>
                <a:lnTo>
                  <a:pt x="4" y="42"/>
                </a:lnTo>
                <a:lnTo>
                  <a:pt x="8" y="42"/>
                </a:lnTo>
                <a:lnTo>
                  <a:pt x="10" y="40"/>
                </a:lnTo>
                <a:lnTo>
                  <a:pt x="10" y="40"/>
                </a:lnTo>
                <a:lnTo>
                  <a:pt x="18" y="42"/>
                </a:lnTo>
                <a:lnTo>
                  <a:pt x="18" y="42"/>
                </a:lnTo>
                <a:lnTo>
                  <a:pt x="20" y="46"/>
                </a:lnTo>
                <a:lnTo>
                  <a:pt x="20" y="46"/>
                </a:lnTo>
                <a:lnTo>
                  <a:pt x="20" y="46"/>
                </a:lnTo>
                <a:lnTo>
                  <a:pt x="22" y="46"/>
                </a:lnTo>
                <a:lnTo>
                  <a:pt x="22" y="46"/>
                </a:lnTo>
                <a:lnTo>
                  <a:pt x="22" y="50"/>
                </a:lnTo>
                <a:lnTo>
                  <a:pt x="22" y="52"/>
                </a:lnTo>
                <a:lnTo>
                  <a:pt x="22" y="52"/>
                </a:lnTo>
                <a:lnTo>
                  <a:pt x="22" y="56"/>
                </a:lnTo>
                <a:lnTo>
                  <a:pt x="22" y="56"/>
                </a:lnTo>
                <a:lnTo>
                  <a:pt x="18" y="56"/>
                </a:lnTo>
                <a:lnTo>
                  <a:pt x="14" y="58"/>
                </a:lnTo>
                <a:lnTo>
                  <a:pt x="14" y="60"/>
                </a:lnTo>
                <a:lnTo>
                  <a:pt x="14" y="60"/>
                </a:lnTo>
                <a:lnTo>
                  <a:pt x="22" y="60"/>
                </a:lnTo>
                <a:lnTo>
                  <a:pt x="30" y="58"/>
                </a:lnTo>
                <a:lnTo>
                  <a:pt x="30" y="60"/>
                </a:lnTo>
                <a:lnTo>
                  <a:pt x="30" y="60"/>
                </a:lnTo>
                <a:lnTo>
                  <a:pt x="32" y="60"/>
                </a:lnTo>
                <a:lnTo>
                  <a:pt x="34" y="60"/>
                </a:lnTo>
                <a:lnTo>
                  <a:pt x="34" y="62"/>
                </a:lnTo>
                <a:lnTo>
                  <a:pt x="34" y="62"/>
                </a:lnTo>
                <a:lnTo>
                  <a:pt x="40" y="64"/>
                </a:lnTo>
                <a:lnTo>
                  <a:pt x="42" y="64"/>
                </a:lnTo>
                <a:lnTo>
                  <a:pt x="42" y="64"/>
                </a:lnTo>
                <a:lnTo>
                  <a:pt x="38" y="70"/>
                </a:lnTo>
                <a:lnTo>
                  <a:pt x="38" y="70"/>
                </a:lnTo>
                <a:lnTo>
                  <a:pt x="42" y="68"/>
                </a:lnTo>
                <a:lnTo>
                  <a:pt x="42" y="68"/>
                </a:lnTo>
                <a:lnTo>
                  <a:pt x="48" y="70"/>
                </a:lnTo>
                <a:lnTo>
                  <a:pt x="50" y="72"/>
                </a:lnTo>
                <a:lnTo>
                  <a:pt x="54" y="70"/>
                </a:lnTo>
                <a:lnTo>
                  <a:pt x="54" y="70"/>
                </a:lnTo>
                <a:lnTo>
                  <a:pt x="56" y="68"/>
                </a:lnTo>
                <a:lnTo>
                  <a:pt x="56" y="68"/>
                </a:lnTo>
                <a:lnTo>
                  <a:pt x="56" y="68"/>
                </a:lnTo>
                <a:lnTo>
                  <a:pt x="56" y="70"/>
                </a:lnTo>
                <a:lnTo>
                  <a:pt x="58" y="70"/>
                </a:lnTo>
                <a:lnTo>
                  <a:pt x="58" y="70"/>
                </a:lnTo>
                <a:lnTo>
                  <a:pt x="60" y="68"/>
                </a:lnTo>
                <a:lnTo>
                  <a:pt x="60" y="68"/>
                </a:lnTo>
                <a:lnTo>
                  <a:pt x="60" y="64"/>
                </a:lnTo>
                <a:lnTo>
                  <a:pt x="60" y="62"/>
                </a:lnTo>
                <a:lnTo>
                  <a:pt x="60" y="62"/>
                </a:lnTo>
                <a:lnTo>
                  <a:pt x="60" y="58"/>
                </a:lnTo>
                <a:lnTo>
                  <a:pt x="60" y="58"/>
                </a:lnTo>
                <a:lnTo>
                  <a:pt x="64" y="60"/>
                </a:lnTo>
                <a:lnTo>
                  <a:pt x="68" y="62"/>
                </a:lnTo>
                <a:lnTo>
                  <a:pt x="68" y="62"/>
                </a:lnTo>
                <a:lnTo>
                  <a:pt x="70" y="62"/>
                </a:lnTo>
                <a:lnTo>
                  <a:pt x="70" y="62"/>
                </a:lnTo>
                <a:lnTo>
                  <a:pt x="70" y="58"/>
                </a:lnTo>
                <a:lnTo>
                  <a:pt x="72" y="58"/>
                </a:lnTo>
                <a:lnTo>
                  <a:pt x="72" y="58"/>
                </a:lnTo>
                <a:lnTo>
                  <a:pt x="76" y="60"/>
                </a:lnTo>
                <a:lnTo>
                  <a:pt x="76" y="60"/>
                </a:lnTo>
                <a:lnTo>
                  <a:pt x="80" y="54"/>
                </a:lnTo>
                <a:lnTo>
                  <a:pt x="80" y="54"/>
                </a:lnTo>
                <a:lnTo>
                  <a:pt x="84" y="52"/>
                </a:lnTo>
                <a:lnTo>
                  <a:pt x="88" y="52"/>
                </a:lnTo>
                <a:lnTo>
                  <a:pt x="88" y="52"/>
                </a:lnTo>
                <a:lnTo>
                  <a:pt x="90" y="48"/>
                </a:lnTo>
                <a:lnTo>
                  <a:pt x="90" y="48"/>
                </a:lnTo>
                <a:lnTo>
                  <a:pt x="92" y="48"/>
                </a:lnTo>
                <a:lnTo>
                  <a:pt x="92" y="48"/>
                </a:lnTo>
                <a:lnTo>
                  <a:pt x="94" y="40"/>
                </a:lnTo>
                <a:lnTo>
                  <a:pt x="94" y="40"/>
                </a:lnTo>
                <a:lnTo>
                  <a:pt x="98" y="40"/>
                </a:lnTo>
                <a:lnTo>
                  <a:pt x="98" y="38"/>
                </a:lnTo>
                <a:lnTo>
                  <a:pt x="98" y="36"/>
                </a:lnTo>
                <a:lnTo>
                  <a:pt x="98" y="36"/>
                </a:lnTo>
                <a:lnTo>
                  <a:pt x="98" y="36"/>
                </a:lnTo>
                <a:lnTo>
                  <a:pt x="100" y="36"/>
                </a:lnTo>
                <a:lnTo>
                  <a:pt x="98" y="38"/>
                </a:lnTo>
                <a:lnTo>
                  <a:pt x="98" y="38"/>
                </a:lnTo>
                <a:lnTo>
                  <a:pt x="100" y="38"/>
                </a:lnTo>
                <a:lnTo>
                  <a:pt x="102" y="38"/>
                </a:lnTo>
                <a:lnTo>
                  <a:pt x="102" y="38"/>
                </a:lnTo>
                <a:lnTo>
                  <a:pt x="104" y="36"/>
                </a:lnTo>
                <a:lnTo>
                  <a:pt x="102" y="34"/>
                </a:lnTo>
                <a:lnTo>
                  <a:pt x="104" y="32"/>
                </a:lnTo>
                <a:lnTo>
                  <a:pt x="104" y="32"/>
                </a:lnTo>
                <a:lnTo>
                  <a:pt x="102" y="32"/>
                </a:lnTo>
                <a:lnTo>
                  <a:pt x="102" y="30"/>
                </a:lnTo>
                <a:lnTo>
                  <a:pt x="102" y="30"/>
                </a:lnTo>
                <a:lnTo>
                  <a:pt x="102" y="28"/>
                </a:lnTo>
                <a:lnTo>
                  <a:pt x="102" y="26"/>
                </a:lnTo>
                <a:lnTo>
                  <a:pt x="102" y="26"/>
                </a:lnTo>
                <a:lnTo>
                  <a:pt x="100" y="22"/>
                </a:lnTo>
                <a:lnTo>
                  <a:pt x="100" y="22"/>
                </a:lnTo>
                <a:lnTo>
                  <a:pt x="100" y="22"/>
                </a:lnTo>
                <a:lnTo>
                  <a:pt x="98" y="24"/>
                </a:lnTo>
                <a:lnTo>
                  <a:pt x="98" y="22"/>
                </a:lnTo>
                <a:lnTo>
                  <a:pt x="98" y="22"/>
                </a:lnTo>
                <a:lnTo>
                  <a:pt x="96" y="20"/>
                </a:lnTo>
                <a:lnTo>
                  <a:pt x="94" y="20"/>
                </a:lnTo>
                <a:lnTo>
                  <a:pt x="94" y="20"/>
                </a:lnTo>
                <a:lnTo>
                  <a:pt x="92" y="22"/>
                </a:lnTo>
                <a:lnTo>
                  <a:pt x="92" y="22"/>
                </a:lnTo>
                <a:lnTo>
                  <a:pt x="92" y="14"/>
                </a:lnTo>
                <a:lnTo>
                  <a:pt x="92" y="14"/>
                </a:lnTo>
                <a:lnTo>
                  <a:pt x="90" y="12"/>
                </a:lnTo>
                <a:lnTo>
                  <a:pt x="90" y="12"/>
                </a:lnTo>
                <a:lnTo>
                  <a:pt x="90" y="8"/>
                </a:lnTo>
                <a:lnTo>
                  <a:pt x="90" y="8"/>
                </a:lnTo>
                <a:lnTo>
                  <a:pt x="94" y="6"/>
                </a:lnTo>
                <a:lnTo>
                  <a:pt x="94" y="6"/>
                </a:lnTo>
                <a:lnTo>
                  <a:pt x="96" y="4"/>
                </a:lnTo>
                <a:lnTo>
                  <a:pt x="96" y="4"/>
                </a:lnTo>
                <a:lnTo>
                  <a:pt x="88" y="6"/>
                </a:lnTo>
                <a:lnTo>
                  <a:pt x="88" y="6"/>
                </a:lnTo>
                <a:lnTo>
                  <a:pt x="88" y="8"/>
                </a:lnTo>
                <a:lnTo>
                  <a:pt x="86" y="8"/>
                </a:lnTo>
                <a:lnTo>
                  <a:pt x="86" y="8"/>
                </a:lnTo>
                <a:lnTo>
                  <a:pt x="82" y="0"/>
                </a:lnTo>
                <a:lnTo>
                  <a:pt x="82" y="0"/>
                </a:lnTo>
                <a:lnTo>
                  <a:pt x="80" y="0"/>
                </a:lnTo>
                <a:lnTo>
                  <a:pt x="80"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9" name="Freeform 173">
            <a:extLst>
              <a:ext uri="{FF2B5EF4-FFF2-40B4-BE49-F238E27FC236}">
                <a16:creationId xmlns:a16="http://schemas.microsoft.com/office/drawing/2014/main" id="{7C024AA5-DC42-4621-B649-F8E67267F93F}"/>
              </a:ext>
            </a:extLst>
          </p:cNvPr>
          <p:cNvSpPr>
            <a:spLocks/>
          </p:cNvSpPr>
          <p:nvPr userDrawn="1"/>
        </p:nvSpPr>
        <p:spPr bwMode="auto">
          <a:xfrm>
            <a:off x="6223087" y="2222059"/>
            <a:ext cx="157641" cy="109823"/>
          </a:xfrm>
          <a:custGeom>
            <a:avLst/>
            <a:gdLst>
              <a:gd name="T0" fmla="*/ 40 w 94"/>
              <a:gd name="T1" fmla="*/ 64 h 64"/>
              <a:gd name="T2" fmla="*/ 34 w 94"/>
              <a:gd name="T3" fmla="*/ 64 h 64"/>
              <a:gd name="T4" fmla="*/ 30 w 94"/>
              <a:gd name="T5" fmla="*/ 62 h 64"/>
              <a:gd name="T6" fmla="*/ 20 w 94"/>
              <a:gd name="T7" fmla="*/ 56 h 64"/>
              <a:gd name="T8" fmla="*/ 14 w 94"/>
              <a:gd name="T9" fmla="*/ 50 h 64"/>
              <a:gd name="T10" fmla="*/ 10 w 94"/>
              <a:gd name="T11" fmla="*/ 44 h 64"/>
              <a:gd name="T12" fmla="*/ 6 w 94"/>
              <a:gd name="T13" fmla="*/ 38 h 64"/>
              <a:gd name="T14" fmla="*/ 2 w 94"/>
              <a:gd name="T15" fmla="*/ 34 h 64"/>
              <a:gd name="T16" fmla="*/ 2 w 94"/>
              <a:gd name="T17" fmla="*/ 30 h 64"/>
              <a:gd name="T18" fmla="*/ 0 w 94"/>
              <a:gd name="T19" fmla="*/ 26 h 64"/>
              <a:gd name="T20" fmla="*/ 0 w 94"/>
              <a:gd name="T21" fmla="*/ 24 h 64"/>
              <a:gd name="T22" fmla="*/ 2 w 94"/>
              <a:gd name="T23" fmla="*/ 20 h 64"/>
              <a:gd name="T24" fmla="*/ 4 w 94"/>
              <a:gd name="T25" fmla="*/ 20 h 64"/>
              <a:gd name="T26" fmla="*/ 6 w 94"/>
              <a:gd name="T27" fmla="*/ 16 h 64"/>
              <a:gd name="T28" fmla="*/ 8 w 94"/>
              <a:gd name="T29" fmla="*/ 12 h 64"/>
              <a:gd name="T30" fmla="*/ 8 w 94"/>
              <a:gd name="T31" fmla="*/ 6 h 64"/>
              <a:gd name="T32" fmla="*/ 10 w 94"/>
              <a:gd name="T33" fmla="*/ 6 h 64"/>
              <a:gd name="T34" fmla="*/ 20 w 94"/>
              <a:gd name="T35" fmla="*/ 10 h 64"/>
              <a:gd name="T36" fmla="*/ 24 w 94"/>
              <a:gd name="T37" fmla="*/ 10 h 64"/>
              <a:gd name="T38" fmla="*/ 32 w 94"/>
              <a:gd name="T39" fmla="*/ 12 h 64"/>
              <a:gd name="T40" fmla="*/ 38 w 94"/>
              <a:gd name="T41" fmla="*/ 12 h 64"/>
              <a:gd name="T42" fmla="*/ 38 w 94"/>
              <a:gd name="T43" fmla="*/ 8 h 64"/>
              <a:gd name="T44" fmla="*/ 44 w 94"/>
              <a:gd name="T45" fmla="*/ 6 h 64"/>
              <a:gd name="T46" fmla="*/ 52 w 94"/>
              <a:gd name="T47" fmla="*/ 4 h 64"/>
              <a:gd name="T48" fmla="*/ 54 w 94"/>
              <a:gd name="T49" fmla="*/ 6 h 64"/>
              <a:gd name="T50" fmla="*/ 56 w 94"/>
              <a:gd name="T51" fmla="*/ 6 h 64"/>
              <a:gd name="T52" fmla="*/ 60 w 94"/>
              <a:gd name="T53" fmla="*/ 6 h 64"/>
              <a:gd name="T54" fmla="*/ 62 w 94"/>
              <a:gd name="T55" fmla="*/ 6 h 64"/>
              <a:gd name="T56" fmla="*/ 66 w 94"/>
              <a:gd name="T57" fmla="*/ 2 h 64"/>
              <a:gd name="T58" fmla="*/ 78 w 94"/>
              <a:gd name="T59" fmla="*/ 2 h 64"/>
              <a:gd name="T60" fmla="*/ 84 w 94"/>
              <a:gd name="T61" fmla="*/ 0 h 64"/>
              <a:gd name="T62" fmla="*/ 88 w 94"/>
              <a:gd name="T63" fmla="*/ 2 h 64"/>
              <a:gd name="T64" fmla="*/ 92 w 94"/>
              <a:gd name="T65" fmla="*/ 4 h 64"/>
              <a:gd name="T66" fmla="*/ 94 w 94"/>
              <a:gd name="T67" fmla="*/ 4 h 64"/>
              <a:gd name="T68" fmla="*/ 92 w 94"/>
              <a:gd name="T69" fmla="*/ 16 h 64"/>
              <a:gd name="T70" fmla="*/ 84 w 94"/>
              <a:gd name="T71" fmla="*/ 24 h 64"/>
              <a:gd name="T72" fmla="*/ 82 w 94"/>
              <a:gd name="T73" fmla="*/ 28 h 64"/>
              <a:gd name="T74" fmla="*/ 80 w 94"/>
              <a:gd name="T75" fmla="*/ 42 h 64"/>
              <a:gd name="T76" fmla="*/ 78 w 94"/>
              <a:gd name="T77" fmla="*/ 48 h 64"/>
              <a:gd name="T78" fmla="*/ 72 w 94"/>
              <a:gd name="T79" fmla="*/ 54 h 64"/>
              <a:gd name="T80" fmla="*/ 68 w 94"/>
              <a:gd name="T81" fmla="*/ 56 h 64"/>
              <a:gd name="T82" fmla="*/ 66 w 94"/>
              <a:gd name="T83" fmla="*/ 56 h 64"/>
              <a:gd name="T84" fmla="*/ 58 w 94"/>
              <a:gd name="T85" fmla="*/ 56 h 64"/>
              <a:gd name="T86" fmla="*/ 48 w 94"/>
              <a:gd name="T87" fmla="*/ 60 h 64"/>
              <a:gd name="T88" fmla="*/ 44 w 94"/>
              <a:gd name="T89" fmla="*/ 64 h 64"/>
              <a:gd name="T90" fmla="*/ 40 w 94"/>
              <a:gd name="T9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64">
                <a:moveTo>
                  <a:pt x="40" y="64"/>
                </a:moveTo>
                <a:lnTo>
                  <a:pt x="40" y="64"/>
                </a:lnTo>
                <a:lnTo>
                  <a:pt x="36" y="64"/>
                </a:lnTo>
                <a:lnTo>
                  <a:pt x="34" y="64"/>
                </a:lnTo>
                <a:lnTo>
                  <a:pt x="30" y="62"/>
                </a:lnTo>
                <a:lnTo>
                  <a:pt x="30" y="62"/>
                </a:lnTo>
                <a:lnTo>
                  <a:pt x="26" y="60"/>
                </a:lnTo>
                <a:lnTo>
                  <a:pt x="20" y="56"/>
                </a:lnTo>
                <a:lnTo>
                  <a:pt x="20" y="56"/>
                </a:lnTo>
                <a:lnTo>
                  <a:pt x="14" y="50"/>
                </a:lnTo>
                <a:lnTo>
                  <a:pt x="10" y="44"/>
                </a:lnTo>
                <a:lnTo>
                  <a:pt x="10" y="44"/>
                </a:lnTo>
                <a:lnTo>
                  <a:pt x="8" y="40"/>
                </a:lnTo>
                <a:lnTo>
                  <a:pt x="6" y="38"/>
                </a:lnTo>
                <a:lnTo>
                  <a:pt x="2" y="34"/>
                </a:lnTo>
                <a:lnTo>
                  <a:pt x="2" y="34"/>
                </a:lnTo>
                <a:lnTo>
                  <a:pt x="2" y="34"/>
                </a:lnTo>
                <a:lnTo>
                  <a:pt x="2" y="30"/>
                </a:lnTo>
                <a:lnTo>
                  <a:pt x="2" y="30"/>
                </a:lnTo>
                <a:lnTo>
                  <a:pt x="0" y="26"/>
                </a:lnTo>
                <a:lnTo>
                  <a:pt x="0" y="24"/>
                </a:lnTo>
                <a:lnTo>
                  <a:pt x="0" y="24"/>
                </a:lnTo>
                <a:lnTo>
                  <a:pt x="0" y="22"/>
                </a:lnTo>
                <a:lnTo>
                  <a:pt x="2" y="20"/>
                </a:lnTo>
                <a:lnTo>
                  <a:pt x="4" y="20"/>
                </a:lnTo>
                <a:lnTo>
                  <a:pt x="4" y="20"/>
                </a:lnTo>
                <a:lnTo>
                  <a:pt x="6" y="20"/>
                </a:lnTo>
                <a:lnTo>
                  <a:pt x="6" y="16"/>
                </a:lnTo>
                <a:lnTo>
                  <a:pt x="8" y="12"/>
                </a:lnTo>
                <a:lnTo>
                  <a:pt x="8" y="12"/>
                </a:lnTo>
                <a:lnTo>
                  <a:pt x="6" y="8"/>
                </a:lnTo>
                <a:lnTo>
                  <a:pt x="8" y="6"/>
                </a:lnTo>
                <a:lnTo>
                  <a:pt x="10" y="6"/>
                </a:lnTo>
                <a:lnTo>
                  <a:pt x="10" y="6"/>
                </a:lnTo>
                <a:lnTo>
                  <a:pt x="14" y="8"/>
                </a:lnTo>
                <a:lnTo>
                  <a:pt x="20" y="10"/>
                </a:lnTo>
                <a:lnTo>
                  <a:pt x="20" y="10"/>
                </a:lnTo>
                <a:lnTo>
                  <a:pt x="24" y="10"/>
                </a:lnTo>
                <a:lnTo>
                  <a:pt x="32" y="12"/>
                </a:lnTo>
                <a:lnTo>
                  <a:pt x="32" y="12"/>
                </a:lnTo>
                <a:lnTo>
                  <a:pt x="38" y="12"/>
                </a:lnTo>
                <a:lnTo>
                  <a:pt x="38" y="12"/>
                </a:lnTo>
                <a:lnTo>
                  <a:pt x="38" y="8"/>
                </a:lnTo>
                <a:lnTo>
                  <a:pt x="38" y="8"/>
                </a:lnTo>
                <a:lnTo>
                  <a:pt x="38" y="8"/>
                </a:lnTo>
                <a:lnTo>
                  <a:pt x="44" y="6"/>
                </a:lnTo>
                <a:lnTo>
                  <a:pt x="44" y="6"/>
                </a:lnTo>
                <a:lnTo>
                  <a:pt x="52" y="4"/>
                </a:lnTo>
                <a:lnTo>
                  <a:pt x="54" y="4"/>
                </a:lnTo>
                <a:lnTo>
                  <a:pt x="54" y="6"/>
                </a:lnTo>
                <a:lnTo>
                  <a:pt x="54" y="6"/>
                </a:lnTo>
                <a:lnTo>
                  <a:pt x="56" y="6"/>
                </a:lnTo>
                <a:lnTo>
                  <a:pt x="58" y="8"/>
                </a:lnTo>
                <a:lnTo>
                  <a:pt x="60" y="6"/>
                </a:lnTo>
                <a:lnTo>
                  <a:pt x="60" y="6"/>
                </a:lnTo>
                <a:lnTo>
                  <a:pt x="62" y="6"/>
                </a:lnTo>
                <a:lnTo>
                  <a:pt x="66" y="2"/>
                </a:lnTo>
                <a:lnTo>
                  <a:pt x="66" y="2"/>
                </a:lnTo>
                <a:lnTo>
                  <a:pt x="72" y="2"/>
                </a:lnTo>
                <a:lnTo>
                  <a:pt x="78" y="2"/>
                </a:lnTo>
                <a:lnTo>
                  <a:pt x="78" y="2"/>
                </a:lnTo>
                <a:lnTo>
                  <a:pt x="84" y="0"/>
                </a:lnTo>
                <a:lnTo>
                  <a:pt x="86" y="0"/>
                </a:lnTo>
                <a:lnTo>
                  <a:pt x="88" y="2"/>
                </a:lnTo>
                <a:lnTo>
                  <a:pt x="88" y="2"/>
                </a:lnTo>
                <a:lnTo>
                  <a:pt x="92" y="4"/>
                </a:lnTo>
                <a:lnTo>
                  <a:pt x="94" y="4"/>
                </a:lnTo>
                <a:lnTo>
                  <a:pt x="94" y="4"/>
                </a:lnTo>
                <a:lnTo>
                  <a:pt x="92" y="16"/>
                </a:lnTo>
                <a:lnTo>
                  <a:pt x="92" y="16"/>
                </a:lnTo>
                <a:lnTo>
                  <a:pt x="90" y="20"/>
                </a:lnTo>
                <a:lnTo>
                  <a:pt x="84" y="24"/>
                </a:lnTo>
                <a:lnTo>
                  <a:pt x="84" y="24"/>
                </a:lnTo>
                <a:lnTo>
                  <a:pt x="82" y="28"/>
                </a:lnTo>
                <a:lnTo>
                  <a:pt x="80" y="34"/>
                </a:lnTo>
                <a:lnTo>
                  <a:pt x="80" y="42"/>
                </a:lnTo>
                <a:lnTo>
                  <a:pt x="78" y="48"/>
                </a:lnTo>
                <a:lnTo>
                  <a:pt x="78" y="48"/>
                </a:lnTo>
                <a:lnTo>
                  <a:pt x="74" y="52"/>
                </a:lnTo>
                <a:lnTo>
                  <a:pt x="72" y="54"/>
                </a:lnTo>
                <a:lnTo>
                  <a:pt x="68" y="56"/>
                </a:lnTo>
                <a:lnTo>
                  <a:pt x="68" y="56"/>
                </a:lnTo>
                <a:lnTo>
                  <a:pt x="66" y="56"/>
                </a:lnTo>
                <a:lnTo>
                  <a:pt x="66" y="56"/>
                </a:lnTo>
                <a:lnTo>
                  <a:pt x="58" y="56"/>
                </a:lnTo>
                <a:lnTo>
                  <a:pt x="58" y="56"/>
                </a:lnTo>
                <a:lnTo>
                  <a:pt x="52" y="56"/>
                </a:lnTo>
                <a:lnTo>
                  <a:pt x="48" y="60"/>
                </a:lnTo>
                <a:lnTo>
                  <a:pt x="48" y="60"/>
                </a:lnTo>
                <a:lnTo>
                  <a:pt x="44" y="64"/>
                </a:lnTo>
                <a:lnTo>
                  <a:pt x="42" y="64"/>
                </a:lnTo>
                <a:lnTo>
                  <a:pt x="40"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0" name="Freeform 174">
            <a:extLst>
              <a:ext uri="{FF2B5EF4-FFF2-40B4-BE49-F238E27FC236}">
                <a16:creationId xmlns:a16="http://schemas.microsoft.com/office/drawing/2014/main" id="{C8504CE3-1379-46F1-B24A-B98951AF4F6F}"/>
              </a:ext>
            </a:extLst>
          </p:cNvPr>
          <p:cNvSpPr>
            <a:spLocks/>
          </p:cNvSpPr>
          <p:nvPr userDrawn="1"/>
        </p:nvSpPr>
        <p:spPr bwMode="auto">
          <a:xfrm>
            <a:off x="8416650" y="3042300"/>
            <a:ext cx="10062" cy="6864"/>
          </a:xfrm>
          <a:custGeom>
            <a:avLst/>
            <a:gdLst>
              <a:gd name="T0" fmla="*/ 6 w 6"/>
              <a:gd name="T1" fmla="*/ 2 h 4"/>
              <a:gd name="T2" fmla="*/ 6 w 6"/>
              <a:gd name="T3" fmla="*/ 2 h 4"/>
              <a:gd name="T4" fmla="*/ 6 w 6"/>
              <a:gd name="T5" fmla="*/ 2 h 4"/>
              <a:gd name="T6" fmla="*/ 2 w 6"/>
              <a:gd name="T7" fmla="*/ 4 h 4"/>
              <a:gd name="T8" fmla="*/ 2 w 6"/>
              <a:gd name="T9" fmla="*/ 4 h 4"/>
              <a:gd name="T10" fmla="*/ 0 w 6"/>
              <a:gd name="T11" fmla="*/ 0 h 4"/>
              <a:gd name="T12" fmla="*/ 0 w 6"/>
              <a:gd name="T13" fmla="*/ 0 h 4"/>
              <a:gd name="T14" fmla="*/ 4 w 6"/>
              <a:gd name="T15" fmla="*/ 0 h 4"/>
              <a:gd name="T16" fmla="*/ 4 w 6"/>
              <a:gd name="T17" fmla="*/ 0 h 4"/>
              <a:gd name="T18" fmla="*/ 6 w 6"/>
              <a:gd name="T19" fmla="*/ 0 h 4"/>
              <a:gd name="T20" fmla="*/ 6 w 6"/>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2"/>
                </a:moveTo>
                <a:lnTo>
                  <a:pt x="6" y="2"/>
                </a:lnTo>
                <a:lnTo>
                  <a:pt x="6" y="2"/>
                </a:lnTo>
                <a:lnTo>
                  <a:pt x="2" y="4"/>
                </a:lnTo>
                <a:lnTo>
                  <a:pt x="2" y="4"/>
                </a:lnTo>
                <a:lnTo>
                  <a:pt x="0" y="0"/>
                </a:lnTo>
                <a:lnTo>
                  <a:pt x="0" y="0"/>
                </a:lnTo>
                <a:lnTo>
                  <a:pt x="4" y="0"/>
                </a:lnTo>
                <a:lnTo>
                  <a:pt x="4" y="0"/>
                </a:lnTo>
                <a:lnTo>
                  <a:pt x="6" y="0"/>
                </a:lnTo>
                <a:lnTo>
                  <a:pt x="6" y="2"/>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1" name="Freeform 175">
            <a:extLst>
              <a:ext uri="{FF2B5EF4-FFF2-40B4-BE49-F238E27FC236}">
                <a16:creationId xmlns:a16="http://schemas.microsoft.com/office/drawing/2014/main" id="{78592AE2-ECDA-43A0-AF72-B13143179BAF}"/>
              </a:ext>
            </a:extLst>
          </p:cNvPr>
          <p:cNvSpPr>
            <a:spLocks/>
          </p:cNvSpPr>
          <p:nvPr userDrawn="1"/>
        </p:nvSpPr>
        <p:spPr bwMode="auto">
          <a:xfrm>
            <a:off x="3846726" y="3224195"/>
            <a:ext cx="137517" cy="85799"/>
          </a:xfrm>
          <a:custGeom>
            <a:avLst/>
            <a:gdLst>
              <a:gd name="T0" fmla="*/ 82 w 82"/>
              <a:gd name="T1" fmla="*/ 20 h 50"/>
              <a:gd name="T2" fmla="*/ 82 w 82"/>
              <a:gd name="T3" fmla="*/ 16 h 50"/>
              <a:gd name="T4" fmla="*/ 76 w 82"/>
              <a:gd name="T5" fmla="*/ 16 h 50"/>
              <a:gd name="T6" fmla="*/ 72 w 82"/>
              <a:gd name="T7" fmla="*/ 14 h 50"/>
              <a:gd name="T8" fmla="*/ 70 w 82"/>
              <a:gd name="T9" fmla="*/ 6 h 50"/>
              <a:gd name="T10" fmla="*/ 66 w 82"/>
              <a:gd name="T11" fmla="*/ 6 h 50"/>
              <a:gd name="T12" fmla="*/ 66 w 82"/>
              <a:gd name="T13" fmla="*/ 4 h 50"/>
              <a:gd name="T14" fmla="*/ 52 w 82"/>
              <a:gd name="T15" fmla="*/ 2 h 50"/>
              <a:gd name="T16" fmla="*/ 50 w 82"/>
              <a:gd name="T17" fmla="*/ 0 h 50"/>
              <a:gd name="T18" fmla="*/ 48 w 82"/>
              <a:gd name="T19" fmla="*/ 0 h 50"/>
              <a:gd name="T20" fmla="*/ 48 w 82"/>
              <a:gd name="T21" fmla="*/ 4 h 50"/>
              <a:gd name="T22" fmla="*/ 34 w 82"/>
              <a:gd name="T23" fmla="*/ 4 h 50"/>
              <a:gd name="T24" fmla="*/ 34 w 82"/>
              <a:gd name="T25" fmla="*/ 6 h 50"/>
              <a:gd name="T26" fmla="*/ 14 w 82"/>
              <a:gd name="T27" fmla="*/ 6 h 50"/>
              <a:gd name="T28" fmla="*/ 12 w 82"/>
              <a:gd name="T29" fmla="*/ 8 h 50"/>
              <a:gd name="T30" fmla="*/ 10 w 82"/>
              <a:gd name="T31" fmla="*/ 10 h 50"/>
              <a:gd name="T32" fmla="*/ 4 w 82"/>
              <a:gd name="T33" fmla="*/ 12 h 50"/>
              <a:gd name="T34" fmla="*/ 4 w 82"/>
              <a:gd name="T35" fmla="*/ 16 h 50"/>
              <a:gd name="T36" fmla="*/ 0 w 82"/>
              <a:gd name="T37" fmla="*/ 24 h 50"/>
              <a:gd name="T38" fmla="*/ 6 w 82"/>
              <a:gd name="T39" fmla="*/ 26 h 50"/>
              <a:gd name="T40" fmla="*/ 14 w 82"/>
              <a:gd name="T41" fmla="*/ 28 h 50"/>
              <a:gd name="T42" fmla="*/ 20 w 82"/>
              <a:gd name="T43" fmla="*/ 32 h 50"/>
              <a:gd name="T44" fmla="*/ 26 w 82"/>
              <a:gd name="T45" fmla="*/ 34 h 50"/>
              <a:gd name="T46" fmla="*/ 26 w 82"/>
              <a:gd name="T47" fmla="*/ 44 h 50"/>
              <a:gd name="T48" fmla="*/ 30 w 82"/>
              <a:gd name="T49" fmla="*/ 44 h 50"/>
              <a:gd name="T50" fmla="*/ 28 w 82"/>
              <a:gd name="T51" fmla="*/ 50 h 50"/>
              <a:gd name="T52" fmla="*/ 30 w 82"/>
              <a:gd name="T53" fmla="*/ 50 h 50"/>
              <a:gd name="T54" fmla="*/ 34 w 82"/>
              <a:gd name="T55" fmla="*/ 48 h 50"/>
              <a:gd name="T56" fmla="*/ 34 w 82"/>
              <a:gd name="T57" fmla="*/ 40 h 50"/>
              <a:gd name="T58" fmla="*/ 34 w 82"/>
              <a:gd name="T59" fmla="*/ 34 h 50"/>
              <a:gd name="T60" fmla="*/ 44 w 82"/>
              <a:gd name="T61" fmla="*/ 30 h 50"/>
              <a:gd name="T62" fmla="*/ 52 w 82"/>
              <a:gd name="T63" fmla="*/ 32 h 50"/>
              <a:gd name="T64" fmla="*/ 54 w 82"/>
              <a:gd name="T65" fmla="*/ 34 h 50"/>
              <a:gd name="T66" fmla="*/ 58 w 82"/>
              <a:gd name="T67" fmla="*/ 32 h 50"/>
              <a:gd name="T68" fmla="*/ 64 w 82"/>
              <a:gd name="T69" fmla="*/ 30 h 50"/>
              <a:gd name="T70" fmla="*/ 68 w 82"/>
              <a:gd name="T71" fmla="*/ 28 h 50"/>
              <a:gd name="T72" fmla="*/ 70 w 82"/>
              <a:gd name="T73" fmla="*/ 24 h 50"/>
              <a:gd name="T74" fmla="*/ 82 w 82"/>
              <a:gd name="T75" fmla="*/ 2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50">
                <a:moveTo>
                  <a:pt x="82" y="20"/>
                </a:moveTo>
                <a:lnTo>
                  <a:pt x="82" y="20"/>
                </a:lnTo>
                <a:lnTo>
                  <a:pt x="82" y="18"/>
                </a:lnTo>
                <a:lnTo>
                  <a:pt x="82" y="16"/>
                </a:lnTo>
                <a:lnTo>
                  <a:pt x="82" y="16"/>
                </a:lnTo>
                <a:lnTo>
                  <a:pt x="76" y="16"/>
                </a:lnTo>
                <a:lnTo>
                  <a:pt x="72" y="14"/>
                </a:lnTo>
                <a:lnTo>
                  <a:pt x="72" y="14"/>
                </a:lnTo>
                <a:lnTo>
                  <a:pt x="72" y="10"/>
                </a:lnTo>
                <a:lnTo>
                  <a:pt x="70" y="6"/>
                </a:lnTo>
                <a:lnTo>
                  <a:pt x="70" y="6"/>
                </a:lnTo>
                <a:lnTo>
                  <a:pt x="66" y="6"/>
                </a:lnTo>
                <a:lnTo>
                  <a:pt x="66" y="4"/>
                </a:lnTo>
                <a:lnTo>
                  <a:pt x="66" y="4"/>
                </a:lnTo>
                <a:lnTo>
                  <a:pt x="58" y="2"/>
                </a:lnTo>
                <a:lnTo>
                  <a:pt x="52" y="2"/>
                </a:lnTo>
                <a:lnTo>
                  <a:pt x="52" y="2"/>
                </a:lnTo>
                <a:lnTo>
                  <a:pt x="50" y="0"/>
                </a:lnTo>
                <a:lnTo>
                  <a:pt x="48" y="0"/>
                </a:lnTo>
                <a:lnTo>
                  <a:pt x="48" y="0"/>
                </a:lnTo>
                <a:lnTo>
                  <a:pt x="48" y="4"/>
                </a:lnTo>
                <a:lnTo>
                  <a:pt x="48" y="4"/>
                </a:lnTo>
                <a:lnTo>
                  <a:pt x="40" y="4"/>
                </a:lnTo>
                <a:lnTo>
                  <a:pt x="34" y="4"/>
                </a:lnTo>
                <a:lnTo>
                  <a:pt x="34" y="6"/>
                </a:lnTo>
                <a:lnTo>
                  <a:pt x="34" y="6"/>
                </a:lnTo>
                <a:lnTo>
                  <a:pt x="24" y="6"/>
                </a:lnTo>
                <a:lnTo>
                  <a:pt x="14" y="6"/>
                </a:lnTo>
                <a:lnTo>
                  <a:pt x="14" y="6"/>
                </a:lnTo>
                <a:lnTo>
                  <a:pt x="12" y="8"/>
                </a:lnTo>
                <a:lnTo>
                  <a:pt x="12" y="10"/>
                </a:lnTo>
                <a:lnTo>
                  <a:pt x="10" y="10"/>
                </a:lnTo>
                <a:lnTo>
                  <a:pt x="10" y="10"/>
                </a:lnTo>
                <a:lnTo>
                  <a:pt x="4" y="12"/>
                </a:lnTo>
                <a:lnTo>
                  <a:pt x="4" y="16"/>
                </a:lnTo>
                <a:lnTo>
                  <a:pt x="4" y="16"/>
                </a:lnTo>
                <a:lnTo>
                  <a:pt x="2" y="22"/>
                </a:lnTo>
                <a:lnTo>
                  <a:pt x="0" y="24"/>
                </a:lnTo>
                <a:lnTo>
                  <a:pt x="0" y="24"/>
                </a:lnTo>
                <a:lnTo>
                  <a:pt x="6" y="26"/>
                </a:lnTo>
                <a:lnTo>
                  <a:pt x="14" y="28"/>
                </a:lnTo>
                <a:lnTo>
                  <a:pt x="14" y="28"/>
                </a:lnTo>
                <a:lnTo>
                  <a:pt x="16" y="30"/>
                </a:lnTo>
                <a:lnTo>
                  <a:pt x="20" y="32"/>
                </a:lnTo>
                <a:lnTo>
                  <a:pt x="20" y="32"/>
                </a:lnTo>
                <a:lnTo>
                  <a:pt x="26" y="34"/>
                </a:lnTo>
                <a:lnTo>
                  <a:pt x="26" y="34"/>
                </a:lnTo>
                <a:lnTo>
                  <a:pt x="26" y="44"/>
                </a:lnTo>
                <a:lnTo>
                  <a:pt x="26" y="44"/>
                </a:lnTo>
                <a:lnTo>
                  <a:pt x="30" y="44"/>
                </a:lnTo>
                <a:lnTo>
                  <a:pt x="30" y="44"/>
                </a:lnTo>
                <a:lnTo>
                  <a:pt x="28" y="50"/>
                </a:lnTo>
                <a:lnTo>
                  <a:pt x="28" y="50"/>
                </a:lnTo>
                <a:lnTo>
                  <a:pt x="30" y="50"/>
                </a:lnTo>
                <a:lnTo>
                  <a:pt x="32" y="48"/>
                </a:lnTo>
                <a:lnTo>
                  <a:pt x="34" y="48"/>
                </a:lnTo>
                <a:lnTo>
                  <a:pt x="34" y="48"/>
                </a:lnTo>
                <a:lnTo>
                  <a:pt x="34" y="40"/>
                </a:lnTo>
                <a:lnTo>
                  <a:pt x="34" y="34"/>
                </a:lnTo>
                <a:lnTo>
                  <a:pt x="34" y="34"/>
                </a:lnTo>
                <a:lnTo>
                  <a:pt x="44" y="30"/>
                </a:lnTo>
                <a:lnTo>
                  <a:pt x="44" y="30"/>
                </a:lnTo>
                <a:lnTo>
                  <a:pt x="50" y="30"/>
                </a:lnTo>
                <a:lnTo>
                  <a:pt x="52" y="32"/>
                </a:lnTo>
                <a:lnTo>
                  <a:pt x="52" y="32"/>
                </a:lnTo>
                <a:lnTo>
                  <a:pt x="54" y="34"/>
                </a:lnTo>
                <a:lnTo>
                  <a:pt x="54" y="32"/>
                </a:lnTo>
                <a:lnTo>
                  <a:pt x="58" y="32"/>
                </a:lnTo>
                <a:lnTo>
                  <a:pt x="58" y="32"/>
                </a:lnTo>
                <a:lnTo>
                  <a:pt x="64" y="30"/>
                </a:lnTo>
                <a:lnTo>
                  <a:pt x="68" y="30"/>
                </a:lnTo>
                <a:lnTo>
                  <a:pt x="68" y="28"/>
                </a:lnTo>
                <a:lnTo>
                  <a:pt x="68" y="28"/>
                </a:lnTo>
                <a:lnTo>
                  <a:pt x="70" y="24"/>
                </a:lnTo>
                <a:lnTo>
                  <a:pt x="74" y="22"/>
                </a:lnTo>
                <a:lnTo>
                  <a:pt x="82" y="2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2" name="Freeform 176">
            <a:extLst>
              <a:ext uri="{FF2B5EF4-FFF2-40B4-BE49-F238E27FC236}">
                <a16:creationId xmlns:a16="http://schemas.microsoft.com/office/drawing/2014/main" id="{B1429CC1-83F0-4A99-A35D-4EC23AA67B73}"/>
              </a:ext>
            </a:extLst>
          </p:cNvPr>
          <p:cNvSpPr>
            <a:spLocks/>
          </p:cNvSpPr>
          <p:nvPr userDrawn="1"/>
        </p:nvSpPr>
        <p:spPr bwMode="auto">
          <a:xfrm>
            <a:off x="4185488" y="3110940"/>
            <a:ext cx="63727" cy="44615"/>
          </a:xfrm>
          <a:custGeom>
            <a:avLst/>
            <a:gdLst>
              <a:gd name="T0" fmla="*/ 38 w 38"/>
              <a:gd name="T1" fmla="*/ 26 h 26"/>
              <a:gd name="T2" fmla="*/ 38 w 38"/>
              <a:gd name="T3" fmla="*/ 26 h 26"/>
              <a:gd name="T4" fmla="*/ 38 w 38"/>
              <a:gd name="T5" fmla="*/ 22 h 26"/>
              <a:gd name="T6" fmla="*/ 38 w 38"/>
              <a:gd name="T7" fmla="*/ 22 h 26"/>
              <a:gd name="T8" fmla="*/ 36 w 38"/>
              <a:gd name="T9" fmla="*/ 18 h 26"/>
              <a:gd name="T10" fmla="*/ 36 w 38"/>
              <a:gd name="T11" fmla="*/ 16 h 26"/>
              <a:gd name="T12" fmla="*/ 38 w 38"/>
              <a:gd name="T13" fmla="*/ 12 h 26"/>
              <a:gd name="T14" fmla="*/ 36 w 38"/>
              <a:gd name="T15" fmla="*/ 2 h 26"/>
              <a:gd name="T16" fmla="*/ 36 w 38"/>
              <a:gd name="T17" fmla="*/ 2 h 26"/>
              <a:gd name="T18" fmla="*/ 32 w 38"/>
              <a:gd name="T19" fmla="*/ 2 h 26"/>
              <a:gd name="T20" fmla="*/ 30 w 38"/>
              <a:gd name="T21" fmla="*/ 2 h 26"/>
              <a:gd name="T22" fmla="*/ 26 w 38"/>
              <a:gd name="T23" fmla="*/ 0 h 26"/>
              <a:gd name="T24" fmla="*/ 26 w 38"/>
              <a:gd name="T25" fmla="*/ 0 h 26"/>
              <a:gd name="T26" fmla="*/ 20 w 38"/>
              <a:gd name="T27" fmla="*/ 0 h 26"/>
              <a:gd name="T28" fmla="*/ 20 w 38"/>
              <a:gd name="T29" fmla="*/ 0 h 26"/>
              <a:gd name="T30" fmla="*/ 26 w 38"/>
              <a:gd name="T31" fmla="*/ 4 h 26"/>
              <a:gd name="T32" fmla="*/ 26 w 38"/>
              <a:gd name="T33" fmla="*/ 4 h 26"/>
              <a:gd name="T34" fmla="*/ 26 w 38"/>
              <a:gd name="T35" fmla="*/ 6 h 26"/>
              <a:gd name="T36" fmla="*/ 26 w 38"/>
              <a:gd name="T37" fmla="*/ 12 h 26"/>
              <a:gd name="T38" fmla="*/ 26 w 38"/>
              <a:gd name="T39" fmla="*/ 12 h 26"/>
              <a:gd name="T40" fmla="*/ 30 w 38"/>
              <a:gd name="T41" fmla="*/ 16 h 26"/>
              <a:gd name="T42" fmla="*/ 30 w 38"/>
              <a:gd name="T43" fmla="*/ 16 h 26"/>
              <a:gd name="T44" fmla="*/ 30 w 38"/>
              <a:gd name="T45" fmla="*/ 20 h 26"/>
              <a:gd name="T46" fmla="*/ 30 w 38"/>
              <a:gd name="T47" fmla="*/ 20 h 26"/>
              <a:gd name="T48" fmla="*/ 28 w 38"/>
              <a:gd name="T49" fmla="*/ 22 h 26"/>
              <a:gd name="T50" fmla="*/ 26 w 38"/>
              <a:gd name="T51" fmla="*/ 22 h 26"/>
              <a:gd name="T52" fmla="*/ 26 w 38"/>
              <a:gd name="T53" fmla="*/ 22 h 26"/>
              <a:gd name="T54" fmla="*/ 16 w 38"/>
              <a:gd name="T55" fmla="*/ 18 h 26"/>
              <a:gd name="T56" fmla="*/ 16 w 38"/>
              <a:gd name="T57" fmla="*/ 18 h 26"/>
              <a:gd name="T58" fmla="*/ 12 w 38"/>
              <a:gd name="T59" fmla="*/ 20 h 26"/>
              <a:gd name="T60" fmla="*/ 10 w 38"/>
              <a:gd name="T61" fmla="*/ 20 h 26"/>
              <a:gd name="T62" fmla="*/ 10 w 38"/>
              <a:gd name="T63" fmla="*/ 20 h 26"/>
              <a:gd name="T64" fmla="*/ 8 w 38"/>
              <a:gd name="T65" fmla="*/ 18 h 26"/>
              <a:gd name="T66" fmla="*/ 4 w 38"/>
              <a:gd name="T67" fmla="*/ 16 h 26"/>
              <a:gd name="T68" fmla="*/ 4 w 38"/>
              <a:gd name="T69" fmla="*/ 16 h 26"/>
              <a:gd name="T70" fmla="*/ 0 w 38"/>
              <a:gd name="T71" fmla="*/ 18 h 26"/>
              <a:gd name="T72" fmla="*/ 0 w 38"/>
              <a:gd name="T73" fmla="*/ 18 h 26"/>
              <a:gd name="T74" fmla="*/ 0 w 38"/>
              <a:gd name="T75" fmla="*/ 22 h 26"/>
              <a:gd name="T76" fmla="*/ 0 w 38"/>
              <a:gd name="T77" fmla="*/ 22 h 26"/>
              <a:gd name="T78" fmla="*/ 6 w 38"/>
              <a:gd name="T79" fmla="*/ 26 h 26"/>
              <a:gd name="T80" fmla="*/ 6 w 38"/>
              <a:gd name="T81" fmla="*/ 26 h 26"/>
              <a:gd name="T82" fmla="*/ 10 w 38"/>
              <a:gd name="T83" fmla="*/ 26 h 26"/>
              <a:gd name="T84" fmla="*/ 14 w 38"/>
              <a:gd name="T85" fmla="*/ 24 h 26"/>
              <a:gd name="T86" fmla="*/ 14 w 38"/>
              <a:gd name="T87" fmla="*/ 24 h 26"/>
              <a:gd name="T88" fmla="*/ 38 w 38"/>
              <a:gd name="T89" fmla="*/ 26 h 26"/>
              <a:gd name="T90" fmla="*/ 38 w 38"/>
              <a:gd name="T9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 h="26">
                <a:moveTo>
                  <a:pt x="38" y="26"/>
                </a:moveTo>
                <a:lnTo>
                  <a:pt x="38" y="26"/>
                </a:lnTo>
                <a:lnTo>
                  <a:pt x="38" y="22"/>
                </a:lnTo>
                <a:lnTo>
                  <a:pt x="38" y="22"/>
                </a:lnTo>
                <a:lnTo>
                  <a:pt x="36" y="18"/>
                </a:lnTo>
                <a:lnTo>
                  <a:pt x="36" y="16"/>
                </a:lnTo>
                <a:lnTo>
                  <a:pt x="38" y="12"/>
                </a:lnTo>
                <a:lnTo>
                  <a:pt x="36" y="2"/>
                </a:lnTo>
                <a:lnTo>
                  <a:pt x="36" y="2"/>
                </a:lnTo>
                <a:lnTo>
                  <a:pt x="32" y="2"/>
                </a:lnTo>
                <a:lnTo>
                  <a:pt x="30" y="2"/>
                </a:lnTo>
                <a:lnTo>
                  <a:pt x="26" y="0"/>
                </a:lnTo>
                <a:lnTo>
                  <a:pt x="26" y="0"/>
                </a:lnTo>
                <a:lnTo>
                  <a:pt x="20" y="0"/>
                </a:lnTo>
                <a:lnTo>
                  <a:pt x="20" y="0"/>
                </a:lnTo>
                <a:lnTo>
                  <a:pt x="26" y="4"/>
                </a:lnTo>
                <a:lnTo>
                  <a:pt x="26" y="4"/>
                </a:lnTo>
                <a:lnTo>
                  <a:pt x="26" y="6"/>
                </a:lnTo>
                <a:lnTo>
                  <a:pt x="26" y="12"/>
                </a:lnTo>
                <a:lnTo>
                  <a:pt x="26" y="12"/>
                </a:lnTo>
                <a:lnTo>
                  <a:pt x="30" y="16"/>
                </a:lnTo>
                <a:lnTo>
                  <a:pt x="30" y="16"/>
                </a:lnTo>
                <a:lnTo>
                  <a:pt x="30" y="20"/>
                </a:lnTo>
                <a:lnTo>
                  <a:pt x="30" y="20"/>
                </a:lnTo>
                <a:lnTo>
                  <a:pt x="28" y="22"/>
                </a:lnTo>
                <a:lnTo>
                  <a:pt x="26" y="22"/>
                </a:lnTo>
                <a:lnTo>
                  <a:pt x="26" y="22"/>
                </a:lnTo>
                <a:lnTo>
                  <a:pt x="16" y="18"/>
                </a:lnTo>
                <a:lnTo>
                  <a:pt x="16" y="18"/>
                </a:lnTo>
                <a:lnTo>
                  <a:pt x="12" y="20"/>
                </a:lnTo>
                <a:lnTo>
                  <a:pt x="10" y="20"/>
                </a:lnTo>
                <a:lnTo>
                  <a:pt x="10" y="20"/>
                </a:lnTo>
                <a:lnTo>
                  <a:pt x="8" y="18"/>
                </a:lnTo>
                <a:lnTo>
                  <a:pt x="4" y="16"/>
                </a:lnTo>
                <a:lnTo>
                  <a:pt x="4" y="16"/>
                </a:lnTo>
                <a:lnTo>
                  <a:pt x="0" y="18"/>
                </a:lnTo>
                <a:lnTo>
                  <a:pt x="0" y="18"/>
                </a:lnTo>
                <a:lnTo>
                  <a:pt x="0" y="22"/>
                </a:lnTo>
                <a:lnTo>
                  <a:pt x="0" y="22"/>
                </a:lnTo>
                <a:lnTo>
                  <a:pt x="6" y="26"/>
                </a:lnTo>
                <a:lnTo>
                  <a:pt x="6" y="26"/>
                </a:lnTo>
                <a:lnTo>
                  <a:pt x="10" y="26"/>
                </a:lnTo>
                <a:lnTo>
                  <a:pt x="14" y="24"/>
                </a:lnTo>
                <a:lnTo>
                  <a:pt x="14" y="24"/>
                </a:lnTo>
                <a:lnTo>
                  <a:pt x="38" y="26"/>
                </a:lnTo>
                <a:lnTo>
                  <a:pt x="38"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3" name="Freeform 177">
            <a:extLst>
              <a:ext uri="{FF2B5EF4-FFF2-40B4-BE49-F238E27FC236}">
                <a16:creationId xmlns:a16="http://schemas.microsoft.com/office/drawing/2014/main" id="{E5134F85-B472-4841-A11A-7B6F8423A8DA}"/>
              </a:ext>
            </a:extLst>
          </p:cNvPr>
          <p:cNvSpPr>
            <a:spLocks/>
          </p:cNvSpPr>
          <p:nvPr userDrawn="1"/>
        </p:nvSpPr>
        <p:spPr bwMode="auto">
          <a:xfrm>
            <a:off x="4463876" y="3440410"/>
            <a:ext cx="110684" cy="223078"/>
          </a:xfrm>
          <a:custGeom>
            <a:avLst/>
            <a:gdLst>
              <a:gd name="T0" fmla="*/ 22 w 66"/>
              <a:gd name="T1" fmla="*/ 8 h 130"/>
              <a:gd name="T2" fmla="*/ 20 w 66"/>
              <a:gd name="T3" fmla="*/ 10 h 130"/>
              <a:gd name="T4" fmla="*/ 10 w 66"/>
              <a:gd name="T5" fmla="*/ 14 h 130"/>
              <a:gd name="T6" fmla="*/ 10 w 66"/>
              <a:gd name="T7" fmla="*/ 20 h 130"/>
              <a:gd name="T8" fmla="*/ 14 w 66"/>
              <a:gd name="T9" fmla="*/ 26 h 130"/>
              <a:gd name="T10" fmla="*/ 18 w 66"/>
              <a:gd name="T11" fmla="*/ 28 h 130"/>
              <a:gd name="T12" fmla="*/ 16 w 66"/>
              <a:gd name="T13" fmla="*/ 32 h 130"/>
              <a:gd name="T14" fmla="*/ 6 w 66"/>
              <a:gd name="T15" fmla="*/ 34 h 130"/>
              <a:gd name="T16" fmla="*/ 6 w 66"/>
              <a:gd name="T17" fmla="*/ 40 h 130"/>
              <a:gd name="T18" fmla="*/ 12 w 66"/>
              <a:gd name="T19" fmla="*/ 60 h 130"/>
              <a:gd name="T20" fmla="*/ 22 w 66"/>
              <a:gd name="T21" fmla="*/ 62 h 130"/>
              <a:gd name="T22" fmla="*/ 26 w 66"/>
              <a:gd name="T23" fmla="*/ 66 h 130"/>
              <a:gd name="T24" fmla="*/ 28 w 66"/>
              <a:gd name="T25" fmla="*/ 74 h 130"/>
              <a:gd name="T26" fmla="*/ 28 w 66"/>
              <a:gd name="T27" fmla="*/ 76 h 130"/>
              <a:gd name="T28" fmla="*/ 28 w 66"/>
              <a:gd name="T29" fmla="*/ 80 h 130"/>
              <a:gd name="T30" fmla="*/ 28 w 66"/>
              <a:gd name="T31" fmla="*/ 86 h 130"/>
              <a:gd name="T32" fmla="*/ 22 w 66"/>
              <a:gd name="T33" fmla="*/ 100 h 130"/>
              <a:gd name="T34" fmla="*/ 20 w 66"/>
              <a:gd name="T35" fmla="*/ 114 h 130"/>
              <a:gd name="T36" fmla="*/ 24 w 66"/>
              <a:gd name="T37" fmla="*/ 120 h 130"/>
              <a:gd name="T38" fmla="*/ 30 w 66"/>
              <a:gd name="T39" fmla="*/ 126 h 130"/>
              <a:gd name="T40" fmla="*/ 36 w 66"/>
              <a:gd name="T41" fmla="*/ 130 h 130"/>
              <a:gd name="T42" fmla="*/ 40 w 66"/>
              <a:gd name="T43" fmla="*/ 126 h 130"/>
              <a:gd name="T44" fmla="*/ 44 w 66"/>
              <a:gd name="T45" fmla="*/ 126 h 130"/>
              <a:gd name="T46" fmla="*/ 46 w 66"/>
              <a:gd name="T47" fmla="*/ 122 h 130"/>
              <a:gd name="T48" fmla="*/ 48 w 66"/>
              <a:gd name="T49" fmla="*/ 120 h 130"/>
              <a:gd name="T50" fmla="*/ 52 w 66"/>
              <a:gd name="T51" fmla="*/ 118 h 130"/>
              <a:gd name="T52" fmla="*/ 56 w 66"/>
              <a:gd name="T53" fmla="*/ 112 h 130"/>
              <a:gd name="T54" fmla="*/ 56 w 66"/>
              <a:gd name="T55" fmla="*/ 96 h 130"/>
              <a:gd name="T56" fmla="*/ 54 w 66"/>
              <a:gd name="T57" fmla="*/ 92 h 130"/>
              <a:gd name="T58" fmla="*/ 52 w 66"/>
              <a:gd name="T59" fmla="*/ 78 h 130"/>
              <a:gd name="T60" fmla="*/ 50 w 66"/>
              <a:gd name="T61" fmla="*/ 70 h 130"/>
              <a:gd name="T62" fmla="*/ 54 w 66"/>
              <a:gd name="T63" fmla="*/ 66 h 130"/>
              <a:gd name="T64" fmla="*/ 58 w 66"/>
              <a:gd name="T65" fmla="*/ 54 h 130"/>
              <a:gd name="T66" fmla="*/ 66 w 66"/>
              <a:gd name="T67" fmla="*/ 42 h 130"/>
              <a:gd name="T68" fmla="*/ 62 w 66"/>
              <a:gd name="T69" fmla="*/ 32 h 130"/>
              <a:gd name="T70" fmla="*/ 54 w 66"/>
              <a:gd name="T71" fmla="*/ 28 h 130"/>
              <a:gd name="T72" fmla="*/ 50 w 66"/>
              <a:gd name="T73" fmla="*/ 28 h 130"/>
              <a:gd name="T74" fmla="*/ 48 w 66"/>
              <a:gd name="T75" fmla="*/ 26 h 130"/>
              <a:gd name="T76" fmla="*/ 44 w 66"/>
              <a:gd name="T77" fmla="*/ 30 h 130"/>
              <a:gd name="T78" fmla="*/ 40 w 66"/>
              <a:gd name="T79" fmla="*/ 36 h 130"/>
              <a:gd name="T80" fmla="*/ 38 w 66"/>
              <a:gd name="T81" fmla="*/ 36 h 130"/>
              <a:gd name="T82" fmla="*/ 38 w 66"/>
              <a:gd name="T83" fmla="*/ 34 h 130"/>
              <a:gd name="T84" fmla="*/ 38 w 66"/>
              <a:gd name="T85" fmla="*/ 30 h 130"/>
              <a:gd name="T86" fmla="*/ 42 w 66"/>
              <a:gd name="T87" fmla="*/ 28 h 130"/>
              <a:gd name="T88" fmla="*/ 44 w 66"/>
              <a:gd name="T89" fmla="*/ 16 h 130"/>
              <a:gd name="T90" fmla="*/ 28 w 66"/>
              <a:gd name="T9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130">
                <a:moveTo>
                  <a:pt x="24" y="0"/>
                </a:moveTo>
                <a:lnTo>
                  <a:pt x="22" y="8"/>
                </a:lnTo>
                <a:lnTo>
                  <a:pt x="22" y="8"/>
                </a:lnTo>
                <a:lnTo>
                  <a:pt x="22" y="8"/>
                </a:lnTo>
                <a:lnTo>
                  <a:pt x="20" y="10"/>
                </a:lnTo>
                <a:lnTo>
                  <a:pt x="20" y="10"/>
                </a:lnTo>
                <a:lnTo>
                  <a:pt x="14" y="14"/>
                </a:lnTo>
                <a:lnTo>
                  <a:pt x="10" y="14"/>
                </a:lnTo>
                <a:lnTo>
                  <a:pt x="10" y="14"/>
                </a:lnTo>
                <a:lnTo>
                  <a:pt x="8" y="14"/>
                </a:lnTo>
                <a:lnTo>
                  <a:pt x="8" y="16"/>
                </a:lnTo>
                <a:lnTo>
                  <a:pt x="10" y="20"/>
                </a:lnTo>
                <a:lnTo>
                  <a:pt x="10" y="20"/>
                </a:lnTo>
                <a:lnTo>
                  <a:pt x="12" y="22"/>
                </a:lnTo>
                <a:lnTo>
                  <a:pt x="14" y="26"/>
                </a:lnTo>
                <a:lnTo>
                  <a:pt x="14" y="26"/>
                </a:lnTo>
                <a:lnTo>
                  <a:pt x="16" y="26"/>
                </a:lnTo>
                <a:lnTo>
                  <a:pt x="18" y="28"/>
                </a:lnTo>
                <a:lnTo>
                  <a:pt x="18" y="30"/>
                </a:lnTo>
                <a:lnTo>
                  <a:pt x="18" y="30"/>
                </a:lnTo>
                <a:lnTo>
                  <a:pt x="16" y="32"/>
                </a:lnTo>
                <a:lnTo>
                  <a:pt x="14" y="32"/>
                </a:lnTo>
                <a:lnTo>
                  <a:pt x="6" y="34"/>
                </a:lnTo>
                <a:lnTo>
                  <a:pt x="6" y="34"/>
                </a:lnTo>
                <a:lnTo>
                  <a:pt x="6" y="34"/>
                </a:lnTo>
                <a:lnTo>
                  <a:pt x="6" y="36"/>
                </a:lnTo>
                <a:lnTo>
                  <a:pt x="6" y="40"/>
                </a:lnTo>
                <a:lnTo>
                  <a:pt x="0" y="42"/>
                </a:lnTo>
                <a:lnTo>
                  <a:pt x="12" y="60"/>
                </a:lnTo>
                <a:lnTo>
                  <a:pt x="12" y="60"/>
                </a:lnTo>
                <a:lnTo>
                  <a:pt x="16" y="62"/>
                </a:lnTo>
                <a:lnTo>
                  <a:pt x="22" y="62"/>
                </a:lnTo>
                <a:lnTo>
                  <a:pt x="22" y="62"/>
                </a:lnTo>
                <a:lnTo>
                  <a:pt x="24" y="62"/>
                </a:lnTo>
                <a:lnTo>
                  <a:pt x="26" y="64"/>
                </a:lnTo>
                <a:lnTo>
                  <a:pt x="26" y="66"/>
                </a:lnTo>
                <a:lnTo>
                  <a:pt x="22" y="70"/>
                </a:lnTo>
                <a:lnTo>
                  <a:pt x="22" y="70"/>
                </a:lnTo>
                <a:lnTo>
                  <a:pt x="28" y="74"/>
                </a:lnTo>
                <a:lnTo>
                  <a:pt x="28" y="74"/>
                </a:lnTo>
                <a:lnTo>
                  <a:pt x="30" y="74"/>
                </a:lnTo>
                <a:lnTo>
                  <a:pt x="28" y="76"/>
                </a:lnTo>
                <a:lnTo>
                  <a:pt x="28" y="78"/>
                </a:lnTo>
                <a:lnTo>
                  <a:pt x="28" y="80"/>
                </a:lnTo>
                <a:lnTo>
                  <a:pt x="28" y="80"/>
                </a:lnTo>
                <a:lnTo>
                  <a:pt x="30" y="82"/>
                </a:lnTo>
                <a:lnTo>
                  <a:pt x="28" y="86"/>
                </a:lnTo>
                <a:lnTo>
                  <a:pt x="28" y="86"/>
                </a:lnTo>
                <a:lnTo>
                  <a:pt x="22" y="92"/>
                </a:lnTo>
                <a:lnTo>
                  <a:pt x="22" y="92"/>
                </a:lnTo>
                <a:lnTo>
                  <a:pt x="22" y="100"/>
                </a:lnTo>
                <a:lnTo>
                  <a:pt x="20" y="112"/>
                </a:lnTo>
                <a:lnTo>
                  <a:pt x="20" y="112"/>
                </a:lnTo>
                <a:lnTo>
                  <a:pt x="20" y="114"/>
                </a:lnTo>
                <a:lnTo>
                  <a:pt x="22" y="118"/>
                </a:lnTo>
                <a:lnTo>
                  <a:pt x="24" y="120"/>
                </a:lnTo>
                <a:lnTo>
                  <a:pt x="24" y="120"/>
                </a:lnTo>
                <a:lnTo>
                  <a:pt x="28" y="124"/>
                </a:lnTo>
                <a:lnTo>
                  <a:pt x="30" y="124"/>
                </a:lnTo>
                <a:lnTo>
                  <a:pt x="30" y="126"/>
                </a:lnTo>
                <a:lnTo>
                  <a:pt x="30" y="126"/>
                </a:lnTo>
                <a:lnTo>
                  <a:pt x="32" y="130"/>
                </a:lnTo>
                <a:lnTo>
                  <a:pt x="36" y="130"/>
                </a:lnTo>
                <a:lnTo>
                  <a:pt x="36" y="130"/>
                </a:lnTo>
                <a:lnTo>
                  <a:pt x="38" y="128"/>
                </a:lnTo>
                <a:lnTo>
                  <a:pt x="40" y="126"/>
                </a:lnTo>
                <a:lnTo>
                  <a:pt x="42" y="126"/>
                </a:lnTo>
                <a:lnTo>
                  <a:pt x="42" y="126"/>
                </a:lnTo>
                <a:lnTo>
                  <a:pt x="44" y="126"/>
                </a:lnTo>
                <a:lnTo>
                  <a:pt x="44" y="124"/>
                </a:lnTo>
                <a:lnTo>
                  <a:pt x="44" y="122"/>
                </a:lnTo>
                <a:lnTo>
                  <a:pt x="46" y="122"/>
                </a:lnTo>
                <a:lnTo>
                  <a:pt x="46" y="122"/>
                </a:lnTo>
                <a:lnTo>
                  <a:pt x="48" y="120"/>
                </a:lnTo>
                <a:lnTo>
                  <a:pt x="48" y="120"/>
                </a:lnTo>
                <a:lnTo>
                  <a:pt x="50" y="118"/>
                </a:lnTo>
                <a:lnTo>
                  <a:pt x="52" y="118"/>
                </a:lnTo>
                <a:lnTo>
                  <a:pt x="52" y="118"/>
                </a:lnTo>
                <a:lnTo>
                  <a:pt x="56" y="120"/>
                </a:lnTo>
                <a:lnTo>
                  <a:pt x="58" y="120"/>
                </a:lnTo>
                <a:lnTo>
                  <a:pt x="56" y="112"/>
                </a:lnTo>
                <a:lnTo>
                  <a:pt x="54" y="100"/>
                </a:lnTo>
                <a:lnTo>
                  <a:pt x="54" y="100"/>
                </a:lnTo>
                <a:lnTo>
                  <a:pt x="56" y="96"/>
                </a:lnTo>
                <a:lnTo>
                  <a:pt x="56" y="94"/>
                </a:lnTo>
                <a:lnTo>
                  <a:pt x="54" y="92"/>
                </a:lnTo>
                <a:lnTo>
                  <a:pt x="54" y="92"/>
                </a:lnTo>
                <a:lnTo>
                  <a:pt x="52" y="88"/>
                </a:lnTo>
                <a:lnTo>
                  <a:pt x="52" y="88"/>
                </a:lnTo>
                <a:lnTo>
                  <a:pt x="52" y="78"/>
                </a:lnTo>
                <a:lnTo>
                  <a:pt x="52" y="78"/>
                </a:lnTo>
                <a:lnTo>
                  <a:pt x="50" y="72"/>
                </a:lnTo>
                <a:lnTo>
                  <a:pt x="50" y="70"/>
                </a:lnTo>
                <a:lnTo>
                  <a:pt x="50" y="68"/>
                </a:lnTo>
                <a:lnTo>
                  <a:pt x="50" y="68"/>
                </a:lnTo>
                <a:lnTo>
                  <a:pt x="54" y="66"/>
                </a:lnTo>
                <a:lnTo>
                  <a:pt x="58" y="62"/>
                </a:lnTo>
                <a:lnTo>
                  <a:pt x="58" y="62"/>
                </a:lnTo>
                <a:lnTo>
                  <a:pt x="58" y="54"/>
                </a:lnTo>
                <a:lnTo>
                  <a:pt x="58" y="54"/>
                </a:lnTo>
                <a:lnTo>
                  <a:pt x="66" y="42"/>
                </a:lnTo>
                <a:lnTo>
                  <a:pt x="66" y="42"/>
                </a:lnTo>
                <a:lnTo>
                  <a:pt x="64" y="36"/>
                </a:lnTo>
                <a:lnTo>
                  <a:pt x="62" y="32"/>
                </a:lnTo>
                <a:lnTo>
                  <a:pt x="62" y="32"/>
                </a:lnTo>
                <a:lnTo>
                  <a:pt x="56" y="30"/>
                </a:lnTo>
                <a:lnTo>
                  <a:pt x="56" y="30"/>
                </a:lnTo>
                <a:lnTo>
                  <a:pt x="54" y="28"/>
                </a:lnTo>
                <a:lnTo>
                  <a:pt x="52" y="26"/>
                </a:lnTo>
                <a:lnTo>
                  <a:pt x="52" y="26"/>
                </a:lnTo>
                <a:lnTo>
                  <a:pt x="50" y="28"/>
                </a:lnTo>
                <a:lnTo>
                  <a:pt x="48" y="28"/>
                </a:lnTo>
                <a:lnTo>
                  <a:pt x="48" y="28"/>
                </a:lnTo>
                <a:lnTo>
                  <a:pt x="48" y="26"/>
                </a:lnTo>
                <a:lnTo>
                  <a:pt x="46" y="26"/>
                </a:lnTo>
                <a:lnTo>
                  <a:pt x="46" y="26"/>
                </a:lnTo>
                <a:lnTo>
                  <a:pt x="44" y="30"/>
                </a:lnTo>
                <a:lnTo>
                  <a:pt x="44" y="38"/>
                </a:lnTo>
                <a:lnTo>
                  <a:pt x="44" y="38"/>
                </a:lnTo>
                <a:lnTo>
                  <a:pt x="40" y="36"/>
                </a:lnTo>
                <a:lnTo>
                  <a:pt x="40" y="36"/>
                </a:lnTo>
                <a:lnTo>
                  <a:pt x="38" y="36"/>
                </a:lnTo>
                <a:lnTo>
                  <a:pt x="38" y="36"/>
                </a:lnTo>
                <a:lnTo>
                  <a:pt x="38" y="34"/>
                </a:lnTo>
                <a:lnTo>
                  <a:pt x="38" y="34"/>
                </a:lnTo>
                <a:lnTo>
                  <a:pt x="38" y="34"/>
                </a:lnTo>
                <a:lnTo>
                  <a:pt x="38" y="32"/>
                </a:lnTo>
                <a:lnTo>
                  <a:pt x="38" y="30"/>
                </a:lnTo>
                <a:lnTo>
                  <a:pt x="38" y="30"/>
                </a:lnTo>
                <a:lnTo>
                  <a:pt x="42" y="28"/>
                </a:lnTo>
                <a:lnTo>
                  <a:pt x="42" y="28"/>
                </a:lnTo>
                <a:lnTo>
                  <a:pt x="42" y="28"/>
                </a:lnTo>
                <a:lnTo>
                  <a:pt x="44" y="22"/>
                </a:lnTo>
                <a:lnTo>
                  <a:pt x="44" y="16"/>
                </a:lnTo>
                <a:lnTo>
                  <a:pt x="44" y="16"/>
                </a:lnTo>
                <a:lnTo>
                  <a:pt x="36" y="8"/>
                </a:lnTo>
                <a:lnTo>
                  <a:pt x="28" y="0"/>
                </a:lnTo>
                <a:lnTo>
                  <a:pt x="28" y="0"/>
                </a:lnTo>
                <a:lnTo>
                  <a:pt x="24" y="2"/>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4" name="Freeform 178">
            <a:extLst>
              <a:ext uri="{FF2B5EF4-FFF2-40B4-BE49-F238E27FC236}">
                <a16:creationId xmlns:a16="http://schemas.microsoft.com/office/drawing/2014/main" id="{10FB557C-0350-475D-AC20-78DAA9E0CBF8}"/>
              </a:ext>
            </a:extLst>
          </p:cNvPr>
          <p:cNvSpPr>
            <a:spLocks/>
          </p:cNvSpPr>
          <p:nvPr userDrawn="1"/>
        </p:nvSpPr>
        <p:spPr bwMode="auto">
          <a:xfrm>
            <a:off x="5483513" y="3320291"/>
            <a:ext cx="57019" cy="48048"/>
          </a:xfrm>
          <a:custGeom>
            <a:avLst/>
            <a:gdLst>
              <a:gd name="T0" fmla="*/ 20 w 34"/>
              <a:gd name="T1" fmla="*/ 28 h 28"/>
              <a:gd name="T2" fmla="*/ 20 w 34"/>
              <a:gd name="T3" fmla="*/ 28 h 28"/>
              <a:gd name="T4" fmla="*/ 20 w 34"/>
              <a:gd name="T5" fmla="*/ 24 h 28"/>
              <a:gd name="T6" fmla="*/ 20 w 34"/>
              <a:gd name="T7" fmla="*/ 24 h 28"/>
              <a:gd name="T8" fmla="*/ 26 w 34"/>
              <a:gd name="T9" fmla="*/ 24 h 28"/>
              <a:gd name="T10" fmla="*/ 26 w 34"/>
              <a:gd name="T11" fmla="*/ 24 h 28"/>
              <a:gd name="T12" fmla="*/ 30 w 34"/>
              <a:gd name="T13" fmla="*/ 22 h 28"/>
              <a:gd name="T14" fmla="*/ 32 w 34"/>
              <a:gd name="T15" fmla="*/ 20 h 28"/>
              <a:gd name="T16" fmla="*/ 32 w 34"/>
              <a:gd name="T17" fmla="*/ 20 h 28"/>
              <a:gd name="T18" fmla="*/ 32 w 34"/>
              <a:gd name="T19" fmla="*/ 18 h 28"/>
              <a:gd name="T20" fmla="*/ 32 w 34"/>
              <a:gd name="T21" fmla="*/ 14 h 28"/>
              <a:gd name="T22" fmla="*/ 32 w 34"/>
              <a:gd name="T23" fmla="*/ 14 h 28"/>
              <a:gd name="T24" fmla="*/ 32 w 34"/>
              <a:gd name="T25" fmla="*/ 14 h 28"/>
              <a:gd name="T26" fmla="*/ 30 w 34"/>
              <a:gd name="T27" fmla="*/ 12 h 28"/>
              <a:gd name="T28" fmla="*/ 30 w 34"/>
              <a:gd name="T29" fmla="*/ 10 h 28"/>
              <a:gd name="T30" fmla="*/ 34 w 34"/>
              <a:gd name="T31" fmla="*/ 8 h 28"/>
              <a:gd name="T32" fmla="*/ 34 w 34"/>
              <a:gd name="T33" fmla="*/ 8 h 28"/>
              <a:gd name="T34" fmla="*/ 34 w 34"/>
              <a:gd name="T35" fmla="*/ 8 h 28"/>
              <a:gd name="T36" fmla="*/ 34 w 34"/>
              <a:gd name="T37" fmla="*/ 4 h 28"/>
              <a:gd name="T38" fmla="*/ 34 w 34"/>
              <a:gd name="T39" fmla="*/ 0 h 28"/>
              <a:gd name="T40" fmla="*/ 34 w 34"/>
              <a:gd name="T41" fmla="*/ 0 h 28"/>
              <a:gd name="T42" fmla="*/ 22 w 34"/>
              <a:gd name="T43" fmla="*/ 0 h 28"/>
              <a:gd name="T44" fmla="*/ 12 w 34"/>
              <a:gd name="T45" fmla="*/ 0 h 28"/>
              <a:gd name="T46" fmla="*/ 6 w 34"/>
              <a:gd name="T47" fmla="*/ 4 h 28"/>
              <a:gd name="T48" fmla="*/ 0 w 34"/>
              <a:gd name="T49" fmla="*/ 6 h 28"/>
              <a:gd name="T50" fmla="*/ 0 w 34"/>
              <a:gd name="T51" fmla="*/ 6 h 28"/>
              <a:gd name="T52" fmla="*/ 0 w 34"/>
              <a:gd name="T53" fmla="*/ 6 h 28"/>
              <a:gd name="T54" fmla="*/ 0 w 34"/>
              <a:gd name="T55" fmla="*/ 8 h 28"/>
              <a:gd name="T56" fmla="*/ 0 w 34"/>
              <a:gd name="T57" fmla="*/ 8 h 28"/>
              <a:gd name="T58" fmla="*/ 0 w 34"/>
              <a:gd name="T59" fmla="*/ 8 h 28"/>
              <a:gd name="T60" fmla="*/ 4 w 34"/>
              <a:gd name="T61" fmla="*/ 12 h 28"/>
              <a:gd name="T62" fmla="*/ 12 w 34"/>
              <a:gd name="T63" fmla="*/ 16 h 28"/>
              <a:gd name="T64" fmla="*/ 12 w 34"/>
              <a:gd name="T65" fmla="*/ 16 h 28"/>
              <a:gd name="T66" fmla="*/ 12 w 34"/>
              <a:gd name="T67" fmla="*/ 24 h 28"/>
              <a:gd name="T68" fmla="*/ 12 w 34"/>
              <a:gd name="T69" fmla="*/ 24 h 28"/>
              <a:gd name="T70" fmla="*/ 14 w 34"/>
              <a:gd name="T71" fmla="*/ 24 h 28"/>
              <a:gd name="T72" fmla="*/ 16 w 34"/>
              <a:gd name="T73" fmla="*/ 26 h 28"/>
              <a:gd name="T74" fmla="*/ 16 w 34"/>
              <a:gd name="T75" fmla="*/ 26 h 28"/>
              <a:gd name="T76" fmla="*/ 18 w 34"/>
              <a:gd name="T77" fmla="*/ 28 h 28"/>
              <a:gd name="T78" fmla="*/ 18 w 34"/>
              <a:gd name="T79" fmla="*/ 28 h 28"/>
              <a:gd name="T80" fmla="*/ 20 w 34"/>
              <a:gd name="T81" fmla="*/ 28 h 28"/>
              <a:gd name="T82" fmla="*/ 20 w 34"/>
              <a:gd name="T8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28">
                <a:moveTo>
                  <a:pt x="20" y="28"/>
                </a:moveTo>
                <a:lnTo>
                  <a:pt x="20" y="28"/>
                </a:lnTo>
                <a:lnTo>
                  <a:pt x="20" y="24"/>
                </a:lnTo>
                <a:lnTo>
                  <a:pt x="20" y="24"/>
                </a:lnTo>
                <a:lnTo>
                  <a:pt x="26" y="24"/>
                </a:lnTo>
                <a:lnTo>
                  <a:pt x="26" y="24"/>
                </a:lnTo>
                <a:lnTo>
                  <a:pt x="30" y="22"/>
                </a:lnTo>
                <a:lnTo>
                  <a:pt x="32" y="20"/>
                </a:lnTo>
                <a:lnTo>
                  <a:pt x="32" y="20"/>
                </a:lnTo>
                <a:lnTo>
                  <a:pt x="32" y="18"/>
                </a:lnTo>
                <a:lnTo>
                  <a:pt x="32" y="14"/>
                </a:lnTo>
                <a:lnTo>
                  <a:pt x="32" y="14"/>
                </a:lnTo>
                <a:lnTo>
                  <a:pt x="32" y="14"/>
                </a:lnTo>
                <a:lnTo>
                  <a:pt x="30" y="12"/>
                </a:lnTo>
                <a:lnTo>
                  <a:pt x="30" y="10"/>
                </a:lnTo>
                <a:lnTo>
                  <a:pt x="34" y="8"/>
                </a:lnTo>
                <a:lnTo>
                  <a:pt x="34" y="8"/>
                </a:lnTo>
                <a:lnTo>
                  <a:pt x="34" y="8"/>
                </a:lnTo>
                <a:lnTo>
                  <a:pt x="34" y="4"/>
                </a:lnTo>
                <a:lnTo>
                  <a:pt x="34" y="0"/>
                </a:lnTo>
                <a:lnTo>
                  <a:pt x="34" y="0"/>
                </a:lnTo>
                <a:lnTo>
                  <a:pt x="22" y="0"/>
                </a:lnTo>
                <a:lnTo>
                  <a:pt x="12" y="0"/>
                </a:lnTo>
                <a:lnTo>
                  <a:pt x="6" y="4"/>
                </a:lnTo>
                <a:lnTo>
                  <a:pt x="0" y="6"/>
                </a:lnTo>
                <a:lnTo>
                  <a:pt x="0" y="6"/>
                </a:lnTo>
                <a:lnTo>
                  <a:pt x="0" y="6"/>
                </a:lnTo>
                <a:lnTo>
                  <a:pt x="0" y="8"/>
                </a:lnTo>
                <a:lnTo>
                  <a:pt x="0" y="8"/>
                </a:lnTo>
                <a:lnTo>
                  <a:pt x="0" y="8"/>
                </a:lnTo>
                <a:lnTo>
                  <a:pt x="4" y="12"/>
                </a:lnTo>
                <a:lnTo>
                  <a:pt x="12" y="16"/>
                </a:lnTo>
                <a:lnTo>
                  <a:pt x="12" y="16"/>
                </a:lnTo>
                <a:lnTo>
                  <a:pt x="12" y="24"/>
                </a:lnTo>
                <a:lnTo>
                  <a:pt x="12" y="24"/>
                </a:lnTo>
                <a:lnTo>
                  <a:pt x="14" y="24"/>
                </a:lnTo>
                <a:lnTo>
                  <a:pt x="16" y="26"/>
                </a:lnTo>
                <a:lnTo>
                  <a:pt x="16" y="26"/>
                </a:lnTo>
                <a:lnTo>
                  <a:pt x="18" y="28"/>
                </a:lnTo>
                <a:lnTo>
                  <a:pt x="18" y="28"/>
                </a:lnTo>
                <a:lnTo>
                  <a:pt x="20" y="28"/>
                </a:lnTo>
                <a:lnTo>
                  <a:pt x="20"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5" name="Freeform 179">
            <a:extLst>
              <a:ext uri="{FF2B5EF4-FFF2-40B4-BE49-F238E27FC236}">
                <a16:creationId xmlns:a16="http://schemas.microsoft.com/office/drawing/2014/main" id="{113D7001-6FA1-4517-B815-3318E329F8C7}"/>
              </a:ext>
            </a:extLst>
          </p:cNvPr>
          <p:cNvSpPr>
            <a:spLocks/>
          </p:cNvSpPr>
          <p:nvPr userDrawn="1"/>
        </p:nvSpPr>
        <p:spPr bwMode="auto">
          <a:xfrm>
            <a:off x="5517055" y="3320291"/>
            <a:ext cx="164349" cy="151007"/>
          </a:xfrm>
          <a:custGeom>
            <a:avLst/>
            <a:gdLst>
              <a:gd name="T0" fmla="*/ 22 w 98"/>
              <a:gd name="T1" fmla="*/ 62 h 88"/>
              <a:gd name="T2" fmla="*/ 24 w 98"/>
              <a:gd name="T3" fmla="*/ 58 h 88"/>
              <a:gd name="T4" fmla="*/ 28 w 98"/>
              <a:gd name="T5" fmla="*/ 54 h 88"/>
              <a:gd name="T6" fmla="*/ 30 w 98"/>
              <a:gd name="T7" fmla="*/ 46 h 88"/>
              <a:gd name="T8" fmla="*/ 40 w 98"/>
              <a:gd name="T9" fmla="*/ 44 h 88"/>
              <a:gd name="T10" fmla="*/ 46 w 98"/>
              <a:gd name="T11" fmla="*/ 44 h 88"/>
              <a:gd name="T12" fmla="*/ 52 w 98"/>
              <a:gd name="T13" fmla="*/ 46 h 88"/>
              <a:gd name="T14" fmla="*/ 52 w 98"/>
              <a:gd name="T15" fmla="*/ 54 h 88"/>
              <a:gd name="T16" fmla="*/ 56 w 98"/>
              <a:gd name="T17" fmla="*/ 58 h 88"/>
              <a:gd name="T18" fmla="*/ 60 w 98"/>
              <a:gd name="T19" fmla="*/ 64 h 88"/>
              <a:gd name="T20" fmla="*/ 64 w 98"/>
              <a:gd name="T21" fmla="*/ 72 h 88"/>
              <a:gd name="T22" fmla="*/ 70 w 98"/>
              <a:gd name="T23" fmla="*/ 72 h 88"/>
              <a:gd name="T24" fmla="*/ 72 w 98"/>
              <a:gd name="T25" fmla="*/ 66 h 88"/>
              <a:gd name="T26" fmla="*/ 76 w 98"/>
              <a:gd name="T27" fmla="*/ 76 h 88"/>
              <a:gd name="T28" fmla="*/ 72 w 98"/>
              <a:gd name="T29" fmla="*/ 86 h 88"/>
              <a:gd name="T30" fmla="*/ 82 w 98"/>
              <a:gd name="T31" fmla="*/ 80 h 88"/>
              <a:gd name="T32" fmla="*/ 86 w 98"/>
              <a:gd name="T33" fmla="*/ 80 h 88"/>
              <a:gd name="T34" fmla="*/ 90 w 98"/>
              <a:gd name="T35" fmla="*/ 78 h 88"/>
              <a:gd name="T36" fmla="*/ 90 w 98"/>
              <a:gd name="T37" fmla="*/ 72 h 88"/>
              <a:gd name="T38" fmla="*/ 98 w 98"/>
              <a:gd name="T39" fmla="*/ 68 h 88"/>
              <a:gd name="T40" fmla="*/ 98 w 98"/>
              <a:gd name="T41" fmla="*/ 64 h 88"/>
              <a:gd name="T42" fmla="*/ 94 w 98"/>
              <a:gd name="T43" fmla="*/ 58 h 88"/>
              <a:gd name="T44" fmla="*/ 98 w 98"/>
              <a:gd name="T45" fmla="*/ 52 h 88"/>
              <a:gd name="T46" fmla="*/ 94 w 98"/>
              <a:gd name="T47" fmla="*/ 50 h 88"/>
              <a:gd name="T48" fmla="*/ 88 w 98"/>
              <a:gd name="T49" fmla="*/ 44 h 88"/>
              <a:gd name="T50" fmla="*/ 82 w 98"/>
              <a:gd name="T51" fmla="*/ 42 h 88"/>
              <a:gd name="T52" fmla="*/ 80 w 98"/>
              <a:gd name="T53" fmla="*/ 38 h 88"/>
              <a:gd name="T54" fmla="*/ 76 w 98"/>
              <a:gd name="T55" fmla="*/ 40 h 88"/>
              <a:gd name="T56" fmla="*/ 84 w 98"/>
              <a:gd name="T57" fmla="*/ 32 h 88"/>
              <a:gd name="T58" fmla="*/ 78 w 98"/>
              <a:gd name="T59" fmla="*/ 32 h 88"/>
              <a:gd name="T60" fmla="*/ 76 w 98"/>
              <a:gd name="T61" fmla="*/ 26 h 88"/>
              <a:gd name="T62" fmla="*/ 74 w 98"/>
              <a:gd name="T63" fmla="*/ 22 h 88"/>
              <a:gd name="T64" fmla="*/ 76 w 98"/>
              <a:gd name="T65" fmla="*/ 14 h 88"/>
              <a:gd name="T66" fmla="*/ 74 w 98"/>
              <a:gd name="T67" fmla="*/ 8 h 88"/>
              <a:gd name="T68" fmla="*/ 68 w 98"/>
              <a:gd name="T69" fmla="*/ 6 h 88"/>
              <a:gd name="T70" fmla="*/ 62 w 98"/>
              <a:gd name="T71" fmla="*/ 4 h 88"/>
              <a:gd name="T72" fmla="*/ 58 w 98"/>
              <a:gd name="T73" fmla="*/ 8 h 88"/>
              <a:gd name="T74" fmla="*/ 52 w 98"/>
              <a:gd name="T75" fmla="*/ 6 h 88"/>
              <a:gd name="T76" fmla="*/ 48 w 98"/>
              <a:gd name="T77" fmla="*/ 8 h 88"/>
              <a:gd name="T78" fmla="*/ 44 w 98"/>
              <a:gd name="T79" fmla="*/ 2 h 88"/>
              <a:gd name="T80" fmla="*/ 32 w 98"/>
              <a:gd name="T81" fmla="*/ 4 h 88"/>
              <a:gd name="T82" fmla="*/ 24 w 98"/>
              <a:gd name="T83" fmla="*/ 2 h 88"/>
              <a:gd name="T84" fmla="*/ 14 w 98"/>
              <a:gd name="T85" fmla="*/ 0 h 88"/>
              <a:gd name="T86" fmla="*/ 14 w 98"/>
              <a:gd name="T87" fmla="*/ 8 h 88"/>
              <a:gd name="T88" fmla="*/ 10 w 98"/>
              <a:gd name="T89" fmla="*/ 10 h 88"/>
              <a:gd name="T90" fmla="*/ 12 w 98"/>
              <a:gd name="T91" fmla="*/ 14 h 88"/>
              <a:gd name="T92" fmla="*/ 12 w 98"/>
              <a:gd name="T93" fmla="*/ 20 h 88"/>
              <a:gd name="T94" fmla="*/ 6 w 98"/>
              <a:gd name="T95" fmla="*/ 24 h 88"/>
              <a:gd name="T96" fmla="*/ 0 w 98"/>
              <a:gd name="T97" fmla="*/ 24 h 88"/>
              <a:gd name="T98" fmla="*/ 0 w 98"/>
              <a:gd name="T99" fmla="*/ 30 h 88"/>
              <a:gd name="T100" fmla="*/ 4 w 98"/>
              <a:gd name="T101" fmla="*/ 34 h 88"/>
              <a:gd name="T102" fmla="*/ 4 w 98"/>
              <a:gd name="T103" fmla="*/ 38 h 88"/>
              <a:gd name="T104" fmla="*/ 6 w 98"/>
              <a:gd name="T105" fmla="*/ 42 h 88"/>
              <a:gd name="T106" fmla="*/ 12 w 98"/>
              <a:gd name="T107" fmla="*/ 44 h 88"/>
              <a:gd name="T108" fmla="*/ 14 w 98"/>
              <a:gd name="T109" fmla="*/ 5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 h="88">
                <a:moveTo>
                  <a:pt x="20" y="60"/>
                </a:moveTo>
                <a:lnTo>
                  <a:pt x="20" y="60"/>
                </a:lnTo>
                <a:lnTo>
                  <a:pt x="22" y="62"/>
                </a:lnTo>
                <a:lnTo>
                  <a:pt x="22" y="62"/>
                </a:lnTo>
                <a:lnTo>
                  <a:pt x="24" y="60"/>
                </a:lnTo>
                <a:lnTo>
                  <a:pt x="24" y="58"/>
                </a:lnTo>
                <a:lnTo>
                  <a:pt x="26" y="56"/>
                </a:lnTo>
                <a:lnTo>
                  <a:pt x="26" y="56"/>
                </a:lnTo>
                <a:lnTo>
                  <a:pt x="28" y="54"/>
                </a:lnTo>
                <a:lnTo>
                  <a:pt x="30" y="52"/>
                </a:lnTo>
                <a:lnTo>
                  <a:pt x="30" y="46"/>
                </a:lnTo>
                <a:lnTo>
                  <a:pt x="30" y="46"/>
                </a:lnTo>
                <a:lnTo>
                  <a:pt x="32" y="42"/>
                </a:lnTo>
                <a:lnTo>
                  <a:pt x="34" y="42"/>
                </a:lnTo>
                <a:lnTo>
                  <a:pt x="40" y="44"/>
                </a:lnTo>
                <a:lnTo>
                  <a:pt x="40" y="44"/>
                </a:lnTo>
                <a:lnTo>
                  <a:pt x="44" y="44"/>
                </a:lnTo>
                <a:lnTo>
                  <a:pt x="46" y="44"/>
                </a:lnTo>
                <a:lnTo>
                  <a:pt x="48" y="44"/>
                </a:lnTo>
                <a:lnTo>
                  <a:pt x="48" y="44"/>
                </a:lnTo>
                <a:lnTo>
                  <a:pt x="52" y="46"/>
                </a:lnTo>
                <a:lnTo>
                  <a:pt x="52" y="52"/>
                </a:lnTo>
                <a:lnTo>
                  <a:pt x="52" y="52"/>
                </a:lnTo>
                <a:lnTo>
                  <a:pt x="52" y="54"/>
                </a:lnTo>
                <a:lnTo>
                  <a:pt x="54" y="54"/>
                </a:lnTo>
                <a:lnTo>
                  <a:pt x="56" y="56"/>
                </a:lnTo>
                <a:lnTo>
                  <a:pt x="56" y="58"/>
                </a:lnTo>
                <a:lnTo>
                  <a:pt x="56" y="58"/>
                </a:lnTo>
                <a:lnTo>
                  <a:pt x="60" y="64"/>
                </a:lnTo>
                <a:lnTo>
                  <a:pt x="60" y="64"/>
                </a:lnTo>
                <a:lnTo>
                  <a:pt x="58" y="68"/>
                </a:lnTo>
                <a:lnTo>
                  <a:pt x="58" y="72"/>
                </a:lnTo>
                <a:lnTo>
                  <a:pt x="64" y="72"/>
                </a:lnTo>
                <a:lnTo>
                  <a:pt x="64" y="72"/>
                </a:lnTo>
                <a:lnTo>
                  <a:pt x="66" y="72"/>
                </a:lnTo>
                <a:lnTo>
                  <a:pt x="70" y="72"/>
                </a:lnTo>
                <a:lnTo>
                  <a:pt x="70" y="72"/>
                </a:lnTo>
                <a:lnTo>
                  <a:pt x="72" y="68"/>
                </a:lnTo>
                <a:lnTo>
                  <a:pt x="72" y="66"/>
                </a:lnTo>
                <a:lnTo>
                  <a:pt x="72" y="66"/>
                </a:lnTo>
                <a:lnTo>
                  <a:pt x="76" y="76"/>
                </a:lnTo>
                <a:lnTo>
                  <a:pt x="76" y="76"/>
                </a:lnTo>
                <a:lnTo>
                  <a:pt x="76" y="78"/>
                </a:lnTo>
                <a:lnTo>
                  <a:pt x="74" y="82"/>
                </a:lnTo>
                <a:lnTo>
                  <a:pt x="72" y="86"/>
                </a:lnTo>
                <a:lnTo>
                  <a:pt x="76" y="88"/>
                </a:lnTo>
                <a:lnTo>
                  <a:pt x="76" y="88"/>
                </a:lnTo>
                <a:lnTo>
                  <a:pt x="82" y="80"/>
                </a:lnTo>
                <a:lnTo>
                  <a:pt x="82" y="80"/>
                </a:lnTo>
                <a:lnTo>
                  <a:pt x="84" y="78"/>
                </a:lnTo>
                <a:lnTo>
                  <a:pt x="86" y="80"/>
                </a:lnTo>
                <a:lnTo>
                  <a:pt x="86" y="82"/>
                </a:lnTo>
                <a:lnTo>
                  <a:pt x="90" y="78"/>
                </a:lnTo>
                <a:lnTo>
                  <a:pt x="90" y="78"/>
                </a:lnTo>
                <a:lnTo>
                  <a:pt x="90" y="74"/>
                </a:lnTo>
                <a:lnTo>
                  <a:pt x="90" y="74"/>
                </a:lnTo>
                <a:lnTo>
                  <a:pt x="90" y="72"/>
                </a:lnTo>
                <a:lnTo>
                  <a:pt x="92" y="72"/>
                </a:lnTo>
                <a:lnTo>
                  <a:pt x="96" y="70"/>
                </a:lnTo>
                <a:lnTo>
                  <a:pt x="98" y="68"/>
                </a:lnTo>
                <a:lnTo>
                  <a:pt x="98" y="68"/>
                </a:lnTo>
                <a:lnTo>
                  <a:pt x="98" y="66"/>
                </a:lnTo>
                <a:lnTo>
                  <a:pt x="98" y="64"/>
                </a:lnTo>
                <a:lnTo>
                  <a:pt x="94" y="60"/>
                </a:lnTo>
                <a:lnTo>
                  <a:pt x="94" y="60"/>
                </a:lnTo>
                <a:lnTo>
                  <a:pt x="94" y="58"/>
                </a:lnTo>
                <a:lnTo>
                  <a:pt x="96" y="56"/>
                </a:lnTo>
                <a:lnTo>
                  <a:pt x="98" y="52"/>
                </a:lnTo>
                <a:lnTo>
                  <a:pt x="98" y="52"/>
                </a:lnTo>
                <a:lnTo>
                  <a:pt x="98" y="52"/>
                </a:lnTo>
                <a:lnTo>
                  <a:pt x="94" y="50"/>
                </a:lnTo>
                <a:lnTo>
                  <a:pt x="94" y="50"/>
                </a:lnTo>
                <a:lnTo>
                  <a:pt x="90" y="48"/>
                </a:lnTo>
                <a:lnTo>
                  <a:pt x="88" y="44"/>
                </a:lnTo>
                <a:lnTo>
                  <a:pt x="88" y="44"/>
                </a:lnTo>
                <a:lnTo>
                  <a:pt x="86" y="42"/>
                </a:lnTo>
                <a:lnTo>
                  <a:pt x="84" y="42"/>
                </a:lnTo>
                <a:lnTo>
                  <a:pt x="82" y="42"/>
                </a:lnTo>
                <a:lnTo>
                  <a:pt x="80" y="40"/>
                </a:lnTo>
                <a:lnTo>
                  <a:pt x="80" y="40"/>
                </a:lnTo>
                <a:lnTo>
                  <a:pt x="80" y="38"/>
                </a:lnTo>
                <a:lnTo>
                  <a:pt x="78" y="38"/>
                </a:lnTo>
                <a:lnTo>
                  <a:pt x="76" y="40"/>
                </a:lnTo>
                <a:lnTo>
                  <a:pt x="76" y="40"/>
                </a:lnTo>
                <a:lnTo>
                  <a:pt x="74" y="38"/>
                </a:lnTo>
                <a:lnTo>
                  <a:pt x="72" y="38"/>
                </a:lnTo>
                <a:lnTo>
                  <a:pt x="84" y="32"/>
                </a:lnTo>
                <a:lnTo>
                  <a:pt x="84" y="32"/>
                </a:lnTo>
                <a:lnTo>
                  <a:pt x="80" y="32"/>
                </a:lnTo>
                <a:lnTo>
                  <a:pt x="78" y="32"/>
                </a:lnTo>
                <a:lnTo>
                  <a:pt x="78" y="30"/>
                </a:lnTo>
                <a:lnTo>
                  <a:pt x="78" y="30"/>
                </a:lnTo>
                <a:lnTo>
                  <a:pt x="76" y="26"/>
                </a:lnTo>
                <a:lnTo>
                  <a:pt x="74" y="24"/>
                </a:lnTo>
                <a:lnTo>
                  <a:pt x="74" y="24"/>
                </a:lnTo>
                <a:lnTo>
                  <a:pt x="74" y="22"/>
                </a:lnTo>
                <a:lnTo>
                  <a:pt x="74" y="20"/>
                </a:lnTo>
                <a:lnTo>
                  <a:pt x="76" y="18"/>
                </a:lnTo>
                <a:lnTo>
                  <a:pt x="76" y="14"/>
                </a:lnTo>
                <a:lnTo>
                  <a:pt x="76" y="14"/>
                </a:lnTo>
                <a:lnTo>
                  <a:pt x="74" y="8"/>
                </a:lnTo>
                <a:lnTo>
                  <a:pt x="74" y="8"/>
                </a:lnTo>
                <a:lnTo>
                  <a:pt x="74" y="6"/>
                </a:lnTo>
                <a:lnTo>
                  <a:pt x="68" y="6"/>
                </a:lnTo>
                <a:lnTo>
                  <a:pt x="68" y="6"/>
                </a:lnTo>
                <a:lnTo>
                  <a:pt x="66" y="6"/>
                </a:lnTo>
                <a:lnTo>
                  <a:pt x="64" y="6"/>
                </a:lnTo>
                <a:lnTo>
                  <a:pt x="62" y="4"/>
                </a:lnTo>
                <a:lnTo>
                  <a:pt x="62" y="4"/>
                </a:lnTo>
                <a:lnTo>
                  <a:pt x="60" y="6"/>
                </a:lnTo>
                <a:lnTo>
                  <a:pt x="58" y="8"/>
                </a:lnTo>
                <a:lnTo>
                  <a:pt x="58" y="8"/>
                </a:lnTo>
                <a:lnTo>
                  <a:pt x="56" y="8"/>
                </a:lnTo>
                <a:lnTo>
                  <a:pt x="52" y="6"/>
                </a:lnTo>
                <a:lnTo>
                  <a:pt x="52" y="6"/>
                </a:lnTo>
                <a:lnTo>
                  <a:pt x="48" y="6"/>
                </a:lnTo>
                <a:lnTo>
                  <a:pt x="48" y="8"/>
                </a:lnTo>
                <a:lnTo>
                  <a:pt x="44" y="8"/>
                </a:lnTo>
                <a:lnTo>
                  <a:pt x="44" y="2"/>
                </a:lnTo>
                <a:lnTo>
                  <a:pt x="44" y="2"/>
                </a:lnTo>
                <a:lnTo>
                  <a:pt x="38" y="4"/>
                </a:lnTo>
                <a:lnTo>
                  <a:pt x="34" y="4"/>
                </a:lnTo>
                <a:lnTo>
                  <a:pt x="32" y="4"/>
                </a:lnTo>
                <a:lnTo>
                  <a:pt x="32" y="4"/>
                </a:lnTo>
                <a:lnTo>
                  <a:pt x="28" y="2"/>
                </a:lnTo>
                <a:lnTo>
                  <a:pt x="24" y="2"/>
                </a:lnTo>
                <a:lnTo>
                  <a:pt x="24" y="2"/>
                </a:lnTo>
                <a:lnTo>
                  <a:pt x="18" y="2"/>
                </a:lnTo>
                <a:lnTo>
                  <a:pt x="14" y="0"/>
                </a:lnTo>
                <a:lnTo>
                  <a:pt x="14" y="0"/>
                </a:lnTo>
                <a:lnTo>
                  <a:pt x="14" y="4"/>
                </a:lnTo>
                <a:lnTo>
                  <a:pt x="14" y="8"/>
                </a:lnTo>
                <a:lnTo>
                  <a:pt x="14" y="8"/>
                </a:lnTo>
                <a:lnTo>
                  <a:pt x="14" y="8"/>
                </a:lnTo>
                <a:lnTo>
                  <a:pt x="10" y="10"/>
                </a:lnTo>
                <a:lnTo>
                  <a:pt x="10" y="12"/>
                </a:lnTo>
                <a:lnTo>
                  <a:pt x="12" y="14"/>
                </a:lnTo>
                <a:lnTo>
                  <a:pt x="12" y="14"/>
                </a:lnTo>
                <a:lnTo>
                  <a:pt x="12" y="14"/>
                </a:lnTo>
                <a:lnTo>
                  <a:pt x="12" y="18"/>
                </a:lnTo>
                <a:lnTo>
                  <a:pt x="12" y="20"/>
                </a:lnTo>
                <a:lnTo>
                  <a:pt x="12" y="20"/>
                </a:lnTo>
                <a:lnTo>
                  <a:pt x="10" y="22"/>
                </a:lnTo>
                <a:lnTo>
                  <a:pt x="6" y="24"/>
                </a:lnTo>
                <a:lnTo>
                  <a:pt x="6" y="24"/>
                </a:lnTo>
                <a:lnTo>
                  <a:pt x="0" y="24"/>
                </a:lnTo>
                <a:lnTo>
                  <a:pt x="0" y="24"/>
                </a:lnTo>
                <a:lnTo>
                  <a:pt x="0" y="28"/>
                </a:lnTo>
                <a:lnTo>
                  <a:pt x="0" y="28"/>
                </a:lnTo>
                <a:lnTo>
                  <a:pt x="0" y="30"/>
                </a:lnTo>
                <a:lnTo>
                  <a:pt x="0" y="30"/>
                </a:lnTo>
                <a:lnTo>
                  <a:pt x="4" y="34"/>
                </a:lnTo>
                <a:lnTo>
                  <a:pt x="4" y="34"/>
                </a:lnTo>
                <a:lnTo>
                  <a:pt x="4" y="36"/>
                </a:lnTo>
                <a:lnTo>
                  <a:pt x="4" y="38"/>
                </a:lnTo>
                <a:lnTo>
                  <a:pt x="4" y="38"/>
                </a:lnTo>
                <a:lnTo>
                  <a:pt x="6" y="40"/>
                </a:lnTo>
                <a:lnTo>
                  <a:pt x="6" y="42"/>
                </a:lnTo>
                <a:lnTo>
                  <a:pt x="6" y="42"/>
                </a:lnTo>
                <a:lnTo>
                  <a:pt x="10" y="44"/>
                </a:lnTo>
                <a:lnTo>
                  <a:pt x="12" y="44"/>
                </a:lnTo>
                <a:lnTo>
                  <a:pt x="12" y="44"/>
                </a:lnTo>
                <a:lnTo>
                  <a:pt x="12" y="52"/>
                </a:lnTo>
                <a:lnTo>
                  <a:pt x="12" y="56"/>
                </a:lnTo>
                <a:lnTo>
                  <a:pt x="14" y="58"/>
                </a:lnTo>
                <a:lnTo>
                  <a:pt x="20" y="60"/>
                </a:lnTo>
                <a:lnTo>
                  <a:pt x="20"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6" name="Freeform 180">
            <a:extLst>
              <a:ext uri="{FF2B5EF4-FFF2-40B4-BE49-F238E27FC236}">
                <a16:creationId xmlns:a16="http://schemas.microsoft.com/office/drawing/2014/main" id="{68F329E4-8A97-4559-84F6-94C4B959B772}"/>
              </a:ext>
            </a:extLst>
          </p:cNvPr>
          <p:cNvSpPr>
            <a:spLocks/>
          </p:cNvSpPr>
          <p:nvPr userDrawn="1"/>
        </p:nvSpPr>
        <p:spPr bwMode="auto">
          <a:xfrm>
            <a:off x="3776291" y="3165852"/>
            <a:ext cx="93914" cy="120119"/>
          </a:xfrm>
          <a:custGeom>
            <a:avLst/>
            <a:gdLst>
              <a:gd name="T0" fmla="*/ 30 w 56"/>
              <a:gd name="T1" fmla="*/ 70 h 70"/>
              <a:gd name="T2" fmla="*/ 32 w 56"/>
              <a:gd name="T3" fmla="*/ 68 h 70"/>
              <a:gd name="T4" fmla="*/ 36 w 56"/>
              <a:gd name="T5" fmla="*/ 66 h 70"/>
              <a:gd name="T6" fmla="*/ 36 w 56"/>
              <a:gd name="T7" fmla="*/ 62 h 70"/>
              <a:gd name="T8" fmla="*/ 42 w 56"/>
              <a:gd name="T9" fmla="*/ 58 h 70"/>
              <a:gd name="T10" fmla="*/ 44 w 56"/>
              <a:gd name="T11" fmla="*/ 56 h 70"/>
              <a:gd name="T12" fmla="*/ 46 w 56"/>
              <a:gd name="T13" fmla="*/ 50 h 70"/>
              <a:gd name="T14" fmla="*/ 52 w 56"/>
              <a:gd name="T15" fmla="*/ 44 h 70"/>
              <a:gd name="T16" fmla="*/ 54 w 56"/>
              <a:gd name="T17" fmla="*/ 44 h 70"/>
              <a:gd name="T18" fmla="*/ 56 w 56"/>
              <a:gd name="T19" fmla="*/ 40 h 70"/>
              <a:gd name="T20" fmla="*/ 48 w 56"/>
              <a:gd name="T21" fmla="*/ 40 h 70"/>
              <a:gd name="T22" fmla="*/ 44 w 56"/>
              <a:gd name="T23" fmla="*/ 38 h 70"/>
              <a:gd name="T24" fmla="*/ 22 w 56"/>
              <a:gd name="T25" fmla="*/ 0 h 70"/>
              <a:gd name="T26" fmla="*/ 16 w 56"/>
              <a:gd name="T27" fmla="*/ 8 h 70"/>
              <a:gd name="T28" fmla="*/ 16 w 56"/>
              <a:gd name="T29" fmla="*/ 12 h 70"/>
              <a:gd name="T30" fmla="*/ 22 w 56"/>
              <a:gd name="T31" fmla="*/ 20 h 70"/>
              <a:gd name="T32" fmla="*/ 24 w 56"/>
              <a:gd name="T33" fmla="*/ 24 h 70"/>
              <a:gd name="T34" fmla="*/ 26 w 56"/>
              <a:gd name="T35" fmla="*/ 30 h 70"/>
              <a:gd name="T36" fmla="*/ 10 w 56"/>
              <a:gd name="T37" fmla="*/ 28 h 70"/>
              <a:gd name="T38" fmla="*/ 2 w 56"/>
              <a:gd name="T39" fmla="*/ 38 h 70"/>
              <a:gd name="T40" fmla="*/ 2 w 56"/>
              <a:gd name="T41" fmla="*/ 42 h 70"/>
              <a:gd name="T42" fmla="*/ 2 w 56"/>
              <a:gd name="T43" fmla="*/ 46 h 70"/>
              <a:gd name="T44" fmla="*/ 0 w 56"/>
              <a:gd name="T45" fmla="*/ 50 h 70"/>
              <a:gd name="T46" fmla="*/ 2 w 56"/>
              <a:gd name="T47" fmla="*/ 50 h 70"/>
              <a:gd name="T48" fmla="*/ 6 w 56"/>
              <a:gd name="T49" fmla="*/ 52 h 70"/>
              <a:gd name="T50" fmla="*/ 12 w 56"/>
              <a:gd name="T51" fmla="*/ 60 h 70"/>
              <a:gd name="T52" fmla="*/ 18 w 56"/>
              <a:gd name="T53" fmla="*/ 62 h 70"/>
              <a:gd name="T54" fmla="*/ 18 w 56"/>
              <a:gd name="T55" fmla="*/ 64 h 70"/>
              <a:gd name="T56" fmla="*/ 20 w 56"/>
              <a:gd name="T57" fmla="*/ 68 h 70"/>
              <a:gd name="T58" fmla="*/ 20 w 56"/>
              <a:gd name="T59" fmla="*/ 68 h 70"/>
              <a:gd name="T60" fmla="*/ 26 w 56"/>
              <a:gd name="T61" fmla="*/ 68 h 70"/>
              <a:gd name="T62" fmla="*/ 30 w 56"/>
              <a:gd name="T6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0">
                <a:moveTo>
                  <a:pt x="30" y="70"/>
                </a:moveTo>
                <a:lnTo>
                  <a:pt x="30" y="70"/>
                </a:lnTo>
                <a:lnTo>
                  <a:pt x="30" y="68"/>
                </a:lnTo>
                <a:lnTo>
                  <a:pt x="32" y="68"/>
                </a:lnTo>
                <a:lnTo>
                  <a:pt x="36" y="68"/>
                </a:lnTo>
                <a:lnTo>
                  <a:pt x="36" y="66"/>
                </a:lnTo>
                <a:lnTo>
                  <a:pt x="36" y="66"/>
                </a:lnTo>
                <a:lnTo>
                  <a:pt x="36" y="62"/>
                </a:lnTo>
                <a:lnTo>
                  <a:pt x="40" y="60"/>
                </a:lnTo>
                <a:lnTo>
                  <a:pt x="42" y="58"/>
                </a:lnTo>
                <a:lnTo>
                  <a:pt x="42" y="58"/>
                </a:lnTo>
                <a:lnTo>
                  <a:pt x="44" y="56"/>
                </a:lnTo>
                <a:lnTo>
                  <a:pt x="46" y="50"/>
                </a:lnTo>
                <a:lnTo>
                  <a:pt x="46" y="50"/>
                </a:lnTo>
                <a:lnTo>
                  <a:pt x="46" y="46"/>
                </a:lnTo>
                <a:lnTo>
                  <a:pt x="52" y="44"/>
                </a:lnTo>
                <a:lnTo>
                  <a:pt x="52" y="44"/>
                </a:lnTo>
                <a:lnTo>
                  <a:pt x="54" y="44"/>
                </a:lnTo>
                <a:lnTo>
                  <a:pt x="54" y="42"/>
                </a:lnTo>
                <a:lnTo>
                  <a:pt x="56" y="40"/>
                </a:lnTo>
                <a:lnTo>
                  <a:pt x="56" y="40"/>
                </a:lnTo>
                <a:lnTo>
                  <a:pt x="48" y="40"/>
                </a:lnTo>
                <a:lnTo>
                  <a:pt x="48" y="38"/>
                </a:lnTo>
                <a:lnTo>
                  <a:pt x="44" y="38"/>
                </a:lnTo>
                <a:lnTo>
                  <a:pt x="44" y="0"/>
                </a:lnTo>
                <a:lnTo>
                  <a:pt x="22" y="0"/>
                </a:lnTo>
                <a:lnTo>
                  <a:pt x="20" y="8"/>
                </a:lnTo>
                <a:lnTo>
                  <a:pt x="16" y="8"/>
                </a:lnTo>
                <a:lnTo>
                  <a:pt x="16" y="12"/>
                </a:lnTo>
                <a:lnTo>
                  <a:pt x="16" y="12"/>
                </a:lnTo>
                <a:lnTo>
                  <a:pt x="18" y="16"/>
                </a:lnTo>
                <a:lnTo>
                  <a:pt x="22" y="20"/>
                </a:lnTo>
                <a:lnTo>
                  <a:pt x="22" y="20"/>
                </a:lnTo>
                <a:lnTo>
                  <a:pt x="24" y="24"/>
                </a:lnTo>
                <a:lnTo>
                  <a:pt x="26" y="26"/>
                </a:lnTo>
                <a:lnTo>
                  <a:pt x="26" y="30"/>
                </a:lnTo>
                <a:lnTo>
                  <a:pt x="10" y="28"/>
                </a:lnTo>
                <a:lnTo>
                  <a:pt x="10" y="28"/>
                </a:lnTo>
                <a:lnTo>
                  <a:pt x="4" y="34"/>
                </a:lnTo>
                <a:lnTo>
                  <a:pt x="2" y="38"/>
                </a:lnTo>
                <a:lnTo>
                  <a:pt x="2" y="42"/>
                </a:lnTo>
                <a:lnTo>
                  <a:pt x="2" y="42"/>
                </a:lnTo>
                <a:lnTo>
                  <a:pt x="2" y="44"/>
                </a:lnTo>
                <a:lnTo>
                  <a:pt x="2" y="46"/>
                </a:lnTo>
                <a:lnTo>
                  <a:pt x="0" y="50"/>
                </a:lnTo>
                <a:lnTo>
                  <a:pt x="0" y="50"/>
                </a:lnTo>
                <a:lnTo>
                  <a:pt x="2" y="50"/>
                </a:lnTo>
                <a:lnTo>
                  <a:pt x="2" y="50"/>
                </a:lnTo>
                <a:lnTo>
                  <a:pt x="6" y="52"/>
                </a:lnTo>
                <a:lnTo>
                  <a:pt x="6" y="52"/>
                </a:lnTo>
                <a:lnTo>
                  <a:pt x="8" y="56"/>
                </a:lnTo>
                <a:lnTo>
                  <a:pt x="12" y="60"/>
                </a:lnTo>
                <a:lnTo>
                  <a:pt x="12" y="60"/>
                </a:lnTo>
                <a:lnTo>
                  <a:pt x="18" y="62"/>
                </a:lnTo>
                <a:lnTo>
                  <a:pt x="18" y="62"/>
                </a:lnTo>
                <a:lnTo>
                  <a:pt x="18" y="64"/>
                </a:lnTo>
                <a:lnTo>
                  <a:pt x="20" y="68"/>
                </a:lnTo>
                <a:lnTo>
                  <a:pt x="20" y="68"/>
                </a:lnTo>
                <a:lnTo>
                  <a:pt x="20" y="68"/>
                </a:lnTo>
                <a:lnTo>
                  <a:pt x="20" y="68"/>
                </a:lnTo>
                <a:lnTo>
                  <a:pt x="24" y="68"/>
                </a:lnTo>
                <a:lnTo>
                  <a:pt x="26" y="68"/>
                </a:lnTo>
                <a:lnTo>
                  <a:pt x="28" y="70"/>
                </a:lnTo>
                <a:lnTo>
                  <a:pt x="30" y="7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7" name="Freeform 181">
            <a:extLst>
              <a:ext uri="{FF2B5EF4-FFF2-40B4-BE49-F238E27FC236}">
                <a16:creationId xmlns:a16="http://schemas.microsoft.com/office/drawing/2014/main" id="{17AC6989-3EC2-4ED6-809C-BA5FDA98E6BB}"/>
              </a:ext>
            </a:extLst>
          </p:cNvPr>
          <p:cNvSpPr>
            <a:spLocks noEditPoints="1"/>
          </p:cNvSpPr>
          <p:nvPr userDrawn="1"/>
        </p:nvSpPr>
        <p:spPr bwMode="auto">
          <a:xfrm>
            <a:off x="6306938" y="2452001"/>
            <a:ext cx="164349" cy="219647"/>
          </a:xfrm>
          <a:custGeom>
            <a:avLst/>
            <a:gdLst>
              <a:gd name="T0" fmla="*/ 8 w 98"/>
              <a:gd name="T1" fmla="*/ 46 h 128"/>
              <a:gd name="T2" fmla="*/ 12 w 98"/>
              <a:gd name="T3" fmla="*/ 52 h 128"/>
              <a:gd name="T4" fmla="*/ 14 w 98"/>
              <a:gd name="T5" fmla="*/ 60 h 128"/>
              <a:gd name="T6" fmla="*/ 38 w 98"/>
              <a:gd name="T7" fmla="*/ 70 h 128"/>
              <a:gd name="T8" fmla="*/ 32 w 98"/>
              <a:gd name="T9" fmla="*/ 70 h 128"/>
              <a:gd name="T10" fmla="*/ 16 w 98"/>
              <a:gd name="T11" fmla="*/ 72 h 128"/>
              <a:gd name="T12" fmla="*/ 22 w 98"/>
              <a:gd name="T13" fmla="*/ 88 h 128"/>
              <a:gd name="T14" fmla="*/ 24 w 98"/>
              <a:gd name="T15" fmla="*/ 86 h 128"/>
              <a:gd name="T16" fmla="*/ 34 w 98"/>
              <a:gd name="T17" fmla="*/ 88 h 128"/>
              <a:gd name="T18" fmla="*/ 36 w 98"/>
              <a:gd name="T19" fmla="*/ 82 h 128"/>
              <a:gd name="T20" fmla="*/ 48 w 98"/>
              <a:gd name="T21" fmla="*/ 80 h 128"/>
              <a:gd name="T22" fmla="*/ 48 w 98"/>
              <a:gd name="T23" fmla="*/ 74 h 128"/>
              <a:gd name="T24" fmla="*/ 54 w 98"/>
              <a:gd name="T25" fmla="*/ 68 h 128"/>
              <a:gd name="T26" fmla="*/ 44 w 98"/>
              <a:gd name="T27" fmla="*/ 58 h 128"/>
              <a:gd name="T28" fmla="*/ 46 w 98"/>
              <a:gd name="T29" fmla="*/ 60 h 128"/>
              <a:gd name="T30" fmla="*/ 58 w 98"/>
              <a:gd name="T31" fmla="*/ 66 h 128"/>
              <a:gd name="T32" fmla="*/ 64 w 98"/>
              <a:gd name="T33" fmla="*/ 72 h 128"/>
              <a:gd name="T34" fmla="*/ 58 w 98"/>
              <a:gd name="T35" fmla="*/ 60 h 128"/>
              <a:gd name="T36" fmla="*/ 46 w 98"/>
              <a:gd name="T37" fmla="*/ 52 h 128"/>
              <a:gd name="T38" fmla="*/ 42 w 98"/>
              <a:gd name="T39" fmla="*/ 52 h 128"/>
              <a:gd name="T40" fmla="*/ 42 w 98"/>
              <a:gd name="T41" fmla="*/ 48 h 128"/>
              <a:gd name="T42" fmla="*/ 40 w 98"/>
              <a:gd name="T43" fmla="*/ 36 h 128"/>
              <a:gd name="T44" fmla="*/ 34 w 98"/>
              <a:gd name="T45" fmla="*/ 30 h 128"/>
              <a:gd name="T46" fmla="*/ 46 w 98"/>
              <a:gd name="T47" fmla="*/ 32 h 128"/>
              <a:gd name="T48" fmla="*/ 46 w 98"/>
              <a:gd name="T49" fmla="*/ 28 h 128"/>
              <a:gd name="T50" fmla="*/ 54 w 98"/>
              <a:gd name="T51" fmla="*/ 28 h 128"/>
              <a:gd name="T52" fmla="*/ 56 w 98"/>
              <a:gd name="T53" fmla="*/ 22 h 128"/>
              <a:gd name="T54" fmla="*/ 62 w 98"/>
              <a:gd name="T55" fmla="*/ 14 h 128"/>
              <a:gd name="T56" fmla="*/ 82 w 98"/>
              <a:gd name="T57" fmla="*/ 14 h 128"/>
              <a:gd name="T58" fmla="*/ 88 w 98"/>
              <a:gd name="T59" fmla="*/ 14 h 128"/>
              <a:gd name="T60" fmla="*/ 94 w 98"/>
              <a:gd name="T61" fmla="*/ 10 h 128"/>
              <a:gd name="T62" fmla="*/ 96 w 98"/>
              <a:gd name="T63" fmla="*/ 4 h 128"/>
              <a:gd name="T64" fmla="*/ 86 w 98"/>
              <a:gd name="T65" fmla="*/ 4 h 128"/>
              <a:gd name="T66" fmla="*/ 82 w 98"/>
              <a:gd name="T67" fmla="*/ 6 h 128"/>
              <a:gd name="T68" fmla="*/ 72 w 98"/>
              <a:gd name="T69" fmla="*/ 2 h 128"/>
              <a:gd name="T70" fmla="*/ 62 w 98"/>
              <a:gd name="T71" fmla="*/ 4 h 128"/>
              <a:gd name="T72" fmla="*/ 46 w 98"/>
              <a:gd name="T73" fmla="*/ 6 h 128"/>
              <a:gd name="T74" fmla="*/ 44 w 98"/>
              <a:gd name="T75" fmla="*/ 12 h 128"/>
              <a:gd name="T76" fmla="*/ 36 w 98"/>
              <a:gd name="T77" fmla="*/ 14 h 128"/>
              <a:gd name="T78" fmla="*/ 32 w 98"/>
              <a:gd name="T79" fmla="*/ 16 h 128"/>
              <a:gd name="T80" fmla="*/ 26 w 98"/>
              <a:gd name="T81" fmla="*/ 20 h 128"/>
              <a:gd name="T82" fmla="*/ 12 w 98"/>
              <a:gd name="T83" fmla="*/ 32 h 128"/>
              <a:gd name="T84" fmla="*/ 8 w 98"/>
              <a:gd name="T85" fmla="*/ 36 h 128"/>
              <a:gd name="T86" fmla="*/ 46 w 98"/>
              <a:gd name="T87" fmla="*/ 118 h 128"/>
              <a:gd name="T88" fmla="*/ 56 w 98"/>
              <a:gd name="T89" fmla="*/ 124 h 128"/>
              <a:gd name="T90" fmla="*/ 72 w 98"/>
              <a:gd name="T91" fmla="*/ 128 h 128"/>
              <a:gd name="T92" fmla="*/ 80 w 98"/>
              <a:gd name="T93" fmla="*/ 126 h 128"/>
              <a:gd name="T94" fmla="*/ 84 w 98"/>
              <a:gd name="T95" fmla="*/ 122 h 128"/>
              <a:gd name="T96" fmla="*/ 78 w 98"/>
              <a:gd name="T97" fmla="*/ 118 h 128"/>
              <a:gd name="T98" fmla="*/ 68 w 98"/>
              <a:gd name="T99" fmla="*/ 120 h 128"/>
              <a:gd name="T100" fmla="*/ 40 w 98"/>
              <a:gd name="T101" fmla="*/ 54 h 128"/>
              <a:gd name="T102" fmla="*/ 40 w 98"/>
              <a:gd name="T103" fmla="*/ 54 h 128"/>
              <a:gd name="T104" fmla="*/ 84 w 98"/>
              <a:gd name="T105" fmla="*/ 48 h 128"/>
              <a:gd name="T106" fmla="*/ 88 w 98"/>
              <a:gd name="T107" fmla="*/ 50 h 128"/>
              <a:gd name="T108" fmla="*/ 84 w 98"/>
              <a:gd name="T109" fmla="*/ 46 h 128"/>
              <a:gd name="T110" fmla="*/ 0 w 98"/>
              <a:gd name="T111"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128">
                <a:moveTo>
                  <a:pt x="2" y="36"/>
                </a:moveTo>
                <a:lnTo>
                  <a:pt x="2" y="36"/>
                </a:lnTo>
                <a:lnTo>
                  <a:pt x="4" y="44"/>
                </a:lnTo>
                <a:lnTo>
                  <a:pt x="4" y="44"/>
                </a:lnTo>
                <a:lnTo>
                  <a:pt x="8" y="46"/>
                </a:lnTo>
                <a:lnTo>
                  <a:pt x="8" y="46"/>
                </a:lnTo>
                <a:lnTo>
                  <a:pt x="8" y="48"/>
                </a:lnTo>
                <a:lnTo>
                  <a:pt x="8" y="48"/>
                </a:lnTo>
                <a:lnTo>
                  <a:pt x="12" y="52"/>
                </a:lnTo>
                <a:lnTo>
                  <a:pt x="12" y="52"/>
                </a:lnTo>
                <a:lnTo>
                  <a:pt x="18" y="52"/>
                </a:lnTo>
                <a:lnTo>
                  <a:pt x="18" y="52"/>
                </a:lnTo>
                <a:lnTo>
                  <a:pt x="14" y="54"/>
                </a:lnTo>
                <a:lnTo>
                  <a:pt x="14" y="54"/>
                </a:lnTo>
                <a:lnTo>
                  <a:pt x="14" y="60"/>
                </a:lnTo>
                <a:lnTo>
                  <a:pt x="16" y="64"/>
                </a:lnTo>
                <a:lnTo>
                  <a:pt x="16" y="64"/>
                </a:lnTo>
                <a:lnTo>
                  <a:pt x="22" y="64"/>
                </a:lnTo>
                <a:lnTo>
                  <a:pt x="28" y="66"/>
                </a:lnTo>
                <a:lnTo>
                  <a:pt x="38" y="70"/>
                </a:lnTo>
                <a:lnTo>
                  <a:pt x="38" y="70"/>
                </a:lnTo>
                <a:lnTo>
                  <a:pt x="38" y="72"/>
                </a:lnTo>
                <a:lnTo>
                  <a:pt x="34" y="72"/>
                </a:lnTo>
                <a:lnTo>
                  <a:pt x="34" y="72"/>
                </a:lnTo>
                <a:lnTo>
                  <a:pt x="32" y="70"/>
                </a:lnTo>
                <a:lnTo>
                  <a:pt x="30" y="68"/>
                </a:lnTo>
                <a:lnTo>
                  <a:pt x="30" y="68"/>
                </a:lnTo>
                <a:lnTo>
                  <a:pt x="24" y="66"/>
                </a:lnTo>
                <a:lnTo>
                  <a:pt x="22" y="68"/>
                </a:lnTo>
                <a:lnTo>
                  <a:pt x="16" y="72"/>
                </a:lnTo>
                <a:lnTo>
                  <a:pt x="16" y="72"/>
                </a:lnTo>
                <a:lnTo>
                  <a:pt x="20" y="78"/>
                </a:lnTo>
                <a:lnTo>
                  <a:pt x="20" y="86"/>
                </a:lnTo>
                <a:lnTo>
                  <a:pt x="20" y="86"/>
                </a:lnTo>
                <a:lnTo>
                  <a:pt x="22" y="88"/>
                </a:lnTo>
                <a:lnTo>
                  <a:pt x="22" y="88"/>
                </a:lnTo>
                <a:lnTo>
                  <a:pt x="22" y="88"/>
                </a:lnTo>
                <a:lnTo>
                  <a:pt x="24" y="88"/>
                </a:lnTo>
                <a:lnTo>
                  <a:pt x="24" y="86"/>
                </a:lnTo>
                <a:lnTo>
                  <a:pt x="24" y="86"/>
                </a:lnTo>
                <a:lnTo>
                  <a:pt x="28" y="88"/>
                </a:lnTo>
                <a:lnTo>
                  <a:pt x="28" y="88"/>
                </a:lnTo>
                <a:lnTo>
                  <a:pt x="34" y="88"/>
                </a:lnTo>
                <a:lnTo>
                  <a:pt x="34" y="88"/>
                </a:lnTo>
                <a:lnTo>
                  <a:pt x="34" y="88"/>
                </a:lnTo>
                <a:lnTo>
                  <a:pt x="38" y="88"/>
                </a:lnTo>
                <a:lnTo>
                  <a:pt x="38" y="86"/>
                </a:lnTo>
                <a:lnTo>
                  <a:pt x="38" y="86"/>
                </a:lnTo>
                <a:lnTo>
                  <a:pt x="36" y="84"/>
                </a:lnTo>
                <a:lnTo>
                  <a:pt x="36" y="82"/>
                </a:lnTo>
                <a:lnTo>
                  <a:pt x="36" y="82"/>
                </a:lnTo>
                <a:lnTo>
                  <a:pt x="42" y="82"/>
                </a:lnTo>
                <a:lnTo>
                  <a:pt x="46" y="84"/>
                </a:lnTo>
                <a:lnTo>
                  <a:pt x="46" y="84"/>
                </a:lnTo>
                <a:lnTo>
                  <a:pt x="48" y="80"/>
                </a:lnTo>
                <a:lnTo>
                  <a:pt x="42" y="76"/>
                </a:lnTo>
                <a:lnTo>
                  <a:pt x="42" y="76"/>
                </a:lnTo>
                <a:lnTo>
                  <a:pt x="42" y="74"/>
                </a:lnTo>
                <a:lnTo>
                  <a:pt x="42" y="74"/>
                </a:lnTo>
                <a:lnTo>
                  <a:pt x="48" y="74"/>
                </a:lnTo>
                <a:lnTo>
                  <a:pt x="48" y="74"/>
                </a:lnTo>
                <a:lnTo>
                  <a:pt x="54" y="78"/>
                </a:lnTo>
                <a:lnTo>
                  <a:pt x="54" y="78"/>
                </a:lnTo>
                <a:lnTo>
                  <a:pt x="54" y="68"/>
                </a:lnTo>
                <a:lnTo>
                  <a:pt x="54" y="68"/>
                </a:lnTo>
                <a:lnTo>
                  <a:pt x="48" y="66"/>
                </a:lnTo>
                <a:lnTo>
                  <a:pt x="44" y="62"/>
                </a:lnTo>
                <a:lnTo>
                  <a:pt x="44" y="62"/>
                </a:lnTo>
                <a:lnTo>
                  <a:pt x="44" y="58"/>
                </a:lnTo>
                <a:lnTo>
                  <a:pt x="44" y="58"/>
                </a:lnTo>
                <a:lnTo>
                  <a:pt x="42" y="58"/>
                </a:lnTo>
                <a:lnTo>
                  <a:pt x="44" y="56"/>
                </a:lnTo>
                <a:lnTo>
                  <a:pt x="44" y="56"/>
                </a:lnTo>
                <a:lnTo>
                  <a:pt x="46" y="60"/>
                </a:lnTo>
                <a:lnTo>
                  <a:pt x="46" y="60"/>
                </a:lnTo>
                <a:lnTo>
                  <a:pt x="50" y="64"/>
                </a:lnTo>
                <a:lnTo>
                  <a:pt x="50" y="64"/>
                </a:lnTo>
                <a:lnTo>
                  <a:pt x="52" y="66"/>
                </a:lnTo>
                <a:lnTo>
                  <a:pt x="52" y="66"/>
                </a:lnTo>
                <a:lnTo>
                  <a:pt x="58" y="66"/>
                </a:lnTo>
                <a:lnTo>
                  <a:pt x="58" y="66"/>
                </a:lnTo>
                <a:lnTo>
                  <a:pt x="62" y="68"/>
                </a:lnTo>
                <a:lnTo>
                  <a:pt x="62" y="68"/>
                </a:lnTo>
                <a:lnTo>
                  <a:pt x="64" y="72"/>
                </a:lnTo>
                <a:lnTo>
                  <a:pt x="64" y="72"/>
                </a:lnTo>
                <a:lnTo>
                  <a:pt x="64" y="72"/>
                </a:lnTo>
                <a:lnTo>
                  <a:pt x="64" y="70"/>
                </a:lnTo>
                <a:lnTo>
                  <a:pt x="64" y="68"/>
                </a:lnTo>
                <a:lnTo>
                  <a:pt x="58" y="60"/>
                </a:lnTo>
                <a:lnTo>
                  <a:pt x="58" y="60"/>
                </a:lnTo>
                <a:lnTo>
                  <a:pt x="50" y="58"/>
                </a:lnTo>
                <a:lnTo>
                  <a:pt x="50" y="58"/>
                </a:lnTo>
                <a:lnTo>
                  <a:pt x="50" y="54"/>
                </a:lnTo>
                <a:lnTo>
                  <a:pt x="50" y="54"/>
                </a:lnTo>
                <a:lnTo>
                  <a:pt x="46" y="52"/>
                </a:lnTo>
                <a:lnTo>
                  <a:pt x="40" y="54"/>
                </a:lnTo>
                <a:lnTo>
                  <a:pt x="40" y="54"/>
                </a:lnTo>
                <a:lnTo>
                  <a:pt x="42" y="52"/>
                </a:lnTo>
                <a:lnTo>
                  <a:pt x="42" y="52"/>
                </a:lnTo>
                <a:lnTo>
                  <a:pt x="42" y="52"/>
                </a:lnTo>
                <a:lnTo>
                  <a:pt x="40" y="48"/>
                </a:lnTo>
                <a:lnTo>
                  <a:pt x="38" y="44"/>
                </a:lnTo>
                <a:lnTo>
                  <a:pt x="38" y="44"/>
                </a:lnTo>
                <a:lnTo>
                  <a:pt x="42" y="48"/>
                </a:lnTo>
                <a:lnTo>
                  <a:pt x="42" y="48"/>
                </a:lnTo>
                <a:lnTo>
                  <a:pt x="46" y="48"/>
                </a:lnTo>
                <a:lnTo>
                  <a:pt x="44" y="44"/>
                </a:lnTo>
                <a:lnTo>
                  <a:pt x="40" y="40"/>
                </a:lnTo>
                <a:lnTo>
                  <a:pt x="40" y="40"/>
                </a:lnTo>
                <a:lnTo>
                  <a:pt x="40" y="36"/>
                </a:lnTo>
                <a:lnTo>
                  <a:pt x="38" y="32"/>
                </a:lnTo>
                <a:lnTo>
                  <a:pt x="38" y="32"/>
                </a:lnTo>
                <a:lnTo>
                  <a:pt x="36" y="32"/>
                </a:lnTo>
                <a:lnTo>
                  <a:pt x="34" y="30"/>
                </a:lnTo>
                <a:lnTo>
                  <a:pt x="34" y="30"/>
                </a:lnTo>
                <a:lnTo>
                  <a:pt x="36" y="24"/>
                </a:lnTo>
                <a:lnTo>
                  <a:pt x="40" y="20"/>
                </a:lnTo>
                <a:lnTo>
                  <a:pt x="40" y="20"/>
                </a:lnTo>
                <a:lnTo>
                  <a:pt x="42" y="26"/>
                </a:lnTo>
                <a:lnTo>
                  <a:pt x="46" y="32"/>
                </a:lnTo>
                <a:lnTo>
                  <a:pt x="46" y="32"/>
                </a:lnTo>
                <a:lnTo>
                  <a:pt x="50" y="32"/>
                </a:lnTo>
                <a:lnTo>
                  <a:pt x="50" y="32"/>
                </a:lnTo>
                <a:lnTo>
                  <a:pt x="46" y="28"/>
                </a:lnTo>
                <a:lnTo>
                  <a:pt x="46" y="28"/>
                </a:lnTo>
                <a:lnTo>
                  <a:pt x="48" y="28"/>
                </a:lnTo>
                <a:lnTo>
                  <a:pt x="48" y="26"/>
                </a:lnTo>
                <a:lnTo>
                  <a:pt x="48" y="26"/>
                </a:lnTo>
                <a:lnTo>
                  <a:pt x="54" y="28"/>
                </a:lnTo>
                <a:lnTo>
                  <a:pt x="54" y="28"/>
                </a:lnTo>
                <a:lnTo>
                  <a:pt x="54" y="26"/>
                </a:lnTo>
                <a:lnTo>
                  <a:pt x="54" y="24"/>
                </a:lnTo>
                <a:lnTo>
                  <a:pt x="54" y="24"/>
                </a:lnTo>
                <a:lnTo>
                  <a:pt x="58" y="24"/>
                </a:lnTo>
                <a:lnTo>
                  <a:pt x="56" y="22"/>
                </a:lnTo>
                <a:lnTo>
                  <a:pt x="56" y="22"/>
                </a:lnTo>
                <a:lnTo>
                  <a:pt x="52" y="18"/>
                </a:lnTo>
                <a:lnTo>
                  <a:pt x="52" y="16"/>
                </a:lnTo>
                <a:lnTo>
                  <a:pt x="52" y="14"/>
                </a:lnTo>
                <a:lnTo>
                  <a:pt x="62" y="14"/>
                </a:lnTo>
                <a:lnTo>
                  <a:pt x="62" y="14"/>
                </a:lnTo>
                <a:lnTo>
                  <a:pt x="68" y="16"/>
                </a:lnTo>
                <a:lnTo>
                  <a:pt x="68" y="16"/>
                </a:lnTo>
                <a:lnTo>
                  <a:pt x="82" y="14"/>
                </a:lnTo>
                <a:lnTo>
                  <a:pt x="82" y="14"/>
                </a:lnTo>
                <a:lnTo>
                  <a:pt x="82" y="16"/>
                </a:lnTo>
                <a:lnTo>
                  <a:pt x="84" y="18"/>
                </a:lnTo>
                <a:lnTo>
                  <a:pt x="84" y="18"/>
                </a:lnTo>
                <a:lnTo>
                  <a:pt x="86" y="16"/>
                </a:lnTo>
                <a:lnTo>
                  <a:pt x="88" y="14"/>
                </a:lnTo>
                <a:lnTo>
                  <a:pt x="88" y="10"/>
                </a:lnTo>
                <a:lnTo>
                  <a:pt x="88" y="10"/>
                </a:lnTo>
                <a:lnTo>
                  <a:pt x="90" y="8"/>
                </a:lnTo>
                <a:lnTo>
                  <a:pt x="90" y="10"/>
                </a:lnTo>
                <a:lnTo>
                  <a:pt x="94" y="10"/>
                </a:lnTo>
                <a:lnTo>
                  <a:pt x="96" y="10"/>
                </a:lnTo>
                <a:lnTo>
                  <a:pt x="96" y="10"/>
                </a:lnTo>
                <a:lnTo>
                  <a:pt x="98" y="8"/>
                </a:lnTo>
                <a:lnTo>
                  <a:pt x="98" y="6"/>
                </a:lnTo>
                <a:lnTo>
                  <a:pt x="96" y="4"/>
                </a:lnTo>
                <a:lnTo>
                  <a:pt x="92" y="0"/>
                </a:lnTo>
                <a:lnTo>
                  <a:pt x="92" y="0"/>
                </a:lnTo>
                <a:lnTo>
                  <a:pt x="88" y="0"/>
                </a:lnTo>
                <a:lnTo>
                  <a:pt x="86" y="2"/>
                </a:lnTo>
                <a:lnTo>
                  <a:pt x="86" y="4"/>
                </a:lnTo>
                <a:lnTo>
                  <a:pt x="86" y="4"/>
                </a:lnTo>
                <a:lnTo>
                  <a:pt x="88" y="6"/>
                </a:lnTo>
                <a:lnTo>
                  <a:pt x="86" y="6"/>
                </a:lnTo>
                <a:lnTo>
                  <a:pt x="82" y="6"/>
                </a:lnTo>
                <a:lnTo>
                  <a:pt x="82" y="6"/>
                </a:lnTo>
                <a:lnTo>
                  <a:pt x="76" y="6"/>
                </a:lnTo>
                <a:lnTo>
                  <a:pt x="76" y="6"/>
                </a:lnTo>
                <a:lnTo>
                  <a:pt x="76" y="4"/>
                </a:lnTo>
                <a:lnTo>
                  <a:pt x="74" y="2"/>
                </a:lnTo>
                <a:lnTo>
                  <a:pt x="72" y="2"/>
                </a:lnTo>
                <a:lnTo>
                  <a:pt x="72" y="2"/>
                </a:lnTo>
                <a:lnTo>
                  <a:pt x="66" y="0"/>
                </a:lnTo>
                <a:lnTo>
                  <a:pt x="64" y="2"/>
                </a:lnTo>
                <a:lnTo>
                  <a:pt x="62" y="4"/>
                </a:lnTo>
                <a:lnTo>
                  <a:pt x="62" y="4"/>
                </a:lnTo>
                <a:lnTo>
                  <a:pt x="60" y="8"/>
                </a:lnTo>
                <a:lnTo>
                  <a:pt x="56" y="8"/>
                </a:lnTo>
                <a:lnTo>
                  <a:pt x="56" y="8"/>
                </a:lnTo>
                <a:lnTo>
                  <a:pt x="50" y="6"/>
                </a:lnTo>
                <a:lnTo>
                  <a:pt x="46" y="6"/>
                </a:lnTo>
                <a:lnTo>
                  <a:pt x="46" y="6"/>
                </a:lnTo>
                <a:lnTo>
                  <a:pt x="46" y="6"/>
                </a:lnTo>
                <a:lnTo>
                  <a:pt x="44" y="10"/>
                </a:lnTo>
                <a:lnTo>
                  <a:pt x="44" y="10"/>
                </a:lnTo>
                <a:lnTo>
                  <a:pt x="44" y="12"/>
                </a:lnTo>
                <a:lnTo>
                  <a:pt x="44" y="12"/>
                </a:lnTo>
                <a:lnTo>
                  <a:pt x="42" y="12"/>
                </a:lnTo>
                <a:lnTo>
                  <a:pt x="42" y="12"/>
                </a:lnTo>
                <a:lnTo>
                  <a:pt x="38" y="12"/>
                </a:lnTo>
                <a:lnTo>
                  <a:pt x="36" y="14"/>
                </a:lnTo>
                <a:lnTo>
                  <a:pt x="34" y="14"/>
                </a:lnTo>
                <a:lnTo>
                  <a:pt x="34" y="14"/>
                </a:lnTo>
                <a:lnTo>
                  <a:pt x="34" y="16"/>
                </a:lnTo>
                <a:lnTo>
                  <a:pt x="32" y="16"/>
                </a:lnTo>
                <a:lnTo>
                  <a:pt x="32" y="16"/>
                </a:lnTo>
                <a:lnTo>
                  <a:pt x="30" y="18"/>
                </a:lnTo>
                <a:lnTo>
                  <a:pt x="30" y="18"/>
                </a:lnTo>
                <a:lnTo>
                  <a:pt x="28" y="20"/>
                </a:lnTo>
                <a:lnTo>
                  <a:pt x="26" y="20"/>
                </a:lnTo>
                <a:lnTo>
                  <a:pt x="26" y="20"/>
                </a:lnTo>
                <a:lnTo>
                  <a:pt x="14" y="20"/>
                </a:lnTo>
                <a:lnTo>
                  <a:pt x="14" y="26"/>
                </a:lnTo>
                <a:lnTo>
                  <a:pt x="14" y="26"/>
                </a:lnTo>
                <a:lnTo>
                  <a:pt x="12" y="32"/>
                </a:lnTo>
                <a:lnTo>
                  <a:pt x="12" y="32"/>
                </a:lnTo>
                <a:lnTo>
                  <a:pt x="8" y="34"/>
                </a:lnTo>
                <a:lnTo>
                  <a:pt x="8" y="34"/>
                </a:lnTo>
                <a:lnTo>
                  <a:pt x="8" y="34"/>
                </a:lnTo>
                <a:lnTo>
                  <a:pt x="8" y="36"/>
                </a:lnTo>
                <a:lnTo>
                  <a:pt x="8" y="36"/>
                </a:lnTo>
                <a:lnTo>
                  <a:pt x="6" y="36"/>
                </a:lnTo>
                <a:lnTo>
                  <a:pt x="2" y="36"/>
                </a:lnTo>
                <a:close/>
                <a:moveTo>
                  <a:pt x="50" y="116"/>
                </a:moveTo>
                <a:lnTo>
                  <a:pt x="50" y="116"/>
                </a:lnTo>
                <a:lnTo>
                  <a:pt x="46" y="118"/>
                </a:lnTo>
                <a:lnTo>
                  <a:pt x="46" y="118"/>
                </a:lnTo>
                <a:lnTo>
                  <a:pt x="46" y="120"/>
                </a:lnTo>
                <a:lnTo>
                  <a:pt x="46" y="120"/>
                </a:lnTo>
                <a:lnTo>
                  <a:pt x="56" y="124"/>
                </a:lnTo>
                <a:lnTo>
                  <a:pt x="56" y="124"/>
                </a:lnTo>
                <a:lnTo>
                  <a:pt x="62" y="124"/>
                </a:lnTo>
                <a:lnTo>
                  <a:pt x="62" y="124"/>
                </a:lnTo>
                <a:lnTo>
                  <a:pt x="66" y="126"/>
                </a:lnTo>
                <a:lnTo>
                  <a:pt x="68" y="128"/>
                </a:lnTo>
                <a:lnTo>
                  <a:pt x="72" y="128"/>
                </a:lnTo>
                <a:lnTo>
                  <a:pt x="74" y="126"/>
                </a:lnTo>
                <a:lnTo>
                  <a:pt x="74" y="126"/>
                </a:lnTo>
                <a:lnTo>
                  <a:pt x="78" y="126"/>
                </a:lnTo>
                <a:lnTo>
                  <a:pt x="80" y="126"/>
                </a:lnTo>
                <a:lnTo>
                  <a:pt x="80" y="126"/>
                </a:lnTo>
                <a:lnTo>
                  <a:pt x="84" y="126"/>
                </a:lnTo>
                <a:lnTo>
                  <a:pt x="84" y="126"/>
                </a:lnTo>
                <a:lnTo>
                  <a:pt x="86" y="124"/>
                </a:lnTo>
                <a:lnTo>
                  <a:pt x="84" y="122"/>
                </a:lnTo>
                <a:lnTo>
                  <a:pt x="84" y="122"/>
                </a:lnTo>
                <a:lnTo>
                  <a:pt x="80" y="122"/>
                </a:lnTo>
                <a:lnTo>
                  <a:pt x="80" y="122"/>
                </a:lnTo>
                <a:lnTo>
                  <a:pt x="80" y="118"/>
                </a:lnTo>
                <a:lnTo>
                  <a:pt x="80" y="118"/>
                </a:lnTo>
                <a:lnTo>
                  <a:pt x="78" y="118"/>
                </a:lnTo>
                <a:lnTo>
                  <a:pt x="78" y="118"/>
                </a:lnTo>
                <a:lnTo>
                  <a:pt x="78" y="120"/>
                </a:lnTo>
                <a:lnTo>
                  <a:pt x="78" y="120"/>
                </a:lnTo>
                <a:lnTo>
                  <a:pt x="68" y="120"/>
                </a:lnTo>
                <a:lnTo>
                  <a:pt x="68" y="120"/>
                </a:lnTo>
                <a:lnTo>
                  <a:pt x="58" y="118"/>
                </a:lnTo>
                <a:lnTo>
                  <a:pt x="50" y="116"/>
                </a:lnTo>
                <a:lnTo>
                  <a:pt x="50" y="116"/>
                </a:lnTo>
                <a:close/>
                <a:moveTo>
                  <a:pt x="40" y="54"/>
                </a:moveTo>
                <a:lnTo>
                  <a:pt x="40" y="54"/>
                </a:lnTo>
                <a:lnTo>
                  <a:pt x="42" y="56"/>
                </a:lnTo>
                <a:lnTo>
                  <a:pt x="42" y="56"/>
                </a:lnTo>
                <a:lnTo>
                  <a:pt x="38" y="54"/>
                </a:lnTo>
                <a:lnTo>
                  <a:pt x="40" y="54"/>
                </a:lnTo>
                <a:lnTo>
                  <a:pt x="40" y="54"/>
                </a:lnTo>
                <a:close/>
                <a:moveTo>
                  <a:pt x="84" y="46"/>
                </a:moveTo>
                <a:lnTo>
                  <a:pt x="84" y="46"/>
                </a:lnTo>
                <a:lnTo>
                  <a:pt x="82" y="48"/>
                </a:lnTo>
                <a:lnTo>
                  <a:pt x="84" y="48"/>
                </a:lnTo>
                <a:lnTo>
                  <a:pt x="84" y="48"/>
                </a:lnTo>
                <a:lnTo>
                  <a:pt x="84" y="52"/>
                </a:lnTo>
                <a:lnTo>
                  <a:pt x="84" y="52"/>
                </a:lnTo>
                <a:lnTo>
                  <a:pt x="88" y="52"/>
                </a:lnTo>
                <a:lnTo>
                  <a:pt x="88" y="52"/>
                </a:lnTo>
                <a:lnTo>
                  <a:pt x="88" y="50"/>
                </a:lnTo>
                <a:lnTo>
                  <a:pt x="88" y="50"/>
                </a:lnTo>
                <a:lnTo>
                  <a:pt x="88" y="46"/>
                </a:lnTo>
                <a:lnTo>
                  <a:pt x="88" y="46"/>
                </a:lnTo>
                <a:lnTo>
                  <a:pt x="84" y="46"/>
                </a:lnTo>
                <a:lnTo>
                  <a:pt x="84" y="46"/>
                </a:lnTo>
                <a:close/>
                <a:moveTo>
                  <a:pt x="0" y="36"/>
                </a:moveTo>
                <a:lnTo>
                  <a:pt x="0" y="36"/>
                </a:lnTo>
                <a:lnTo>
                  <a:pt x="0" y="40"/>
                </a:lnTo>
                <a:lnTo>
                  <a:pt x="0" y="40"/>
                </a:lnTo>
                <a:lnTo>
                  <a:pt x="0" y="40"/>
                </a:lnTo>
                <a:lnTo>
                  <a:pt x="2" y="40"/>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8" name="Freeform 182">
            <a:extLst>
              <a:ext uri="{FF2B5EF4-FFF2-40B4-BE49-F238E27FC236}">
                <a16:creationId xmlns:a16="http://schemas.microsoft.com/office/drawing/2014/main" id="{E9FD2E0A-68B9-4586-A087-557E3D92733A}"/>
              </a:ext>
            </a:extLst>
          </p:cNvPr>
          <p:cNvSpPr>
            <a:spLocks/>
          </p:cNvSpPr>
          <p:nvPr userDrawn="1"/>
        </p:nvSpPr>
        <p:spPr bwMode="auto">
          <a:xfrm>
            <a:off x="5768610" y="3347746"/>
            <a:ext cx="107330" cy="202487"/>
          </a:xfrm>
          <a:custGeom>
            <a:avLst/>
            <a:gdLst>
              <a:gd name="T0" fmla="*/ 64 w 64"/>
              <a:gd name="T1" fmla="*/ 100 h 118"/>
              <a:gd name="T2" fmla="*/ 56 w 64"/>
              <a:gd name="T3" fmla="*/ 84 h 118"/>
              <a:gd name="T4" fmla="*/ 56 w 64"/>
              <a:gd name="T5" fmla="*/ 82 h 118"/>
              <a:gd name="T6" fmla="*/ 56 w 64"/>
              <a:gd name="T7" fmla="*/ 80 h 118"/>
              <a:gd name="T8" fmla="*/ 54 w 64"/>
              <a:gd name="T9" fmla="*/ 78 h 118"/>
              <a:gd name="T10" fmla="*/ 56 w 64"/>
              <a:gd name="T11" fmla="*/ 74 h 118"/>
              <a:gd name="T12" fmla="*/ 58 w 64"/>
              <a:gd name="T13" fmla="*/ 60 h 118"/>
              <a:gd name="T14" fmla="*/ 52 w 64"/>
              <a:gd name="T15" fmla="*/ 52 h 118"/>
              <a:gd name="T16" fmla="*/ 52 w 64"/>
              <a:gd name="T17" fmla="*/ 48 h 118"/>
              <a:gd name="T18" fmla="*/ 54 w 64"/>
              <a:gd name="T19" fmla="*/ 40 h 118"/>
              <a:gd name="T20" fmla="*/ 54 w 64"/>
              <a:gd name="T21" fmla="*/ 38 h 118"/>
              <a:gd name="T22" fmla="*/ 52 w 64"/>
              <a:gd name="T23" fmla="*/ 36 h 118"/>
              <a:gd name="T24" fmla="*/ 52 w 64"/>
              <a:gd name="T25" fmla="*/ 34 h 118"/>
              <a:gd name="T26" fmla="*/ 52 w 64"/>
              <a:gd name="T27" fmla="*/ 22 h 118"/>
              <a:gd name="T28" fmla="*/ 52 w 64"/>
              <a:gd name="T29" fmla="*/ 16 h 118"/>
              <a:gd name="T30" fmla="*/ 48 w 64"/>
              <a:gd name="T31" fmla="*/ 14 h 118"/>
              <a:gd name="T32" fmla="*/ 48 w 64"/>
              <a:gd name="T33" fmla="*/ 6 h 118"/>
              <a:gd name="T34" fmla="*/ 38 w 64"/>
              <a:gd name="T35" fmla="*/ 0 h 118"/>
              <a:gd name="T36" fmla="*/ 38 w 64"/>
              <a:gd name="T37" fmla="*/ 2 h 118"/>
              <a:gd name="T38" fmla="*/ 18 w 64"/>
              <a:gd name="T39" fmla="*/ 2 h 118"/>
              <a:gd name="T40" fmla="*/ 14 w 64"/>
              <a:gd name="T41" fmla="*/ 4 h 118"/>
              <a:gd name="T42" fmla="*/ 14 w 64"/>
              <a:gd name="T43" fmla="*/ 8 h 118"/>
              <a:gd name="T44" fmla="*/ 16 w 64"/>
              <a:gd name="T45" fmla="*/ 18 h 118"/>
              <a:gd name="T46" fmla="*/ 14 w 64"/>
              <a:gd name="T47" fmla="*/ 26 h 118"/>
              <a:gd name="T48" fmla="*/ 14 w 64"/>
              <a:gd name="T49" fmla="*/ 30 h 118"/>
              <a:gd name="T50" fmla="*/ 14 w 64"/>
              <a:gd name="T51" fmla="*/ 36 h 118"/>
              <a:gd name="T52" fmla="*/ 16 w 64"/>
              <a:gd name="T53" fmla="*/ 38 h 118"/>
              <a:gd name="T54" fmla="*/ 18 w 64"/>
              <a:gd name="T55" fmla="*/ 44 h 118"/>
              <a:gd name="T56" fmla="*/ 16 w 64"/>
              <a:gd name="T57" fmla="*/ 56 h 118"/>
              <a:gd name="T58" fmla="*/ 12 w 64"/>
              <a:gd name="T59" fmla="*/ 64 h 118"/>
              <a:gd name="T60" fmla="*/ 8 w 64"/>
              <a:gd name="T61" fmla="*/ 74 h 118"/>
              <a:gd name="T62" fmla="*/ 4 w 64"/>
              <a:gd name="T63" fmla="*/ 84 h 118"/>
              <a:gd name="T64" fmla="*/ 2 w 64"/>
              <a:gd name="T65" fmla="*/ 104 h 118"/>
              <a:gd name="T66" fmla="*/ 4 w 64"/>
              <a:gd name="T67" fmla="*/ 106 h 118"/>
              <a:gd name="T68" fmla="*/ 4 w 64"/>
              <a:gd name="T69" fmla="*/ 110 h 118"/>
              <a:gd name="T70" fmla="*/ 0 w 64"/>
              <a:gd name="T71" fmla="*/ 118 h 118"/>
              <a:gd name="T72" fmla="*/ 10 w 64"/>
              <a:gd name="T73" fmla="*/ 118 h 118"/>
              <a:gd name="T74" fmla="*/ 14 w 64"/>
              <a:gd name="T75" fmla="*/ 116 h 118"/>
              <a:gd name="T76" fmla="*/ 18 w 64"/>
              <a:gd name="T77" fmla="*/ 112 h 118"/>
              <a:gd name="T78" fmla="*/ 28 w 64"/>
              <a:gd name="T79" fmla="*/ 112 h 118"/>
              <a:gd name="T80" fmla="*/ 36 w 64"/>
              <a:gd name="T81" fmla="*/ 106 h 118"/>
              <a:gd name="T82" fmla="*/ 46 w 64"/>
              <a:gd name="T83" fmla="*/ 106 h 118"/>
              <a:gd name="T84" fmla="*/ 52 w 64"/>
              <a:gd name="T85" fmla="*/ 104 h 118"/>
              <a:gd name="T86" fmla="*/ 58 w 64"/>
              <a:gd name="T87" fmla="*/ 104 h 118"/>
              <a:gd name="T88" fmla="*/ 58 w 64"/>
              <a:gd name="T89" fmla="*/ 98 h 118"/>
              <a:gd name="T90" fmla="*/ 54 w 64"/>
              <a:gd name="T91" fmla="*/ 94 h 118"/>
              <a:gd name="T92" fmla="*/ 58 w 64"/>
              <a:gd name="T93" fmla="*/ 94 h 118"/>
              <a:gd name="T94" fmla="*/ 60 w 64"/>
              <a:gd name="T95" fmla="*/ 100 h 118"/>
              <a:gd name="T96" fmla="*/ 64 w 64"/>
              <a:gd name="T97" fmla="*/ 10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118">
                <a:moveTo>
                  <a:pt x="64" y="100"/>
                </a:moveTo>
                <a:lnTo>
                  <a:pt x="64" y="100"/>
                </a:lnTo>
                <a:lnTo>
                  <a:pt x="56" y="84"/>
                </a:lnTo>
                <a:lnTo>
                  <a:pt x="56" y="84"/>
                </a:lnTo>
                <a:lnTo>
                  <a:pt x="56" y="84"/>
                </a:lnTo>
                <a:lnTo>
                  <a:pt x="56" y="82"/>
                </a:lnTo>
                <a:lnTo>
                  <a:pt x="56" y="82"/>
                </a:lnTo>
                <a:lnTo>
                  <a:pt x="56" y="80"/>
                </a:lnTo>
                <a:lnTo>
                  <a:pt x="56" y="80"/>
                </a:lnTo>
                <a:lnTo>
                  <a:pt x="54" y="78"/>
                </a:lnTo>
                <a:lnTo>
                  <a:pt x="56" y="74"/>
                </a:lnTo>
                <a:lnTo>
                  <a:pt x="56" y="74"/>
                </a:lnTo>
                <a:lnTo>
                  <a:pt x="58" y="60"/>
                </a:lnTo>
                <a:lnTo>
                  <a:pt x="58" y="60"/>
                </a:lnTo>
                <a:lnTo>
                  <a:pt x="56" y="56"/>
                </a:lnTo>
                <a:lnTo>
                  <a:pt x="52" y="52"/>
                </a:lnTo>
                <a:lnTo>
                  <a:pt x="52" y="52"/>
                </a:lnTo>
                <a:lnTo>
                  <a:pt x="52" y="48"/>
                </a:lnTo>
                <a:lnTo>
                  <a:pt x="52" y="46"/>
                </a:lnTo>
                <a:lnTo>
                  <a:pt x="54" y="40"/>
                </a:lnTo>
                <a:lnTo>
                  <a:pt x="54" y="40"/>
                </a:lnTo>
                <a:lnTo>
                  <a:pt x="54" y="38"/>
                </a:lnTo>
                <a:lnTo>
                  <a:pt x="52" y="38"/>
                </a:lnTo>
                <a:lnTo>
                  <a:pt x="52" y="36"/>
                </a:lnTo>
                <a:lnTo>
                  <a:pt x="52" y="34"/>
                </a:lnTo>
                <a:lnTo>
                  <a:pt x="52" y="34"/>
                </a:lnTo>
                <a:lnTo>
                  <a:pt x="54" y="28"/>
                </a:lnTo>
                <a:lnTo>
                  <a:pt x="52" y="22"/>
                </a:lnTo>
                <a:lnTo>
                  <a:pt x="52" y="22"/>
                </a:lnTo>
                <a:lnTo>
                  <a:pt x="52" y="16"/>
                </a:lnTo>
                <a:lnTo>
                  <a:pt x="48" y="14"/>
                </a:lnTo>
                <a:lnTo>
                  <a:pt x="48" y="14"/>
                </a:lnTo>
                <a:lnTo>
                  <a:pt x="48" y="12"/>
                </a:lnTo>
                <a:lnTo>
                  <a:pt x="48" y="6"/>
                </a:lnTo>
                <a:lnTo>
                  <a:pt x="48" y="0"/>
                </a:lnTo>
                <a:lnTo>
                  <a:pt x="38" y="0"/>
                </a:lnTo>
                <a:lnTo>
                  <a:pt x="38" y="2"/>
                </a:lnTo>
                <a:lnTo>
                  <a:pt x="38" y="2"/>
                </a:lnTo>
                <a:lnTo>
                  <a:pt x="28" y="2"/>
                </a:lnTo>
                <a:lnTo>
                  <a:pt x="18" y="2"/>
                </a:lnTo>
                <a:lnTo>
                  <a:pt x="18" y="2"/>
                </a:lnTo>
                <a:lnTo>
                  <a:pt x="14" y="4"/>
                </a:lnTo>
                <a:lnTo>
                  <a:pt x="14" y="8"/>
                </a:lnTo>
                <a:lnTo>
                  <a:pt x="14" y="8"/>
                </a:lnTo>
                <a:lnTo>
                  <a:pt x="14" y="14"/>
                </a:lnTo>
                <a:lnTo>
                  <a:pt x="16" y="18"/>
                </a:lnTo>
                <a:lnTo>
                  <a:pt x="16" y="18"/>
                </a:lnTo>
                <a:lnTo>
                  <a:pt x="14" y="26"/>
                </a:lnTo>
                <a:lnTo>
                  <a:pt x="14" y="26"/>
                </a:lnTo>
                <a:lnTo>
                  <a:pt x="14" y="30"/>
                </a:lnTo>
                <a:lnTo>
                  <a:pt x="14" y="36"/>
                </a:lnTo>
                <a:lnTo>
                  <a:pt x="14" y="36"/>
                </a:lnTo>
                <a:lnTo>
                  <a:pt x="14" y="38"/>
                </a:lnTo>
                <a:lnTo>
                  <a:pt x="16" y="38"/>
                </a:lnTo>
                <a:lnTo>
                  <a:pt x="18" y="44"/>
                </a:lnTo>
                <a:lnTo>
                  <a:pt x="18" y="44"/>
                </a:lnTo>
                <a:lnTo>
                  <a:pt x="16" y="56"/>
                </a:lnTo>
                <a:lnTo>
                  <a:pt x="16" y="56"/>
                </a:lnTo>
                <a:lnTo>
                  <a:pt x="14" y="58"/>
                </a:lnTo>
                <a:lnTo>
                  <a:pt x="12" y="64"/>
                </a:lnTo>
                <a:lnTo>
                  <a:pt x="12" y="64"/>
                </a:lnTo>
                <a:lnTo>
                  <a:pt x="8" y="74"/>
                </a:lnTo>
                <a:lnTo>
                  <a:pt x="8" y="74"/>
                </a:lnTo>
                <a:lnTo>
                  <a:pt x="4" y="84"/>
                </a:lnTo>
                <a:lnTo>
                  <a:pt x="2" y="94"/>
                </a:lnTo>
                <a:lnTo>
                  <a:pt x="2" y="104"/>
                </a:lnTo>
                <a:lnTo>
                  <a:pt x="2" y="104"/>
                </a:lnTo>
                <a:lnTo>
                  <a:pt x="4" y="106"/>
                </a:lnTo>
                <a:lnTo>
                  <a:pt x="4" y="110"/>
                </a:lnTo>
                <a:lnTo>
                  <a:pt x="4" y="110"/>
                </a:lnTo>
                <a:lnTo>
                  <a:pt x="0" y="118"/>
                </a:lnTo>
                <a:lnTo>
                  <a:pt x="0" y="118"/>
                </a:lnTo>
                <a:lnTo>
                  <a:pt x="4" y="118"/>
                </a:lnTo>
                <a:lnTo>
                  <a:pt x="10" y="118"/>
                </a:lnTo>
                <a:lnTo>
                  <a:pt x="10" y="118"/>
                </a:lnTo>
                <a:lnTo>
                  <a:pt x="14" y="116"/>
                </a:lnTo>
                <a:lnTo>
                  <a:pt x="18" y="112"/>
                </a:lnTo>
                <a:lnTo>
                  <a:pt x="18" y="112"/>
                </a:lnTo>
                <a:lnTo>
                  <a:pt x="28" y="112"/>
                </a:lnTo>
                <a:lnTo>
                  <a:pt x="28" y="112"/>
                </a:lnTo>
                <a:lnTo>
                  <a:pt x="32" y="108"/>
                </a:lnTo>
                <a:lnTo>
                  <a:pt x="36" y="106"/>
                </a:lnTo>
                <a:lnTo>
                  <a:pt x="36" y="106"/>
                </a:lnTo>
                <a:lnTo>
                  <a:pt x="46" y="106"/>
                </a:lnTo>
                <a:lnTo>
                  <a:pt x="46" y="106"/>
                </a:lnTo>
                <a:lnTo>
                  <a:pt x="52" y="104"/>
                </a:lnTo>
                <a:lnTo>
                  <a:pt x="52" y="104"/>
                </a:lnTo>
                <a:lnTo>
                  <a:pt x="58" y="104"/>
                </a:lnTo>
                <a:lnTo>
                  <a:pt x="58" y="104"/>
                </a:lnTo>
                <a:lnTo>
                  <a:pt x="58" y="98"/>
                </a:lnTo>
                <a:lnTo>
                  <a:pt x="58" y="98"/>
                </a:lnTo>
                <a:lnTo>
                  <a:pt x="54" y="94"/>
                </a:lnTo>
                <a:lnTo>
                  <a:pt x="54" y="94"/>
                </a:lnTo>
                <a:lnTo>
                  <a:pt x="58" y="94"/>
                </a:lnTo>
                <a:lnTo>
                  <a:pt x="58" y="94"/>
                </a:lnTo>
                <a:lnTo>
                  <a:pt x="60" y="100"/>
                </a:lnTo>
                <a:lnTo>
                  <a:pt x="60" y="100"/>
                </a:lnTo>
                <a:lnTo>
                  <a:pt x="64" y="100"/>
                </a:lnTo>
                <a:lnTo>
                  <a:pt x="64"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9" name="Freeform 183">
            <a:extLst>
              <a:ext uri="{FF2B5EF4-FFF2-40B4-BE49-F238E27FC236}">
                <a16:creationId xmlns:a16="http://schemas.microsoft.com/office/drawing/2014/main" id="{00E7ED52-DD32-4D61-9D8C-FCBFCE97320F}"/>
              </a:ext>
            </a:extLst>
          </p:cNvPr>
          <p:cNvSpPr>
            <a:spLocks/>
          </p:cNvSpPr>
          <p:nvPr userDrawn="1"/>
        </p:nvSpPr>
        <p:spPr bwMode="auto">
          <a:xfrm>
            <a:off x="5979916" y="1995548"/>
            <a:ext cx="202921" cy="267694"/>
          </a:xfrm>
          <a:custGeom>
            <a:avLst/>
            <a:gdLst>
              <a:gd name="T0" fmla="*/ 113 w 121"/>
              <a:gd name="T1" fmla="*/ 20 h 156"/>
              <a:gd name="T2" fmla="*/ 107 w 121"/>
              <a:gd name="T3" fmla="*/ 18 h 156"/>
              <a:gd name="T4" fmla="*/ 93 w 121"/>
              <a:gd name="T5" fmla="*/ 14 h 156"/>
              <a:gd name="T6" fmla="*/ 89 w 121"/>
              <a:gd name="T7" fmla="*/ 22 h 156"/>
              <a:gd name="T8" fmla="*/ 83 w 121"/>
              <a:gd name="T9" fmla="*/ 24 h 156"/>
              <a:gd name="T10" fmla="*/ 83 w 121"/>
              <a:gd name="T11" fmla="*/ 26 h 156"/>
              <a:gd name="T12" fmla="*/ 71 w 121"/>
              <a:gd name="T13" fmla="*/ 18 h 156"/>
              <a:gd name="T14" fmla="*/ 62 w 121"/>
              <a:gd name="T15" fmla="*/ 12 h 156"/>
              <a:gd name="T16" fmla="*/ 58 w 121"/>
              <a:gd name="T17" fmla="*/ 6 h 156"/>
              <a:gd name="T18" fmla="*/ 64 w 121"/>
              <a:gd name="T19" fmla="*/ 2 h 156"/>
              <a:gd name="T20" fmla="*/ 62 w 121"/>
              <a:gd name="T21" fmla="*/ 0 h 156"/>
              <a:gd name="T22" fmla="*/ 56 w 121"/>
              <a:gd name="T23" fmla="*/ 2 h 156"/>
              <a:gd name="T24" fmla="*/ 42 w 121"/>
              <a:gd name="T25" fmla="*/ 6 h 156"/>
              <a:gd name="T26" fmla="*/ 46 w 121"/>
              <a:gd name="T27" fmla="*/ 12 h 156"/>
              <a:gd name="T28" fmla="*/ 46 w 121"/>
              <a:gd name="T29" fmla="*/ 20 h 156"/>
              <a:gd name="T30" fmla="*/ 44 w 121"/>
              <a:gd name="T31" fmla="*/ 28 h 156"/>
              <a:gd name="T32" fmla="*/ 40 w 121"/>
              <a:gd name="T33" fmla="*/ 38 h 156"/>
              <a:gd name="T34" fmla="*/ 26 w 121"/>
              <a:gd name="T35" fmla="*/ 38 h 156"/>
              <a:gd name="T36" fmla="*/ 28 w 121"/>
              <a:gd name="T37" fmla="*/ 46 h 156"/>
              <a:gd name="T38" fmla="*/ 24 w 121"/>
              <a:gd name="T39" fmla="*/ 56 h 156"/>
              <a:gd name="T40" fmla="*/ 24 w 121"/>
              <a:gd name="T41" fmla="*/ 60 h 156"/>
              <a:gd name="T42" fmla="*/ 18 w 121"/>
              <a:gd name="T43" fmla="*/ 64 h 156"/>
              <a:gd name="T44" fmla="*/ 12 w 121"/>
              <a:gd name="T45" fmla="*/ 66 h 156"/>
              <a:gd name="T46" fmla="*/ 4 w 121"/>
              <a:gd name="T47" fmla="*/ 70 h 156"/>
              <a:gd name="T48" fmla="*/ 6 w 121"/>
              <a:gd name="T49" fmla="*/ 88 h 156"/>
              <a:gd name="T50" fmla="*/ 4 w 121"/>
              <a:gd name="T51" fmla="*/ 90 h 156"/>
              <a:gd name="T52" fmla="*/ 6 w 121"/>
              <a:gd name="T53" fmla="*/ 96 h 156"/>
              <a:gd name="T54" fmla="*/ 8 w 121"/>
              <a:gd name="T55" fmla="*/ 104 h 156"/>
              <a:gd name="T56" fmla="*/ 10 w 121"/>
              <a:gd name="T57" fmla="*/ 110 h 156"/>
              <a:gd name="T58" fmla="*/ 10 w 121"/>
              <a:gd name="T59" fmla="*/ 118 h 156"/>
              <a:gd name="T60" fmla="*/ 20 w 121"/>
              <a:gd name="T61" fmla="*/ 118 h 156"/>
              <a:gd name="T62" fmla="*/ 28 w 121"/>
              <a:gd name="T63" fmla="*/ 120 h 156"/>
              <a:gd name="T64" fmla="*/ 34 w 121"/>
              <a:gd name="T65" fmla="*/ 124 h 156"/>
              <a:gd name="T66" fmla="*/ 32 w 121"/>
              <a:gd name="T67" fmla="*/ 138 h 156"/>
              <a:gd name="T68" fmla="*/ 34 w 121"/>
              <a:gd name="T69" fmla="*/ 152 h 156"/>
              <a:gd name="T70" fmla="*/ 42 w 121"/>
              <a:gd name="T71" fmla="*/ 146 h 156"/>
              <a:gd name="T72" fmla="*/ 50 w 121"/>
              <a:gd name="T73" fmla="*/ 148 h 156"/>
              <a:gd name="T74" fmla="*/ 68 w 121"/>
              <a:gd name="T75" fmla="*/ 150 h 156"/>
              <a:gd name="T76" fmla="*/ 75 w 121"/>
              <a:gd name="T77" fmla="*/ 150 h 156"/>
              <a:gd name="T78" fmla="*/ 83 w 121"/>
              <a:gd name="T79" fmla="*/ 144 h 156"/>
              <a:gd name="T80" fmla="*/ 91 w 121"/>
              <a:gd name="T81" fmla="*/ 146 h 156"/>
              <a:gd name="T82" fmla="*/ 99 w 121"/>
              <a:gd name="T83" fmla="*/ 150 h 156"/>
              <a:gd name="T84" fmla="*/ 97 w 121"/>
              <a:gd name="T85" fmla="*/ 140 h 156"/>
              <a:gd name="T86" fmla="*/ 99 w 121"/>
              <a:gd name="T87" fmla="*/ 136 h 156"/>
              <a:gd name="T88" fmla="*/ 103 w 121"/>
              <a:gd name="T89" fmla="*/ 132 h 156"/>
              <a:gd name="T90" fmla="*/ 109 w 121"/>
              <a:gd name="T91" fmla="*/ 124 h 156"/>
              <a:gd name="T92" fmla="*/ 101 w 121"/>
              <a:gd name="T93" fmla="*/ 118 h 156"/>
              <a:gd name="T94" fmla="*/ 97 w 121"/>
              <a:gd name="T95" fmla="*/ 110 h 156"/>
              <a:gd name="T96" fmla="*/ 89 w 121"/>
              <a:gd name="T97" fmla="*/ 98 h 156"/>
              <a:gd name="T98" fmla="*/ 91 w 121"/>
              <a:gd name="T99" fmla="*/ 92 h 156"/>
              <a:gd name="T100" fmla="*/ 101 w 121"/>
              <a:gd name="T101" fmla="*/ 86 h 156"/>
              <a:gd name="T102" fmla="*/ 121 w 121"/>
              <a:gd name="T103" fmla="*/ 82 h 156"/>
              <a:gd name="T104" fmla="*/ 119 w 121"/>
              <a:gd name="T105" fmla="*/ 60 h 156"/>
              <a:gd name="T106" fmla="*/ 119 w 121"/>
              <a:gd name="T107" fmla="*/ 46 h 156"/>
              <a:gd name="T108" fmla="*/ 115 w 121"/>
              <a:gd name="T109" fmla="*/ 3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156">
                <a:moveTo>
                  <a:pt x="117" y="22"/>
                </a:moveTo>
                <a:lnTo>
                  <a:pt x="117" y="22"/>
                </a:lnTo>
                <a:lnTo>
                  <a:pt x="113" y="20"/>
                </a:lnTo>
                <a:lnTo>
                  <a:pt x="113" y="20"/>
                </a:lnTo>
                <a:lnTo>
                  <a:pt x="113" y="18"/>
                </a:lnTo>
                <a:lnTo>
                  <a:pt x="113" y="18"/>
                </a:lnTo>
                <a:lnTo>
                  <a:pt x="109" y="18"/>
                </a:lnTo>
                <a:lnTo>
                  <a:pt x="107" y="18"/>
                </a:lnTo>
                <a:lnTo>
                  <a:pt x="107" y="18"/>
                </a:lnTo>
                <a:lnTo>
                  <a:pt x="101" y="16"/>
                </a:lnTo>
                <a:lnTo>
                  <a:pt x="101" y="16"/>
                </a:lnTo>
                <a:lnTo>
                  <a:pt x="93" y="14"/>
                </a:lnTo>
                <a:lnTo>
                  <a:pt x="93" y="14"/>
                </a:lnTo>
                <a:lnTo>
                  <a:pt x="91" y="18"/>
                </a:lnTo>
                <a:lnTo>
                  <a:pt x="89" y="22"/>
                </a:lnTo>
                <a:lnTo>
                  <a:pt x="89" y="22"/>
                </a:lnTo>
                <a:lnTo>
                  <a:pt x="87" y="22"/>
                </a:lnTo>
                <a:lnTo>
                  <a:pt x="83" y="22"/>
                </a:lnTo>
                <a:lnTo>
                  <a:pt x="83" y="22"/>
                </a:lnTo>
                <a:lnTo>
                  <a:pt x="83" y="24"/>
                </a:lnTo>
                <a:lnTo>
                  <a:pt x="83" y="24"/>
                </a:lnTo>
                <a:lnTo>
                  <a:pt x="83" y="26"/>
                </a:lnTo>
                <a:lnTo>
                  <a:pt x="83" y="26"/>
                </a:lnTo>
                <a:lnTo>
                  <a:pt x="83" y="26"/>
                </a:lnTo>
                <a:lnTo>
                  <a:pt x="75" y="24"/>
                </a:lnTo>
                <a:lnTo>
                  <a:pt x="75" y="24"/>
                </a:lnTo>
                <a:lnTo>
                  <a:pt x="75" y="20"/>
                </a:lnTo>
                <a:lnTo>
                  <a:pt x="71" y="18"/>
                </a:lnTo>
                <a:lnTo>
                  <a:pt x="71" y="18"/>
                </a:lnTo>
                <a:lnTo>
                  <a:pt x="66" y="20"/>
                </a:lnTo>
                <a:lnTo>
                  <a:pt x="66" y="20"/>
                </a:lnTo>
                <a:lnTo>
                  <a:pt x="62" y="12"/>
                </a:lnTo>
                <a:lnTo>
                  <a:pt x="62" y="12"/>
                </a:lnTo>
                <a:lnTo>
                  <a:pt x="62" y="8"/>
                </a:lnTo>
                <a:lnTo>
                  <a:pt x="62" y="8"/>
                </a:lnTo>
                <a:lnTo>
                  <a:pt x="58" y="6"/>
                </a:lnTo>
                <a:lnTo>
                  <a:pt x="58" y="6"/>
                </a:lnTo>
                <a:lnTo>
                  <a:pt x="60" y="4"/>
                </a:lnTo>
                <a:lnTo>
                  <a:pt x="60" y="4"/>
                </a:lnTo>
                <a:lnTo>
                  <a:pt x="64" y="2"/>
                </a:lnTo>
                <a:lnTo>
                  <a:pt x="64" y="2"/>
                </a:lnTo>
                <a:lnTo>
                  <a:pt x="64" y="0"/>
                </a:lnTo>
                <a:lnTo>
                  <a:pt x="62" y="0"/>
                </a:lnTo>
                <a:lnTo>
                  <a:pt x="62" y="0"/>
                </a:lnTo>
                <a:lnTo>
                  <a:pt x="60" y="2"/>
                </a:lnTo>
                <a:lnTo>
                  <a:pt x="60" y="2"/>
                </a:lnTo>
                <a:lnTo>
                  <a:pt x="56" y="2"/>
                </a:lnTo>
                <a:lnTo>
                  <a:pt x="56" y="2"/>
                </a:lnTo>
                <a:lnTo>
                  <a:pt x="56" y="0"/>
                </a:lnTo>
                <a:lnTo>
                  <a:pt x="44" y="0"/>
                </a:lnTo>
                <a:lnTo>
                  <a:pt x="44" y="0"/>
                </a:lnTo>
                <a:lnTo>
                  <a:pt x="42" y="6"/>
                </a:lnTo>
                <a:lnTo>
                  <a:pt x="44" y="6"/>
                </a:lnTo>
                <a:lnTo>
                  <a:pt x="44" y="6"/>
                </a:lnTo>
                <a:lnTo>
                  <a:pt x="46" y="12"/>
                </a:lnTo>
                <a:lnTo>
                  <a:pt x="46" y="12"/>
                </a:lnTo>
                <a:lnTo>
                  <a:pt x="46" y="12"/>
                </a:lnTo>
                <a:lnTo>
                  <a:pt x="46" y="12"/>
                </a:lnTo>
                <a:lnTo>
                  <a:pt x="46" y="18"/>
                </a:lnTo>
                <a:lnTo>
                  <a:pt x="46" y="20"/>
                </a:lnTo>
                <a:lnTo>
                  <a:pt x="46" y="24"/>
                </a:lnTo>
                <a:lnTo>
                  <a:pt x="50" y="28"/>
                </a:lnTo>
                <a:lnTo>
                  <a:pt x="50" y="28"/>
                </a:lnTo>
                <a:lnTo>
                  <a:pt x="44" y="28"/>
                </a:lnTo>
                <a:lnTo>
                  <a:pt x="44" y="28"/>
                </a:lnTo>
                <a:lnTo>
                  <a:pt x="42" y="34"/>
                </a:lnTo>
                <a:lnTo>
                  <a:pt x="40" y="38"/>
                </a:lnTo>
                <a:lnTo>
                  <a:pt x="40" y="38"/>
                </a:lnTo>
                <a:lnTo>
                  <a:pt x="36" y="34"/>
                </a:lnTo>
                <a:lnTo>
                  <a:pt x="36" y="34"/>
                </a:lnTo>
                <a:lnTo>
                  <a:pt x="30" y="36"/>
                </a:lnTo>
                <a:lnTo>
                  <a:pt x="26" y="38"/>
                </a:lnTo>
                <a:lnTo>
                  <a:pt x="26" y="40"/>
                </a:lnTo>
                <a:lnTo>
                  <a:pt x="30" y="46"/>
                </a:lnTo>
                <a:lnTo>
                  <a:pt x="28" y="46"/>
                </a:lnTo>
                <a:lnTo>
                  <a:pt x="28" y="46"/>
                </a:lnTo>
                <a:lnTo>
                  <a:pt x="28" y="52"/>
                </a:lnTo>
                <a:lnTo>
                  <a:pt x="26" y="54"/>
                </a:lnTo>
                <a:lnTo>
                  <a:pt x="24" y="56"/>
                </a:lnTo>
                <a:lnTo>
                  <a:pt x="24" y="56"/>
                </a:lnTo>
                <a:lnTo>
                  <a:pt x="22" y="56"/>
                </a:lnTo>
                <a:lnTo>
                  <a:pt x="22" y="56"/>
                </a:lnTo>
                <a:lnTo>
                  <a:pt x="24" y="60"/>
                </a:lnTo>
                <a:lnTo>
                  <a:pt x="24" y="60"/>
                </a:lnTo>
                <a:lnTo>
                  <a:pt x="24" y="62"/>
                </a:lnTo>
                <a:lnTo>
                  <a:pt x="22" y="62"/>
                </a:lnTo>
                <a:lnTo>
                  <a:pt x="18" y="64"/>
                </a:lnTo>
                <a:lnTo>
                  <a:pt x="18" y="64"/>
                </a:lnTo>
                <a:lnTo>
                  <a:pt x="18" y="66"/>
                </a:lnTo>
                <a:lnTo>
                  <a:pt x="16" y="68"/>
                </a:lnTo>
                <a:lnTo>
                  <a:pt x="12" y="66"/>
                </a:lnTo>
                <a:lnTo>
                  <a:pt x="12" y="66"/>
                </a:lnTo>
                <a:lnTo>
                  <a:pt x="8" y="66"/>
                </a:lnTo>
                <a:lnTo>
                  <a:pt x="6" y="66"/>
                </a:lnTo>
                <a:lnTo>
                  <a:pt x="4" y="70"/>
                </a:lnTo>
                <a:lnTo>
                  <a:pt x="4" y="70"/>
                </a:lnTo>
                <a:lnTo>
                  <a:pt x="0" y="84"/>
                </a:lnTo>
                <a:lnTo>
                  <a:pt x="0" y="84"/>
                </a:lnTo>
                <a:lnTo>
                  <a:pt x="2" y="86"/>
                </a:lnTo>
                <a:lnTo>
                  <a:pt x="6" y="88"/>
                </a:lnTo>
                <a:lnTo>
                  <a:pt x="6" y="88"/>
                </a:lnTo>
                <a:lnTo>
                  <a:pt x="6" y="88"/>
                </a:lnTo>
                <a:lnTo>
                  <a:pt x="4" y="88"/>
                </a:lnTo>
                <a:lnTo>
                  <a:pt x="4" y="90"/>
                </a:lnTo>
                <a:lnTo>
                  <a:pt x="4" y="92"/>
                </a:lnTo>
                <a:lnTo>
                  <a:pt x="4" y="92"/>
                </a:lnTo>
                <a:lnTo>
                  <a:pt x="6" y="94"/>
                </a:lnTo>
                <a:lnTo>
                  <a:pt x="6" y="96"/>
                </a:lnTo>
                <a:lnTo>
                  <a:pt x="6" y="100"/>
                </a:lnTo>
                <a:lnTo>
                  <a:pt x="6" y="100"/>
                </a:lnTo>
                <a:lnTo>
                  <a:pt x="6" y="102"/>
                </a:lnTo>
                <a:lnTo>
                  <a:pt x="8" y="104"/>
                </a:lnTo>
                <a:lnTo>
                  <a:pt x="8" y="104"/>
                </a:lnTo>
                <a:lnTo>
                  <a:pt x="10" y="106"/>
                </a:lnTo>
                <a:lnTo>
                  <a:pt x="10" y="106"/>
                </a:lnTo>
                <a:lnTo>
                  <a:pt x="10" y="110"/>
                </a:lnTo>
                <a:lnTo>
                  <a:pt x="10" y="110"/>
                </a:lnTo>
                <a:lnTo>
                  <a:pt x="8" y="112"/>
                </a:lnTo>
                <a:lnTo>
                  <a:pt x="8" y="116"/>
                </a:lnTo>
                <a:lnTo>
                  <a:pt x="10" y="118"/>
                </a:lnTo>
                <a:lnTo>
                  <a:pt x="10" y="118"/>
                </a:lnTo>
                <a:lnTo>
                  <a:pt x="14" y="116"/>
                </a:lnTo>
                <a:lnTo>
                  <a:pt x="18" y="116"/>
                </a:lnTo>
                <a:lnTo>
                  <a:pt x="20" y="118"/>
                </a:lnTo>
                <a:lnTo>
                  <a:pt x="20" y="118"/>
                </a:lnTo>
                <a:lnTo>
                  <a:pt x="22" y="120"/>
                </a:lnTo>
                <a:lnTo>
                  <a:pt x="24" y="122"/>
                </a:lnTo>
                <a:lnTo>
                  <a:pt x="28" y="120"/>
                </a:lnTo>
                <a:lnTo>
                  <a:pt x="28" y="120"/>
                </a:lnTo>
                <a:lnTo>
                  <a:pt x="34" y="122"/>
                </a:lnTo>
                <a:lnTo>
                  <a:pt x="34" y="122"/>
                </a:lnTo>
                <a:lnTo>
                  <a:pt x="34" y="124"/>
                </a:lnTo>
                <a:lnTo>
                  <a:pt x="34" y="130"/>
                </a:lnTo>
                <a:lnTo>
                  <a:pt x="34" y="130"/>
                </a:lnTo>
                <a:lnTo>
                  <a:pt x="32" y="134"/>
                </a:lnTo>
                <a:lnTo>
                  <a:pt x="32" y="138"/>
                </a:lnTo>
                <a:lnTo>
                  <a:pt x="32" y="138"/>
                </a:lnTo>
                <a:lnTo>
                  <a:pt x="32" y="144"/>
                </a:lnTo>
                <a:lnTo>
                  <a:pt x="32" y="148"/>
                </a:lnTo>
                <a:lnTo>
                  <a:pt x="34" y="152"/>
                </a:lnTo>
                <a:lnTo>
                  <a:pt x="34" y="152"/>
                </a:lnTo>
                <a:lnTo>
                  <a:pt x="40" y="148"/>
                </a:lnTo>
                <a:lnTo>
                  <a:pt x="40" y="148"/>
                </a:lnTo>
                <a:lnTo>
                  <a:pt x="42" y="146"/>
                </a:lnTo>
                <a:lnTo>
                  <a:pt x="44" y="146"/>
                </a:lnTo>
                <a:lnTo>
                  <a:pt x="46" y="146"/>
                </a:lnTo>
                <a:lnTo>
                  <a:pt x="46" y="146"/>
                </a:lnTo>
                <a:lnTo>
                  <a:pt x="50" y="148"/>
                </a:lnTo>
                <a:lnTo>
                  <a:pt x="62" y="156"/>
                </a:lnTo>
                <a:lnTo>
                  <a:pt x="62" y="156"/>
                </a:lnTo>
                <a:lnTo>
                  <a:pt x="64" y="152"/>
                </a:lnTo>
                <a:lnTo>
                  <a:pt x="68" y="150"/>
                </a:lnTo>
                <a:lnTo>
                  <a:pt x="68" y="150"/>
                </a:lnTo>
                <a:lnTo>
                  <a:pt x="71" y="150"/>
                </a:lnTo>
                <a:lnTo>
                  <a:pt x="75" y="150"/>
                </a:lnTo>
                <a:lnTo>
                  <a:pt x="75" y="150"/>
                </a:lnTo>
                <a:lnTo>
                  <a:pt x="79" y="148"/>
                </a:lnTo>
                <a:lnTo>
                  <a:pt x="81" y="144"/>
                </a:lnTo>
                <a:lnTo>
                  <a:pt x="81" y="144"/>
                </a:lnTo>
                <a:lnTo>
                  <a:pt x="83" y="144"/>
                </a:lnTo>
                <a:lnTo>
                  <a:pt x="85" y="146"/>
                </a:lnTo>
                <a:lnTo>
                  <a:pt x="89" y="146"/>
                </a:lnTo>
                <a:lnTo>
                  <a:pt x="89" y="146"/>
                </a:lnTo>
                <a:lnTo>
                  <a:pt x="91" y="146"/>
                </a:lnTo>
                <a:lnTo>
                  <a:pt x="93" y="146"/>
                </a:lnTo>
                <a:lnTo>
                  <a:pt x="95" y="150"/>
                </a:lnTo>
                <a:lnTo>
                  <a:pt x="95" y="150"/>
                </a:lnTo>
                <a:lnTo>
                  <a:pt x="99" y="150"/>
                </a:lnTo>
                <a:lnTo>
                  <a:pt x="99" y="144"/>
                </a:lnTo>
                <a:lnTo>
                  <a:pt x="99" y="144"/>
                </a:lnTo>
                <a:lnTo>
                  <a:pt x="97" y="142"/>
                </a:lnTo>
                <a:lnTo>
                  <a:pt x="97" y="140"/>
                </a:lnTo>
                <a:lnTo>
                  <a:pt x="95" y="140"/>
                </a:lnTo>
                <a:lnTo>
                  <a:pt x="95" y="140"/>
                </a:lnTo>
                <a:lnTo>
                  <a:pt x="95" y="138"/>
                </a:lnTo>
                <a:lnTo>
                  <a:pt x="99" y="136"/>
                </a:lnTo>
                <a:lnTo>
                  <a:pt x="99" y="136"/>
                </a:lnTo>
                <a:lnTo>
                  <a:pt x="103" y="134"/>
                </a:lnTo>
                <a:lnTo>
                  <a:pt x="103" y="132"/>
                </a:lnTo>
                <a:lnTo>
                  <a:pt x="103" y="132"/>
                </a:lnTo>
                <a:lnTo>
                  <a:pt x="105" y="128"/>
                </a:lnTo>
                <a:lnTo>
                  <a:pt x="107" y="126"/>
                </a:lnTo>
                <a:lnTo>
                  <a:pt x="109" y="124"/>
                </a:lnTo>
                <a:lnTo>
                  <a:pt x="109" y="124"/>
                </a:lnTo>
                <a:lnTo>
                  <a:pt x="105" y="120"/>
                </a:lnTo>
                <a:lnTo>
                  <a:pt x="105" y="120"/>
                </a:lnTo>
                <a:lnTo>
                  <a:pt x="103" y="118"/>
                </a:lnTo>
                <a:lnTo>
                  <a:pt x="101" y="118"/>
                </a:lnTo>
                <a:lnTo>
                  <a:pt x="99" y="118"/>
                </a:lnTo>
                <a:lnTo>
                  <a:pt x="97" y="114"/>
                </a:lnTo>
                <a:lnTo>
                  <a:pt x="97" y="114"/>
                </a:lnTo>
                <a:lnTo>
                  <a:pt x="97" y="110"/>
                </a:lnTo>
                <a:lnTo>
                  <a:pt x="95" y="106"/>
                </a:lnTo>
                <a:lnTo>
                  <a:pt x="95" y="106"/>
                </a:lnTo>
                <a:lnTo>
                  <a:pt x="93" y="102"/>
                </a:lnTo>
                <a:lnTo>
                  <a:pt x="89" y="98"/>
                </a:lnTo>
                <a:lnTo>
                  <a:pt x="89" y="98"/>
                </a:lnTo>
                <a:lnTo>
                  <a:pt x="89" y="94"/>
                </a:lnTo>
                <a:lnTo>
                  <a:pt x="91" y="92"/>
                </a:lnTo>
                <a:lnTo>
                  <a:pt x="91" y="92"/>
                </a:lnTo>
                <a:lnTo>
                  <a:pt x="95" y="92"/>
                </a:lnTo>
                <a:lnTo>
                  <a:pt x="99" y="90"/>
                </a:lnTo>
                <a:lnTo>
                  <a:pt x="99" y="90"/>
                </a:lnTo>
                <a:lnTo>
                  <a:pt x="101" y="86"/>
                </a:lnTo>
                <a:lnTo>
                  <a:pt x="107" y="84"/>
                </a:lnTo>
                <a:lnTo>
                  <a:pt x="107" y="84"/>
                </a:lnTo>
                <a:lnTo>
                  <a:pt x="115" y="78"/>
                </a:lnTo>
                <a:lnTo>
                  <a:pt x="121" y="82"/>
                </a:lnTo>
                <a:lnTo>
                  <a:pt x="121" y="82"/>
                </a:lnTo>
                <a:lnTo>
                  <a:pt x="119" y="64"/>
                </a:lnTo>
                <a:lnTo>
                  <a:pt x="119" y="64"/>
                </a:lnTo>
                <a:lnTo>
                  <a:pt x="119" y="60"/>
                </a:lnTo>
                <a:lnTo>
                  <a:pt x="117" y="56"/>
                </a:lnTo>
                <a:lnTo>
                  <a:pt x="117" y="56"/>
                </a:lnTo>
                <a:lnTo>
                  <a:pt x="119" y="46"/>
                </a:lnTo>
                <a:lnTo>
                  <a:pt x="119" y="46"/>
                </a:lnTo>
                <a:lnTo>
                  <a:pt x="117" y="44"/>
                </a:lnTo>
                <a:lnTo>
                  <a:pt x="115" y="40"/>
                </a:lnTo>
                <a:lnTo>
                  <a:pt x="115" y="38"/>
                </a:lnTo>
                <a:lnTo>
                  <a:pt x="115" y="38"/>
                </a:lnTo>
                <a:lnTo>
                  <a:pt x="117" y="28"/>
                </a:lnTo>
                <a:lnTo>
                  <a:pt x="117" y="22"/>
                </a:lnTo>
                <a:lnTo>
                  <a:pt x="117" y="2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0" name="Freeform 184">
            <a:extLst>
              <a:ext uri="{FF2B5EF4-FFF2-40B4-BE49-F238E27FC236}">
                <a16:creationId xmlns:a16="http://schemas.microsoft.com/office/drawing/2014/main" id="{07863C26-DC8F-4909-B2A1-0034A590ABE6}"/>
              </a:ext>
            </a:extLst>
          </p:cNvPr>
          <p:cNvSpPr>
            <a:spLocks/>
          </p:cNvSpPr>
          <p:nvPr userDrawn="1"/>
        </p:nvSpPr>
        <p:spPr bwMode="auto">
          <a:xfrm>
            <a:off x="6753030" y="2379930"/>
            <a:ext cx="160996" cy="82368"/>
          </a:xfrm>
          <a:custGeom>
            <a:avLst/>
            <a:gdLst>
              <a:gd name="T0" fmla="*/ 0 w 96"/>
              <a:gd name="T1" fmla="*/ 10 h 48"/>
              <a:gd name="T2" fmla="*/ 4 w 96"/>
              <a:gd name="T3" fmla="*/ 14 h 48"/>
              <a:gd name="T4" fmla="*/ 8 w 96"/>
              <a:gd name="T5" fmla="*/ 14 h 48"/>
              <a:gd name="T6" fmla="*/ 12 w 96"/>
              <a:gd name="T7" fmla="*/ 18 h 48"/>
              <a:gd name="T8" fmla="*/ 18 w 96"/>
              <a:gd name="T9" fmla="*/ 22 h 48"/>
              <a:gd name="T10" fmla="*/ 22 w 96"/>
              <a:gd name="T11" fmla="*/ 36 h 48"/>
              <a:gd name="T12" fmla="*/ 22 w 96"/>
              <a:gd name="T13" fmla="*/ 42 h 48"/>
              <a:gd name="T14" fmla="*/ 24 w 96"/>
              <a:gd name="T15" fmla="*/ 42 h 48"/>
              <a:gd name="T16" fmla="*/ 26 w 96"/>
              <a:gd name="T17" fmla="*/ 42 h 48"/>
              <a:gd name="T18" fmla="*/ 30 w 96"/>
              <a:gd name="T19" fmla="*/ 42 h 48"/>
              <a:gd name="T20" fmla="*/ 34 w 96"/>
              <a:gd name="T21" fmla="*/ 42 h 48"/>
              <a:gd name="T22" fmla="*/ 40 w 96"/>
              <a:gd name="T23" fmla="*/ 46 h 48"/>
              <a:gd name="T24" fmla="*/ 48 w 96"/>
              <a:gd name="T25" fmla="*/ 44 h 48"/>
              <a:gd name="T26" fmla="*/ 50 w 96"/>
              <a:gd name="T27" fmla="*/ 44 h 48"/>
              <a:gd name="T28" fmla="*/ 50 w 96"/>
              <a:gd name="T29" fmla="*/ 48 h 48"/>
              <a:gd name="T30" fmla="*/ 54 w 96"/>
              <a:gd name="T31" fmla="*/ 48 h 48"/>
              <a:gd name="T32" fmla="*/ 64 w 96"/>
              <a:gd name="T33" fmla="*/ 48 h 48"/>
              <a:gd name="T34" fmla="*/ 72 w 96"/>
              <a:gd name="T35" fmla="*/ 48 h 48"/>
              <a:gd name="T36" fmla="*/ 74 w 96"/>
              <a:gd name="T37" fmla="*/ 46 h 48"/>
              <a:gd name="T38" fmla="*/ 76 w 96"/>
              <a:gd name="T39" fmla="*/ 42 h 48"/>
              <a:gd name="T40" fmla="*/ 82 w 96"/>
              <a:gd name="T41" fmla="*/ 40 h 48"/>
              <a:gd name="T42" fmla="*/ 86 w 96"/>
              <a:gd name="T43" fmla="*/ 42 h 48"/>
              <a:gd name="T44" fmla="*/ 88 w 96"/>
              <a:gd name="T45" fmla="*/ 44 h 48"/>
              <a:gd name="T46" fmla="*/ 92 w 96"/>
              <a:gd name="T47" fmla="*/ 48 h 48"/>
              <a:gd name="T48" fmla="*/ 94 w 96"/>
              <a:gd name="T49" fmla="*/ 48 h 48"/>
              <a:gd name="T50" fmla="*/ 92 w 96"/>
              <a:gd name="T51" fmla="*/ 42 h 48"/>
              <a:gd name="T52" fmla="*/ 92 w 96"/>
              <a:gd name="T53" fmla="*/ 40 h 48"/>
              <a:gd name="T54" fmla="*/ 96 w 96"/>
              <a:gd name="T55" fmla="*/ 36 h 48"/>
              <a:gd name="T56" fmla="*/ 92 w 96"/>
              <a:gd name="T57" fmla="*/ 32 h 48"/>
              <a:gd name="T58" fmla="*/ 90 w 96"/>
              <a:gd name="T59" fmla="*/ 30 h 48"/>
              <a:gd name="T60" fmla="*/ 84 w 96"/>
              <a:gd name="T61" fmla="*/ 30 h 48"/>
              <a:gd name="T62" fmla="*/ 84 w 96"/>
              <a:gd name="T63" fmla="*/ 30 h 48"/>
              <a:gd name="T64" fmla="*/ 84 w 96"/>
              <a:gd name="T65" fmla="*/ 26 h 48"/>
              <a:gd name="T66" fmla="*/ 84 w 96"/>
              <a:gd name="T67" fmla="*/ 24 h 48"/>
              <a:gd name="T68" fmla="*/ 78 w 96"/>
              <a:gd name="T69" fmla="*/ 20 h 48"/>
              <a:gd name="T70" fmla="*/ 76 w 96"/>
              <a:gd name="T71" fmla="*/ 18 h 48"/>
              <a:gd name="T72" fmla="*/ 74 w 96"/>
              <a:gd name="T73" fmla="*/ 14 h 48"/>
              <a:gd name="T74" fmla="*/ 66 w 96"/>
              <a:gd name="T75" fmla="*/ 14 h 48"/>
              <a:gd name="T76" fmla="*/ 62 w 96"/>
              <a:gd name="T77" fmla="*/ 16 h 48"/>
              <a:gd name="T78" fmla="*/ 60 w 96"/>
              <a:gd name="T79" fmla="*/ 16 h 48"/>
              <a:gd name="T80" fmla="*/ 58 w 96"/>
              <a:gd name="T81" fmla="*/ 14 h 48"/>
              <a:gd name="T82" fmla="*/ 50 w 96"/>
              <a:gd name="T83" fmla="*/ 16 h 48"/>
              <a:gd name="T84" fmla="*/ 46 w 96"/>
              <a:gd name="T85" fmla="*/ 16 h 48"/>
              <a:gd name="T86" fmla="*/ 40 w 96"/>
              <a:gd name="T87" fmla="*/ 8 h 48"/>
              <a:gd name="T88" fmla="*/ 36 w 96"/>
              <a:gd name="T89" fmla="*/ 6 h 48"/>
              <a:gd name="T90" fmla="*/ 32 w 96"/>
              <a:gd name="T91" fmla="*/ 4 h 48"/>
              <a:gd name="T92" fmla="*/ 22 w 96"/>
              <a:gd name="T93" fmla="*/ 4 h 48"/>
              <a:gd name="T94" fmla="*/ 16 w 96"/>
              <a:gd name="T95" fmla="*/ 4 h 48"/>
              <a:gd name="T96" fmla="*/ 14 w 96"/>
              <a:gd name="T97" fmla="*/ 0 h 48"/>
              <a:gd name="T98" fmla="*/ 8 w 96"/>
              <a:gd name="T99" fmla="*/ 0 h 48"/>
              <a:gd name="T100" fmla="*/ 4 w 96"/>
              <a:gd name="T101" fmla="*/ 2 h 48"/>
              <a:gd name="T102" fmla="*/ 0 w 96"/>
              <a:gd name="T103"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 h="48">
                <a:moveTo>
                  <a:pt x="0" y="10"/>
                </a:moveTo>
                <a:lnTo>
                  <a:pt x="0" y="10"/>
                </a:lnTo>
                <a:lnTo>
                  <a:pt x="4" y="14"/>
                </a:lnTo>
                <a:lnTo>
                  <a:pt x="4" y="14"/>
                </a:lnTo>
                <a:lnTo>
                  <a:pt x="8" y="14"/>
                </a:lnTo>
                <a:lnTo>
                  <a:pt x="8" y="14"/>
                </a:lnTo>
                <a:lnTo>
                  <a:pt x="12" y="18"/>
                </a:lnTo>
                <a:lnTo>
                  <a:pt x="12" y="18"/>
                </a:lnTo>
                <a:lnTo>
                  <a:pt x="18" y="22"/>
                </a:lnTo>
                <a:lnTo>
                  <a:pt x="18" y="22"/>
                </a:lnTo>
                <a:lnTo>
                  <a:pt x="22" y="30"/>
                </a:lnTo>
                <a:lnTo>
                  <a:pt x="22" y="36"/>
                </a:lnTo>
                <a:lnTo>
                  <a:pt x="22" y="40"/>
                </a:lnTo>
                <a:lnTo>
                  <a:pt x="22" y="42"/>
                </a:lnTo>
                <a:lnTo>
                  <a:pt x="22" y="42"/>
                </a:lnTo>
                <a:lnTo>
                  <a:pt x="24" y="42"/>
                </a:lnTo>
                <a:lnTo>
                  <a:pt x="24" y="44"/>
                </a:lnTo>
                <a:lnTo>
                  <a:pt x="26" y="42"/>
                </a:lnTo>
                <a:lnTo>
                  <a:pt x="26" y="42"/>
                </a:lnTo>
                <a:lnTo>
                  <a:pt x="30" y="42"/>
                </a:lnTo>
                <a:lnTo>
                  <a:pt x="34" y="42"/>
                </a:lnTo>
                <a:lnTo>
                  <a:pt x="34" y="42"/>
                </a:lnTo>
                <a:lnTo>
                  <a:pt x="38" y="44"/>
                </a:lnTo>
                <a:lnTo>
                  <a:pt x="40" y="46"/>
                </a:lnTo>
                <a:lnTo>
                  <a:pt x="40" y="46"/>
                </a:lnTo>
                <a:lnTo>
                  <a:pt x="48" y="44"/>
                </a:lnTo>
                <a:lnTo>
                  <a:pt x="48" y="44"/>
                </a:lnTo>
                <a:lnTo>
                  <a:pt x="50" y="44"/>
                </a:lnTo>
                <a:lnTo>
                  <a:pt x="50" y="46"/>
                </a:lnTo>
                <a:lnTo>
                  <a:pt x="50" y="48"/>
                </a:lnTo>
                <a:lnTo>
                  <a:pt x="52" y="48"/>
                </a:lnTo>
                <a:lnTo>
                  <a:pt x="54" y="48"/>
                </a:lnTo>
                <a:lnTo>
                  <a:pt x="54" y="48"/>
                </a:lnTo>
                <a:lnTo>
                  <a:pt x="64" y="48"/>
                </a:lnTo>
                <a:lnTo>
                  <a:pt x="64" y="48"/>
                </a:lnTo>
                <a:lnTo>
                  <a:pt x="72" y="48"/>
                </a:lnTo>
                <a:lnTo>
                  <a:pt x="72" y="48"/>
                </a:lnTo>
                <a:lnTo>
                  <a:pt x="74" y="46"/>
                </a:lnTo>
                <a:lnTo>
                  <a:pt x="76" y="42"/>
                </a:lnTo>
                <a:lnTo>
                  <a:pt x="76" y="42"/>
                </a:lnTo>
                <a:lnTo>
                  <a:pt x="78" y="40"/>
                </a:lnTo>
                <a:lnTo>
                  <a:pt x="82" y="40"/>
                </a:lnTo>
                <a:lnTo>
                  <a:pt x="82" y="40"/>
                </a:lnTo>
                <a:lnTo>
                  <a:pt x="86" y="42"/>
                </a:lnTo>
                <a:lnTo>
                  <a:pt x="88" y="44"/>
                </a:lnTo>
                <a:lnTo>
                  <a:pt x="88" y="44"/>
                </a:lnTo>
                <a:lnTo>
                  <a:pt x="90" y="48"/>
                </a:lnTo>
                <a:lnTo>
                  <a:pt x="92" y="48"/>
                </a:lnTo>
                <a:lnTo>
                  <a:pt x="94" y="48"/>
                </a:lnTo>
                <a:lnTo>
                  <a:pt x="94" y="48"/>
                </a:lnTo>
                <a:lnTo>
                  <a:pt x="96" y="44"/>
                </a:lnTo>
                <a:lnTo>
                  <a:pt x="92" y="42"/>
                </a:lnTo>
                <a:lnTo>
                  <a:pt x="92" y="42"/>
                </a:lnTo>
                <a:lnTo>
                  <a:pt x="92" y="40"/>
                </a:lnTo>
                <a:lnTo>
                  <a:pt x="94" y="38"/>
                </a:lnTo>
                <a:lnTo>
                  <a:pt x="96" y="36"/>
                </a:lnTo>
                <a:lnTo>
                  <a:pt x="96" y="36"/>
                </a:lnTo>
                <a:lnTo>
                  <a:pt x="92" y="32"/>
                </a:lnTo>
                <a:lnTo>
                  <a:pt x="92" y="32"/>
                </a:lnTo>
                <a:lnTo>
                  <a:pt x="90" y="30"/>
                </a:lnTo>
                <a:lnTo>
                  <a:pt x="88" y="30"/>
                </a:lnTo>
                <a:lnTo>
                  <a:pt x="84" y="30"/>
                </a:lnTo>
                <a:lnTo>
                  <a:pt x="84" y="30"/>
                </a:lnTo>
                <a:lnTo>
                  <a:pt x="84" y="30"/>
                </a:lnTo>
                <a:lnTo>
                  <a:pt x="84" y="28"/>
                </a:lnTo>
                <a:lnTo>
                  <a:pt x="84" y="26"/>
                </a:lnTo>
                <a:lnTo>
                  <a:pt x="84" y="24"/>
                </a:lnTo>
                <a:lnTo>
                  <a:pt x="84" y="24"/>
                </a:lnTo>
                <a:lnTo>
                  <a:pt x="80" y="22"/>
                </a:lnTo>
                <a:lnTo>
                  <a:pt x="78" y="20"/>
                </a:lnTo>
                <a:lnTo>
                  <a:pt x="78" y="20"/>
                </a:lnTo>
                <a:lnTo>
                  <a:pt x="76" y="18"/>
                </a:lnTo>
                <a:lnTo>
                  <a:pt x="74" y="14"/>
                </a:lnTo>
                <a:lnTo>
                  <a:pt x="74" y="14"/>
                </a:lnTo>
                <a:lnTo>
                  <a:pt x="70" y="12"/>
                </a:lnTo>
                <a:lnTo>
                  <a:pt x="66" y="14"/>
                </a:lnTo>
                <a:lnTo>
                  <a:pt x="66" y="14"/>
                </a:lnTo>
                <a:lnTo>
                  <a:pt x="62" y="16"/>
                </a:lnTo>
                <a:lnTo>
                  <a:pt x="62" y="16"/>
                </a:lnTo>
                <a:lnTo>
                  <a:pt x="60" y="16"/>
                </a:lnTo>
                <a:lnTo>
                  <a:pt x="60" y="16"/>
                </a:lnTo>
                <a:lnTo>
                  <a:pt x="58" y="14"/>
                </a:lnTo>
                <a:lnTo>
                  <a:pt x="56" y="14"/>
                </a:lnTo>
                <a:lnTo>
                  <a:pt x="50" y="16"/>
                </a:lnTo>
                <a:lnTo>
                  <a:pt x="50" y="16"/>
                </a:lnTo>
                <a:lnTo>
                  <a:pt x="46" y="16"/>
                </a:lnTo>
                <a:lnTo>
                  <a:pt x="44" y="14"/>
                </a:lnTo>
                <a:lnTo>
                  <a:pt x="40" y="8"/>
                </a:lnTo>
                <a:lnTo>
                  <a:pt x="40" y="8"/>
                </a:lnTo>
                <a:lnTo>
                  <a:pt x="36" y="6"/>
                </a:lnTo>
                <a:lnTo>
                  <a:pt x="32" y="4"/>
                </a:lnTo>
                <a:lnTo>
                  <a:pt x="32" y="4"/>
                </a:lnTo>
                <a:lnTo>
                  <a:pt x="28" y="4"/>
                </a:lnTo>
                <a:lnTo>
                  <a:pt x="22" y="4"/>
                </a:lnTo>
                <a:lnTo>
                  <a:pt x="22" y="4"/>
                </a:lnTo>
                <a:lnTo>
                  <a:pt x="16" y="4"/>
                </a:lnTo>
                <a:lnTo>
                  <a:pt x="14" y="0"/>
                </a:lnTo>
                <a:lnTo>
                  <a:pt x="14" y="0"/>
                </a:lnTo>
                <a:lnTo>
                  <a:pt x="12" y="0"/>
                </a:lnTo>
                <a:lnTo>
                  <a:pt x="8" y="0"/>
                </a:lnTo>
                <a:lnTo>
                  <a:pt x="4" y="2"/>
                </a:lnTo>
                <a:lnTo>
                  <a:pt x="4" y="2"/>
                </a:lnTo>
                <a:lnTo>
                  <a:pt x="0" y="6"/>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1" name="Freeform 185">
            <a:extLst>
              <a:ext uri="{FF2B5EF4-FFF2-40B4-BE49-F238E27FC236}">
                <a16:creationId xmlns:a16="http://schemas.microsoft.com/office/drawing/2014/main" id="{C738E030-C6E1-43D1-A55B-40B16E11D8CD}"/>
              </a:ext>
            </a:extLst>
          </p:cNvPr>
          <p:cNvSpPr>
            <a:spLocks/>
          </p:cNvSpPr>
          <p:nvPr userDrawn="1"/>
        </p:nvSpPr>
        <p:spPr bwMode="auto">
          <a:xfrm>
            <a:off x="5476805" y="3289403"/>
            <a:ext cx="73790" cy="24024"/>
          </a:xfrm>
          <a:custGeom>
            <a:avLst/>
            <a:gdLst>
              <a:gd name="T0" fmla="*/ 0 w 44"/>
              <a:gd name="T1" fmla="*/ 14 h 14"/>
              <a:gd name="T2" fmla="*/ 12 w 44"/>
              <a:gd name="T3" fmla="*/ 12 h 14"/>
              <a:gd name="T4" fmla="*/ 12 w 44"/>
              <a:gd name="T5" fmla="*/ 12 h 14"/>
              <a:gd name="T6" fmla="*/ 12 w 44"/>
              <a:gd name="T7" fmla="*/ 10 h 14"/>
              <a:gd name="T8" fmla="*/ 14 w 44"/>
              <a:gd name="T9" fmla="*/ 10 h 14"/>
              <a:gd name="T10" fmla="*/ 16 w 44"/>
              <a:gd name="T11" fmla="*/ 10 h 14"/>
              <a:gd name="T12" fmla="*/ 16 w 44"/>
              <a:gd name="T13" fmla="*/ 10 h 14"/>
              <a:gd name="T14" fmla="*/ 38 w 44"/>
              <a:gd name="T15" fmla="*/ 8 h 14"/>
              <a:gd name="T16" fmla="*/ 38 w 44"/>
              <a:gd name="T17" fmla="*/ 8 h 14"/>
              <a:gd name="T18" fmla="*/ 42 w 44"/>
              <a:gd name="T19" fmla="*/ 8 h 14"/>
              <a:gd name="T20" fmla="*/ 44 w 44"/>
              <a:gd name="T21" fmla="*/ 2 h 14"/>
              <a:gd name="T22" fmla="*/ 44 w 44"/>
              <a:gd name="T23" fmla="*/ 2 h 14"/>
              <a:gd name="T24" fmla="*/ 42 w 44"/>
              <a:gd name="T25" fmla="*/ 0 h 14"/>
              <a:gd name="T26" fmla="*/ 42 w 44"/>
              <a:gd name="T27" fmla="*/ 0 h 14"/>
              <a:gd name="T28" fmla="*/ 38 w 44"/>
              <a:gd name="T29" fmla="*/ 0 h 14"/>
              <a:gd name="T30" fmla="*/ 38 w 44"/>
              <a:gd name="T31" fmla="*/ 0 h 14"/>
              <a:gd name="T32" fmla="*/ 28 w 44"/>
              <a:gd name="T33" fmla="*/ 0 h 14"/>
              <a:gd name="T34" fmla="*/ 28 w 44"/>
              <a:gd name="T35" fmla="*/ 0 h 14"/>
              <a:gd name="T36" fmla="*/ 22 w 44"/>
              <a:gd name="T37" fmla="*/ 2 h 14"/>
              <a:gd name="T38" fmla="*/ 20 w 44"/>
              <a:gd name="T39" fmla="*/ 2 h 14"/>
              <a:gd name="T40" fmla="*/ 16 w 44"/>
              <a:gd name="T41" fmla="*/ 0 h 14"/>
              <a:gd name="T42" fmla="*/ 16 w 44"/>
              <a:gd name="T43" fmla="*/ 0 h 14"/>
              <a:gd name="T44" fmla="*/ 14 w 44"/>
              <a:gd name="T45" fmla="*/ 0 h 14"/>
              <a:gd name="T46" fmla="*/ 12 w 44"/>
              <a:gd name="T47" fmla="*/ 2 h 14"/>
              <a:gd name="T48" fmla="*/ 12 w 44"/>
              <a:gd name="T49" fmla="*/ 2 h 14"/>
              <a:gd name="T50" fmla="*/ 8 w 44"/>
              <a:gd name="T51" fmla="*/ 2 h 14"/>
              <a:gd name="T52" fmla="*/ 6 w 44"/>
              <a:gd name="T53" fmla="*/ 2 h 14"/>
              <a:gd name="T54" fmla="*/ 6 w 44"/>
              <a:gd name="T55" fmla="*/ 2 h 14"/>
              <a:gd name="T56" fmla="*/ 2 w 44"/>
              <a:gd name="T57" fmla="*/ 2 h 14"/>
              <a:gd name="T58" fmla="*/ 0 w 44"/>
              <a:gd name="T59" fmla="*/ 4 h 14"/>
              <a:gd name="T60" fmla="*/ 0 w 44"/>
              <a:gd name="T61" fmla="*/ 6 h 14"/>
              <a:gd name="T62" fmla="*/ 0 w 44"/>
              <a:gd name="T63" fmla="*/ 6 h 14"/>
              <a:gd name="T64" fmla="*/ 2 w 44"/>
              <a:gd name="T65" fmla="*/ 8 h 14"/>
              <a:gd name="T66" fmla="*/ 2 w 44"/>
              <a:gd name="T67" fmla="*/ 8 h 14"/>
              <a:gd name="T68" fmla="*/ 0 w 44"/>
              <a:gd name="T69" fmla="*/ 10 h 14"/>
              <a:gd name="T70" fmla="*/ 0 w 44"/>
              <a:gd name="T71" fmla="*/ 10 h 14"/>
              <a:gd name="T72" fmla="*/ 0 w 44"/>
              <a:gd name="T73" fmla="*/ 10 h 14"/>
              <a:gd name="T74" fmla="*/ 0 w 44"/>
              <a:gd name="T75" fmla="*/ 14 h 14"/>
              <a:gd name="T76" fmla="*/ 0 w 44"/>
              <a:gd name="T7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14">
                <a:moveTo>
                  <a:pt x="0" y="14"/>
                </a:moveTo>
                <a:lnTo>
                  <a:pt x="12" y="12"/>
                </a:lnTo>
                <a:lnTo>
                  <a:pt x="12" y="12"/>
                </a:lnTo>
                <a:lnTo>
                  <a:pt x="12" y="10"/>
                </a:lnTo>
                <a:lnTo>
                  <a:pt x="14" y="10"/>
                </a:lnTo>
                <a:lnTo>
                  <a:pt x="16" y="10"/>
                </a:lnTo>
                <a:lnTo>
                  <a:pt x="16" y="10"/>
                </a:lnTo>
                <a:lnTo>
                  <a:pt x="38" y="8"/>
                </a:lnTo>
                <a:lnTo>
                  <a:pt x="38" y="8"/>
                </a:lnTo>
                <a:lnTo>
                  <a:pt x="42" y="8"/>
                </a:lnTo>
                <a:lnTo>
                  <a:pt x="44" y="2"/>
                </a:lnTo>
                <a:lnTo>
                  <a:pt x="44" y="2"/>
                </a:lnTo>
                <a:lnTo>
                  <a:pt x="42" y="0"/>
                </a:lnTo>
                <a:lnTo>
                  <a:pt x="42" y="0"/>
                </a:lnTo>
                <a:lnTo>
                  <a:pt x="38" y="0"/>
                </a:lnTo>
                <a:lnTo>
                  <a:pt x="38" y="0"/>
                </a:lnTo>
                <a:lnTo>
                  <a:pt x="28" y="0"/>
                </a:lnTo>
                <a:lnTo>
                  <a:pt x="28" y="0"/>
                </a:lnTo>
                <a:lnTo>
                  <a:pt x="22" y="2"/>
                </a:lnTo>
                <a:lnTo>
                  <a:pt x="20" y="2"/>
                </a:lnTo>
                <a:lnTo>
                  <a:pt x="16" y="0"/>
                </a:lnTo>
                <a:lnTo>
                  <a:pt x="16" y="0"/>
                </a:lnTo>
                <a:lnTo>
                  <a:pt x="14" y="0"/>
                </a:lnTo>
                <a:lnTo>
                  <a:pt x="12" y="2"/>
                </a:lnTo>
                <a:lnTo>
                  <a:pt x="12" y="2"/>
                </a:lnTo>
                <a:lnTo>
                  <a:pt x="8" y="2"/>
                </a:lnTo>
                <a:lnTo>
                  <a:pt x="6" y="2"/>
                </a:lnTo>
                <a:lnTo>
                  <a:pt x="6" y="2"/>
                </a:lnTo>
                <a:lnTo>
                  <a:pt x="2" y="2"/>
                </a:lnTo>
                <a:lnTo>
                  <a:pt x="0" y="4"/>
                </a:lnTo>
                <a:lnTo>
                  <a:pt x="0" y="6"/>
                </a:lnTo>
                <a:lnTo>
                  <a:pt x="0" y="6"/>
                </a:lnTo>
                <a:lnTo>
                  <a:pt x="2" y="8"/>
                </a:lnTo>
                <a:lnTo>
                  <a:pt x="2" y="8"/>
                </a:lnTo>
                <a:lnTo>
                  <a:pt x="0" y="10"/>
                </a:lnTo>
                <a:lnTo>
                  <a:pt x="0" y="10"/>
                </a:lnTo>
                <a:lnTo>
                  <a:pt x="0" y="10"/>
                </a:lnTo>
                <a:lnTo>
                  <a:pt x="0" y="14"/>
                </a:lnTo>
                <a:lnTo>
                  <a:pt x="0"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2" name="Freeform 186">
            <a:extLst>
              <a:ext uri="{FF2B5EF4-FFF2-40B4-BE49-F238E27FC236}">
                <a16:creationId xmlns:a16="http://schemas.microsoft.com/office/drawing/2014/main" id="{271B8951-5A15-4D03-9D58-E730938D73EC}"/>
              </a:ext>
            </a:extLst>
          </p:cNvPr>
          <p:cNvSpPr>
            <a:spLocks/>
          </p:cNvSpPr>
          <p:nvPr userDrawn="1"/>
        </p:nvSpPr>
        <p:spPr bwMode="auto">
          <a:xfrm>
            <a:off x="6050351" y="3608576"/>
            <a:ext cx="135840" cy="185327"/>
          </a:xfrm>
          <a:custGeom>
            <a:avLst/>
            <a:gdLst>
              <a:gd name="T0" fmla="*/ 31 w 81"/>
              <a:gd name="T1" fmla="*/ 104 h 108"/>
              <a:gd name="T2" fmla="*/ 35 w 81"/>
              <a:gd name="T3" fmla="*/ 98 h 108"/>
              <a:gd name="T4" fmla="*/ 43 w 81"/>
              <a:gd name="T5" fmla="*/ 102 h 108"/>
              <a:gd name="T6" fmla="*/ 45 w 81"/>
              <a:gd name="T7" fmla="*/ 96 h 108"/>
              <a:gd name="T8" fmla="*/ 43 w 81"/>
              <a:gd name="T9" fmla="*/ 88 h 108"/>
              <a:gd name="T10" fmla="*/ 45 w 81"/>
              <a:gd name="T11" fmla="*/ 84 h 108"/>
              <a:gd name="T12" fmla="*/ 43 w 81"/>
              <a:gd name="T13" fmla="*/ 78 h 108"/>
              <a:gd name="T14" fmla="*/ 51 w 81"/>
              <a:gd name="T15" fmla="*/ 78 h 108"/>
              <a:gd name="T16" fmla="*/ 51 w 81"/>
              <a:gd name="T17" fmla="*/ 74 h 108"/>
              <a:gd name="T18" fmla="*/ 57 w 81"/>
              <a:gd name="T19" fmla="*/ 76 h 108"/>
              <a:gd name="T20" fmla="*/ 61 w 81"/>
              <a:gd name="T21" fmla="*/ 76 h 108"/>
              <a:gd name="T22" fmla="*/ 69 w 81"/>
              <a:gd name="T23" fmla="*/ 76 h 108"/>
              <a:gd name="T24" fmla="*/ 73 w 81"/>
              <a:gd name="T25" fmla="*/ 82 h 108"/>
              <a:gd name="T26" fmla="*/ 77 w 81"/>
              <a:gd name="T27" fmla="*/ 76 h 108"/>
              <a:gd name="T28" fmla="*/ 73 w 81"/>
              <a:gd name="T29" fmla="*/ 68 h 108"/>
              <a:gd name="T30" fmla="*/ 73 w 81"/>
              <a:gd name="T31" fmla="*/ 66 h 108"/>
              <a:gd name="T32" fmla="*/ 75 w 81"/>
              <a:gd name="T33" fmla="*/ 60 h 108"/>
              <a:gd name="T34" fmla="*/ 73 w 81"/>
              <a:gd name="T35" fmla="*/ 54 h 108"/>
              <a:gd name="T36" fmla="*/ 73 w 81"/>
              <a:gd name="T37" fmla="*/ 46 h 108"/>
              <a:gd name="T38" fmla="*/ 67 w 81"/>
              <a:gd name="T39" fmla="*/ 40 h 108"/>
              <a:gd name="T40" fmla="*/ 69 w 81"/>
              <a:gd name="T41" fmla="*/ 38 h 108"/>
              <a:gd name="T42" fmla="*/ 67 w 81"/>
              <a:gd name="T43" fmla="*/ 32 h 108"/>
              <a:gd name="T44" fmla="*/ 73 w 81"/>
              <a:gd name="T45" fmla="*/ 26 h 108"/>
              <a:gd name="T46" fmla="*/ 81 w 81"/>
              <a:gd name="T47" fmla="*/ 16 h 108"/>
              <a:gd name="T48" fmla="*/ 73 w 81"/>
              <a:gd name="T49" fmla="*/ 14 h 108"/>
              <a:gd name="T50" fmla="*/ 65 w 81"/>
              <a:gd name="T51" fmla="*/ 16 h 108"/>
              <a:gd name="T52" fmla="*/ 63 w 81"/>
              <a:gd name="T53" fmla="*/ 10 h 108"/>
              <a:gd name="T54" fmla="*/ 63 w 81"/>
              <a:gd name="T55" fmla="*/ 0 h 108"/>
              <a:gd name="T56" fmla="*/ 53 w 81"/>
              <a:gd name="T57" fmla="*/ 0 h 108"/>
              <a:gd name="T58" fmla="*/ 45 w 81"/>
              <a:gd name="T59" fmla="*/ 0 h 108"/>
              <a:gd name="T60" fmla="*/ 39 w 81"/>
              <a:gd name="T61" fmla="*/ 2 h 108"/>
              <a:gd name="T62" fmla="*/ 10 w 81"/>
              <a:gd name="T63" fmla="*/ 20 h 108"/>
              <a:gd name="T64" fmla="*/ 8 w 81"/>
              <a:gd name="T65" fmla="*/ 24 h 108"/>
              <a:gd name="T66" fmla="*/ 8 w 81"/>
              <a:gd name="T67" fmla="*/ 28 h 108"/>
              <a:gd name="T68" fmla="*/ 12 w 81"/>
              <a:gd name="T69" fmla="*/ 38 h 108"/>
              <a:gd name="T70" fmla="*/ 6 w 81"/>
              <a:gd name="T71" fmla="*/ 38 h 108"/>
              <a:gd name="T72" fmla="*/ 8 w 81"/>
              <a:gd name="T73" fmla="*/ 42 h 108"/>
              <a:gd name="T74" fmla="*/ 6 w 81"/>
              <a:gd name="T75" fmla="*/ 44 h 108"/>
              <a:gd name="T76" fmla="*/ 8 w 81"/>
              <a:gd name="T77" fmla="*/ 46 h 108"/>
              <a:gd name="T78" fmla="*/ 4 w 81"/>
              <a:gd name="T79" fmla="*/ 60 h 108"/>
              <a:gd name="T80" fmla="*/ 0 w 81"/>
              <a:gd name="T81" fmla="*/ 64 h 108"/>
              <a:gd name="T82" fmla="*/ 4 w 81"/>
              <a:gd name="T83" fmla="*/ 66 h 108"/>
              <a:gd name="T84" fmla="*/ 4 w 81"/>
              <a:gd name="T85" fmla="*/ 70 h 108"/>
              <a:gd name="T86" fmla="*/ 8 w 81"/>
              <a:gd name="T87" fmla="*/ 74 h 108"/>
              <a:gd name="T88" fmla="*/ 10 w 81"/>
              <a:gd name="T89" fmla="*/ 76 h 108"/>
              <a:gd name="T90" fmla="*/ 6 w 81"/>
              <a:gd name="T91" fmla="*/ 76 h 108"/>
              <a:gd name="T92" fmla="*/ 26 w 81"/>
              <a:gd name="T93" fmla="*/ 98 h 108"/>
              <a:gd name="T94" fmla="*/ 26 w 81"/>
              <a:gd name="T95" fmla="*/ 104 h 108"/>
              <a:gd name="T96" fmla="*/ 31 w 81"/>
              <a:gd name="T9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 h="108">
                <a:moveTo>
                  <a:pt x="31" y="108"/>
                </a:moveTo>
                <a:lnTo>
                  <a:pt x="31" y="108"/>
                </a:lnTo>
                <a:lnTo>
                  <a:pt x="31" y="104"/>
                </a:lnTo>
                <a:lnTo>
                  <a:pt x="33" y="100"/>
                </a:lnTo>
                <a:lnTo>
                  <a:pt x="35" y="98"/>
                </a:lnTo>
                <a:lnTo>
                  <a:pt x="35" y="98"/>
                </a:lnTo>
                <a:lnTo>
                  <a:pt x="39" y="100"/>
                </a:lnTo>
                <a:lnTo>
                  <a:pt x="43" y="102"/>
                </a:lnTo>
                <a:lnTo>
                  <a:pt x="43" y="102"/>
                </a:lnTo>
                <a:lnTo>
                  <a:pt x="45" y="102"/>
                </a:lnTo>
                <a:lnTo>
                  <a:pt x="47" y="100"/>
                </a:lnTo>
                <a:lnTo>
                  <a:pt x="45" y="96"/>
                </a:lnTo>
                <a:lnTo>
                  <a:pt x="45" y="96"/>
                </a:lnTo>
                <a:lnTo>
                  <a:pt x="43" y="90"/>
                </a:lnTo>
                <a:lnTo>
                  <a:pt x="43" y="88"/>
                </a:lnTo>
                <a:lnTo>
                  <a:pt x="43" y="86"/>
                </a:lnTo>
                <a:lnTo>
                  <a:pt x="43" y="86"/>
                </a:lnTo>
                <a:lnTo>
                  <a:pt x="45" y="84"/>
                </a:lnTo>
                <a:lnTo>
                  <a:pt x="43" y="82"/>
                </a:lnTo>
                <a:lnTo>
                  <a:pt x="43" y="82"/>
                </a:lnTo>
                <a:lnTo>
                  <a:pt x="43" y="78"/>
                </a:lnTo>
                <a:lnTo>
                  <a:pt x="45" y="78"/>
                </a:lnTo>
                <a:lnTo>
                  <a:pt x="51" y="78"/>
                </a:lnTo>
                <a:lnTo>
                  <a:pt x="51" y="78"/>
                </a:lnTo>
                <a:lnTo>
                  <a:pt x="53" y="78"/>
                </a:lnTo>
                <a:lnTo>
                  <a:pt x="51" y="74"/>
                </a:lnTo>
                <a:lnTo>
                  <a:pt x="51" y="74"/>
                </a:lnTo>
                <a:lnTo>
                  <a:pt x="53" y="74"/>
                </a:lnTo>
                <a:lnTo>
                  <a:pt x="53" y="74"/>
                </a:lnTo>
                <a:lnTo>
                  <a:pt x="57" y="76"/>
                </a:lnTo>
                <a:lnTo>
                  <a:pt x="57" y="78"/>
                </a:lnTo>
                <a:lnTo>
                  <a:pt x="57" y="78"/>
                </a:lnTo>
                <a:lnTo>
                  <a:pt x="61" y="76"/>
                </a:lnTo>
                <a:lnTo>
                  <a:pt x="67" y="76"/>
                </a:lnTo>
                <a:lnTo>
                  <a:pt x="67" y="76"/>
                </a:lnTo>
                <a:lnTo>
                  <a:pt x="69" y="76"/>
                </a:lnTo>
                <a:lnTo>
                  <a:pt x="69" y="78"/>
                </a:lnTo>
                <a:lnTo>
                  <a:pt x="73" y="82"/>
                </a:lnTo>
                <a:lnTo>
                  <a:pt x="73" y="82"/>
                </a:lnTo>
                <a:lnTo>
                  <a:pt x="75" y="84"/>
                </a:lnTo>
                <a:lnTo>
                  <a:pt x="75" y="82"/>
                </a:lnTo>
                <a:lnTo>
                  <a:pt x="77" y="76"/>
                </a:lnTo>
                <a:lnTo>
                  <a:pt x="77" y="76"/>
                </a:lnTo>
                <a:lnTo>
                  <a:pt x="77" y="70"/>
                </a:lnTo>
                <a:lnTo>
                  <a:pt x="73" y="68"/>
                </a:lnTo>
                <a:lnTo>
                  <a:pt x="73" y="68"/>
                </a:lnTo>
                <a:lnTo>
                  <a:pt x="73" y="66"/>
                </a:lnTo>
                <a:lnTo>
                  <a:pt x="73" y="66"/>
                </a:lnTo>
                <a:lnTo>
                  <a:pt x="75" y="64"/>
                </a:lnTo>
                <a:lnTo>
                  <a:pt x="75" y="60"/>
                </a:lnTo>
                <a:lnTo>
                  <a:pt x="75" y="60"/>
                </a:lnTo>
                <a:lnTo>
                  <a:pt x="73" y="58"/>
                </a:lnTo>
                <a:lnTo>
                  <a:pt x="73" y="54"/>
                </a:lnTo>
                <a:lnTo>
                  <a:pt x="73" y="54"/>
                </a:lnTo>
                <a:lnTo>
                  <a:pt x="73" y="50"/>
                </a:lnTo>
                <a:lnTo>
                  <a:pt x="73" y="46"/>
                </a:lnTo>
                <a:lnTo>
                  <a:pt x="73" y="46"/>
                </a:lnTo>
                <a:lnTo>
                  <a:pt x="71" y="42"/>
                </a:lnTo>
                <a:lnTo>
                  <a:pt x="67" y="40"/>
                </a:lnTo>
                <a:lnTo>
                  <a:pt x="67" y="40"/>
                </a:lnTo>
                <a:lnTo>
                  <a:pt x="67" y="40"/>
                </a:lnTo>
                <a:lnTo>
                  <a:pt x="67" y="38"/>
                </a:lnTo>
                <a:lnTo>
                  <a:pt x="69" y="38"/>
                </a:lnTo>
                <a:lnTo>
                  <a:pt x="69" y="38"/>
                </a:lnTo>
                <a:lnTo>
                  <a:pt x="67" y="32"/>
                </a:lnTo>
                <a:lnTo>
                  <a:pt x="67" y="32"/>
                </a:lnTo>
                <a:lnTo>
                  <a:pt x="69" y="28"/>
                </a:lnTo>
                <a:lnTo>
                  <a:pt x="73" y="26"/>
                </a:lnTo>
                <a:lnTo>
                  <a:pt x="73" y="26"/>
                </a:lnTo>
                <a:lnTo>
                  <a:pt x="77" y="26"/>
                </a:lnTo>
                <a:lnTo>
                  <a:pt x="79" y="26"/>
                </a:lnTo>
                <a:lnTo>
                  <a:pt x="81" y="16"/>
                </a:lnTo>
                <a:lnTo>
                  <a:pt x="81" y="16"/>
                </a:lnTo>
                <a:lnTo>
                  <a:pt x="73" y="14"/>
                </a:lnTo>
                <a:lnTo>
                  <a:pt x="73" y="14"/>
                </a:lnTo>
                <a:lnTo>
                  <a:pt x="69" y="14"/>
                </a:lnTo>
                <a:lnTo>
                  <a:pt x="65" y="16"/>
                </a:lnTo>
                <a:lnTo>
                  <a:pt x="65" y="16"/>
                </a:lnTo>
                <a:lnTo>
                  <a:pt x="63" y="16"/>
                </a:lnTo>
                <a:lnTo>
                  <a:pt x="63" y="14"/>
                </a:lnTo>
                <a:lnTo>
                  <a:pt x="63" y="10"/>
                </a:lnTo>
                <a:lnTo>
                  <a:pt x="63" y="10"/>
                </a:lnTo>
                <a:lnTo>
                  <a:pt x="63" y="0"/>
                </a:lnTo>
                <a:lnTo>
                  <a:pt x="63" y="0"/>
                </a:lnTo>
                <a:lnTo>
                  <a:pt x="59" y="0"/>
                </a:lnTo>
                <a:lnTo>
                  <a:pt x="53" y="0"/>
                </a:lnTo>
                <a:lnTo>
                  <a:pt x="53" y="0"/>
                </a:lnTo>
                <a:lnTo>
                  <a:pt x="51" y="0"/>
                </a:lnTo>
                <a:lnTo>
                  <a:pt x="49" y="0"/>
                </a:lnTo>
                <a:lnTo>
                  <a:pt x="45" y="0"/>
                </a:lnTo>
                <a:lnTo>
                  <a:pt x="45" y="0"/>
                </a:lnTo>
                <a:lnTo>
                  <a:pt x="41" y="2"/>
                </a:lnTo>
                <a:lnTo>
                  <a:pt x="39" y="2"/>
                </a:lnTo>
                <a:lnTo>
                  <a:pt x="37" y="22"/>
                </a:lnTo>
                <a:lnTo>
                  <a:pt x="10" y="20"/>
                </a:lnTo>
                <a:lnTo>
                  <a:pt x="10" y="20"/>
                </a:lnTo>
                <a:lnTo>
                  <a:pt x="8" y="22"/>
                </a:lnTo>
                <a:lnTo>
                  <a:pt x="8" y="22"/>
                </a:lnTo>
                <a:lnTo>
                  <a:pt x="8" y="24"/>
                </a:lnTo>
                <a:lnTo>
                  <a:pt x="8" y="24"/>
                </a:lnTo>
                <a:lnTo>
                  <a:pt x="8" y="28"/>
                </a:lnTo>
                <a:lnTo>
                  <a:pt x="8" y="28"/>
                </a:lnTo>
                <a:lnTo>
                  <a:pt x="10" y="30"/>
                </a:lnTo>
                <a:lnTo>
                  <a:pt x="10" y="30"/>
                </a:lnTo>
                <a:lnTo>
                  <a:pt x="12" y="38"/>
                </a:lnTo>
                <a:lnTo>
                  <a:pt x="12" y="38"/>
                </a:lnTo>
                <a:lnTo>
                  <a:pt x="6" y="38"/>
                </a:lnTo>
                <a:lnTo>
                  <a:pt x="6" y="38"/>
                </a:lnTo>
                <a:lnTo>
                  <a:pt x="6" y="40"/>
                </a:lnTo>
                <a:lnTo>
                  <a:pt x="6" y="40"/>
                </a:lnTo>
                <a:lnTo>
                  <a:pt x="8" y="42"/>
                </a:lnTo>
                <a:lnTo>
                  <a:pt x="10" y="42"/>
                </a:lnTo>
                <a:lnTo>
                  <a:pt x="8" y="44"/>
                </a:lnTo>
                <a:lnTo>
                  <a:pt x="6" y="44"/>
                </a:lnTo>
                <a:lnTo>
                  <a:pt x="6" y="44"/>
                </a:lnTo>
                <a:lnTo>
                  <a:pt x="8" y="46"/>
                </a:lnTo>
                <a:lnTo>
                  <a:pt x="8" y="46"/>
                </a:lnTo>
                <a:lnTo>
                  <a:pt x="6" y="54"/>
                </a:lnTo>
                <a:lnTo>
                  <a:pt x="4" y="60"/>
                </a:lnTo>
                <a:lnTo>
                  <a:pt x="4" y="60"/>
                </a:lnTo>
                <a:lnTo>
                  <a:pt x="0" y="60"/>
                </a:lnTo>
                <a:lnTo>
                  <a:pt x="0" y="60"/>
                </a:lnTo>
                <a:lnTo>
                  <a:pt x="0" y="64"/>
                </a:lnTo>
                <a:lnTo>
                  <a:pt x="0" y="64"/>
                </a:lnTo>
                <a:lnTo>
                  <a:pt x="4" y="66"/>
                </a:lnTo>
                <a:lnTo>
                  <a:pt x="4" y="66"/>
                </a:lnTo>
                <a:lnTo>
                  <a:pt x="2" y="68"/>
                </a:lnTo>
                <a:lnTo>
                  <a:pt x="4" y="70"/>
                </a:lnTo>
                <a:lnTo>
                  <a:pt x="4" y="70"/>
                </a:lnTo>
                <a:lnTo>
                  <a:pt x="8" y="70"/>
                </a:lnTo>
                <a:lnTo>
                  <a:pt x="8" y="70"/>
                </a:lnTo>
                <a:lnTo>
                  <a:pt x="8" y="74"/>
                </a:lnTo>
                <a:lnTo>
                  <a:pt x="8" y="74"/>
                </a:lnTo>
                <a:lnTo>
                  <a:pt x="10" y="74"/>
                </a:lnTo>
                <a:lnTo>
                  <a:pt x="10" y="76"/>
                </a:lnTo>
                <a:lnTo>
                  <a:pt x="10" y="76"/>
                </a:lnTo>
                <a:lnTo>
                  <a:pt x="6" y="76"/>
                </a:lnTo>
                <a:lnTo>
                  <a:pt x="6" y="76"/>
                </a:lnTo>
                <a:lnTo>
                  <a:pt x="6" y="78"/>
                </a:lnTo>
                <a:lnTo>
                  <a:pt x="6" y="78"/>
                </a:lnTo>
                <a:lnTo>
                  <a:pt x="26" y="98"/>
                </a:lnTo>
                <a:lnTo>
                  <a:pt x="26" y="98"/>
                </a:lnTo>
                <a:lnTo>
                  <a:pt x="26" y="100"/>
                </a:lnTo>
                <a:lnTo>
                  <a:pt x="26" y="104"/>
                </a:lnTo>
                <a:lnTo>
                  <a:pt x="26" y="104"/>
                </a:lnTo>
                <a:lnTo>
                  <a:pt x="29" y="106"/>
                </a:lnTo>
                <a:lnTo>
                  <a:pt x="31" y="108"/>
                </a:lnTo>
                <a:lnTo>
                  <a:pt x="31"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3" name="Freeform 187">
            <a:extLst>
              <a:ext uri="{FF2B5EF4-FFF2-40B4-BE49-F238E27FC236}">
                <a16:creationId xmlns:a16="http://schemas.microsoft.com/office/drawing/2014/main" id="{7BF9CF63-2996-4757-AA4B-0FA9C7A0734D}"/>
              </a:ext>
            </a:extLst>
          </p:cNvPr>
          <p:cNvSpPr>
            <a:spLocks/>
          </p:cNvSpPr>
          <p:nvPr userDrawn="1"/>
        </p:nvSpPr>
        <p:spPr bwMode="auto">
          <a:xfrm>
            <a:off x="4624871" y="3505617"/>
            <a:ext cx="70435" cy="133847"/>
          </a:xfrm>
          <a:custGeom>
            <a:avLst/>
            <a:gdLst>
              <a:gd name="T0" fmla="*/ 6 w 42"/>
              <a:gd name="T1" fmla="*/ 2 h 78"/>
              <a:gd name="T2" fmla="*/ 6 w 42"/>
              <a:gd name="T3" fmla="*/ 2 h 78"/>
              <a:gd name="T4" fmla="*/ 6 w 42"/>
              <a:gd name="T5" fmla="*/ 4 h 78"/>
              <a:gd name="T6" fmla="*/ 6 w 42"/>
              <a:gd name="T7" fmla="*/ 4 h 78"/>
              <a:gd name="T8" fmla="*/ 6 w 42"/>
              <a:gd name="T9" fmla="*/ 10 h 78"/>
              <a:gd name="T10" fmla="*/ 0 w 42"/>
              <a:gd name="T11" fmla="*/ 20 h 78"/>
              <a:gd name="T12" fmla="*/ 0 w 42"/>
              <a:gd name="T13" fmla="*/ 20 h 78"/>
              <a:gd name="T14" fmla="*/ 0 w 42"/>
              <a:gd name="T15" fmla="*/ 38 h 78"/>
              <a:gd name="T16" fmla="*/ 0 w 42"/>
              <a:gd name="T17" fmla="*/ 38 h 78"/>
              <a:gd name="T18" fmla="*/ 2 w 42"/>
              <a:gd name="T19" fmla="*/ 42 h 78"/>
              <a:gd name="T20" fmla="*/ 4 w 42"/>
              <a:gd name="T21" fmla="*/ 46 h 78"/>
              <a:gd name="T22" fmla="*/ 8 w 42"/>
              <a:gd name="T23" fmla="*/ 50 h 78"/>
              <a:gd name="T24" fmla="*/ 8 w 42"/>
              <a:gd name="T25" fmla="*/ 50 h 78"/>
              <a:gd name="T26" fmla="*/ 8 w 42"/>
              <a:gd name="T27" fmla="*/ 54 h 78"/>
              <a:gd name="T28" fmla="*/ 4 w 42"/>
              <a:gd name="T29" fmla="*/ 60 h 78"/>
              <a:gd name="T30" fmla="*/ 4 w 42"/>
              <a:gd name="T31" fmla="*/ 60 h 78"/>
              <a:gd name="T32" fmla="*/ 0 w 42"/>
              <a:gd name="T33" fmla="*/ 70 h 78"/>
              <a:gd name="T34" fmla="*/ 0 w 42"/>
              <a:gd name="T35" fmla="*/ 70 h 78"/>
              <a:gd name="T36" fmla="*/ 0 w 42"/>
              <a:gd name="T37" fmla="*/ 74 h 78"/>
              <a:gd name="T38" fmla="*/ 4 w 42"/>
              <a:gd name="T39" fmla="*/ 78 h 78"/>
              <a:gd name="T40" fmla="*/ 4 w 42"/>
              <a:gd name="T41" fmla="*/ 78 h 78"/>
              <a:gd name="T42" fmla="*/ 6 w 42"/>
              <a:gd name="T43" fmla="*/ 78 h 78"/>
              <a:gd name="T44" fmla="*/ 8 w 42"/>
              <a:gd name="T45" fmla="*/ 78 h 78"/>
              <a:gd name="T46" fmla="*/ 12 w 42"/>
              <a:gd name="T47" fmla="*/ 76 h 78"/>
              <a:gd name="T48" fmla="*/ 18 w 42"/>
              <a:gd name="T49" fmla="*/ 74 h 78"/>
              <a:gd name="T50" fmla="*/ 24 w 42"/>
              <a:gd name="T51" fmla="*/ 78 h 78"/>
              <a:gd name="T52" fmla="*/ 24 w 42"/>
              <a:gd name="T53" fmla="*/ 78 h 78"/>
              <a:gd name="T54" fmla="*/ 28 w 42"/>
              <a:gd name="T55" fmla="*/ 74 h 78"/>
              <a:gd name="T56" fmla="*/ 32 w 42"/>
              <a:gd name="T57" fmla="*/ 66 h 78"/>
              <a:gd name="T58" fmla="*/ 32 w 42"/>
              <a:gd name="T59" fmla="*/ 66 h 78"/>
              <a:gd name="T60" fmla="*/ 34 w 42"/>
              <a:gd name="T61" fmla="*/ 52 h 78"/>
              <a:gd name="T62" fmla="*/ 38 w 42"/>
              <a:gd name="T63" fmla="*/ 44 h 78"/>
              <a:gd name="T64" fmla="*/ 38 w 42"/>
              <a:gd name="T65" fmla="*/ 44 h 78"/>
              <a:gd name="T66" fmla="*/ 42 w 42"/>
              <a:gd name="T67" fmla="*/ 32 h 78"/>
              <a:gd name="T68" fmla="*/ 42 w 42"/>
              <a:gd name="T69" fmla="*/ 32 h 78"/>
              <a:gd name="T70" fmla="*/ 42 w 42"/>
              <a:gd name="T71" fmla="*/ 28 h 78"/>
              <a:gd name="T72" fmla="*/ 40 w 42"/>
              <a:gd name="T73" fmla="*/ 26 h 78"/>
              <a:gd name="T74" fmla="*/ 40 w 42"/>
              <a:gd name="T75" fmla="*/ 26 h 78"/>
              <a:gd name="T76" fmla="*/ 38 w 42"/>
              <a:gd name="T77" fmla="*/ 26 h 78"/>
              <a:gd name="T78" fmla="*/ 38 w 42"/>
              <a:gd name="T79" fmla="*/ 26 h 78"/>
              <a:gd name="T80" fmla="*/ 34 w 42"/>
              <a:gd name="T81" fmla="*/ 20 h 78"/>
              <a:gd name="T82" fmla="*/ 32 w 42"/>
              <a:gd name="T83" fmla="*/ 20 h 78"/>
              <a:gd name="T84" fmla="*/ 32 w 42"/>
              <a:gd name="T85" fmla="*/ 20 h 78"/>
              <a:gd name="T86" fmla="*/ 30 w 42"/>
              <a:gd name="T87" fmla="*/ 16 h 78"/>
              <a:gd name="T88" fmla="*/ 28 w 42"/>
              <a:gd name="T89" fmla="*/ 10 h 78"/>
              <a:gd name="T90" fmla="*/ 28 w 42"/>
              <a:gd name="T91" fmla="*/ 10 h 78"/>
              <a:gd name="T92" fmla="*/ 16 w 42"/>
              <a:gd name="T93" fmla="*/ 4 h 78"/>
              <a:gd name="T94" fmla="*/ 16 w 42"/>
              <a:gd name="T95" fmla="*/ 4 h 78"/>
              <a:gd name="T96" fmla="*/ 12 w 42"/>
              <a:gd name="T97" fmla="*/ 6 h 78"/>
              <a:gd name="T98" fmla="*/ 8 w 42"/>
              <a:gd name="T99" fmla="*/ 6 h 78"/>
              <a:gd name="T100" fmla="*/ 8 w 42"/>
              <a:gd name="T101" fmla="*/ 6 h 78"/>
              <a:gd name="T102" fmla="*/ 8 w 42"/>
              <a:gd name="T103" fmla="*/ 4 h 78"/>
              <a:gd name="T104" fmla="*/ 6 w 42"/>
              <a:gd name="T105" fmla="*/ 0 h 78"/>
              <a:gd name="T106" fmla="*/ 6 w 42"/>
              <a:gd name="T107"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8">
                <a:moveTo>
                  <a:pt x="6" y="2"/>
                </a:moveTo>
                <a:lnTo>
                  <a:pt x="6" y="2"/>
                </a:lnTo>
                <a:lnTo>
                  <a:pt x="6" y="4"/>
                </a:lnTo>
                <a:lnTo>
                  <a:pt x="6" y="4"/>
                </a:lnTo>
                <a:lnTo>
                  <a:pt x="6" y="10"/>
                </a:lnTo>
                <a:lnTo>
                  <a:pt x="0" y="20"/>
                </a:lnTo>
                <a:lnTo>
                  <a:pt x="0" y="20"/>
                </a:lnTo>
                <a:lnTo>
                  <a:pt x="0" y="38"/>
                </a:lnTo>
                <a:lnTo>
                  <a:pt x="0" y="38"/>
                </a:lnTo>
                <a:lnTo>
                  <a:pt x="2" y="42"/>
                </a:lnTo>
                <a:lnTo>
                  <a:pt x="4" y="46"/>
                </a:lnTo>
                <a:lnTo>
                  <a:pt x="8" y="50"/>
                </a:lnTo>
                <a:lnTo>
                  <a:pt x="8" y="50"/>
                </a:lnTo>
                <a:lnTo>
                  <a:pt x="8" y="54"/>
                </a:lnTo>
                <a:lnTo>
                  <a:pt x="4" y="60"/>
                </a:lnTo>
                <a:lnTo>
                  <a:pt x="4" y="60"/>
                </a:lnTo>
                <a:lnTo>
                  <a:pt x="0" y="70"/>
                </a:lnTo>
                <a:lnTo>
                  <a:pt x="0" y="70"/>
                </a:lnTo>
                <a:lnTo>
                  <a:pt x="0" y="74"/>
                </a:lnTo>
                <a:lnTo>
                  <a:pt x="4" y="78"/>
                </a:lnTo>
                <a:lnTo>
                  <a:pt x="4" y="78"/>
                </a:lnTo>
                <a:lnTo>
                  <a:pt x="6" y="78"/>
                </a:lnTo>
                <a:lnTo>
                  <a:pt x="8" y="78"/>
                </a:lnTo>
                <a:lnTo>
                  <a:pt x="12" y="76"/>
                </a:lnTo>
                <a:lnTo>
                  <a:pt x="18" y="74"/>
                </a:lnTo>
                <a:lnTo>
                  <a:pt x="24" y="78"/>
                </a:lnTo>
                <a:lnTo>
                  <a:pt x="24" y="78"/>
                </a:lnTo>
                <a:lnTo>
                  <a:pt x="28" y="74"/>
                </a:lnTo>
                <a:lnTo>
                  <a:pt x="32" y="66"/>
                </a:lnTo>
                <a:lnTo>
                  <a:pt x="32" y="66"/>
                </a:lnTo>
                <a:lnTo>
                  <a:pt x="34" y="52"/>
                </a:lnTo>
                <a:lnTo>
                  <a:pt x="38" y="44"/>
                </a:lnTo>
                <a:lnTo>
                  <a:pt x="38" y="44"/>
                </a:lnTo>
                <a:lnTo>
                  <a:pt x="42" y="32"/>
                </a:lnTo>
                <a:lnTo>
                  <a:pt x="42" y="32"/>
                </a:lnTo>
                <a:lnTo>
                  <a:pt x="42" y="28"/>
                </a:lnTo>
                <a:lnTo>
                  <a:pt x="40" y="26"/>
                </a:lnTo>
                <a:lnTo>
                  <a:pt x="40" y="26"/>
                </a:lnTo>
                <a:lnTo>
                  <a:pt x="38" y="26"/>
                </a:lnTo>
                <a:lnTo>
                  <a:pt x="38" y="26"/>
                </a:lnTo>
                <a:lnTo>
                  <a:pt x="34" y="20"/>
                </a:lnTo>
                <a:lnTo>
                  <a:pt x="32" y="20"/>
                </a:lnTo>
                <a:lnTo>
                  <a:pt x="32" y="20"/>
                </a:lnTo>
                <a:lnTo>
                  <a:pt x="30" y="16"/>
                </a:lnTo>
                <a:lnTo>
                  <a:pt x="28" y="10"/>
                </a:lnTo>
                <a:lnTo>
                  <a:pt x="28" y="10"/>
                </a:lnTo>
                <a:lnTo>
                  <a:pt x="16" y="4"/>
                </a:lnTo>
                <a:lnTo>
                  <a:pt x="16" y="4"/>
                </a:lnTo>
                <a:lnTo>
                  <a:pt x="12" y="6"/>
                </a:lnTo>
                <a:lnTo>
                  <a:pt x="8" y="6"/>
                </a:lnTo>
                <a:lnTo>
                  <a:pt x="8" y="6"/>
                </a:lnTo>
                <a:lnTo>
                  <a:pt x="8" y="4"/>
                </a:lnTo>
                <a:lnTo>
                  <a:pt x="6" y="0"/>
                </a:lnTo>
                <a:lnTo>
                  <a:pt x="6"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4" name="Freeform 188">
            <a:extLst>
              <a:ext uri="{FF2B5EF4-FFF2-40B4-BE49-F238E27FC236}">
                <a16:creationId xmlns:a16="http://schemas.microsoft.com/office/drawing/2014/main" id="{5B7CE8D9-19B4-4268-839C-29646498D700}"/>
              </a:ext>
            </a:extLst>
          </p:cNvPr>
          <p:cNvSpPr>
            <a:spLocks noEditPoints="1"/>
          </p:cNvSpPr>
          <p:nvPr userDrawn="1"/>
        </p:nvSpPr>
        <p:spPr bwMode="auto">
          <a:xfrm>
            <a:off x="5745131" y="2129396"/>
            <a:ext cx="325345" cy="332902"/>
          </a:xfrm>
          <a:custGeom>
            <a:avLst/>
            <a:gdLst>
              <a:gd name="T0" fmla="*/ 172 w 194"/>
              <a:gd name="T1" fmla="*/ 66 h 194"/>
              <a:gd name="T2" fmla="*/ 168 w 194"/>
              <a:gd name="T3" fmla="*/ 74 h 194"/>
              <a:gd name="T4" fmla="*/ 166 w 194"/>
              <a:gd name="T5" fmla="*/ 78 h 194"/>
              <a:gd name="T6" fmla="*/ 154 w 194"/>
              <a:gd name="T7" fmla="*/ 90 h 194"/>
              <a:gd name="T8" fmla="*/ 148 w 194"/>
              <a:gd name="T9" fmla="*/ 106 h 194"/>
              <a:gd name="T10" fmla="*/ 156 w 194"/>
              <a:gd name="T11" fmla="*/ 108 h 194"/>
              <a:gd name="T12" fmla="*/ 162 w 194"/>
              <a:gd name="T13" fmla="*/ 118 h 194"/>
              <a:gd name="T14" fmla="*/ 154 w 194"/>
              <a:gd name="T15" fmla="*/ 124 h 194"/>
              <a:gd name="T16" fmla="*/ 158 w 194"/>
              <a:gd name="T17" fmla="*/ 134 h 194"/>
              <a:gd name="T18" fmla="*/ 164 w 194"/>
              <a:gd name="T19" fmla="*/ 142 h 194"/>
              <a:gd name="T20" fmla="*/ 160 w 194"/>
              <a:gd name="T21" fmla="*/ 148 h 194"/>
              <a:gd name="T22" fmla="*/ 158 w 194"/>
              <a:gd name="T23" fmla="*/ 152 h 194"/>
              <a:gd name="T24" fmla="*/ 144 w 194"/>
              <a:gd name="T25" fmla="*/ 160 h 194"/>
              <a:gd name="T26" fmla="*/ 134 w 194"/>
              <a:gd name="T27" fmla="*/ 152 h 194"/>
              <a:gd name="T28" fmla="*/ 124 w 194"/>
              <a:gd name="T29" fmla="*/ 152 h 194"/>
              <a:gd name="T30" fmla="*/ 112 w 194"/>
              <a:gd name="T31" fmla="*/ 160 h 194"/>
              <a:gd name="T32" fmla="*/ 102 w 194"/>
              <a:gd name="T33" fmla="*/ 172 h 194"/>
              <a:gd name="T34" fmla="*/ 90 w 194"/>
              <a:gd name="T35" fmla="*/ 172 h 194"/>
              <a:gd name="T36" fmla="*/ 76 w 194"/>
              <a:gd name="T37" fmla="*/ 170 h 194"/>
              <a:gd name="T38" fmla="*/ 64 w 194"/>
              <a:gd name="T39" fmla="*/ 168 h 194"/>
              <a:gd name="T40" fmla="*/ 48 w 194"/>
              <a:gd name="T41" fmla="*/ 164 h 194"/>
              <a:gd name="T42" fmla="*/ 42 w 194"/>
              <a:gd name="T43" fmla="*/ 156 h 194"/>
              <a:gd name="T44" fmla="*/ 52 w 194"/>
              <a:gd name="T45" fmla="*/ 140 h 194"/>
              <a:gd name="T46" fmla="*/ 52 w 194"/>
              <a:gd name="T47" fmla="*/ 130 h 194"/>
              <a:gd name="T48" fmla="*/ 52 w 194"/>
              <a:gd name="T49" fmla="*/ 116 h 194"/>
              <a:gd name="T50" fmla="*/ 50 w 194"/>
              <a:gd name="T51" fmla="*/ 106 h 194"/>
              <a:gd name="T52" fmla="*/ 34 w 194"/>
              <a:gd name="T53" fmla="*/ 94 h 194"/>
              <a:gd name="T54" fmla="*/ 34 w 194"/>
              <a:gd name="T55" fmla="*/ 82 h 194"/>
              <a:gd name="T56" fmla="*/ 30 w 194"/>
              <a:gd name="T57" fmla="*/ 78 h 194"/>
              <a:gd name="T58" fmla="*/ 28 w 194"/>
              <a:gd name="T59" fmla="*/ 72 h 194"/>
              <a:gd name="T60" fmla="*/ 20 w 194"/>
              <a:gd name="T61" fmla="*/ 78 h 194"/>
              <a:gd name="T62" fmla="*/ 12 w 194"/>
              <a:gd name="T63" fmla="*/ 68 h 194"/>
              <a:gd name="T64" fmla="*/ 2 w 194"/>
              <a:gd name="T65" fmla="*/ 64 h 194"/>
              <a:gd name="T66" fmla="*/ 0 w 194"/>
              <a:gd name="T67" fmla="*/ 56 h 194"/>
              <a:gd name="T68" fmla="*/ 14 w 194"/>
              <a:gd name="T69" fmla="*/ 52 h 194"/>
              <a:gd name="T70" fmla="*/ 26 w 194"/>
              <a:gd name="T71" fmla="*/ 54 h 194"/>
              <a:gd name="T72" fmla="*/ 34 w 194"/>
              <a:gd name="T73" fmla="*/ 50 h 194"/>
              <a:gd name="T74" fmla="*/ 48 w 194"/>
              <a:gd name="T75" fmla="*/ 48 h 194"/>
              <a:gd name="T76" fmla="*/ 40 w 194"/>
              <a:gd name="T77" fmla="*/ 28 h 194"/>
              <a:gd name="T78" fmla="*/ 60 w 194"/>
              <a:gd name="T79" fmla="*/ 34 h 194"/>
              <a:gd name="T80" fmla="*/ 82 w 194"/>
              <a:gd name="T81" fmla="*/ 20 h 194"/>
              <a:gd name="T82" fmla="*/ 86 w 194"/>
              <a:gd name="T83" fmla="*/ 8 h 194"/>
              <a:gd name="T84" fmla="*/ 98 w 194"/>
              <a:gd name="T85" fmla="*/ 4 h 194"/>
              <a:gd name="T86" fmla="*/ 104 w 194"/>
              <a:gd name="T87" fmla="*/ 12 h 194"/>
              <a:gd name="T88" fmla="*/ 114 w 194"/>
              <a:gd name="T89" fmla="*/ 16 h 194"/>
              <a:gd name="T90" fmla="*/ 124 w 194"/>
              <a:gd name="T91" fmla="*/ 26 h 194"/>
              <a:gd name="T92" fmla="*/ 130 w 194"/>
              <a:gd name="T93" fmla="*/ 30 h 194"/>
              <a:gd name="T94" fmla="*/ 142 w 194"/>
              <a:gd name="T95" fmla="*/ 32 h 194"/>
              <a:gd name="T96" fmla="*/ 150 w 194"/>
              <a:gd name="T97" fmla="*/ 40 h 194"/>
              <a:gd name="T98" fmla="*/ 162 w 194"/>
              <a:gd name="T99" fmla="*/ 42 h 194"/>
              <a:gd name="T100" fmla="*/ 174 w 194"/>
              <a:gd name="T101" fmla="*/ 46 h 194"/>
              <a:gd name="T102" fmla="*/ 186 w 194"/>
              <a:gd name="T103" fmla="*/ 168 h 194"/>
              <a:gd name="T104" fmla="*/ 180 w 194"/>
              <a:gd name="T105" fmla="*/ 184 h 194"/>
              <a:gd name="T106" fmla="*/ 184 w 194"/>
              <a:gd name="T107" fmla="*/ 190 h 194"/>
              <a:gd name="T108" fmla="*/ 192 w 194"/>
              <a:gd name="T109" fmla="*/ 16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4" h="194">
                <a:moveTo>
                  <a:pt x="174" y="52"/>
                </a:moveTo>
                <a:lnTo>
                  <a:pt x="174" y="52"/>
                </a:lnTo>
                <a:lnTo>
                  <a:pt x="172" y="56"/>
                </a:lnTo>
                <a:lnTo>
                  <a:pt x="172" y="60"/>
                </a:lnTo>
                <a:lnTo>
                  <a:pt x="172" y="60"/>
                </a:lnTo>
                <a:lnTo>
                  <a:pt x="172" y="66"/>
                </a:lnTo>
                <a:lnTo>
                  <a:pt x="172" y="70"/>
                </a:lnTo>
                <a:lnTo>
                  <a:pt x="174" y="74"/>
                </a:lnTo>
                <a:lnTo>
                  <a:pt x="174" y="74"/>
                </a:lnTo>
                <a:lnTo>
                  <a:pt x="172" y="74"/>
                </a:lnTo>
                <a:lnTo>
                  <a:pt x="170" y="74"/>
                </a:lnTo>
                <a:lnTo>
                  <a:pt x="168" y="74"/>
                </a:lnTo>
                <a:lnTo>
                  <a:pt x="168" y="74"/>
                </a:lnTo>
                <a:lnTo>
                  <a:pt x="168" y="74"/>
                </a:lnTo>
                <a:lnTo>
                  <a:pt x="166" y="74"/>
                </a:lnTo>
                <a:lnTo>
                  <a:pt x="166" y="78"/>
                </a:lnTo>
                <a:lnTo>
                  <a:pt x="166" y="78"/>
                </a:lnTo>
                <a:lnTo>
                  <a:pt x="166" y="78"/>
                </a:lnTo>
                <a:lnTo>
                  <a:pt x="162" y="80"/>
                </a:lnTo>
                <a:lnTo>
                  <a:pt x="162" y="80"/>
                </a:lnTo>
                <a:lnTo>
                  <a:pt x="160" y="82"/>
                </a:lnTo>
                <a:lnTo>
                  <a:pt x="158" y="84"/>
                </a:lnTo>
                <a:lnTo>
                  <a:pt x="154" y="90"/>
                </a:lnTo>
                <a:lnTo>
                  <a:pt x="154" y="90"/>
                </a:lnTo>
                <a:lnTo>
                  <a:pt x="146" y="100"/>
                </a:lnTo>
                <a:lnTo>
                  <a:pt x="146" y="100"/>
                </a:lnTo>
                <a:lnTo>
                  <a:pt x="144" y="104"/>
                </a:lnTo>
                <a:lnTo>
                  <a:pt x="144" y="106"/>
                </a:lnTo>
                <a:lnTo>
                  <a:pt x="148" y="106"/>
                </a:lnTo>
                <a:lnTo>
                  <a:pt x="148" y="106"/>
                </a:lnTo>
                <a:lnTo>
                  <a:pt x="150" y="104"/>
                </a:lnTo>
                <a:lnTo>
                  <a:pt x="152" y="104"/>
                </a:lnTo>
                <a:lnTo>
                  <a:pt x="154" y="106"/>
                </a:lnTo>
                <a:lnTo>
                  <a:pt x="154" y="106"/>
                </a:lnTo>
                <a:lnTo>
                  <a:pt x="154" y="108"/>
                </a:lnTo>
                <a:lnTo>
                  <a:pt x="156" y="108"/>
                </a:lnTo>
                <a:lnTo>
                  <a:pt x="160" y="108"/>
                </a:lnTo>
                <a:lnTo>
                  <a:pt x="160" y="110"/>
                </a:lnTo>
                <a:lnTo>
                  <a:pt x="160" y="110"/>
                </a:lnTo>
                <a:lnTo>
                  <a:pt x="164" y="112"/>
                </a:lnTo>
                <a:lnTo>
                  <a:pt x="166" y="112"/>
                </a:lnTo>
                <a:lnTo>
                  <a:pt x="162" y="118"/>
                </a:lnTo>
                <a:lnTo>
                  <a:pt x="162" y="118"/>
                </a:lnTo>
                <a:lnTo>
                  <a:pt x="160" y="120"/>
                </a:lnTo>
                <a:lnTo>
                  <a:pt x="158" y="122"/>
                </a:lnTo>
                <a:lnTo>
                  <a:pt x="156" y="122"/>
                </a:lnTo>
                <a:lnTo>
                  <a:pt x="156" y="122"/>
                </a:lnTo>
                <a:lnTo>
                  <a:pt x="154" y="124"/>
                </a:lnTo>
                <a:lnTo>
                  <a:pt x="154" y="126"/>
                </a:lnTo>
                <a:lnTo>
                  <a:pt x="154" y="128"/>
                </a:lnTo>
                <a:lnTo>
                  <a:pt x="156" y="130"/>
                </a:lnTo>
                <a:lnTo>
                  <a:pt x="156" y="130"/>
                </a:lnTo>
                <a:lnTo>
                  <a:pt x="158" y="132"/>
                </a:lnTo>
                <a:lnTo>
                  <a:pt x="158" y="134"/>
                </a:lnTo>
                <a:lnTo>
                  <a:pt x="156" y="138"/>
                </a:lnTo>
                <a:lnTo>
                  <a:pt x="158" y="142"/>
                </a:lnTo>
                <a:lnTo>
                  <a:pt x="158" y="142"/>
                </a:lnTo>
                <a:lnTo>
                  <a:pt x="160" y="142"/>
                </a:lnTo>
                <a:lnTo>
                  <a:pt x="162" y="142"/>
                </a:lnTo>
                <a:lnTo>
                  <a:pt x="164" y="142"/>
                </a:lnTo>
                <a:lnTo>
                  <a:pt x="164" y="142"/>
                </a:lnTo>
                <a:lnTo>
                  <a:pt x="164" y="142"/>
                </a:lnTo>
                <a:lnTo>
                  <a:pt x="160" y="146"/>
                </a:lnTo>
                <a:lnTo>
                  <a:pt x="160" y="146"/>
                </a:lnTo>
                <a:lnTo>
                  <a:pt x="160" y="148"/>
                </a:lnTo>
                <a:lnTo>
                  <a:pt x="160" y="148"/>
                </a:lnTo>
                <a:lnTo>
                  <a:pt x="162" y="150"/>
                </a:lnTo>
                <a:lnTo>
                  <a:pt x="160" y="150"/>
                </a:lnTo>
                <a:lnTo>
                  <a:pt x="158" y="148"/>
                </a:lnTo>
                <a:lnTo>
                  <a:pt x="154" y="150"/>
                </a:lnTo>
                <a:lnTo>
                  <a:pt x="158" y="152"/>
                </a:lnTo>
                <a:lnTo>
                  <a:pt x="158" y="152"/>
                </a:lnTo>
                <a:lnTo>
                  <a:pt x="154" y="160"/>
                </a:lnTo>
                <a:lnTo>
                  <a:pt x="154" y="160"/>
                </a:lnTo>
                <a:lnTo>
                  <a:pt x="150" y="160"/>
                </a:lnTo>
                <a:lnTo>
                  <a:pt x="146" y="162"/>
                </a:lnTo>
                <a:lnTo>
                  <a:pt x="146" y="162"/>
                </a:lnTo>
                <a:lnTo>
                  <a:pt x="144" y="160"/>
                </a:lnTo>
                <a:lnTo>
                  <a:pt x="142" y="158"/>
                </a:lnTo>
                <a:lnTo>
                  <a:pt x="140" y="156"/>
                </a:lnTo>
                <a:lnTo>
                  <a:pt x="140" y="156"/>
                </a:lnTo>
                <a:lnTo>
                  <a:pt x="136" y="156"/>
                </a:lnTo>
                <a:lnTo>
                  <a:pt x="136" y="156"/>
                </a:lnTo>
                <a:lnTo>
                  <a:pt x="134" y="152"/>
                </a:lnTo>
                <a:lnTo>
                  <a:pt x="134" y="152"/>
                </a:lnTo>
                <a:lnTo>
                  <a:pt x="134" y="154"/>
                </a:lnTo>
                <a:lnTo>
                  <a:pt x="132" y="154"/>
                </a:lnTo>
                <a:lnTo>
                  <a:pt x="132" y="154"/>
                </a:lnTo>
                <a:lnTo>
                  <a:pt x="128" y="152"/>
                </a:lnTo>
                <a:lnTo>
                  <a:pt x="124" y="152"/>
                </a:lnTo>
                <a:lnTo>
                  <a:pt x="122" y="152"/>
                </a:lnTo>
                <a:lnTo>
                  <a:pt x="122" y="152"/>
                </a:lnTo>
                <a:lnTo>
                  <a:pt x="118" y="156"/>
                </a:lnTo>
                <a:lnTo>
                  <a:pt x="114" y="160"/>
                </a:lnTo>
                <a:lnTo>
                  <a:pt x="114" y="160"/>
                </a:lnTo>
                <a:lnTo>
                  <a:pt x="112" y="160"/>
                </a:lnTo>
                <a:lnTo>
                  <a:pt x="108" y="160"/>
                </a:lnTo>
                <a:lnTo>
                  <a:pt x="108" y="160"/>
                </a:lnTo>
                <a:lnTo>
                  <a:pt x="108" y="170"/>
                </a:lnTo>
                <a:lnTo>
                  <a:pt x="108" y="170"/>
                </a:lnTo>
                <a:lnTo>
                  <a:pt x="104" y="170"/>
                </a:lnTo>
                <a:lnTo>
                  <a:pt x="102" y="172"/>
                </a:lnTo>
                <a:lnTo>
                  <a:pt x="102" y="172"/>
                </a:lnTo>
                <a:lnTo>
                  <a:pt x="100" y="174"/>
                </a:lnTo>
                <a:lnTo>
                  <a:pt x="100" y="174"/>
                </a:lnTo>
                <a:lnTo>
                  <a:pt x="94" y="174"/>
                </a:lnTo>
                <a:lnTo>
                  <a:pt x="92" y="174"/>
                </a:lnTo>
                <a:lnTo>
                  <a:pt x="90" y="172"/>
                </a:lnTo>
                <a:lnTo>
                  <a:pt x="90" y="172"/>
                </a:lnTo>
                <a:lnTo>
                  <a:pt x="90" y="172"/>
                </a:lnTo>
                <a:lnTo>
                  <a:pt x="88" y="172"/>
                </a:lnTo>
                <a:lnTo>
                  <a:pt x="86" y="172"/>
                </a:lnTo>
                <a:lnTo>
                  <a:pt x="86" y="172"/>
                </a:lnTo>
                <a:lnTo>
                  <a:pt x="76" y="170"/>
                </a:lnTo>
                <a:lnTo>
                  <a:pt x="76" y="170"/>
                </a:lnTo>
                <a:lnTo>
                  <a:pt x="74" y="168"/>
                </a:lnTo>
                <a:lnTo>
                  <a:pt x="72" y="168"/>
                </a:lnTo>
                <a:lnTo>
                  <a:pt x="68" y="170"/>
                </a:lnTo>
                <a:lnTo>
                  <a:pt x="68" y="170"/>
                </a:lnTo>
                <a:lnTo>
                  <a:pt x="64" y="168"/>
                </a:lnTo>
                <a:lnTo>
                  <a:pt x="60" y="166"/>
                </a:lnTo>
                <a:lnTo>
                  <a:pt x="60" y="166"/>
                </a:lnTo>
                <a:lnTo>
                  <a:pt x="56" y="166"/>
                </a:lnTo>
                <a:lnTo>
                  <a:pt x="52" y="164"/>
                </a:lnTo>
                <a:lnTo>
                  <a:pt x="52" y="164"/>
                </a:lnTo>
                <a:lnTo>
                  <a:pt x="48" y="164"/>
                </a:lnTo>
                <a:lnTo>
                  <a:pt x="46" y="162"/>
                </a:lnTo>
                <a:lnTo>
                  <a:pt x="46" y="162"/>
                </a:lnTo>
                <a:lnTo>
                  <a:pt x="46" y="162"/>
                </a:lnTo>
                <a:lnTo>
                  <a:pt x="44" y="158"/>
                </a:lnTo>
                <a:lnTo>
                  <a:pt x="42" y="156"/>
                </a:lnTo>
                <a:lnTo>
                  <a:pt x="42" y="156"/>
                </a:lnTo>
                <a:lnTo>
                  <a:pt x="48" y="154"/>
                </a:lnTo>
                <a:lnTo>
                  <a:pt x="50" y="150"/>
                </a:lnTo>
                <a:lnTo>
                  <a:pt x="50" y="150"/>
                </a:lnTo>
                <a:lnTo>
                  <a:pt x="52" y="146"/>
                </a:lnTo>
                <a:lnTo>
                  <a:pt x="52" y="140"/>
                </a:lnTo>
                <a:lnTo>
                  <a:pt x="52" y="140"/>
                </a:lnTo>
                <a:lnTo>
                  <a:pt x="54" y="134"/>
                </a:lnTo>
                <a:lnTo>
                  <a:pt x="54" y="134"/>
                </a:lnTo>
                <a:lnTo>
                  <a:pt x="54" y="132"/>
                </a:lnTo>
                <a:lnTo>
                  <a:pt x="56" y="132"/>
                </a:lnTo>
                <a:lnTo>
                  <a:pt x="56" y="132"/>
                </a:lnTo>
                <a:lnTo>
                  <a:pt x="52" y="130"/>
                </a:lnTo>
                <a:lnTo>
                  <a:pt x="52" y="130"/>
                </a:lnTo>
                <a:lnTo>
                  <a:pt x="52" y="120"/>
                </a:lnTo>
                <a:lnTo>
                  <a:pt x="52" y="120"/>
                </a:lnTo>
                <a:lnTo>
                  <a:pt x="54" y="120"/>
                </a:lnTo>
                <a:lnTo>
                  <a:pt x="54" y="120"/>
                </a:lnTo>
                <a:lnTo>
                  <a:pt x="52" y="116"/>
                </a:lnTo>
                <a:lnTo>
                  <a:pt x="52" y="116"/>
                </a:lnTo>
                <a:lnTo>
                  <a:pt x="54" y="110"/>
                </a:lnTo>
                <a:lnTo>
                  <a:pt x="52" y="104"/>
                </a:lnTo>
                <a:lnTo>
                  <a:pt x="52" y="104"/>
                </a:lnTo>
                <a:lnTo>
                  <a:pt x="50" y="106"/>
                </a:lnTo>
                <a:lnTo>
                  <a:pt x="50" y="106"/>
                </a:lnTo>
                <a:lnTo>
                  <a:pt x="48" y="102"/>
                </a:lnTo>
                <a:lnTo>
                  <a:pt x="48" y="102"/>
                </a:lnTo>
                <a:lnTo>
                  <a:pt x="40" y="98"/>
                </a:lnTo>
                <a:lnTo>
                  <a:pt x="36" y="96"/>
                </a:lnTo>
                <a:lnTo>
                  <a:pt x="34" y="94"/>
                </a:lnTo>
                <a:lnTo>
                  <a:pt x="34" y="94"/>
                </a:lnTo>
                <a:lnTo>
                  <a:pt x="34" y="86"/>
                </a:lnTo>
                <a:lnTo>
                  <a:pt x="34" y="86"/>
                </a:lnTo>
                <a:lnTo>
                  <a:pt x="34" y="88"/>
                </a:lnTo>
                <a:lnTo>
                  <a:pt x="34" y="86"/>
                </a:lnTo>
                <a:lnTo>
                  <a:pt x="34" y="82"/>
                </a:lnTo>
                <a:lnTo>
                  <a:pt x="34" y="82"/>
                </a:lnTo>
                <a:lnTo>
                  <a:pt x="30" y="82"/>
                </a:lnTo>
                <a:lnTo>
                  <a:pt x="28" y="80"/>
                </a:lnTo>
                <a:lnTo>
                  <a:pt x="28" y="80"/>
                </a:lnTo>
                <a:lnTo>
                  <a:pt x="30" y="80"/>
                </a:lnTo>
                <a:lnTo>
                  <a:pt x="30" y="78"/>
                </a:lnTo>
                <a:lnTo>
                  <a:pt x="30" y="78"/>
                </a:lnTo>
                <a:lnTo>
                  <a:pt x="24" y="78"/>
                </a:lnTo>
                <a:lnTo>
                  <a:pt x="24" y="78"/>
                </a:lnTo>
                <a:lnTo>
                  <a:pt x="24" y="76"/>
                </a:lnTo>
                <a:lnTo>
                  <a:pt x="26" y="76"/>
                </a:lnTo>
                <a:lnTo>
                  <a:pt x="26" y="76"/>
                </a:lnTo>
                <a:lnTo>
                  <a:pt x="28" y="72"/>
                </a:lnTo>
                <a:lnTo>
                  <a:pt x="28" y="72"/>
                </a:lnTo>
                <a:lnTo>
                  <a:pt x="26" y="72"/>
                </a:lnTo>
                <a:lnTo>
                  <a:pt x="26" y="72"/>
                </a:lnTo>
                <a:lnTo>
                  <a:pt x="26" y="72"/>
                </a:lnTo>
                <a:lnTo>
                  <a:pt x="20" y="78"/>
                </a:lnTo>
                <a:lnTo>
                  <a:pt x="20" y="78"/>
                </a:lnTo>
                <a:lnTo>
                  <a:pt x="18" y="72"/>
                </a:lnTo>
                <a:lnTo>
                  <a:pt x="14" y="68"/>
                </a:lnTo>
                <a:lnTo>
                  <a:pt x="14" y="68"/>
                </a:lnTo>
                <a:lnTo>
                  <a:pt x="12" y="70"/>
                </a:lnTo>
                <a:lnTo>
                  <a:pt x="12" y="70"/>
                </a:lnTo>
                <a:lnTo>
                  <a:pt x="12" y="68"/>
                </a:lnTo>
                <a:lnTo>
                  <a:pt x="12" y="66"/>
                </a:lnTo>
                <a:lnTo>
                  <a:pt x="12" y="66"/>
                </a:lnTo>
                <a:lnTo>
                  <a:pt x="0" y="68"/>
                </a:lnTo>
                <a:lnTo>
                  <a:pt x="0" y="66"/>
                </a:lnTo>
                <a:lnTo>
                  <a:pt x="2" y="64"/>
                </a:lnTo>
                <a:lnTo>
                  <a:pt x="2" y="64"/>
                </a:lnTo>
                <a:lnTo>
                  <a:pt x="2" y="60"/>
                </a:lnTo>
                <a:lnTo>
                  <a:pt x="2" y="60"/>
                </a:lnTo>
                <a:lnTo>
                  <a:pt x="6" y="62"/>
                </a:lnTo>
                <a:lnTo>
                  <a:pt x="6" y="60"/>
                </a:lnTo>
                <a:lnTo>
                  <a:pt x="6" y="60"/>
                </a:lnTo>
                <a:lnTo>
                  <a:pt x="0" y="56"/>
                </a:lnTo>
                <a:lnTo>
                  <a:pt x="0" y="54"/>
                </a:lnTo>
                <a:lnTo>
                  <a:pt x="0" y="54"/>
                </a:lnTo>
                <a:lnTo>
                  <a:pt x="6" y="50"/>
                </a:lnTo>
                <a:lnTo>
                  <a:pt x="6" y="50"/>
                </a:lnTo>
                <a:lnTo>
                  <a:pt x="10" y="52"/>
                </a:lnTo>
                <a:lnTo>
                  <a:pt x="14" y="52"/>
                </a:lnTo>
                <a:lnTo>
                  <a:pt x="16" y="48"/>
                </a:lnTo>
                <a:lnTo>
                  <a:pt x="16" y="48"/>
                </a:lnTo>
                <a:lnTo>
                  <a:pt x="20" y="48"/>
                </a:lnTo>
                <a:lnTo>
                  <a:pt x="22" y="50"/>
                </a:lnTo>
                <a:lnTo>
                  <a:pt x="24" y="54"/>
                </a:lnTo>
                <a:lnTo>
                  <a:pt x="26" y="54"/>
                </a:lnTo>
                <a:lnTo>
                  <a:pt x="26" y="54"/>
                </a:lnTo>
                <a:lnTo>
                  <a:pt x="28" y="50"/>
                </a:lnTo>
                <a:lnTo>
                  <a:pt x="28" y="50"/>
                </a:lnTo>
                <a:lnTo>
                  <a:pt x="32" y="52"/>
                </a:lnTo>
                <a:lnTo>
                  <a:pt x="34" y="52"/>
                </a:lnTo>
                <a:lnTo>
                  <a:pt x="34" y="50"/>
                </a:lnTo>
                <a:lnTo>
                  <a:pt x="34" y="50"/>
                </a:lnTo>
                <a:lnTo>
                  <a:pt x="46" y="50"/>
                </a:lnTo>
                <a:lnTo>
                  <a:pt x="46" y="50"/>
                </a:lnTo>
                <a:lnTo>
                  <a:pt x="46" y="50"/>
                </a:lnTo>
                <a:lnTo>
                  <a:pt x="48" y="48"/>
                </a:lnTo>
                <a:lnTo>
                  <a:pt x="48" y="48"/>
                </a:lnTo>
                <a:lnTo>
                  <a:pt x="44" y="46"/>
                </a:lnTo>
                <a:lnTo>
                  <a:pt x="44" y="46"/>
                </a:lnTo>
                <a:lnTo>
                  <a:pt x="44" y="42"/>
                </a:lnTo>
                <a:lnTo>
                  <a:pt x="44" y="38"/>
                </a:lnTo>
                <a:lnTo>
                  <a:pt x="44" y="38"/>
                </a:lnTo>
                <a:lnTo>
                  <a:pt x="40" y="28"/>
                </a:lnTo>
                <a:lnTo>
                  <a:pt x="40" y="28"/>
                </a:lnTo>
                <a:lnTo>
                  <a:pt x="46" y="28"/>
                </a:lnTo>
                <a:lnTo>
                  <a:pt x="48" y="28"/>
                </a:lnTo>
                <a:lnTo>
                  <a:pt x="50" y="36"/>
                </a:lnTo>
                <a:lnTo>
                  <a:pt x="50" y="36"/>
                </a:lnTo>
                <a:lnTo>
                  <a:pt x="60" y="34"/>
                </a:lnTo>
                <a:lnTo>
                  <a:pt x="68" y="32"/>
                </a:lnTo>
                <a:lnTo>
                  <a:pt x="68" y="32"/>
                </a:lnTo>
                <a:lnTo>
                  <a:pt x="68" y="28"/>
                </a:lnTo>
                <a:lnTo>
                  <a:pt x="68" y="28"/>
                </a:lnTo>
                <a:lnTo>
                  <a:pt x="74" y="24"/>
                </a:lnTo>
                <a:lnTo>
                  <a:pt x="82" y="20"/>
                </a:lnTo>
                <a:lnTo>
                  <a:pt x="82" y="20"/>
                </a:lnTo>
                <a:lnTo>
                  <a:pt x="84" y="20"/>
                </a:lnTo>
                <a:lnTo>
                  <a:pt x="86" y="20"/>
                </a:lnTo>
                <a:lnTo>
                  <a:pt x="86" y="20"/>
                </a:lnTo>
                <a:lnTo>
                  <a:pt x="84" y="16"/>
                </a:lnTo>
                <a:lnTo>
                  <a:pt x="86" y="8"/>
                </a:lnTo>
                <a:lnTo>
                  <a:pt x="86" y="8"/>
                </a:lnTo>
                <a:lnTo>
                  <a:pt x="86" y="2"/>
                </a:lnTo>
                <a:lnTo>
                  <a:pt x="86" y="2"/>
                </a:lnTo>
                <a:lnTo>
                  <a:pt x="94" y="0"/>
                </a:lnTo>
                <a:lnTo>
                  <a:pt x="98" y="4"/>
                </a:lnTo>
                <a:lnTo>
                  <a:pt x="98" y="4"/>
                </a:lnTo>
                <a:lnTo>
                  <a:pt x="98" y="4"/>
                </a:lnTo>
                <a:lnTo>
                  <a:pt x="100" y="6"/>
                </a:lnTo>
                <a:lnTo>
                  <a:pt x="100" y="6"/>
                </a:lnTo>
                <a:lnTo>
                  <a:pt x="102" y="12"/>
                </a:lnTo>
                <a:lnTo>
                  <a:pt x="102" y="12"/>
                </a:lnTo>
                <a:lnTo>
                  <a:pt x="104" y="12"/>
                </a:lnTo>
                <a:lnTo>
                  <a:pt x="108" y="16"/>
                </a:lnTo>
                <a:lnTo>
                  <a:pt x="108" y="16"/>
                </a:lnTo>
                <a:lnTo>
                  <a:pt x="110" y="18"/>
                </a:lnTo>
                <a:lnTo>
                  <a:pt x="112" y="18"/>
                </a:lnTo>
                <a:lnTo>
                  <a:pt x="114" y="16"/>
                </a:lnTo>
                <a:lnTo>
                  <a:pt x="114" y="16"/>
                </a:lnTo>
                <a:lnTo>
                  <a:pt x="114" y="18"/>
                </a:lnTo>
                <a:lnTo>
                  <a:pt x="116" y="22"/>
                </a:lnTo>
                <a:lnTo>
                  <a:pt x="116" y="22"/>
                </a:lnTo>
                <a:lnTo>
                  <a:pt x="120" y="24"/>
                </a:lnTo>
                <a:lnTo>
                  <a:pt x="124" y="26"/>
                </a:lnTo>
                <a:lnTo>
                  <a:pt x="124" y="26"/>
                </a:lnTo>
                <a:lnTo>
                  <a:pt x="126" y="26"/>
                </a:lnTo>
                <a:lnTo>
                  <a:pt x="128" y="26"/>
                </a:lnTo>
                <a:lnTo>
                  <a:pt x="130" y="24"/>
                </a:lnTo>
                <a:lnTo>
                  <a:pt x="130" y="26"/>
                </a:lnTo>
                <a:lnTo>
                  <a:pt x="130" y="26"/>
                </a:lnTo>
                <a:lnTo>
                  <a:pt x="130" y="30"/>
                </a:lnTo>
                <a:lnTo>
                  <a:pt x="132" y="32"/>
                </a:lnTo>
                <a:lnTo>
                  <a:pt x="132" y="32"/>
                </a:lnTo>
                <a:lnTo>
                  <a:pt x="136" y="32"/>
                </a:lnTo>
                <a:lnTo>
                  <a:pt x="142" y="30"/>
                </a:lnTo>
                <a:lnTo>
                  <a:pt x="142" y="30"/>
                </a:lnTo>
                <a:lnTo>
                  <a:pt x="142" y="32"/>
                </a:lnTo>
                <a:lnTo>
                  <a:pt x="142" y="32"/>
                </a:lnTo>
                <a:lnTo>
                  <a:pt x="142" y="34"/>
                </a:lnTo>
                <a:lnTo>
                  <a:pt x="142" y="36"/>
                </a:lnTo>
                <a:lnTo>
                  <a:pt x="144" y="38"/>
                </a:lnTo>
                <a:lnTo>
                  <a:pt x="144" y="38"/>
                </a:lnTo>
                <a:lnTo>
                  <a:pt x="150" y="40"/>
                </a:lnTo>
                <a:lnTo>
                  <a:pt x="150" y="40"/>
                </a:lnTo>
                <a:lnTo>
                  <a:pt x="154" y="38"/>
                </a:lnTo>
                <a:lnTo>
                  <a:pt x="158" y="38"/>
                </a:lnTo>
                <a:lnTo>
                  <a:pt x="160" y="40"/>
                </a:lnTo>
                <a:lnTo>
                  <a:pt x="160" y="40"/>
                </a:lnTo>
                <a:lnTo>
                  <a:pt x="162" y="42"/>
                </a:lnTo>
                <a:lnTo>
                  <a:pt x="164" y="44"/>
                </a:lnTo>
                <a:lnTo>
                  <a:pt x="168" y="42"/>
                </a:lnTo>
                <a:lnTo>
                  <a:pt x="168" y="42"/>
                </a:lnTo>
                <a:lnTo>
                  <a:pt x="174" y="44"/>
                </a:lnTo>
                <a:lnTo>
                  <a:pt x="174" y="44"/>
                </a:lnTo>
                <a:lnTo>
                  <a:pt x="174" y="46"/>
                </a:lnTo>
                <a:lnTo>
                  <a:pt x="174" y="52"/>
                </a:lnTo>
                <a:lnTo>
                  <a:pt x="174" y="52"/>
                </a:lnTo>
                <a:close/>
                <a:moveTo>
                  <a:pt x="190" y="160"/>
                </a:moveTo>
                <a:lnTo>
                  <a:pt x="190" y="160"/>
                </a:lnTo>
                <a:lnTo>
                  <a:pt x="188" y="164"/>
                </a:lnTo>
                <a:lnTo>
                  <a:pt x="186" y="168"/>
                </a:lnTo>
                <a:lnTo>
                  <a:pt x="186" y="168"/>
                </a:lnTo>
                <a:lnTo>
                  <a:pt x="182" y="168"/>
                </a:lnTo>
                <a:lnTo>
                  <a:pt x="178" y="170"/>
                </a:lnTo>
                <a:lnTo>
                  <a:pt x="178" y="170"/>
                </a:lnTo>
                <a:lnTo>
                  <a:pt x="178" y="178"/>
                </a:lnTo>
                <a:lnTo>
                  <a:pt x="180" y="184"/>
                </a:lnTo>
                <a:lnTo>
                  <a:pt x="180" y="184"/>
                </a:lnTo>
                <a:lnTo>
                  <a:pt x="178" y="184"/>
                </a:lnTo>
                <a:lnTo>
                  <a:pt x="178" y="186"/>
                </a:lnTo>
                <a:lnTo>
                  <a:pt x="178" y="186"/>
                </a:lnTo>
                <a:lnTo>
                  <a:pt x="180" y="188"/>
                </a:lnTo>
                <a:lnTo>
                  <a:pt x="184" y="190"/>
                </a:lnTo>
                <a:lnTo>
                  <a:pt x="190" y="194"/>
                </a:lnTo>
                <a:lnTo>
                  <a:pt x="190" y="194"/>
                </a:lnTo>
                <a:lnTo>
                  <a:pt x="194" y="178"/>
                </a:lnTo>
                <a:lnTo>
                  <a:pt x="194" y="170"/>
                </a:lnTo>
                <a:lnTo>
                  <a:pt x="192" y="162"/>
                </a:lnTo>
                <a:lnTo>
                  <a:pt x="192" y="162"/>
                </a:lnTo>
                <a:lnTo>
                  <a:pt x="190" y="160"/>
                </a:lnTo>
                <a:lnTo>
                  <a:pt x="190" y="1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5" name="Line 189">
            <a:extLst>
              <a:ext uri="{FF2B5EF4-FFF2-40B4-BE49-F238E27FC236}">
                <a16:creationId xmlns:a16="http://schemas.microsoft.com/office/drawing/2014/main" id="{C7ED1954-CFCE-4CEB-BB18-4A6131555D8B}"/>
              </a:ext>
            </a:extLst>
          </p:cNvPr>
          <p:cNvSpPr>
            <a:spLocks noChangeShapeType="1"/>
          </p:cNvSpPr>
          <p:nvPr userDrawn="1"/>
        </p:nvSpPr>
        <p:spPr bwMode="auto">
          <a:xfrm>
            <a:off x="9614053" y="4329291"/>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6" name="Line 190">
            <a:extLst>
              <a:ext uri="{FF2B5EF4-FFF2-40B4-BE49-F238E27FC236}">
                <a16:creationId xmlns:a16="http://schemas.microsoft.com/office/drawing/2014/main" id="{E7F62CEC-932E-4B6A-8C66-EDD58390448B}"/>
              </a:ext>
            </a:extLst>
          </p:cNvPr>
          <p:cNvSpPr>
            <a:spLocks noChangeShapeType="1"/>
          </p:cNvSpPr>
          <p:nvPr userDrawn="1"/>
        </p:nvSpPr>
        <p:spPr bwMode="auto">
          <a:xfrm>
            <a:off x="9614053" y="4329291"/>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7" name="Freeform 191">
            <a:extLst>
              <a:ext uri="{FF2B5EF4-FFF2-40B4-BE49-F238E27FC236}">
                <a16:creationId xmlns:a16="http://schemas.microsoft.com/office/drawing/2014/main" id="{70A32FB9-9AA8-4C13-89A9-64EC59E7824B}"/>
              </a:ext>
            </a:extLst>
          </p:cNvPr>
          <p:cNvSpPr>
            <a:spLocks/>
          </p:cNvSpPr>
          <p:nvPr userDrawn="1"/>
        </p:nvSpPr>
        <p:spPr bwMode="auto">
          <a:xfrm>
            <a:off x="6323709" y="1398385"/>
            <a:ext cx="244848" cy="404973"/>
          </a:xfrm>
          <a:custGeom>
            <a:avLst/>
            <a:gdLst>
              <a:gd name="T0" fmla="*/ 54 w 146"/>
              <a:gd name="T1" fmla="*/ 102 h 236"/>
              <a:gd name="T2" fmla="*/ 58 w 146"/>
              <a:gd name="T3" fmla="*/ 100 h 236"/>
              <a:gd name="T4" fmla="*/ 60 w 146"/>
              <a:gd name="T5" fmla="*/ 114 h 236"/>
              <a:gd name="T6" fmla="*/ 58 w 146"/>
              <a:gd name="T7" fmla="*/ 122 h 236"/>
              <a:gd name="T8" fmla="*/ 54 w 146"/>
              <a:gd name="T9" fmla="*/ 122 h 236"/>
              <a:gd name="T10" fmla="*/ 46 w 146"/>
              <a:gd name="T11" fmla="*/ 134 h 236"/>
              <a:gd name="T12" fmla="*/ 40 w 146"/>
              <a:gd name="T13" fmla="*/ 146 h 236"/>
              <a:gd name="T14" fmla="*/ 28 w 146"/>
              <a:gd name="T15" fmla="*/ 156 h 236"/>
              <a:gd name="T16" fmla="*/ 22 w 146"/>
              <a:gd name="T17" fmla="*/ 160 h 236"/>
              <a:gd name="T18" fmla="*/ 18 w 146"/>
              <a:gd name="T19" fmla="*/ 166 h 236"/>
              <a:gd name="T20" fmla="*/ 16 w 146"/>
              <a:gd name="T21" fmla="*/ 178 h 236"/>
              <a:gd name="T22" fmla="*/ 20 w 146"/>
              <a:gd name="T23" fmla="*/ 190 h 236"/>
              <a:gd name="T24" fmla="*/ 16 w 146"/>
              <a:gd name="T25" fmla="*/ 198 h 236"/>
              <a:gd name="T26" fmla="*/ 18 w 146"/>
              <a:gd name="T27" fmla="*/ 210 h 236"/>
              <a:gd name="T28" fmla="*/ 22 w 146"/>
              <a:gd name="T29" fmla="*/ 220 h 236"/>
              <a:gd name="T30" fmla="*/ 24 w 146"/>
              <a:gd name="T31" fmla="*/ 214 h 236"/>
              <a:gd name="T32" fmla="*/ 32 w 146"/>
              <a:gd name="T33" fmla="*/ 218 h 236"/>
              <a:gd name="T34" fmla="*/ 38 w 146"/>
              <a:gd name="T35" fmla="*/ 220 h 236"/>
              <a:gd name="T36" fmla="*/ 28 w 146"/>
              <a:gd name="T37" fmla="*/ 234 h 236"/>
              <a:gd name="T38" fmla="*/ 40 w 146"/>
              <a:gd name="T39" fmla="*/ 230 h 236"/>
              <a:gd name="T40" fmla="*/ 42 w 146"/>
              <a:gd name="T41" fmla="*/ 234 h 236"/>
              <a:gd name="T42" fmla="*/ 54 w 146"/>
              <a:gd name="T43" fmla="*/ 234 h 236"/>
              <a:gd name="T44" fmla="*/ 70 w 146"/>
              <a:gd name="T45" fmla="*/ 224 h 236"/>
              <a:gd name="T46" fmla="*/ 74 w 146"/>
              <a:gd name="T47" fmla="*/ 222 h 236"/>
              <a:gd name="T48" fmla="*/ 84 w 146"/>
              <a:gd name="T49" fmla="*/ 222 h 236"/>
              <a:gd name="T50" fmla="*/ 86 w 146"/>
              <a:gd name="T51" fmla="*/ 216 h 236"/>
              <a:gd name="T52" fmla="*/ 92 w 146"/>
              <a:gd name="T53" fmla="*/ 218 h 236"/>
              <a:gd name="T54" fmla="*/ 140 w 146"/>
              <a:gd name="T55" fmla="*/ 186 h 236"/>
              <a:gd name="T56" fmla="*/ 144 w 146"/>
              <a:gd name="T57" fmla="*/ 170 h 236"/>
              <a:gd name="T58" fmla="*/ 134 w 146"/>
              <a:gd name="T59" fmla="*/ 164 h 236"/>
              <a:gd name="T60" fmla="*/ 138 w 146"/>
              <a:gd name="T61" fmla="*/ 148 h 236"/>
              <a:gd name="T62" fmla="*/ 136 w 146"/>
              <a:gd name="T63" fmla="*/ 138 h 236"/>
              <a:gd name="T64" fmla="*/ 128 w 146"/>
              <a:gd name="T65" fmla="*/ 124 h 236"/>
              <a:gd name="T66" fmla="*/ 126 w 146"/>
              <a:gd name="T67" fmla="*/ 108 h 236"/>
              <a:gd name="T68" fmla="*/ 126 w 146"/>
              <a:gd name="T69" fmla="*/ 100 h 236"/>
              <a:gd name="T70" fmla="*/ 118 w 146"/>
              <a:gd name="T71" fmla="*/ 66 h 236"/>
              <a:gd name="T72" fmla="*/ 126 w 146"/>
              <a:gd name="T73" fmla="*/ 50 h 236"/>
              <a:gd name="T74" fmla="*/ 118 w 146"/>
              <a:gd name="T75" fmla="*/ 42 h 236"/>
              <a:gd name="T76" fmla="*/ 122 w 146"/>
              <a:gd name="T77" fmla="*/ 20 h 236"/>
              <a:gd name="T78" fmla="*/ 116 w 146"/>
              <a:gd name="T79" fmla="*/ 18 h 236"/>
              <a:gd name="T80" fmla="*/ 100 w 146"/>
              <a:gd name="T81" fmla="*/ 0 h 236"/>
              <a:gd name="T82" fmla="*/ 82 w 146"/>
              <a:gd name="T83" fmla="*/ 4 h 236"/>
              <a:gd name="T84" fmla="*/ 76 w 146"/>
              <a:gd name="T85" fmla="*/ 10 h 236"/>
              <a:gd name="T86" fmla="*/ 68 w 146"/>
              <a:gd name="T87" fmla="*/ 20 h 236"/>
              <a:gd name="T88" fmla="*/ 68 w 146"/>
              <a:gd name="T89" fmla="*/ 32 h 236"/>
              <a:gd name="T90" fmla="*/ 60 w 146"/>
              <a:gd name="T91" fmla="*/ 42 h 236"/>
              <a:gd name="T92" fmla="*/ 48 w 146"/>
              <a:gd name="T93" fmla="*/ 34 h 236"/>
              <a:gd name="T94" fmla="*/ 42 w 146"/>
              <a:gd name="T95" fmla="*/ 34 h 236"/>
              <a:gd name="T96" fmla="*/ 10 w 146"/>
              <a:gd name="T97" fmla="*/ 20 h 236"/>
              <a:gd name="T98" fmla="*/ 0 w 146"/>
              <a:gd name="T99" fmla="*/ 28 h 236"/>
              <a:gd name="T100" fmla="*/ 12 w 146"/>
              <a:gd name="T101" fmla="*/ 38 h 236"/>
              <a:gd name="T102" fmla="*/ 26 w 146"/>
              <a:gd name="T103" fmla="*/ 42 h 236"/>
              <a:gd name="T104" fmla="*/ 36 w 146"/>
              <a:gd name="T105" fmla="*/ 54 h 236"/>
              <a:gd name="T106" fmla="*/ 36 w 146"/>
              <a:gd name="T107" fmla="*/ 64 h 236"/>
              <a:gd name="T108" fmla="*/ 38 w 146"/>
              <a:gd name="T109" fmla="*/ 74 h 236"/>
              <a:gd name="T110" fmla="*/ 40 w 146"/>
              <a:gd name="T111" fmla="*/ 9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 h="236">
                <a:moveTo>
                  <a:pt x="40" y="98"/>
                </a:moveTo>
                <a:lnTo>
                  <a:pt x="40" y="98"/>
                </a:lnTo>
                <a:lnTo>
                  <a:pt x="52" y="98"/>
                </a:lnTo>
                <a:lnTo>
                  <a:pt x="54" y="102"/>
                </a:lnTo>
                <a:lnTo>
                  <a:pt x="54" y="102"/>
                </a:lnTo>
                <a:lnTo>
                  <a:pt x="54" y="102"/>
                </a:lnTo>
                <a:lnTo>
                  <a:pt x="56" y="102"/>
                </a:lnTo>
                <a:lnTo>
                  <a:pt x="56" y="100"/>
                </a:lnTo>
                <a:lnTo>
                  <a:pt x="58" y="100"/>
                </a:lnTo>
                <a:lnTo>
                  <a:pt x="58" y="100"/>
                </a:lnTo>
                <a:lnTo>
                  <a:pt x="58" y="104"/>
                </a:lnTo>
                <a:lnTo>
                  <a:pt x="58" y="106"/>
                </a:lnTo>
                <a:lnTo>
                  <a:pt x="58" y="112"/>
                </a:lnTo>
                <a:lnTo>
                  <a:pt x="60" y="114"/>
                </a:lnTo>
                <a:lnTo>
                  <a:pt x="60" y="114"/>
                </a:lnTo>
                <a:lnTo>
                  <a:pt x="60" y="116"/>
                </a:lnTo>
                <a:lnTo>
                  <a:pt x="58" y="118"/>
                </a:lnTo>
                <a:lnTo>
                  <a:pt x="58" y="118"/>
                </a:lnTo>
                <a:lnTo>
                  <a:pt x="58" y="120"/>
                </a:lnTo>
                <a:lnTo>
                  <a:pt x="58" y="122"/>
                </a:lnTo>
                <a:lnTo>
                  <a:pt x="58" y="122"/>
                </a:lnTo>
                <a:lnTo>
                  <a:pt x="58" y="122"/>
                </a:lnTo>
                <a:lnTo>
                  <a:pt x="58" y="122"/>
                </a:lnTo>
                <a:lnTo>
                  <a:pt x="58" y="122"/>
                </a:lnTo>
                <a:lnTo>
                  <a:pt x="54" y="122"/>
                </a:lnTo>
                <a:lnTo>
                  <a:pt x="52" y="124"/>
                </a:lnTo>
                <a:lnTo>
                  <a:pt x="52" y="124"/>
                </a:lnTo>
                <a:lnTo>
                  <a:pt x="48" y="128"/>
                </a:lnTo>
                <a:lnTo>
                  <a:pt x="48" y="134"/>
                </a:lnTo>
                <a:lnTo>
                  <a:pt x="46" y="134"/>
                </a:lnTo>
                <a:lnTo>
                  <a:pt x="46" y="134"/>
                </a:lnTo>
                <a:lnTo>
                  <a:pt x="40" y="142"/>
                </a:lnTo>
                <a:lnTo>
                  <a:pt x="40" y="142"/>
                </a:lnTo>
                <a:lnTo>
                  <a:pt x="40" y="146"/>
                </a:lnTo>
                <a:lnTo>
                  <a:pt x="40" y="146"/>
                </a:lnTo>
                <a:lnTo>
                  <a:pt x="38" y="148"/>
                </a:lnTo>
                <a:lnTo>
                  <a:pt x="32" y="150"/>
                </a:lnTo>
                <a:lnTo>
                  <a:pt x="32" y="150"/>
                </a:lnTo>
                <a:lnTo>
                  <a:pt x="30" y="152"/>
                </a:lnTo>
                <a:lnTo>
                  <a:pt x="28" y="156"/>
                </a:lnTo>
                <a:lnTo>
                  <a:pt x="26" y="156"/>
                </a:lnTo>
                <a:lnTo>
                  <a:pt x="26" y="156"/>
                </a:lnTo>
                <a:lnTo>
                  <a:pt x="26" y="160"/>
                </a:lnTo>
                <a:lnTo>
                  <a:pt x="26" y="160"/>
                </a:lnTo>
                <a:lnTo>
                  <a:pt x="22" y="160"/>
                </a:lnTo>
                <a:lnTo>
                  <a:pt x="20" y="160"/>
                </a:lnTo>
                <a:lnTo>
                  <a:pt x="20" y="160"/>
                </a:lnTo>
                <a:lnTo>
                  <a:pt x="20" y="162"/>
                </a:lnTo>
                <a:lnTo>
                  <a:pt x="18" y="166"/>
                </a:lnTo>
                <a:lnTo>
                  <a:pt x="18" y="166"/>
                </a:lnTo>
                <a:lnTo>
                  <a:pt x="12" y="170"/>
                </a:lnTo>
                <a:lnTo>
                  <a:pt x="12" y="170"/>
                </a:lnTo>
                <a:lnTo>
                  <a:pt x="12" y="176"/>
                </a:lnTo>
                <a:lnTo>
                  <a:pt x="12" y="176"/>
                </a:lnTo>
                <a:lnTo>
                  <a:pt x="16" y="178"/>
                </a:lnTo>
                <a:lnTo>
                  <a:pt x="16" y="178"/>
                </a:lnTo>
                <a:lnTo>
                  <a:pt x="16" y="180"/>
                </a:lnTo>
                <a:lnTo>
                  <a:pt x="16" y="182"/>
                </a:lnTo>
                <a:lnTo>
                  <a:pt x="20" y="190"/>
                </a:lnTo>
                <a:lnTo>
                  <a:pt x="20" y="190"/>
                </a:lnTo>
                <a:lnTo>
                  <a:pt x="20" y="192"/>
                </a:lnTo>
                <a:lnTo>
                  <a:pt x="20" y="192"/>
                </a:lnTo>
                <a:lnTo>
                  <a:pt x="16" y="196"/>
                </a:lnTo>
                <a:lnTo>
                  <a:pt x="16" y="198"/>
                </a:lnTo>
                <a:lnTo>
                  <a:pt x="16" y="198"/>
                </a:lnTo>
                <a:lnTo>
                  <a:pt x="16" y="206"/>
                </a:lnTo>
                <a:lnTo>
                  <a:pt x="16" y="206"/>
                </a:lnTo>
                <a:lnTo>
                  <a:pt x="18" y="212"/>
                </a:lnTo>
                <a:lnTo>
                  <a:pt x="18" y="212"/>
                </a:lnTo>
                <a:lnTo>
                  <a:pt x="18" y="210"/>
                </a:lnTo>
                <a:lnTo>
                  <a:pt x="20" y="210"/>
                </a:lnTo>
                <a:lnTo>
                  <a:pt x="22" y="210"/>
                </a:lnTo>
                <a:lnTo>
                  <a:pt x="22" y="210"/>
                </a:lnTo>
                <a:lnTo>
                  <a:pt x="22" y="220"/>
                </a:lnTo>
                <a:lnTo>
                  <a:pt x="22" y="220"/>
                </a:lnTo>
                <a:lnTo>
                  <a:pt x="26" y="220"/>
                </a:lnTo>
                <a:lnTo>
                  <a:pt x="26" y="220"/>
                </a:lnTo>
                <a:lnTo>
                  <a:pt x="24" y="216"/>
                </a:lnTo>
                <a:lnTo>
                  <a:pt x="24" y="214"/>
                </a:lnTo>
                <a:lnTo>
                  <a:pt x="24" y="214"/>
                </a:lnTo>
                <a:lnTo>
                  <a:pt x="24" y="214"/>
                </a:lnTo>
                <a:lnTo>
                  <a:pt x="26" y="216"/>
                </a:lnTo>
                <a:lnTo>
                  <a:pt x="26" y="216"/>
                </a:lnTo>
                <a:lnTo>
                  <a:pt x="32" y="218"/>
                </a:lnTo>
                <a:lnTo>
                  <a:pt x="32" y="218"/>
                </a:lnTo>
                <a:lnTo>
                  <a:pt x="32" y="222"/>
                </a:lnTo>
                <a:lnTo>
                  <a:pt x="32" y="222"/>
                </a:lnTo>
                <a:lnTo>
                  <a:pt x="36" y="222"/>
                </a:lnTo>
                <a:lnTo>
                  <a:pt x="38" y="220"/>
                </a:lnTo>
                <a:lnTo>
                  <a:pt x="38" y="220"/>
                </a:lnTo>
                <a:lnTo>
                  <a:pt x="38" y="224"/>
                </a:lnTo>
                <a:lnTo>
                  <a:pt x="38" y="224"/>
                </a:lnTo>
                <a:lnTo>
                  <a:pt x="28" y="226"/>
                </a:lnTo>
                <a:lnTo>
                  <a:pt x="28" y="226"/>
                </a:lnTo>
                <a:lnTo>
                  <a:pt x="28" y="234"/>
                </a:lnTo>
                <a:lnTo>
                  <a:pt x="28" y="234"/>
                </a:lnTo>
                <a:lnTo>
                  <a:pt x="34" y="232"/>
                </a:lnTo>
                <a:lnTo>
                  <a:pt x="36" y="226"/>
                </a:lnTo>
                <a:lnTo>
                  <a:pt x="36" y="226"/>
                </a:lnTo>
                <a:lnTo>
                  <a:pt x="40" y="230"/>
                </a:lnTo>
                <a:lnTo>
                  <a:pt x="40" y="230"/>
                </a:lnTo>
                <a:lnTo>
                  <a:pt x="40" y="232"/>
                </a:lnTo>
                <a:lnTo>
                  <a:pt x="38" y="234"/>
                </a:lnTo>
                <a:lnTo>
                  <a:pt x="38" y="234"/>
                </a:lnTo>
                <a:lnTo>
                  <a:pt x="42" y="234"/>
                </a:lnTo>
                <a:lnTo>
                  <a:pt x="42" y="234"/>
                </a:lnTo>
                <a:lnTo>
                  <a:pt x="42" y="236"/>
                </a:lnTo>
                <a:lnTo>
                  <a:pt x="42" y="236"/>
                </a:lnTo>
                <a:lnTo>
                  <a:pt x="54" y="234"/>
                </a:lnTo>
                <a:lnTo>
                  <a:pt x="54" y="234"/>
                </a:lnTo>
                <a:lnTo>
                  <a:pt x="54" y="232"/>
                </a:lnTo>
                <a:lnTo>
                  <a:pt x="54" y="232"/>
                </a:lnTo>
                <a:lnTo>
                  <a:pt x="60" y="228"/>
                </a:lnTo>
                <a:lnTo>
                  <a:pt x="70" y="224"/>
                </a:lnTo>
                <a:lnTo>
                  <a:pt x="70" y="224"/>
                </a:lnTo>
                <a:lnTo>
                  <a:pt x="70" y="220"/>
                </a:lnTo>
                <a:lnTo>
                  <a:pt x="70" y="220"/>
                </a:lnTo>
                <a:lnTo>
                  <a:pt x="72" y="220"/>
                </a:lnTo>
                <a:lnTo>
                  <a:pt x="74" y="222"/>
                </a:lnTo>
                <a:lnTo>
                  <a:pt x="74" y="222"/>
                </a:lnTo>
                <a:lnTo>
                  <a:pt x="76" y="220"/>
                </a:lnTo>
                <a:lnTo>
                  <a:pt x="78" y="220"/>
                </a:lnTo>
                <a:lnTo>
                  <a:pt x="78" y="220"/>
                </a:lnTo>
                <a:lnTo>
                  <a:pt x="80" y="220"/>
                </a:lnTo>
                <a:lnTo>
                  <a:pt x="84" y="222"/>
                </a:lnTo>
                <a:lnTo>
                  <a:pt x="84" y="222"/>
                </a:lnTo>
                <a:lnTo>
                  <a:pt x="84" y="218"/>
                </a:lnTo>
                <a:lnTo>
                  <a:pt x="84" y="218"/>
                </a:lnTo>
                <a:lnTo>
                  <a:pt x="86" y="218"/>
                </a:lnTo>
                <a:lnTo>
                  <a:pt x="86" y="216"/>
                </a:lnTo>
                <a:lnTo>
                  <a:pt x="86" y="216"/>
                </a:lnTo>
                <a:lnTo>
                  <a:pt x="88" y="216"/>
                </a:lnTo>
                <a:lnTo>
                  <a:pt x="88" y="218"/>
                </a:lnTo>
                <a:lnTo>
                  <a:pt x="88" y="218"/>
                </a:lnTo>
                <a:lnTo>
                  <a:pt x="92" y="218"/>
                </a:lnTo>
                <a:lnTo>
                  <a:pt x="92" y="218"/>
                </a:lnTo>
                <a:lnTo>
                  <a:pt x="100" y="212"/>
                </a:lnTo>
                <a:lnTo>
                  <a:pt x="100" y="212"/>
                </a:lnTo>
                <a:lnTo>
                  <a:pt x="124" y="196"/>
                </a:lnTo>
                <a:lnTo>
                  <a:pt x="140" y="186"/>
                </a:lnTo>
                <a:lnTo>
                  <a:pt x="146" y="180"/>
                </a:lnTo>
                <a:lnTo>
                  <a:pt x="146" y="180"/>
                </a:lnTo>
                <a:lnTo>
                  <a:pt x="146" y="176"/>
                </a:lnTo>
                <a:lnTo>
                  <a:pt x="144" y="170"/>
                </a:lnTo>
                <a:lnTo>
                  <a:pt x="144" y="170"/>
                </a:lnTo>
                <a:lnTo>
                  <a:pt x="144" y="168"/>
                </a:lnTo>
                <a:lnTo>
                  <a:pt x="142" y="168"/>
                </a:lnTo>
                <a:lnTo>
                  <a:pt x="136" y="166"/>
                </a:lnTo>
                <a:lnTo>
                  <a:pt x="136" y="166"/>
                </a:lnTo>
                <a:lnTo>
                  <a:pt x="134" y="164"/>
                </a:lnTo>
                <a:lnTo>
                  <a:pt x="134" y="162"/>
                </a:lnTo>
                <a:lnTo>
                  <a:pt x="134" y="156"/>
                </a:lnTo>
                <a:lnTo>
                  <a:pt x="134" y="156"/>
                </a:lnTo>
                <a:lnTo>
                  <a:pt x="134" y="152"/>
                </a:lnTo>
                <a:lnTo>
                  <a:pt x="138" y="148"/>
                </a:lnTo>
                <a:lnTo>
                  <a:pt x="138" y="148"/>
                </a:lnTo>
                <a:lnTo>
                  <a:pt x="138" y="146"/>
                </a:lnTo>
                <a:lnTo>
                  <a:pt x="138" y="144"/>
                </a:lnTo>
                <a:lnTo>
                  <a:pt x="136" y="138"/>
                </a:lnTo>
                <a:lnTo>
                  <a:pt x="136" y="138"/>
                </a:lnTo>
                <a:lnTo>
                  <a:pt x="134" y="134"/>
                </a:lnTo>
                <a:lnTo>
                  <a:pt x="132" y="132"/>
                </a:lnTo>
                <a:lnTo>
                  <a:pt x="132" y="132"/>
                </a:lnTo>
                <a:lnTo>
                  <a:pt x="128" y="128"/>
                </a:lnTo>
                <a:lnTo>
                  <a:pt x="128" y="124"/>
                </a:lnTo>
                <a:lnTo>
                  <a:pt x="128" y="124"/>
                </a:lnTo>
                <a:lnTo>
                  <a:pt x="126" y="116"/>
                </a:lnTo>
                <a:lnTo>
                  <a:pt x="126" y="116"/>
                </a:lnTo>
                <a:lnTo>
                  <a:pt x="126" y="112"/>
                </a:lnTo>
                <a:lnTo>
                  <a:pt x="126" y="108"/>
                </a:lnTo>
                <a:lnTo>
                  <a:pt x="126" y="108"/>
                </a:lnTo>
                <a:lnTo>
                  <a:pt x="128" y="106"/>
                </a:lnTo>
                <a:lnTo>
                  <a:pt x="126" y="104"/>
                </a:lnTo>
                <a:lnTo>
                  <a:pt x="126" y="100"/>
                </a:lnTo>
                <a:lnTo>
                  <a:pt x="126" y="100"/>
                </a:lnTo>
                <a:lnTo>
                  <a:pt x="126" y="96"/>
                </a:lnTo>
                <a:lnTo>
                  <a:pt x="124" y="92"/>
                </a:lnTo>
                <a:lnTo>
                  <a:pt x="124" y="92"/>
                </a:lnTo>
                <a:lnTo>
                  <a:pt x="118" y="66"/>
                </a:lnTo>
                <a:lnTo>
                  <a:pt x="118" y="66"/>
                </a:lnTo>
                <a:lnTo>
                  <a:pt x="118" y="64"/>
                </a:lnTo>
                <a:lnTo>
                  <a:pt x="120" y="60"/>
                </a:lnTo>
                <a:lnTo>
                  <a:pt x="126" y="54"/>
                </a:lnTo>
                <a:lnTo>
                  <a:pt x="126" y="54"/>
                </a:lnTo>
                <a:lnTo>
                  <a:pt x="126" y="50"/>
                </a:lnTo>
                <a:lnTo>
                  <a:pt x="124" y="46"/>
                </a:lnTo>
                <a:lnTo>
                  <a:pt x="122" y="42"/>
                </a:lnTo>
                <a:lnTo>
                  <a:pt x="122" y="42"/>
                </a:lnTo>
                <a:lnTo>
                  <a:pt x="120" y="44"/>
                </a:lnTo>
                <a:lnTo>
                  <a:pt x="118" y="42"/>
                </a:lnTo>
                <a:lnTo>
                  <a:pt x="118" y="42"/>
                </a:lnTo>
                <a:lnTo>
                  <a:pt x="116" y="38"/>
                </a:lnTo>
                <a:lnTo>
                  <a:pt x="116" y="32"/>
                </a:lnTo>
                <a:lnTo>
                  <a:pt x="118" y="24"/>
                </a:lnTo>
                <a:lnTo>
                  <a:pt x="122" y="20"/>
                </a:lnTo>
                <a:lnTo>
                  <a:pt x="122" y="18"/>
                </a:lnTo>
                <a:lnTo>
                  <a:pt x="122" y="18"/>
                </a:lnTo>
                <a:lnTo>
                  <a:pt x="122" y="18"/>
                </a:lnTo>
                <a:lnTo>
                  <a:pt x="116" y="18"/>
                </a:lnTo>
                <a:lnTo>
                  <a:pt x="116" y="18"/>
                </a:lnTo>
                <a:lnTo>
                  <a:pt x="108" y="12"/>
                </a:lnTo>
                <a:lnTo>
                  <a:pt x="108" y="12"/>
                </a:lnTo>
                <a:lnTo>
                  <a:pt x="104" y="4"/>
                </a:lnTo>
                <a:lnTo>
                  <a:pt x="100" y="0"/>
                </a:lnTo>
                <a:lnTo>
                  <a:pt x="100" y="0"/>
                </a:lnTo>
                <a:lnTo>
                  <a:pt x="96" y="2"/>
                </a:lnTo>
                <a:lnTo>
                  <a:pt x="92" y="6"/>
                </a:lnTo>
                <a:lnTo>
                  <a:pt x="90" y="6"/>
                </a:lnTo>
                <a:lnTo>
                  <a:pt x="90" y="6"/>
                </a:lnTo>
                <a:lnTo>
                  <a:pt x="82" y="4"/>
                </a:lnTo>
                <a:lnTo>
                  <a:pt x="82" y="4"/>
                </a:lnTo>
                <a:lnTo>
                  <a:pt x="80" y="6"/>
                </a:lnTo>
                <a:lnTo>
                  <a:pt x="78" y="8"/>
                </a:lnTo>
                <a:lnTo>
                  <a:pt x="76" y="10"/>
                </a:lnTo>
                <a:lnTo>
                  <a:pt x="76" y="10"/>
                </a:lnTo>
                <a:lnTo>
                  <a:pt x="72" y="12"/>
                </a:lnTo>
                <a:lnTo>
                  <a:pt x="70" y="14"/>
                </a:lnTo>
                <a:lnTo>
                  <a:pt x="70" y="14"/>
                </a:lnTo>
                <a:lnTo>
                  <a:pt x="70" y="18"/>
                </a:lnTo>
                <a:lnTo>
                  <a:pt x="68" y="20"/>
                </a:lnTo>
                <a:lnTo>
                  <a:pt x="68" y="20"/>
                </a:lnTo>
                <a:lnTo>
                  <a:pt x="70" y="22"/>
                </a:lnTo>
                <a:lnTo>
                  <a:pt x="70" y="28"/>
                </a:lnTo>
                <a:lnTo>
                  <a:pt x="70" y="28"/>
                </a:lnTo>
                <a:lnTo>
                  <a:pt x="68" y="32"/>
                </a:lnTo>
                <a:lnTo>
                  <a:pt x="62" y="36"/>
                </a:lnTo>
                <a:lnTo>
                  <a:pt x="62" y="36"/>
                </a:lnTo>
                <a:lnTo>
                  <a:pt x="60" y="38"/>
                </a:lnTo>
                <a:lnTo>
                  <a:pt x="60" y="40"/>
                </a:lnTo>
                <a:lnTo>
                  <a:pt x="60" y="42"/>
                </a:lnTo>
                <a:lnTo>
                  <a:pt x="52" y="36"/>
                </a:lnTo>
                <a:lnTo>
                  <a:pt x="52" y="36"/>
                </a:lnTo>
                <a:lnTo>
                  <a:pt x="52" y="34"/>
                </a:lnTo>
                <a:lnTo>
                  <a:pt x="48" y="34"/>
                </a:lnTo>
                <a:lnTo>
                  <a:pt x="48" y="34"/>
                </a:lnTo>
                <a:lnTo>
                  <a:pt x="46" y="34"/>
                </a:lnTo>
                <a:lnTo>
                  <a:pt x="46" y="36"/>
                </a:lnTo>
                <a:lnTo>
                  <a:pt x="46" y="36"/>
                </a:lnTo>
                <a:lnTo>
                  <a:pt x="42" y="34"/>
                </a:lnTo>
                <a:lnTo>
                  <a:pt x="42" y="34"/>
                </a:lnTo>
                <a:lnTo>
                  <a:pt x="34" y="34"/>
                </a:lnTo>
                <a:lnTo>
                  <a:pt x="28" y="36"/>
                </a:lnTo>
                <a:lnTo>
                  <a:pt x="14" y="20"/>
                </a:lnTo>
                <a:lnTo>
                  <a:pt x="14" y="20"/>
                </a:lnTo>
                <a:lnTo>
                  <a:pt x="10" y="20"/>
                </a:lnTo>
                <a:lnTo>
                  <a:pt x="8" y="20"/>
                </a:lnTo>
                <a:lnTo>
                  <a:pt x="8" y="22"/>
                </a:lnTo>
                <a:lnTo>
                  <a:pt x="6" y="24"/>
                </a:lnTo>
                <a:lnTo>
                  <a:pt x="0" y="28"/>
                </a:lnTo>
                <a:lnTo>
                  <a:pt x="0" y="28"/>
                </a:lnTo>
                <a:lnTo>
                  <a:pt x="4" y="28"/>
                </a:lnTo>
                <a:lnTo>
                  <a:pt x="8" y="30"/>
                </a:lnTo>
                <a:lnTo>
                  <a:pt x="8" y="32"/>
                </a:lnTo>
                <a:lnTo>
                  <a:pt x="8" y="32"/>
                </a:lnTo>
                <a:lnTo>
                  <a:pt x="12" y="38"/>
                </a:lnTo>
                <a:lnTo>
                  <a:pt x="14" y="40"/>
                </a:lnTo>
                <a:lnTo>
                  <a:pt x="18" y="40"/>
                </a:lnTo>
                <a:lnTo>
                  <a:pt x="18" y="40"/>
                </a:lnTo>
                <a:lnTo>
                  <a:pt x="24" y="42"/>
                </a:lnTo>
                <a:lnTo>
                  <a:pt x="26" y="42"/>
                </a:lnTo>
                <a:lnTo>
                  <a:pt x="28" y="44"/>
                </a:lnTo>
                <a:lnTo>
                  <a:pt x="28" y="44"/>
                </a:lnTo>
                <a:lnTo>
                  <a:pt x="34" y="52"/>
                </a:lnTo>
                <a:lnTo>
                  <a:pt x="34" y="52"/>
                </a:lnTo>
                <a:lnTo>
                  <a:pt x="36" y="54"/>
                </a:lnTo>
                <a:lnTo>
                  <a:pt x="36" y="58"/>
                </a:lnTo>
                <a:lnTo>
                  <a:pt x="36" y="58"/>
                </a:lnTo>
                <a:lnTo>
                  <a:pt x="36" y="60"/>
                </a:lnTo>
                <a:lnTo>
                  <a:pt x="36" y="62"/>
                </a:lnTo>
                <a:lnTo>
                  <a:pt x="36" y="64"/>
                </a:lnTo>
                <a:lnTo>
                  <a:pt x="36" y="66"/>
                </a:lnTo>
                <a:lnTo>
                  <a:pt x="36" y="66"/>
                </a:lnTo>
                <a:lnTo>
                  <a:pt x="38" y="70"/>
                </a:lnTo>
                <a:lnTo>
                  <a:pt x="38" y="74"/>
                </a:lnTo>
                <a:lnTo>
                  <a:pt x="38" y="74"/>
                </a:lnTo>
                <a:lnTo>
                  <a:pt x="38" y="80"/>
                </a:lnTo>
                <a:lnTo>
                  <a:pt x="36" y="84"/>
                </a:lnTo>
                <a:lnTo>
                  <a:pt x="36" y="84"/>
                </a:lnTo>
                <a:lnTo>
                  <a:pt x="38" y="88"/>
                </a:lnTo>
                <a:lnTo>
                  <a:pt x="40" y="9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8" name="Freeform 192">
            <a:extLst>
              <a:ext uri="{FF2B5EF4-FFF2-40B4-BE49-F238E27FC236}">
                <a16:creationId xmlns:a16="http://schemas.microsoft.com/office/drawing/2014/main" id="{DFCDFB14-314B-4A49-A40F-05754DA77E06}"/>
              </a:ext>
            </a:extLst>
          </p:cNvPr>
          <p:cNvSpPr>
            <a:spLocks noEditPoints="1"/>
          </p:cNvSpPr>
          <p:nvPr userDrawn="1"/>
        </p:nvSpPr>
        <p:spPr bwMode="auto">
          <a:xfrm>
            <a:off x="4473938" y="5252492"/>
            <a:ext cx="80497" cy="37751"/>
          </a:xfrm>
          <a:custGeom>
            <a:avLst/>
            <a:gdLst>
              <a:gd name="T0" fmla="*/ 46 w 48"/>
              <a:gd name="T1" fmla="*/ 10 h 22"/>
              <a:gd name="T2" fmla="*/ 42 w 48"/>
              <a:gd name="T3" fmla="*/ 10 h 22"/>
              <a:gd name="T4" fmla="*/ 40 w 48"/>
              <a:gd name="T5" fmla="*/ 10 h 22"/>
              <a:gd name="T6" fmla="*/ 34 w 48"/>
              <a:gd name="T7" fmla="*/ 14 h 22"/>
              <a:gd name="T8" fmla="*/ 30 w 48"/>
              <a:gd name="T9" fmla="*/ 12 h 22"/>
              <a:gd name="T10" fmla="*/ 32 w 48"/>
              <a:gd name="T11" fmla="*/ 18 h 22"/>
              <a:gd name="T12" fmla="*/ 24 w 48"/>
              <a:gd name="T13" fmla="*/ 18 h 22"/>
              <a:gd name="T14" fmla="*/ 22 w 48"/>
              <a:gd name="T15" fmla="*/ 18 h 22"/>
              <a:gd name="T16" fmla="*/ 22 w 48"/>
              <a:gd name="T17" fmla="*/ 22 h 22"/>
              <a:gd name="T18" fmla="*/ 22 w 48"/>
              <a:gd name="T19" fmla="*/ 22 h 22"/>
              <a:gd name="T20" fmla="*/ 22 w 48"/>
              <a:gd name="T21" fmla="*/ 22 h 22"/>
              <a:gd name="T22" fmla="*/ 18 w 48"/>
              <a:gd name="T23" fmla="*/ 20 h 22"/>
              <a:gd name="T24" fmla="*/ 16 w 48"/>
              <a:gd name="T25" fmla="*/ 18 h 22"/>
              <a:gd name="T26" fmla="*/ 18 w 48"/>
              <a:gd name="T27" fmla="*/ 18 h 22"/>
              <a:gd name="T28" fmla="*/ 18 w 48"/>
              <a:gd name="T29" fmla="*/ 16 h 22"/>
              <a:gd name="T30" fmla="*/ 20 w 48"/>
              <a:gd name="T31" fmla="*/ 12 h 22"/>
              <a:gd name="T32" fmla="*/ 24 w 48"/>
              <a:gd name="T33" fmla="*/ 8 h 22"/>
              <a:gd name="T34" fmla="*/ 26 w 48"/>
              <a:gd name="T35" fmla="*/ 8 h 22"/>
              <a:gd name="T36" fmla="*/ 26 w 48"/>
              <a:gd name="T37" fmla="*/ 6 h 22"/>
              <a:gd name="T38" fmla="*/ 26 w 48"/>
              <a:gd name="T39" fmla="*/ 4 h 22"/>
              <a:gd name="T40" fmla="*/ 32 w 48"/>
              <a:gd name="T41" fmla="*/ 0 h 22"/>
              <a:gd name="T42" fmla="*/ 36 w 48"/>
              <a:gd name="T43" fmla="*/ 2 h 22"/>
              <a:gd name="T44" fmla="*/ 34 w 48"/>
              <a:gd name="T45" fmla="*/ 4 h 22"/>
              <a:gd name="T46" fmla="*/ 34 w 48"/>
              <a:gd name="T47" fmla="*/ 4 h 22"/>
              <a:gd name="T48" fmla="*/ 36 w 48"/>
              <a:gd name="T49" fmla="*/ 6 h 22"/>
              <a:gd name="T50" fmla="*/ 40 w 48"/>
              <a:gd name="T51" fmla="*/ 4 h 22"/>
              <a:gd name="T52" fmla="*/ 42 w 48"/>
              <a:gd name="T53" fmla="*/ 2 h 22"/>
              <a:gd name="T54" fmla="*/ 42 w 48"/>
              <a:gd name="T55" fmla="*/ 2 h 22"/>
              <a:gd name="T56" fmla="*/ 42 w 48"/>
              <a:gd name="T57" fmla="*/ 6 h 22"/>
              <a:gd name="T58" fmla="*/ 48 w 48"/>
              <a:gd name="T59" fmla="*/ 8 h 22"/>
              <a:gd name="T60" fmla="*/ 24 w 48"/>
              <a:gd name="T61" fmla="*/ 2 h 22"/>
              <a:gd name="T62" fmla="*/ 14 w 48"/>
              <a:gd name="T63" fmla="*/ 2 h 22"/>
              <a:gd name="T64" fmla="*/ 6 w 48"/>
              <a:gd name="T65" fmla="*/ 0 h 22"/>
              <a:gd name="T66" fmla="*/ 6 w 48"/>
              <a:gd name="T67" fmla="*/ 4 h 22"/>
              <a:gd name="T68" fmla="*/ 4 w 48"/>
              <a:gd name="T69" fmla="*/ 6 h 22"/>
              <a:gd name="T70" fmla="*/ 8 w 48"/>
              <a:gd name="T71" fmla="*/ 6 h 22"/>
              <a:gd name="T72" fmla="*/ 8 w 48"/>
              <a:gd name="T73" fmla="*/ 10 h 22"/>
              <a:gd name="T74" fmla="*/ 2 w 48"/>
              <a:gd name="T75" fmla="*/ 14 h 22"/>
              <a:gd name="T76" fmla="*/ 2 w 48"/>
              <a:gd name="T77" fmla="*/ 20 h 22"/>
              <a:gd name="T78" fmla="*/ 6 w 48"/>
              <a:gd name="T79" fmla="*/ 18 h 22"/>
              <a:gd name="T80" fmla="*/ 6 w 48"/>
              <a:gd name="T81" fmla="*/ 14 h 22"/>
              <a:gd name="T82" fmla="*/ 10 w 48"/>
              <a:gd name="T83" fmla="*/ 14 h 22"/>
              <a:gd name="T84" fmla="*/ 14 w 48"/>
              <a:gd name="T85" fmla="*/ 14 h 22"/>
              <a:gd name="T86" fmla="*/ 18 w 48"/>
              <a:gd name="T87" fmla="*/ 6 h 22"/>
              <a:gd name="T88" fmla="*/ 20 w 48"/>
              <a:gd name="T89"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22">
                <a:moveTo>
                  <a:pt x="48" y="8"/>
                </a:moveTo>
                <a:lnTo>
                  <a:pt x="46" y="10"/>
                </a:lnTo>
                <a:lnTo>
                  <a:pt x="46" y="10"/>
                </a:lnTo>
                <a:lnTo>
                  <a:pt x="42" y="10"/>
                </a:lnTo>
                <a:lnTo>
                  <a:pt x="40" y="8"/>
                </a:lnTo>
                <a:lnTo>
                  <a:pt x="40" y="10"/>
                </a:lnTo>
                <a:lnTo>
                  <a:pt x="40" y="10"/>
                </a:lnTo>
                <a:lnTo>
                  <a:pt x="34" y="14"/>
                </a:lnTo>
                <a:lnTo>
                  <a:pt x="30" y="12"/>
                </a:lnTo>
                <a:lnTo>
                  <a:pt x="30" y="12"/>
                </a:lnTo>
                <a:lnTo>
                  <a:pt x="32" y="18"/>
                </a:lnTo>
                <a:lnTo>
                  <a:pt x="32" y="18"/>
                </a:lnTo>
                <a:lnTo>
                  <a:pt x="28" y="18"/>
                </a:lnTo>
                <a:lnTo>
                  <a:pt x="24" y="18"/>
                </a:lnTo>
                <a:lnTo>
                  <a:pt x="24" y="18"/>
                </a:lnTo>
                <a:lnTo>
                  <a:pt x="22" y="18"/>
                </a:lnTo>
                <a:lnTo>
                  <a:pt x="22" y="20"/>
                </a:lnTo>
                <a:lnTo>
                  <a:pt x="22" y="22"/>
                </a:lnTo>
                <a:lnTo>
                  <a:pt x="22" y="22"/>
                </a:lnTo>
                <a:lnTo>
                  <a:pt x="22" y="22"/>
                </a:lnTo>
                <a:lnTo>
                  <a:pt x="22" y="22"/>
                </a:lnTo>
                <a:lnTo>
                  <a:pt x="22" y="22"/>
                </a:lnTo>
                <a:lnTo>
                  <a:pt x="18" y="20"/>
                </a:lnTo>
                <a:lnTo>
                  <a:pt x="18" y="20"/>
                </a:lnTo>
                <a:lnTo>
                  <a:pt x="16" y="18"/>
                </a:lnTo>
                <a:lnTo>
                  <a:pt x="16" y="18"/>
                </a:lnTo>
                <a:lnTo>
                  <a:pt x="18" y="18"/>
                </a:lnTo>
                <a:lnTo>
                  <a:pt x="18" y="18"/>
                </a:lnTo>
                <a:lnTo>
                  <a:pt x="18" y="16"/>
                </a:lnTo>
                <a:lnTo>
                  <a:pt x="18" y="16"/>
                </a:lnTo>
                <a:lnTo>
                  <a:pt x="18" y="16"/>
                </a:lnTo>
                <a:lnTo>
                  <a:pt x="20" y="12"/>
                </a:lnTo>
                <a:lnTo>
                  <a:pt x="24" y="8"/>
                </a:lnTo>
                <a:lnTo>
                  <a:pt x="24" y="8"/>
                </a:lnTo>
                <a:lnTo>
                  <a:pt x="26" y="8"/>
                </a:lnTo>
                <a:lnTo>
                  <a:pt x="26" y="8"/>
                </a:lnTo>
                <a:lnTo>
                  <a:pt x="26" y="6"/>
                </a:lnTo>
                <a:lnTo>
                  <a:pt x="26" y="6"/>
                </a:lnTo>
                <a:lnTo>
                  <a:pt x="26" y="4"/>
                </a:lnTo>
                <a:lnTo>
                  <a:pt x="26" y="4"/>
                </a:lnTo>
                <a:lnTo>
                  <a:pt x="32" y="0"/>
                </a:lnTo>
                <a:lnTo>
                  <a:pt x="32" y="0"/>
                </a:lnTo>
                <a:lnTo>
                  <a:pt x="36" y="0"/>
                </a:lnTo>
                <a:lnTo>
                  <a:pt x="36" y="2"/>
                </a:lnTo>
                <a:lnTo>
                  <a:pt x="36" y="2"/>
                </a:lnTo>
                <a:lnTo>
                  <a:pt x="34" y="4"/>
                </a:lnTo>
                <a:lnTo>
                  <a:pt x="34" y="4"/>
                </a:lnTo>
                <a:lnTo>
                  <a:pt x="34" y="4"/>
                </a:lnTo>
                <a:lnTo>
                  <a:pt x="36" y="6"/>
                </a:lnTo>
                <a:lnTo>
                  <a:pt x="36" y="6"/>
                </a:lnTo>
                <a:lnTo>
                  <a:pt x="40" y="4"/>
                </a:lnTo>
                <a:lnTo>
                  <a:pt x="40" y="4"/>
                </a:lnTo>
                <a:lnTo>
                  <a:pt x="40" y="2"/>
                </a:lnTo>
                <a:lnTo>
                  <a:pt x="42" y="2"/>
                </a:lnTo>
                <a:lnTo>
                  <a:pt x="42" y="2"/>
                </a:lnTo>
                <a:lnTo>
                  <a:pt x="42" y="2"/>
                </a:lnTo>
                <a:lnTo>
                  <a:pt x="42" y="6"/>
                </a:lnTo>
                <a:lnTo>
                  <a:pt x="42" y="6"/>
                </a:lnTo>
                <a:lnTo>
                  <a:pt x="48" y="8"/>
                </a:lnTo>
                <a:lnTo>
                  <a:pt x="48" y="8"/>
                </a:lnTo>
                <a:close/>
                <a:moveTo>
                  <a:pt x="20" y="6"/>
                </a:moveTo>
                <a:lnTo>
                  <a:pt x="24" y="2"/>
                </a:lnTo>
                <a:lnTo>
                  <a:pt x="24" y="2"/>
                </a:lnTo>
                <a:lnTo>
                  <a:pt x="14" y="2"/>
                </a:lnTo>
                <a:lnTo>
                  <a:pt x="6" y="0"/>
                </a:lnTo>
                <a:lnTo>
                  <a:pt x="6" y="0"/>
                </a:lnTo>
                <a:lnTo>
                  <a:pt x="6" y="4"/>
                </a:lnTo>
                <a:lnTo>
                  <a:pt x="6" y="4"/>
                </a:lnTo>
                <a:lnTo>
                  <a:pt x="6" y="6"/>
                </a:lnTo>
                <a:lnTo>
                  <a:pt x="4" y="6"/>
                </a:lnTo>
                <a:lnTo>
                  <a:pt x="4" y="6"/>
                </a:lnTo>
                <a:lnTo>
                  <a:pt x="8" y="6"/>
                </a:lnTo>
                <a:lnTo>
                  <a:pt x="8" y="6"/>
                </a:lnTo>
                <a:lnTo>
                  <a:pt x="8" y="10"/>
                </a:lnTo>
                <a:lnTo>
                  <a:pt x="8" y="10"/>
                </a:lnTo>
                <a:lnTo>
                  <a:pt x="2" y="14"/>
                </a:lnTo>
                <a:lnTo>
                  <a:pt x="0" y="16"/>
                </a:lnTo>
                <a:lnTo>
                  <a:pt x="2" y="20"/>
                </a:lnTo>
                <a:lnTo>
                  <a:pt x="2" y="20"/>
                </a:lnTo>
                <a:lnTo>
                  <a:pt x="6" y="18"/>
                </a:lnTo>
                <a:lnTo>
                  <a:pt x="6" y="16"/>
                </a:lnTo>
                <a:lnTo>
                  <a:pt x="6" y="14"/>
                </a:lnTo>
                <a:lnTo>
                  <a:pt x="6" y="14"/>
                </a:lnTo>
                <a:lnTo>
                  <a:pt x="10" y="14"/>
                </a:lnTo>
                <a:lnTo>
                  <a:pt x="10" y="14"/>
                </a:lnTo>
                <a:lnTo>
                  <a:pt x="14" y="14"/>
                </a:lnTo>
                <a:lnTo>
                  <a:pt x="14" y="14"/>
                </a:lnTo>
                <a:lnTo>
                  <a:pt x="18" y="6"/>
                </a:lnTo>
                <a:lnTo>
                  <a:pt x="18" y="6"/>
                </a:lnTo>
                <a:lnTo>
                  <a:pt x="20" y="6"/>
                </a:lnTo>
                <a:lnTo>
                  <a:pt x="20" y="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9" name="Freeform 193">
            <a:extLst>
              <a:ext uri="{FF2B5EF4-FFF2-40B4-BE49-F238E27FC236}">
                <a16:creationId xmlns:a16="http://schemas.microsoft.com/office/drawing/2014/main" id="{5F9507F5-14F8-4EB7-8343-5F675B8A53F2}"/>
              </a:ext>
            </a:extLst>
          </p:cNvPr>
          <p:cNvSpPr>
            <a:spLocks/>
          </p:cNvSpPr>
          <p:nvPr userDrawn="1"/>
        </p:nvSpPr>
        <p:spPr bwMode="auto">
          <a:xfrm>
            <a:off x="6685948" y="3358042"/>
            <a:ext cx="13417" cy="17160"/>
          </a:xfrm>
          <a:custGeom>
            <a:avLst/>
            <a:gdLst>
              <a:gd name="T0" fmla="*/ 6 w 8"/>
              <a:gd name="T1" fmla="*/ 0 h 10"/>
              <a:gd name="T2" fmla="*/ 6 w 8"/>
              <a:gd name="T3" fmla="*/ 0 h 10"/>
              <a:gd name="T4" fmla="*/ 8 w 8"/>
              <a:gd name="T5" fmla="*/ 2 h 10"/>
              <a:gd name="T6" fmla="*/ 8 w 8"/>
              <a:gd name="T7" fmla="*/ 2 h 10"/>
              <a:gd name="T8" fmla="*/ 8 w 8"/>
              <a:gd name="T9" fmla="*/ 6 h 10"/>
              <a:gd name="T10" fmla="*/ 4 w 8"/>
              <a:gd name="T11" fmla="*/ 10 h 10"/>
              <a:gd name="T12" fmla="*/ 4 w 8"/>
              <a:gd name="T13" fmla="*/ 10 h 10"/>
              <a:gd name="T14" fmla="*/ 0 w 8"/>
              <a:gd name="T15" fmla="*/ 6 h 10"/>
              <a:gd name="T16" fmla="*/ 0 w 8"/>
              <a:gd name="T17" fmla="*/ 2 h 10"/>
              <a:gd name="T18" fmla="*/ 0 w 8"/>
              <a:gd name="T19" fmla="*/ 0 h 10"/>
              <a:gd name="T20" fmla="*/ 6 w 8"/>
              <a:gd name="T21" fmla="*/ 0 h 10"/>
              <a:gd name="T22" fmla="*/ 6 w 8"/>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0">
                <a:moveTo>
                  <a:pt x="6" y="0"/>
                </a:moveTo>
                <a:lnTo>
                  <a:pt x="6" y="0"/>
                </a:lnTo>
                <a:lnTo>
                  <a:pt x="8" y="2"/>
                </a:lnTo>
                <a:lnTo>
                  <a:pt x="8" y="2"/>
                </a:lnTo>
                <a:lnTo>
                  <a:pt x="8" y="6"/>
                </a:lnTo>
                <a:lnTo>
                  <a:pt x="4" y="10"/>
                </a:lnTo>
                <a:lnTo>
                  <a:pt x="4" y="10"/>
                </a:lnTo>
                <a:lnTo>
                  <a:pt x="0" y="6"/>
                </a:lnTo>
                <a:lnTo>
                  <a:pt x="0" y="2"/>
                </a:lnTo>
                <a:lnTo>
                  <a:pt x="0" y="0"/>
                </a:lnTo>
                <a:lnTo>
                  <a:pt x="6" y="0"/>
                </a:lnTo>
                <a:lnTo>
                  <a:pt x="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0" name="Freeform 194">
            <a:extLst>
              <a:ext uri="{FF2B5EF4-FFF2-40B4-BE49-F238E27FC236}">
                <a16:creationId xmlns:a16="http://schemas.microsoft.com/office/drawing/2014/main" id="{03C18AC2-60BD-43C4-BD49-6F2CBC9278CB}"/>
              </a:ext>
            </a:extLst>
          </p:cNvPr>
          <p:cNvSpPr>
            <a:spLocks/>
          </p:cNvSpPr>
          <p:nvPr userDrawn="1"/>
        </p:nvSpPr>
        <p:spPr bwMode="auto">
          <a:xfrm>
            <a:off x="6585326" y="3261947"/>
            <a:ext cx="348824" cy="305446"/>
          </a:xfrm>
          <a:custGeom>
            <a:avLst/>
            <a:gdLst>
              <a:gd name="T0" fmla="*/ 134 w 208"/>
              <a:gd name="T1" fmla="*/ 74 h 178"/>
              <a:gd name="T2" fmla="*/ 142 w 208"/>
              <a:gd name="T3" fmla="*/ 84 h 178"/>
              <a:gd name="T4" fmla="*/ 148 w 208"/>
              <a:gd name="T5" fmla="*/ 92 h 178"/>
              <a:gd name="T6" fmla="*/ 190 w 208"/>
              <a:gd name="T7" fmla="*/ 112 h 178"/>
              <a:gd name="T8" fmla="*/ 156 w 208"/>
              <a:gd name="T9" fmla="*/ 166 h 178"/>
              <a:gd name="T10" fmla="*/ 134 w 208"/>
              <a:gd name="T11" fmla="*/ 174 h 178"/>
              <a:gd name="T12" fmla="*/ 124 w 208"/>
              <a:gd name="T13" fmla="*/ 176 h 178"/>
              <a:gd name="T14" fmla="*/ 116 w 208"/>
              <a:gd name="T15" fmla="*/ 172 h 178"/>
              <a:gd name="T16" fmla="*/ 112 w 208"/>
              <a:gd name="T17" fmla="*/ 172 h 178"/>
              <a:gd name="T18" fmla="*/ 106 w 208"/>
              <a:gd name="T19" fmla="*/ 174 h 178"/>
              <a:gd name="T20" fmla="*/ 102 w 208"/>
              <a:gd name="T21" fmla="*/ 178 h 178"/>
              <a:gd name="T22" fmla="*/ 94 w 208"/>
              <a:gd name="T23" fmla="*/ 178 h 178"/>
              <a:gd name="T24" fmla="*/ 86 w 208"/>
              <a:gd name="T25" fmla="*/ 178 h 178"/>
              <a:gd name="T26" fmla="*/ 76 w 208"/>
              <a:gd name="T27" fmla="*/ 176 h 178"/>
              <a:gd name="T28" fmla="*/ 66 w 208"/>
              <a:gd name="T29" fmla="*/ 176 h 178"/>
              <a:gd name="T30" fmla="*/ 62 w 208"/>
              <a:gd name="T31" fmla="*/ 176 h 178"/>
              <a:gd name="T32" fmla="*/ 48 w 208"/>
              <a:gd name="T33" fmla="*/ 176 h 178"/>
              <a:gd name="T34" fmla="*/ 46 w 208"/>
              <a:gd name="T35" fmla="*/ 168 h 178"/>
              <a:gd name="T36" fmla="*/ 44 w 208"/>
              <a:gd name="T37" fmla="*/ 164 h 178"/>
              <a:gd name="T38" fmla="*/ 34 w 208"/>
              <a:gd name="T39" fmla="*/ 162 h 178"/>
              <a:gd name="T40" fmla="*/ 32 w 208"/>
              <a:gd name="T41" fmla="*/ 158 h 178"/>
              <a:gd name="T42" fmla="*/ 26 w 208"/>
              <a:gd name="T43" fmla="*/ 144 h 178"/>
              <a:gd name="T44" fmla="*/ 22 w 208"/>
              <a:gd name="T45" fmla="*/ 138 h 178"/>
              <a:gd name="T46" fmla="*/ 16 w 208"/>
              <a:gd name="T47" fmla="*/ 130 h 178"/>
              <a:gd name="T48" fmla="*/ 10 w 208"/>
              <a:gd name="T49" fmla="*/ 124 h 178"/>
              <a:gd name="T50" fmla="*/ 0 w 208"/>
              <a:gd name="T51" fmla="*/ 122 h 178"/>
              <a:gd name="T52" fmla="*/ 2 w 208"/>
              <a:gd name="T53" fmla="*/ 114 h 178"/>
              <a:gd name="T54" fmla="*/ 12 w 208"/>
              <a:gd name="T55" fmla="*/ 112 h 178"/>
              <a:gd name="T56" fmla="*/ 14 w 208"/>
              <a:gd name="T57" fmla="*/ 108 h 178"/>
              <a:gd name="T58" fmla="*/ 16 w 208"/>
              <a:gd name="T59" fmla="*/ 88 h 178"/>
              <a:gd name="T60" fmla="*/ 20 w 208"/>
              <a:gd name="T61" fmla="*/ 82 h 178"/>
              <a:gd name="T62" fmla="*/ 22 w 208"/>
              <a:gd name="T63" fmla="*/ 72 h 178"/>
              <a:gd name="T64" fmla="*/ 28 w 208"/>
              <a:gd name="T65" fmla="*/ 60 h 178"/>
              <a:gd name="T66" fmla="*/ 34 w 208"/>
              <a:gd name="T67" fmla="*/ 54 h 178"/>
              <a:gd name="T68" fmla="*/ 38 w 208"/>
              <a:gd name="T69" fmla="*/ 46 h 178"/>
              <a:gd name="T70" fmla="*/ 42 w 208"/>
              <a:gd name="T71" fmla="*/ 34 h 178"/>
              <a:gd name="T72" fmla="*/ 50 w 208"/>
              <a:gd name="T73" fmla="*/ 22 h 178"/>
              <a:gd name="T74" fmla="*/ 64 w 208"/>
              <a:gd name="T75" fmla="*/ 8 h 178"/>
              <a:gd name="T76" fmla="*/ 68 w 208"/>
              <a:gd name="T77" fmla="*/ 8 h 178"/>
              <a:gd name="T78" fmla="*/ 72 w 208"/>
              <a:gd name="T79" fmla="*/ 12 h 178"/>
              <a:gd name="T80" fmla="*/ 76 w 208"/>
              <a:gd name="T81" fmla="*/ 0 h 178"/>
              <a:gd name="T82" fmla="*/ 84 w 208"/>
              <a:gd name="T83" fmla="*/ 4 h 178"/>
              <a:gd name="T84" fmla="*/ 88 w 208"/>
              <a:gd name="T85" fmla="*/ 8 h 178"/>
              <a:gd name="T86" fmla="*/ 94 w 208"/>
              <a:gd name="T87" fmla="*/ 8 h 178"/>
              <a:gd name="T88" fmla="*/ 102 w 208"/>
              <a:gd name="T89" fmla="*/ 12 h 178"/>
              <a:gd name="T90" fmla="*/ 114 w 208"/>
              <a:gd name="T91" fmla="*/ 18 h 178"/>
              <a:gd name="T92" fmla="*/ 122 w 208"/>
              <a:gd name="T93" fmla="*/ 30 h 178"/>
              <a:gd name="T94" fmla="*/ 130 w 208"/>
              <a:gd name="T95" fmla="*/ 38 h 178"/>
              <a:gd name="T96" fmla="*/ 124 w 208"/>
              <a:gd name="T97" fmla="*/ 48 h 178"/>
              <a:gd name="T98" fmla="*/ 122 w 208"/>
              <a:gd name="T99" fmla="*/ 56 h 178"/>
              <a:gd name="T100" fmla="*/ 120 w 208"/>
              <a:gd name="T101" fmla="*/ 64 h 178"/>
              <a:gd name="T102" fmla="*/ 128 w 208"/>
              <a:gd name="T103" fmla="*/ 68 h 178"/>
              <a:gd name="T104" fmla="*/ 138 w 208"/>
              <a:gd name="T105" fmla="*/ 6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178">
                <a:moveTo>
                  <a:pt x="138" y="68"/>
                </a:moveTo>
                <a:lnTo>
                  <a:pt x="134" y="74"/>
                </a:lnTo>
                <a:lnTo>
                  <a:pt x="134" y="74"/>
                </a:lnTo>
                <a:lnTo>
                  <a:pt x="140" y="80"/>
                </a:lnTo>
                <a:lnTo>
                  <a:pt x="140" y="80"/>
                </a:lnTo>
                <a:lnTo>
                  <a:pt x="142" y="84"/>
                </a:lnTo>
                <a:lnTo>
                  <a:pt x="144" y="88"/>
                </a:lnTo>
                <a:lnTo>
                  <a:pt x="144" y="88"/>
                </a:lnTo>
                <a:lnTo>
                  <a:pt x="148" y="92"/>
                </a:lnTo>
                <a:lnTo>
                  <a:pt x="154" y="96"/>
                </a:lnTo>
                <a:lnTo>
                  <a:pt x="154" y="96"/>
                </a:lnTo>
                <a:lnTo>
                  <a:pt x="190" y="112"/>
                </a:lnTo>
                <a:lnTo>
                  <a:pt x="208" y="112"/>
                </a:lnTo>
                <a:lnTo>
                  <a:pt x="172" y="166"/>
                </a:lnTo>
                <a:lnTo>
                  <a:pt x="156" y="166"/>
                </a:lnTo>
                <a:lnTo>
                  <a:pt x="150" y="170"/>
                </a:lnTo>
                <a:lnTo>
                  <a:pt x="138" y="170"/>
                </a:lnTo>
                <a:lnTo>
                  <a:pt x="134" y="174"/>
                </a:lnTo>
                <a:lnTo>
                  <a:pt x="134" y="174"/>
                </a:lnTo>
                <a:lnTo>
                  <a:pt x="128" y="174"/>
                </a:lnTo>
                <a:lnTo>
                  <a:pt x="124" y="176"/>
                </a:lnTo>
                <a:lnTo>
                  <a:pt x="120" y="174"/>
                </a:lnTo>
                <a:lnTo>
                  <a:pt x="120" y="174"/>
                </a:lnTo>
                <a:lnTo>
                  <a:pt x="116" y="172"/>
                </a:lnTo>
                <a:lnTo>
                  <a:pt x="116" y="170"/>
                </a:lnTo>
                <a:lnTo>
                  <a:pt x="116" y="170"/>
                </a:lnTo>
                <a:lnTo>
                  <a:pt x="112" y="172"/>
                </a:lnTo>
                <a:lnTo>
                  <a:pt x="110" y="174"/>
                </a:lnTo>
                <a:lnTo>
                  <a:pt x="106" y="174"/>
                </a:lnTo>
                <a:lnTo>
                  <a:pt x="106" y="174"/>
                </a:lnTo>
                <a:lnTo>
                  <a:pt x="104" y="174"/>
                </a:lnTo>
                <a:lnTo>
                  <a:pt x="102" y="174"/>
                </a:lnTo>
                <a:lnTo>
                  <a:pt x="102" y="178"/>
                </a:lnTo>
                <a:lnTo>
                  <a:pt x="102" y="178"/>
                </a:lnTo>
                <a:lnTo>
                  <a:pt x="94" y="178"/>
                </a:lnTo>
                <a:lnTo>
                  <a:pt x="94" y="178"/>
                </a:lnTo>
                <a:lnTo>
                  <a:pt x="90" y="178"/>
                </a:lnTo>
                <a:lnTo>
                  <a:pt x="86" y="178"/>
                </a:lnTo>
                <a:lnTo>
                  <a:pt x="86" y="178"/>
                </a:lnTo>
                <a:lnTo>
                  <a:pt x="80" y="176"/>
                </a:lnTo>
                <a:lnTo>
                  <a:pt x="76" y="176"/>
                </a:lnTo>
                <a:lnTo>
                  <a:pt x="76" y="176"/>
                </a:lnTo>
                <a:lnTo>
                  <a:pt x="72" y="176"/>
                </a:lnTo>
                <a:lnTo>
                  <a:pt x="68" y="178"/>
                </a:lnTo>
                <a:lnTo>
                  <a:pt x="66" y="176"/>
                </a:lnTo>
                <a:lnTo>
                  <a:pt x="66" y="176"/>
                </a:lnTo>
                <a:lnTo>
                  <a:pt x="64" y="176"/>
                </a:lnTo>
                <a:lnTo>
                  <a:pt x="62" y="176"/>
                </a:lnTo>
                <a:lnTo>
                  <a:pt x="58" y="178"/>
                </a:lnTo>
                <a:lnTo>
                  <a:pt x="58" y="178"/>
                </a:lnTo>
                <a:lnTo>
                  <a:pt x="48" y="176"/>
                </a:lnTo>
                <a:lnTo>
                  <a:pt x="46" y="172"/>
                </a:lnTo>
                <a:lnTo>
                  <a:pt x="46" y="172"/>
                </a:lnTo>
                <a:lnTo>
                  <a:pt x="46" y="168"/>
                </a:lnTo>
                <a:lnTo>
                  <a:pt x="46" y="166"/>
                </a:lnTo>
                <a:lnTo>
                  <a:pt x="44" y="164"/>
                </a:lnTo>
                <a:lnTo>
                  <a:pt x="44" y="164"/>
                </a:lnTo>
                <a:lnTo>
                  <a:pt x="40" y="164"/>
                </a:lnTo>
                <a:lnTo>
                  <a:pt x="40" y="164"/>
                </a:lnTo>
                <a:lnTo>
                  <a:pt x="34" y="162"/>
                </a:lnTo>
                <a:lnTo>
                  <a:pt x="32" y="162"/>
                </a:lnTo>
                <a:lnTo>
                  <a:pt x="32" y="158"/>
                </a:lnTo>
                <a:lnTo>
                  <a:pt x="32" y="158"/>
                </a:lnTo>
                <a:lnTo>
                  <a:pt x="28" y="152"/>
                </a:lnTo>
                <a:lnTo>
                  <a:pt x="26" y="144"/>
                </a:lnTo>
                <a:lnTo>
                  <a:pt x="26" y="144"/>
                </a:lnTo>
                <a:lnTo>
                  <a:pt x="26" y="140"/>
                </a:lnTo>
                <a:lnTo>
                  <a:pt x="22" y="138"/>
                </a:lnTo>
                <a:lnTo>
                  <a:pt x="22" y="138"/>
                </a:lnTo>
                <a:lnTo>
                  <a:pt x="20" y="134"/>
                </a:lnTo>
                <a:lnTo>
                  <a:pt x="16" y="130"/>
                </a:lnTo>
                <a:lnTo>
                  <a:pt x="16" y="130"/>
                </a:lnTo>
                <a:lnTo>
                  <a:pt x="14" y="126"/>
                </a:lnTo>
                <a:lnTo>
                  <a:pt x="10" y="124"/>
                </a:lnTo>
                <a:lnTo>
                  <a:pt x="10" y="124"/>
                </a:lnTo>
                <a:lnTo>
                  <a:pt x="4" y="124"/>
                </a:lnTo>
                <a:lnTo>
                  <a:pt x="2" y="124"/>
                </a:lnTo>
                <a:lnTo>
                  <a:pt x="0" y="122"/>
                </a:lnTo>
                <a:lnTo>
                  <a:pt x="0" y="122"/>
                </a:lnTo>
                <a:lnTo>
                  <a:pt x="2" y="114"/>
                </a:lnTo>
                <a:lnTo>
                  <a:pt x="2" y="114"/>
                </a:lnTo>
                <a:lnTo>
                  <a:pt x="8" y="114"/>
                </a:lnTo>
                <a:lnTo>
                  <a:pt x="8" y="114"/>
                </a:lnTo>
                <a:lnTo>
                  <a:pt x="12" y="112"/>
                </a:lnTo>
                <a:lnTo>
                  <a:pt x="12" y="112"/>
                </a:lnTo>
                <a:lnTo>
                  <a:pt x="12" y="112"/>
                </a:lnTo>
                <a:lnTo>
                  <a:pt x="14" y="108"/>
                </a:lnTo>
                <a:lnTo>
                  <a:pt x="16" y="104"/>
                </a:lnTo>
                <a:lnTo>
                  <a:pt x="16" y="104"/>
                </a:lnTo>
                <a:lnTo>
                  <a:pt x="16" y="88"/>
                </a:lnTo>
                <a:lnTo>
                  <a:pt x="16" y="88"/>
                </a:lnTo>
                <a:lnTo>
                  <a:pt x="16" y="86"/>
                </a:lnTo>
                <a:lnTo>
                  <a:pt x="20" y="82"/>
                </a:lnTo>
                <a:lnTo>
                  <a:pt x="22" y="76"/>
                </a:lnTo>
                <a:lnTo>
                  <a:pt x="22" y="72"/>
                </a:lnTo>
                <a:lnTo>
                  <a:pt x="22" y="72"/>
                </a:lnTo>
                <a:lnTo>
                  <a:pt x="22" y="64"/>
                </a:lnTo>
                <a:lnTo>
                  <a:pt x="22" y="64"/>
                </a:lnTo>
                <a:lnTo>
                  <a:pt x="28" y="60"/>
                </a:lnTo>
                <a:lnTo>
                  <a:pt x="28" y="60"/>
                </a:lnTo>
                <a:lnTo>
                  <a:pt x="32" y="58"/>
                </a:lnTo>
                <a:lnTo>
                  <a:pt x="34" y="54"/>
                </a:lnTo>
                <a:lnTo>
                  <a:pt x="34" y="54"/>
                </a:lnTo>
                <a:lnTo>
                  <a:pt x="38" y="46"/>
                </a:lnTo>
                <a:lnTo>
                  <a:pt x="38" y="46"/>
                </a:lnTo>
                <a:lnTo>
                  <a:pt x="40" y="40"/>
                </a:lnTo>
                <a:lnTo>
                  <a:pt x="42" y="34"/>
                </a:lnTo>
                <a:lnTo>
                  <a:pt x="42" y="34"/>
                </a:lnTo>
                <a:lnTo>
                  <a:pt x="44" y="30"/>
                </a:lnTo>
                <a:lnTo>
                  <a:pt x="46" y="26"/>
                </a:lnTo>
                <a:lnTo>
                  <a:pt x="50" y="22"/>
                </a:lnTo>
                <a:lnTo>
                  <a:pt x="50" y="22"/>
                </a:lnTo>
                <a:lnTo>
                  <a:pt x="56" y="10"/>
                </a:lnTo>
                <a:lnTo>
                  <a:pt x="64" y="8"/>
                </a:lnTo>
                <a:lnTo>
                  <a:pt x="64" y="8"/>
                </a:lnTo>
                <a:lnTo>
                  <a:pt x="66" y="8"/>
                </a:lnTo>
                <a:lnTo>
                  <a:pt x="68" y="8"/>
                </a:lnTo>
                <a:lnTo>
                  <a:pt x="70" y="8"/>
                </a:lnTo>
                <a:lnTo>
                  <a:pt x="70" y="8"/>
                </a:lnTo>
                <a:lnTo>
                  <a:pt x="72" y="12"/>
                </a:lnTo>
                <a:lnTo>
                  <a:pt x="76" y="0"/>
                </a:lnTo>
                <a:lnTo>
                  <a:pt x="76" y="0"/>
                </a:lnTo>
                <a:lnTo>
                  <a:pt x="76" y="0"/>
                </a:lnTo>
                <a:lnTo>
                  <a:pt x="80" y="0"/>
                </a:lnTo>
                <a:lnTo>
                  <a:pt x="80" y="0"/>
                </a:lnTo>
                <a:lnTo>
                  <a:pt x="84" y="4"/>
                </a:lnTo>
                <a:lnTo>
                  <a:pt x="86" y="6"/>
                </a:lnTo>
                <a:lnTo>
                  <a:pt x="88" y="8"/>
                </a:lnTo>
                <a:lnTo>
                  <a:pt x="88" y="8"/>
                </a:lnTo>
                <a:lnTo>
                  <a:pt x="92" y="6"/>
                </a:lnTo>
                <a:lnTo>
                  <a:pt x="94" y="6"/>
                </a:lnTo>
                <a:lnTo>
                  <a:pt x="94" y="8"/>
                </a:lnTo>
                <a:lnTo>
                  <a:pt x="94" y="8"/>
                </a:lnTo>
                <a:lnTo>
                  <a:pt x="98" y="10"/>
                </a:lnTo>
                <a:lnTo>
                  <a:pt x="102" y="12"/>
                </a:lnTo>
                <a:lnTo>
                  <a:pt x="110" y="14"/>
                </a:lnTo>
                <a:lnTo>
                  <a:pt x="110" y="14"/>
                </a:lnTo>
                <a:lnTo>
                  <a:pt x="114" y="18"/>
                </a:lnTo>
                <a:lnTo>
                  <a:pt x="118" y="22"/>
                </a:lnTo>
                <a:lnTo>
                  <a:pt x="118" y="22"/>
                </a:lnTo>
                <a:lnTo>
                  <a:pt x="122" y="30"/>
                </a:lnTo>
                <a:lnTo>
                  <a:pt x="124" y="34"/>
                </a:lnTo>
                <a:lnTo>
                  <a:pt x="124" y="34"/>
                </a:lnTo>
                <a:lnTo>
                  <a:pt x="130" y="38"/>
                </a:lnTo>
                <a:lnTo>
                  <a:pt x="130" y="38"/>
                </a:lnTo>
                <a:lnTo>
                  <a:pt x="126" y="44"/>
                </a:lnTo>
                <a:lnTo>
                  <a:pt x="124" y="48"/>
                </a:lnTo>
                <a:lnTo>
                  <a:pt x="124" y="52"/>
                </a:lnTo>
                <a:lnTo>
                  <a:pt x="124" y="52"/>
                </a:lnTo>
                <a:lnTo>
                  <a:pt x="122" y="56"/>
                </a:lnTo>
                <a:lnTo>
                  <a:pt x="122" y="58"/>
                </a:lnTo>
                <a:lnTo>
                  <a:pt x="120" y="62"/>
                </a:lnTo>
                <a:lnTo>
                  <a:pt x="120" y="64"/>
                </a:lnTo>
                <a:lnTo>
                  <a:pt x="120" y="64"/>
                </a:lnTo>
                <a:lnTo>
                  <a:pt x="124" y="68"/>
                </a:lnTo>
                <a:lnTo>
                  <a:pt x="128" y="68"/>
                </a:lnTo>
                <a:lnTo>
                  <a:pt x="128" y="68"/>
                </a:lnTo>
                <a:lnTo>
                  <a:pt x="132" y="66"/>
                </a:lnTo>
                <a:lnTo>
                  <a:pt x="138"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1" name="Freeform 195">
            <a:extLst>
              <a:ext uri="{FF2B5EF4-FFF2-40B4-BE49-F238E27FC236}">
                <a16:creationId xmlns:a16="http://schemas.microsoft.com/office/drawing/2014/main" id="{9D5FC4AE-771E-41AC-ABF1-A6EAC4993AB0}"/>
              </a:ext>
            </a:extLst>
          </p:cNvPr>
          <p:cNvSpPr>
            <a:spLocks/>
          </p:cNvSpPr>
          <p:nvPr userDrawn="1"/>
        </p:nvSpPr>
        <p:spPr bwMode="auto">
          <a:xfrm>
            <a:off x="6390790" y="1817086"/>
            <a:ext cx="103976" cy="85799"/>
          </a:xfrm>
          <a:custGeom>
            <a:avLst/>
            <a:gdLst>
              <a:gd name="T0" fmla="*/ 60 w 62"/>
              <a:gd name="T1" fmla="*/ 14 h 50"/>
              <a:gd name="T2" fmla="*/ 60 w 62"/>
              <a:gd name="T3" fmla="*/ 12 h 50"/>
              <a:gd name="T4" fmla="*/ 62 w 62"/>
              <a:gd name="T5" fmla="*/ 10 h 50"/>
              <a:gd name="T6" fmla="*/ 58 w 62"/>
              <a:gd name="T7" fmla="*/ 4 h 50"/>
              <a:gd name="T8" fmla="*/ 52 w 62"/>
              <a:gd name="T9" fmla="*/ 2 h 50"/>
              <a:gd name="T10" fmla="*/ 48 w 62"/>
              <a:gd name="T11" fmla="*/ 0 h 50"/>
              <a:gd name="T12" fmla="*/ 44 w 62"/>
              <a:gd name="T13" fmla="*/ 0 h 50"/>
              <a:gd name="T14" fmla="*/ 44 w 62"/>
              <a:gd name="T15" fmla="*/ 4 h 50"/>
              <a:gd name="T16" fmla="*/ 30 w 62"/>
              <a:gd name="T17" fmla="*/ 4 h 50"/>
              <a:gd name="T18" fmla="*/ 30 w 62"/>
              <a:gd name="T19" fmla="*/ 2 h 50"/>
              <a:gd name="T20" fmla="*/ 26 w 62"/>
              <a:gd name="T21" fmla="*/ 2 h 50"/>
              <a:gd name="T22" fmla="*/ 26 w 62"/>
              <a:gd name="T23" fmla="*/ 2 h 50"/>
              <a:gd name="T24" fmla="*/ 24 w 62"/>
              <a:gd name="T25" fmla="*/ 6 h 50"/>
              <a:gd name="T26" fmla="*/ 12 w 62"/>
              <a:gd name="T27" fmla="*/ 6 h 50"/>
              <a:gd name="T28" fmla="*/ 0 w 62"/>
              <a:gd name="T29" fmla="*/ 10 h 50"/>
              <a:gd name="T30" fmla="*/ 0 w 62"/>
              <a:gd name="T31" fmla="*/ 28 h 50"/>
              <a:gd name="T32" fmla="*/ 6 w 62"/>
              <a:gd name="T33" fmla="*/ 28 h 50"/>
              <a:gd name="T34" fmla="*/ 4 w 62"/>
              <a:gd name="T35" fmla="*/ 38 h 50"/>
              <a:gd name="T36" fmla="*/ 12 w 62"/>
              <a:gd name="T37" fmla="*/ 38 h 50"/>
              <a:gd name="T38" fmla="*/ 16 w 62"/>
              <a:gd name="T39" fmla="*/ 38 h 50"/>
              <a:gd name="T40" fmla="*/ 16 w 62"/>
              <a:gd name="T41" fmla="*/ 36 h 50"/>
              <a:gd name="T42" fmla="*/ 26 w 62"/>
              <a:gd name="T43" fmla="*/ 38 h 50"/>
              <a:gd name="T44" fmla="*/ 30 w 62"/>
              <a:gd name="T45" fmla="*/ 40 h 50"/>
              <a:gd name="T46" fmla="*/ 34 w 62"/>
              <a:gd name="T47" fmla="*/ 42 h 50"/>
              <a:gd name="T48" fmla="*/ 44 w 62"/>
              <a:gd name="T49" fmla="*/ 48 h 50"/>
              <a:gd name="T50" fmla="*/ 46 w 62"/>
              <a:gd name="T51" fmla="*/ 44 h 50"/>
              <a:gd name="T52" fmla="*/ 48 w 62"/>
              <a:gd name="T53" fmla="*/ 40 h 50"/>
              <a:gd name="T54" fmla="*/ 52 w 62"/>
              <a:gd name="T55" fmla="*/ 36 h 50"/>
              <a:gd name="T56" fmla="*/ 54 w 62"/>
              <a:gd name="T57" fmla="*/ 30 h 50"/>
              <a:gd name="T58" fmla="*/ 50 w 62"/>
              <a:gd name="T59" fmla="*/ 28 h 50"/>
              <a:gd name="T60" fmla="*/ 50 w 62"/>
              <a:gd name="T61" fmla="*/ 22 h 50"/>
              <a:gd name="T62" fmla="*/ 48 w 62"/>
              <a:gd name="T63" fmla="*/ 16 h 50"/>
              <a:gd name="T64" fmla="*/ 52 w 62"/>
              <a:gd name="T65" fmla="*/ 14 h 50"/>
              <a:gd name="T66" fmla="*/ 56 w 62"/>
              <a:gd name="T67" fmla="*/ 14 h 50"/>
              <a:gd name="T68" fmla="*/ 56 w 62"/>
              <a:gd name="T69"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50">
                <a:moveTo>
                  <a:pt x="56" y="16"/>
                </a:moveTo>
                <a:lnTo>
                  <a:pt x="60" y="14"/>
                </a:lnTo>
                <a:lnTo>
                  <a:pt x="60" y="14"/>
                </a:lnTo>
                <a:lnTo>
                  <a:pt x="60" y="12"/>
                </a:lnTo>
                <a:lnTo>
                  <a:pt x="62" y="10"/>
                </a:lnTo>
                <a:lnTo>
                  <a:pt x="62" y="10"/>
                </a:lnTo>
                <a:lnTo>
                  <a:pt x="60" y="6"/>
                </a:lnTo>
                <a:lnTo>
                  <a:pt x="58" y="4"/>
                </a:lnTo>
                <a:lnTo>
                  <a:pt x="58" y="4"/>
                </a:lnTo>
                <a:lnTo>
                  <a:pt x="52" y="2"/>
                </a:lnTo>
                <a:lnTo>
                  <a:pt x="48" y="0"/>
                </a:lnTo>
                <a:lnTo>
                  <a:pt x="48" y="0"/>
                </a:lnTo>
                <a:lnTo>
                  <a:pt x="44" y="0"/>
                </a:lnTo>
                <a:lnTo>
                  <a:pt x="44" y="0"/>
                </a:lnTo>
                <a:lnTo>
                  <a:pt x="44" y="0"/>
                </a:lnTo>
                <a:lnTo>
                  <a:pt x="44" y="4"/>
                </a:lnTo>
                <a:lnTo>
                  <a:pt x="44" y="4"/>
                </a:lnTo>
                <a:lnTo>
                  <a:pt x="30" y="4"/>
                </a:lnTo>
                <a:lnTo>
                  <a:pt x="30" y="4"/>
                </a:lnTo>
                <a:lnTo>
                  <a:pt x="30" y="2"/>
                </a:lnTo>
                <a:lnTo>
                  <a:pt x="28" y="2"/>
                </a:lnTo>
                <a:lnTo>
                  <a:pt x="26" y="2"/>
                </a:lnTo>
                <a:lnTo>
                  <a:pt x="26" y="2"/>
                </a:lnTo>
                <a:lnTo>
                  <a:pt x="26" y="2"/>
                </a:lnTo>
                <a:lnTo>
                  <a:pt x="24" y="6"/>
                </a:lnTo>
                <a:lnTo>
                  <a:pt x="24" y="6"/>
                </a:lnTo>
                <a:lnTo>
                  <a:pt x="18" y="6"/>
                </a:lnTo>
                <a:lnTo>
                  <a:pt x="12" y="6"/>
                </a:lnTo>
                <a:lnTo>
                  <a:pt x="0" y="10"/>
                </a:lnTo>
                <a:lnTo>
                  <a:pt x="0" y="10"/>
                </a:lnTo>
                <a:lnTo>
                  <a:pt x="0" y="20"/>
                </a:lnTo>
                <a:lnTo>
                  <a:pt x="0" y="28"/>
                </a:lnTo>
                <a:lnTo>
                  <a:pt x="0" y="28"/>
                </a:lnTo>
                <a:lnTo>
                  <a:pt x="6" y="28"/>
                </a:lnTo>
                <a:lnTo>
                  <a:pt x="6" y="28"/>
                </a:lnTo>
                <a:lnTo>
                  <a:pt x="4" y="38"/>
                </a:lnTo>
                <a:lnTo>
                  <a:pt x="4" y="38"/>
                </a:lnTo>
                <a:lnTo>
                  <a:pt x="12" y="38"/>
                </a:lnTo>
                <a:lnTo>
                  <a:pt x="12" y="38"/>
                </a:lnTo>
                <a:lnTo>
                  <a:pt x="16" y="38"/>
                </a:lnTo>
                <a:lnTo>
                  <a:pt x="16" y="36"/>
                </a:lnTo>
                <a:lnTo>
                  <a:pt x="16" y="36"/>
                </a:lnTo>
                <a:lnTo>
                  <a:pt x="20" y="36"/>
                </a:lnTo>
                <a:lnTo>
                  <a:pt x="26" y="38"/>
                </a:lnTo>
                <a:lnTo>
                  <a:pt x="26" y="38"/>
                </a:lnTo>
                <a:lnTo>
                  <a:pt x="30" y="40"/>
                </a:lnTo>
                <a:lnTo>
                  <a:pt x="30" y="42"/>
                </a:lnTo>
                <a:lnTo>
                  <a:pt x="34" y="42"/>
                </a:lnTo>
                <a:lnTo>
                  <a:pt x="38" y="50"/>
                </a:lnTo>
                <a:lnTo>
                  <a:pt x="44" y="48"/>
                </a:lnTo>
                <a:lnTo>
                  <a:pt x="44" y="48"/>
                </a:lnTo>
                <a:lnTo>
                  <a:pt x="46" y="44"/>
                </a:lnTo>
                <a:lnTo>
                  <a:pt x="46" y="40"/>
                </a:lnTo>
                <a:lnTo>
                  <a:pt x="48" y="40"/>
                </a:lnTo>
                <a:lnTo>
                  <a:pt x="48" y="40"/>
                </a:lnTo>
                <a:lnTo>
                  <a:pt x="52" y="36"/>
                </a:lnTo>
                <a:lnTo>
                  <a:pt x="54" y="34"/>
                </a:lnTo>
                <a:lnTo>
                  <a:pt x="54" y="30"/>
                </a:lnTo>
                <a:lnTo>
                  <a:pt x="54" y="30"/>
                </a:lnTo>
                <a:lnTo>
                  <a:pt x="50" y="28"/>
                </a:lnTo>
                <a:lnTo>
                  <a:pt x="50" y="28"/>
                </a:lnTo>
                <a:lnTo>
                  <a:pt x="50" y="22"/>
                </a:lnTo>
                <a:lnTo>
                  <a:pt x="48" y="16"/>
                </a:lnTo>
                <a:lnTo>
                  <a:pt x="48" y="16"/>
                </a:lnTo>
                <a:lnTo>
                  <a:pt x="52" y="14"/>
                </a:lnTo>
                <a:lnTo>
                  <a:pt x="52" y="14"/>
                </a:lnTo>
                <a:lnTo>
                  <a:pt x="56" y="14"/>
                </a:lnTo>
                <a:lnTo>
                  <a:pt x="56" y="14"/>
                </a:lnTo>
                <a:lnTo>
                  <a:pt x="56" y="16"/>
                </a:lnTo>
                <a:lnTo>
                  <a:pt x="56" y="1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2" name="Freeform 196">
            <a:extLst>
              <a:ext uri="{FF2B5EF4-FFF2-40B4-BE49-F238E27FC236}">
                <a16:creationId xmlns:a16="http://schemas.microsoft.com/office/drawing/2014/main" id="{24C73A84-FE5E-4DCD-A81D-A8D5F97CA38B}"/>
              </a:ext>
            </a:extLst>
          </p:cNvPr>
          <p:cNvSpPr>
            <a:spLocks/>
          </p:cNvSpPr>
          <p:nvPr userDrawn="1"/>
        </p:nvSpPr>
        <p:spPr bwMode="auto">
          <a:xfrm>
            <a:off x="6679240" y="3162419"/>
            <a:ext cx="140871" cy="168167"/>
          </a:xfrm>
          <a:custGeom>
            <a:avLst/>
            <a:gdLst>
              <a:gd name="T0" fmla="*/ 22 w 84"/>
              <a:gd name="T1" fmla="*/ 6 h 98"/>
              <a:gd name="T2" fmla="*/ 14 w 84"/>
              <a:gd name="T3" fmla="*/ 4 h 98"/>
              <a:gd name="T4" fmla="*/ 10 w 84"/>
              <a:gd name="T5" fmla="*/ 6 h 98"/>
              <a:gd name="T6" fmla="*/ 10 w 84"/>
              <a:gd name="T7" fmla="*/ 10 h 98"/>
              <a:gd name="T8" fmla="*/ 8 w 84"/>
              <a:gd name="T9" fmla="*/ 12 h 98"/>
              <a:gd name="T10" fmla="*/ 6 w 84"/>
              <a:gd name="T11" fmla="*/ 12 h 98"/>
              <a:gd name="T12" fmla="*/ 6 w 84"/>
              <a:gd name="T13" fmla="*/ 18 h 98"/>
              <a:gd name="T14" fmla="*/ 4 w 84"/>
              <a:gd name="T15" fmla="*/ 24 h 98"/>
              <a:gd name="T16" fmla="*/ 4 w 84"/>
              <a:gd name="T17" fmla="*/ 30 h 98"/>
              <a:gd name="T18" fmla="*/ 0 w 84"/>
              <a:gd name="T19" fmla="*/ 42 h 98"/>
              <a:gd name="T20" fmla="*/ 0 w 84"/>
              <a:gd name="T21" fmla="*/ 48 h 98"/>
              <a:gd name="T22" fmla="*/ 0 w 84"/>
              <a:gd name="T23" fmla="*/ 52 h 98"/>
              <a:gd name="T24" fmla="*/ 0 w 84"/>
              <a:gd name="T25" fmla="*/ 68 h 98"/>
              <a:gd name="T26" fmla="*/ 8 w 84"/>
              <a:gd name="T27" fmla="*/ 66 h 98"/>
              <a:gd name="T28" fmla="*/ 12 w 84"/>
              <a:gd name="T29" fmla="*/ 64 h 98"/>
              <a:gd name="T30" fmla="*/ 14 w 84"/>
              <a:gd name="T31" fmla="*/ 66 h 98"/>
              <a:gd name="T32" fmla="*/ 18 w 84"/>
              <a:gd name="T33" fmla="*/ 58 h 98"/>
              <a:gd name="T34" fmla="*/ 20 w 84"/>
              <a:gd name="T35" fmla="*/ 56 h 98"/>
              <a:gd name="T36" fmla="*/ 24 w 84"/>
              <a:gd name="T37" fmla="*/ 58 h 98"/>
              <a:gd name="T38" fmla="*/ 30 w 84"/>
              <a:gd name="T39" fmla="*/ 64 h 98"/>
              <a:gd name="T40" fmla="*/ 32 w 84"/>
              <a:gd name="T41" fmla="*/ 66 h 98"/>
              <a:gd name="T42" fmla="*/ 38 w 84"/>
              <a:gd name="T43" fmla="*/ 64 h 98"/>
              <a:gd name="T44" fmla="*/ 38 w 84"/>
              <a:gd name="T45" fmla="*/ 66 h 98"/>
              <a:gd name="T46" fmla="*/ 46 w 84"/>
              <a:gd name="T47" fmla="*/ 70 h 98"/>
              <a:gd name="T48" fmla="*/ 54 w 84"/>
              <a:gd name="T49" fmla="*/ 72 h 98"/>
              <a:gd name="T50" fmla="*/ 62 w 84"/>
              <a:gd name="T51" fmla="*/ 82 h 98"/>
              <a:gd name="T52" fmla="*/ 66 w 84"/>
              <a:gd name="T53" fmla="*/ 88 h 98"/>
              <a:gd name="T54" fmla="*/ 68 w 84"/>
              <a:gd name="T55" fmla="*/ 92 h 98"/>
              <a:gd name="T56" fmla="*/ 76 w 84"/>
              <a:gd name="T57" fmla="*/ 94 h 98"/>
              <a:gd name="T58" fmla="*/ 84 w 84"/>
              <a:gd name="T59" fmla="*/ 92 h 98"/>
              <a:gd name="T60" fmla="*/ 78 w 84"/>
              <a:gd name="T61" fmla="*/ 86 h 98"/>
              <a:gd name="T62" fmla="*/ 76 w 84"/>
              <a:gd name="T63" fmla="*/ 86 h 98"/>
              <a:gd name="T64" fmla="*/ 74 w 84"/>
              <a:gd name="T65" fmla="*/ 76 h 98"/>
              <a:gd name="T66" fmla="*/ 70 w 84"/>
              <a:gd name="T67" fmla="*/ 74 h 98"/>
              <a:gd name="T68" fmla="*/ 64 w 84"/>
              <a:gd name="T69" fmla="*/ 72 h 98"/>
              <a:gd name="T70" fmla="*/ 60 w 84"/>
              <a:gd name="T71" fmla="*/ 60 h 98"/>
              <a:gd name="T72" fmla="*/ 58 w 84"/>
              <a:gd name="T73" fmla="*/ 58 h 98"/>
              <a:gd name="T74" fmla="*/ 52 w 84"/>
              <a:gd name="T75" fmla="*/ 52 h 98"/>
              <a:gd name="T76" fmla="*/ 48 w 84"/>
              <a:gd name="T77" fmla="*/ 52 h 98"/>
              <a:gd name="T78" fmla="*/ 46 w 84"/>
              <a:gd name="T79" fmla="*/ 52 h 98"/>
              <a:gd name="T80" fmla="*/ 44 w 84"/>
              <a:gd name="T81" fmla="*/ 46 h 98"/>
              <a:gd name="T82" fmla="*/ 42 w 84"/>
              <a:gd name="T83" fmla="*/ 46 h 98"/>
              <a:gd name="T84" fmla="*/ 42 w 84"/>
              <a:gd name="T85" fmla="*/ 48 h 98"/>
              <a:gd name="T86" fmla="*/ 38 w 84"/>
              <a:gd name="T87" fmla="*/ 44 h 98"/>
              <a:gd name="T88" fmla="*/ 38 w 84"/>
              <a:gd name="T89" fmla="*/ 38 h 98"/>
              <a:gd name="T90" fmla="*/ 34 w 84"/>
              <a:gd name="T91" fmla="*/ 22 h 98"/>
              <a:gd name="T92" fmla="*/ 36 w 84"/>
              <a:gd name="T93" fmla="*/ 16 h 98"/>
              <a:gd name="T94" fmla="*/ 32 w 84"/>
              <a:gd name="T95" fmla="*/ 10 h 98"/>
              <a:gd name="T96" fmla="*/ 32 w 84"/>
              <a:gd name="T97" fmla="*/ 4 h 98"/>
              <a:gd name="T98" fmla="*/ 28 w 84"/>
              <a:gd name="T99" fmla="*/ 2 h 98"/>
              <a:gd name="T100" fmla="*/ 26 w 84"/>
              <a:gd name="T10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 h="98">
                <a:moveTo>
                  <a:pt x="26" y="0"/>
                </a:moveTo>
                <a:lnTo>
                  <a:pt x="22" y="6"/>
                </a:lnTo>
                <a:lnTo>
                  <a:pt x="14" y="4"/>
                </a:lnTo>
                <a:lnTo>
                  <a:pt x="14" y="4"/>
                </a:lnTo>
                <a:lnTo>
                  <a:pt x="12" y="4"/>
                </a:lnTo>
                <a:lnTo>
                  <a:pt x="10" y="6"/>
                </a:lnTo>
                <a:lnTo>
                  <a:pt x="10" y="6"/>
                </a:lnTo>
                <a:lnTo>
                  <a:pt x="10" y="10"/>
                </a:lnTo>
                <a:lnTo>
                  <a:pt x="8" y="12"/>
                </a:lnTo>
                <a:lnTo>
                  <a:pt x="8" y="12"/>
                </a:lnTo>
                <a:lnTo>
                  <a:pt x="8" y="12"/>
                </a:lnTo>
                <a:lnTo>
                  <a:pt x="6" y="12"/>
                </a:lnTo>
                <a:lnTo>
                  <a:pt x="6" y="14"/>
                </a:lnTo>
                <a:lnTo>
                  <a:pt x="6" y="18"/>
                </a:lnTo>
                <a:lnTo>
                  <a:pt x="6" y="18"/>
                </a:lnTo>
                <a:lnTo>
                  <a:pt x="4" y="24"/>
                </a:lnTo>
                <a:lnTo>
                  <a:pt x="4" y="30"/>
                </a:lnTo>
                <a:lnTo>
                  <a:pt x="4" y="30"/>
                </a:lnTo>
                <a:lnTo>
                  <a:pt x="4" y="36"/>
                </a:lnTo>
                <a:lnTo>
                  <a:pt x="0" y="42"/>
                </a:lnTo>
                <a:lnTo>
                  <a:pt x="0" y="42"/>
                </a:lnTo>
                <a:lnTo>
                  <a:pt x="0" y="48"/>
                </a:lnTo>
                <a:lnTo>
                  <a:pt x="0" y="52"/>
                </a:lnTo>
                <a:lnTo>
                  <a:pt x="0" y="52"/>
                </a:lnTo>
                <a:lnTo>
                  <a:pt x="0" y="62"/>
                </a:lnTo>
                <a:lnTo>
                  <a:pt x="0" y="68"/>
                </a:lnTo>
                <a:lnTo>
                  <a:pt x="8" y="66"/>
                </a:lnTo>
                <a:lnTo>
                  <a:pt x="8" y="66"/>
                </a:lnTo>
                <a:lnTo>
                  <a:pt x="10" y="64"/>
                </a:lnTo>
                <a:lnTo>
                  <a:pt x="12" y="64"/>
                </a:lnTo>
                <a:lnTo>
                  <a:pt x="14" y="66"/>
                </a:lnTo>
                <a:lnTo>
                  <a:pt x="14" y="66"/>
                </a:lnTo>
                <a:lnTo>
                  <a:pt x="16" y="70"/>
                </a:lnTo>
                <a:lnTo>
                  <a:pt x="18" y="58"/>
                </a:lnTo>
                <a:lnTo>
                  <a:pt x="18" y="58"/>
                </a:lnTo>
                <a:lnTo>
                  <a:pt x="20" y="56"/>
                </a:lnTo>
                <a:lnTo>
                  <a:pt x="24" y="58"/>
                </a:lnTo>
                <a:lnTo>
                  <a:pt x="24" y="58"/>
                </a:lnTo>
                <a:lnTo>
                  <a:pt x="28" y="62"/>
                </a:lnTo>
                <a:lnTo>
                  <a:pt x="30" y="64"/>
                </a:lnTo>
                <a:lnTo>
                  <a:pt x="32" y="66"/>
                </a:lnTo>
                <a:lnTo>
                  <a:pt x="32" y="66"/>
                </a:lnTo>
                <a:lnTo>
                  <a:pt x="36" y="64"/>
                </a:lnTo>
                <a:lnTo>
                  <a:pt x="38" y="64"/>
                </a:lnTo>
                <a:lnTo>
                  <a:pt x="38" y="66"/>
                </a:lnTo>
                <a:lnTo>
                  <a:pt x="38" y="66"/>
                </a:lnTo>
                <a:lnTo>
                  <a:pt x="42" y="68"/>
                </a:lnTo>
                <a:lnTo>
                  <a:pt x="46" y="70"/>
                </a:lnTo>
                <a:lnTo>
                  <a:pt x="54" y="72"/>
                </a:lnTo>
                <a:lnTo>
                  <a:pt x="54" y="72"/>
                </a:lnTo>
                <a:lnTo>
                  <a:pt x="58" y="76"/>
                </a:lnTo>
                <a:lnTo>
                  <a:pt x="62" y="82"/>
                </a:lnTo>
                <a:lnTo>
                  <a:pt x="62" y="82"/>
                </a:lnTo>
                <a:lnTo>
                  <a:pt x="66" y="88"/>
                </a:lnTo>
                <a:lnTo>
                  <a:pt x="68" y="92"/>
                </a:lnTo>
                <a:lnTo>
                  <a:pt x="68" y="92"/>
                </a:lnTo>
                <a:lnTo>
                  <a:pt x="74" y="96"/>
                </a:lnTo>
                <a:lnTo>
                  <a:pt x="76" y="94"/>
                </a:lnTo>
                <a:lnTo>
                  <a:pt x="80" y="98"/>
                </a:lnTo>
                <a:lnTo>
                  <a:pt x="84" y="92"/>
                </a:lnTo>
                <a:lnTo>
                  <a:pt x="84" y="90"/>
                </a:lnTo>
                <a:lnTo>
                  <a:pt x="78" y="86"/>
                </a:lnTo>
                <a:lnTo>
                  <a:pt x="76" y="86"/>
                </a:lnTo>
                <a:lnTo>
                  <a:pt x="76" y="86"/>
                </a:lnTo>
                <a:lnTo>
                  <a:pt x="74" y="82"/>
                </a:lnTo>
                <a:lnTo>
                  <a:pt x="74" y="76"/>
                </a:lnTo>
                <a:lnTo>
                  <a:pt x="74" y="76"/>
                </a:lnTo>
                <a:lnTo>
                  <a:pt x="70" y="74"/>
                </a:lnTo>
                <a:lnTo>
                  <a:pt x="64" y="72"/>
                </a:lnTo>
                <a:lnTo>
                  <a:pt x="64" y="72"/>
                </a:lnTo>
                <a:lnTo>
                  <a:pt x="62" y="66"/>
                </a:lnTo>
                <a:lnTo>
                  <a:pt x="60" y="60"/>
                </a:lnTo>
                <a:lnTo>
                  <a:pt x="60" y="60"/>
                </a:lnTo>
                <a:lnTo>
                  <a:pt x="58" y="58"/>
                </a:lnTo>
                <a:lnTo>
                  <a:pt x="52" y="58"/>
                </a:lnTo>
                <a:lnTo>
                  <a:pt x="52" y="52"/>
                </a:lnTo>
                <a:lnTo>
                  <a:pt x="52" y="52"/>
                </a:lnTo>
                <a:lnTo>
                  <a:pt x="48" y="52"/>
                </a:lnTo>
                <a:lnTo>
                  <a:pt x="46" y="52"/>
                </a:lnTo>
                <a:lnTo>
                  <a:pt x="46" y="52"/>
                </a:lnTo>
                <a:lnTo>
                  <a:pt x="46" y="48"/>
                </a:lnTo>
                <a:lnTo>
                  <a:pt x="44" y="46"/>
                </a:lnTo>
                <a:lnTo>
                  <a:pt x="44" y="46"/>
                </a:lnTo>
                <a:lnTo>
                  <a:pt x="42" y="46"/>
                </a:lnTo>
                <a:lnTo>
                  <a:pt x="42" y="48"/>
                </a:lnTo>
                <a:lnTo>
                  <a:pt x="42" y="48"/>
                </a:lnTo>
                <a:lnTo>
                  <a:pt x="38" y="44"/>
                </a:lnTo>
                <a:lnTo>
                  <a:pt x="38" y="44"/>
                </a:lnTo>
                <a:lnTo>
                  <a:pt x="38" y="38"/>
                </a:lnTo>
                <a:lnTo>
                  <a:pt x="38" y="38"/>
                </a:lnTo>
                <a:lnTo>
                  <a:pt x="34" y="22"/>
                </a:lnTo>
                <a:lnTo>
                  <a:pt x="34" y="22"/>
                </a:lnTo>
                <a:lnTo>
                  <a:pt x="34" y="18"/>
                </a:lnTo>
                <a:lnTo>
                  <a:pt x="36" y="16"/>
                </a:lnTo>
                <a:lnTo>
                  <a:pt x="36" y="16"/>
                </a:lnTo>
                <a:lnTo>
                  <a:pt x="32" y="10"/>
                </a:lnTo>
                <a:lnTo>
                  <a:pt x="32" y="10"/>
                </a:lnTo>
                <a:lnTo>
                  <a:pt x="32" y="4"/>
                </a:lnTo>
                <a:lnTo>
                  <a:pt x="32" y="4"/>
                </a:lnTo>
                <a:lnTo>
                  <a:pt x="28" y="2"/>
                </a:lnTo>
                <a:lnTo>
                  <a:pt x="26" y="0"/>
                </a:lnTo>
                <a:lnTo>
                  <a:pt x="2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3" name="Freeform 197">
            <a:extLst>
              <a:ext uri="{FF2B5EF4-FFF2-40B4-BE49-F238E27FC236}">
                <a16:creationId xmlns:a16="http://schemas.microsoft.com/office/drawing/2014/main" id="{29D7A34A-A121-4260-9907-9FEE4A428D88}"/>
              </a:ext>
            </a:extLst>
          </p:cNvPr>
          <p:cNvSpPr>
            <a:spLocks/>
          </p:cNvSpPr>
          <p:nvPr userDrawn="1"/>
        </p:nvSpPr>
        <p:spPr bwMode="auto">
          <a:xfrm>
            <a:off x="6067122" y="3612009"/>
            <a:ext cx="48634" cy="34320"/>
          </a:xfrm>
          <a:custGeom>
            <a:avLst/>
            <a:gdLst>
              <a:gd name="T0" fmla="*/ 4 w 29"/>
              <a:gd name="T1" fmla="*/ 0 h 20"/>
              <a:gd name="T2" fmla="*/ 4 w 29"/>
              <a:gd name="T3" fmla="*/ 0 h 20"/>
              <a:gd name="T4" fmla="*/ 4 w 29"/>
              <a:gd name="T5" fmla="*/ 4 h 20"/>
              <a:gd name="T6" fmla="*/ 2 w 29"/>
              <a:gd name="T7" fmla="*/ 4 h 20"/>
              <a:gd name="T8" fmla="*/ 2 w 29"/>
              <a:gd name="T9" fmla="*/ 4 h 20"/>
              <a:gd name="T10" fmla="*/ 2 w 29"/>
              <a:gd name="T11" fmla="*/ 8 h 20"/>
              <a:gd name="T12" fmla="*/ 2 w 29"/>
              <a:gd name="T13" fmla="*/ 14 h 20"/>
              <a:gd name="T14" fmla="*/ 2 w 29"/>
              <a:gd name="T15" fmla="*/ 14 h 20"/>
              <a:gd name="T16" fmla="*/ 0 w 29"/>
              <a:gd name="T17" fmla="*/ 18 h 20"/>
              <a:gd name="T18" fmla="*/ 27 w 29"/>
              <a:gd name="T19" fmla="*/ 20 h 20"/>
              <a:gd name="T20" fmla="*/ 29 w 29"/>
              <a:gd name="T21" fmla="*/ 0 h 20"/>
              <a:gd name="T22" fmla="*/ 4 w 2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0">
                <a:moveTo>
                  <a:pt x="4" y="0"/>
                </a:moveTo>
                <a:lnTo>
                  <a:pt x="4" y="0"/>
                </a:lnTo>
                <a:lnTo>
                  <a:pt x="4" y="4"/>
                </a:lnTo>
                <a:lnTo>
                  <a:pt x="2" y="4"/>
                </a:lnTo>
                <a:lnTo>
                  <a:pt x="2" y="4"/>
                </a:lnTo>
                <a:lnTo>
                  <a:pt x="2" y="8"/>
                </a:lnTo>
                <a:lnTo>
                  <a:pt x="2" y="14"/>
                </a:lnTo>
                <a:lnTo>
                  <a:pt x="2" y="14"/>
                </a:lnTo>
                <a:lnTo>
                  <a:pt x="0" y="18"/>
                </a:lnTo>
                <a:lnTo>
                  <a:pt x="27" y="20"/>
                </a:lnTo>
                <a:lnTo>
                  <a:pt x="29"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4" name="Freeform 198">
            <a:extLst>
              <a:ext uri="{FF2B5EF4-FFF2-40B4-BE49-F238E27FC236}">
                <a16:creationId xmlns:a16="http://schemas.microsoft.com/office/drawing/2014/main" id="{10B89D41-6BA8-4E84-8F70-72AFCC6FC0E1}"/>
              </a:ext>
            </a:extLst>
          </p:cNvPr>
          <p:cNvSpPr>
            <a:spLocks/>
          </p:cNvSpPr>
          <p:nvPr userDrawn="1"/>
        </p:nvSpPr>
        <p:spPr bwMode="auto">
          <a:xfrm>
            <a:off x="3826602" y="3265379"/>
            <a:ext cx="63727" cy="41184"/>
          </a:xfrm>
          <a:custGeom>
            <a:avLst/>
            <a:gdLst>
              <a:gd name="T0" fmla="*/ 0 w 38"/>
              <a:gd name="T1" fmla="*/ 12 h 24"/>
              <a:gd name="T2" fmla="*/ 0 w 38"/>
              <a:gd name="T3" fmla="*/ 12 h 24"/>
              <a:gd name="T4" fmla="*/ 4 w 38"/>
              <a:gd name="T5" fmla="*/ 14 h 24"/>
              <a:gd name="T6" fmla="*/ 8 w 38"/>
              <a:gd name="T7" fmla="*/ 16 h 24"/>
              <a:gd name="T8" fmla="*/ 8 w 38"/>
              <a:gd name="T9" fmla="*/ 16 h 24"/>
              <a:gd name="T10" fmla="*/ 8 w 38"/>
              <a:gd name="T11" fmla="*/ 18 h 24"/>
              <a:gd name="T12" fmla="*/ 8 w 38"/>
              <a:gd name="T13" fmla="*/ 20 h 24"/>
              <a:gd name="T14" fmla="*/ 8 w 38"/>
              <a:gd name="T15" fmla="*/ 20 h 24"/>
              <a:gd name="T16" fmla="*/ 14 w 38"/>
              <a:gd name="T17" fmla="*/ 20 h 24"/>
              <a:gd name="T18" fmla="*/ 18 w 38"/>
              <a:gd name="T19" fmla="*/ 20 h 24"/>
              <a:gd name="T20" fmla="*/ 18 w 38"/>
              <a:gd name="T21" fmla="*/ 20 h 24"/>
              <a:gd name="T22" fmla="*/ 26 w 38"/>
              <a:gd name="T23" fmla="*/ 20 h 24"/>
              <a:gd name="T24" fmla="*/ 34 w 38"/>
              <a:gd name="T25" fmla="*/ 24 h 24"/>
              <a:gd name="T26" fmla="*/ 34 w 38"/>
              <a:gd name="T27" fmla="*/ 24 h 24"/>
              <a:gd name="T28" fmla="*/ 36 w 38"/>
              <a:gd name="T29" fmla="*/ 20 h 24"/>
              <a:gd name="T30" fmla="*/ 36 w 38"/>
              <a:gd name="T31" fmla="*/ 20 h 24"/>
              <a:gd name="T32" fmla="*/ 38 w 38"/>
              <a:gd name="T33" fmla="*/ 20 h 24"/>
              <a:gd name="T34" fmla="*/ 38 w 38"/>
              <a:gd name="T35" fmla="*/ 10 h 24"/>
              <a:gd name="T36" fmla="*/ 38 w 38"/>
              <a:gd name="T37" fmla="*/ 10 h 24"/>
              <a:gd name="T38" fmla="*/ 38 w 38"/>
              <a:gd name="T39" fmla="*/ 10 h 24"/>
              <a:gd name="T40" fmla="*/ 32 w 38"/>
              <a:gd name="T41" fmla="*/ 8 h 24"/>
              <a:gd name="T42" fmla="*/ 32 w 38"/>
              <a:gd name="T43" fmla="*/ 8 h 24"/>
              <a:gd name="T44" fmla="*/ 28 w 38"/>
              <a:gd name="T45" fmla="*/ 6 h 24"/>
              <a:gd name="T46" fmla="*/ 26 w 38"/>
              <a:gd name="T47" fmla="*/ 4 h 24"/>
              <a:gd name="T48" fmla="*/ 26 w 38"/>
              <a:gd name="T49" fmla="*/ 4 h 24"/>
              <a:gd name="T50" fmla="*/ 18 w 38"/>
              <a:gd name="T51" fmla="*/ 2 h 24"/>
              <a:gd name="T52" fmla="*/ 12 w 38"/>
              <a:gd name="T53" fmla="*/ 0 h 24"/>
              <a:gd name="T54" fmla="*/ 12 w 38"/>
              <a:gd name="T55" fmla="*/ 0 h 24"/>
              <a:gd name="T56" fmla="*/ 10 w 38"/>
              <a:gd name="T57" fmla="*/ 2 h 24"/>
              <a:gd name="T58" fmla="*/ 6 w 38"/>
              <a:gd name="T59" fmla="*/ 4 h 24"/>
              <a:gd name="T60" fmla="*/ 6 w 38"/>
              <a:gd name="T61" fmla="*/ 8 h 24"/>
              <a:gd name="T62" fmla="*/ 6 w 38"/>
              <a:gd name="T63" fmla="*/ 8 h 24"/>
              <a:gd name="T64" fmla="*/ 6 w 38"/>
              <a:gd name="T65" fmla="*/ 10 h 24"/>
              <a:gd name="T66" fmla="*/ 2 w 38"/>
              <a:gd name="T67" fmla="*/ 10 h 24"/>
              <a:gd name="T68" fmla="*/ 0 w 38"/>
              <a:gd name="T69" fmla="*/ 10 h 24"/>
              <a:gd name="T70" fmla="*/ 0 w 38"/>
              <a:gd name="T71" fmla="*/ 12 h 24"/>
              <a:gd name="T72" fmla="*/ 0 w 38"/>
              <a:gd name="T7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24">
                <a:moveTo>
                  <a:pt x="0" y="12"/>
                </a:moveTo>
                <a:lnTo>
                  <a:pt x="0" y="12"/>
                </a:lnTo>
                <a:lnTo>
                  <a:pt x="4" y="14"/>
                </a:lnTo>
                <a:lnTo>
                  <a:pt x="8" y="16"/>
                </a:lnTo>
                <a:lnTo>
                  <a:pt x="8" y="16"/>
                </a:lnTo>
                <a:lnTo>
                  <a:pt x="8" y="18"/>
                </a:lnTo>
                <a:lnTo>
                  <a:pt x="8" y="20"/>
                </a:lnTo>
                <a:lnTo>
                  <a:pt x="8" y="20"/>
                </a:lnTo>
                <a:lnTo>
                  <a:pt x="14" y="20"/>
                </a:lnTo>
                <a:lnTo>
                  <a:pt x="18" y="20"/>
                </a:lnTo>
                <a:lnTo>
                  <a:pt x="18" y="20"/>
                </a:lnTo>
                <a:lnTo>
                  <a:pt x="26" y="20"/>
                </a:lnTo>
                <a:lnTo>
                  <a:pt x="34" y="24"/>
                </a:lnTo>
                <a:lnTo>
                  <a:pt x="34" y="24"/>
                </a:lnTo>
                <a:lnTo>
                  <a:pt x="36" y="20"/>
                </a:lnTo>
                <a:lnTo>
                  <a:pt x="36" y="20"/>
                </a:lnTo>
                <a:lnTo>
                  <a:pt x="38" y="20"/>
                </a:lnTo>
                <a:lnTo>
                  <a:pt x="38" y="10"/>
                </a:lnTo>
                <a:lnTo>
                  <a:pt x="38" y="10"/>
                </a:lnTo>
                <a:lnTo>
                  <a:pt x="38" y="10"/>
                </a:lnTo>
                <a:lnTo>
                  <a:pt x="32" y="8"/>
                </a:lnTo>
                <a:lnTo>
                  <a:pt x="32" y="8"/>
                </a:lnTo>
                <a:lnTo>
                  <a:pt x="28" y="6"/>
                </a:lnTo>
                <a:lnTo>
                  <a:pt x="26" y="4"/>
                </a:lnTo>
                <a:lnTo>
                  <a:pt x="26" y="4"/>
                </a:lnTo>
                <a:lnTo>
                  <a:pt x="18" y="2"/>
                </a:lnTo>
                <a:lnTo>
                  <a:pt x="12" y="0"/>
                </a:lnTo>
                <a:lnTo>
                  <a:pt x="12" y="0"/>
                </a:lnTo>
                <a:lnTo>
                  <a:pt x="10" y="2"/>
                </a:lnTo>
                <a:lnTo>
                  <a:pt x="6" y="4"/>
                </a:lnTo>
                <a:lnTo>
                  <a:pt x="6" y="8"/>
                </a:lnTo>
                <a:lnTo>
                  <a:pt x="6" y="8"/>
                </a:lnTo>
                <a:lnTo>
                  <a:pt x="6" y="10"/>
                </a:lnTo>
                <a:lnTo>
                  <a:pt x="2" y="10"/>
                </a:lnTo>
                <a:lnTo>
                  <a:pt x="0" y="10"/>
                </a:lnTo>
                <a:lnTo>
                  <a:pt x="0" y="12"/>
                </a:lnTo>
                <a:lnTo>
                  <a:pt x="0" y="1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5" name="Freeform 199">
            <a:extLst>
              <a:ext uri="{FF2B5EF4-FFF2-40B4-BE49-F238E27FC236}">
                <a16:creationId xmlns:a16="http://schemas.microsoft.com/office/drawing/2014/main" id="{B50D3D59-7E86-47F9-B45C-EDCF01803566}"/>
              </a:ext>
            </a:extLst>
          </p:cNvPr>
          <p:cNvSpPr>
            <a:spLocks/>
          </p:cNvSpPr>
          <p:nvPr userDrawn="1"/>
        </p:nvSpPr>
        <p:spPr bwMode="auto">
          <a:xfrm>
            <a:off x="6410915" y="2757447"/>
            <a:ext cx="248201" cy="295149"/>
          </a:xfrm>
          <a:custGeom>
            <a:avLst/>
            <a:gdLst>
              <a:gd name="T0" fmla="*/ 146 w 148"/>
              <a:gd name="T1" fmla="*/ 146 h 172"/>
              <a:gd name="T2" fmla="*/ 144 w 148"/>
              <a:gd name="T3" fmla="*/ 136 h 172"/>
              <a:gd name="T4" fmla="*/ 144 w 148"/>
              <a:gd name="T5" fmla="*/ 130 h 172"/>
              <a:gd name="T6" fmla="*/ 144 w 148"/>
              <a:gd name="T7" fmla="*/ 126 h 172"/>
              <a:gd name="T8" fmla="*/ 132 w 148"/>
              <a:gd name="T9" fmla="*/ 108 h 172"/>
              <a:gd name="T10" fmla="*/ 128 w 148"/>
              <a:gd name="T11" fmla="*/ 102 h 172"/>
              <a:gd name="T12" fmla="*/ 124 w 148"/>
              <a:gd name="T13" fmla="*/ 88 h 172"/>
              <a:gd name="T14" fmla="*/ 122 w 148"/>
              <a:gd name="T15" fmla="*/ 80 h 172"/>
              <a:gd name="T16" fmla="*/ 118 w 148"/>
              <a:gd name="T17" fmla="*/ 78 h 172"/>
              <a:gd name="T18" fmla="*/ 118 w 148"/>
              <a:gd name="T19" fmla="*/ 68 h 172"/>
              <a:gd name="T20" fmla="*/ 110 w 148"/>
              <a:gd name="T21" fmla="*/ 58 h 172"/>
              <a:gd name="T22" fmla="*/ 108 w 148"/>
              <a:gd name="T23" fmla="*/ 46 h 172"/>
              <a:gd name="T24" fmla="*/ 114 w 148"/>
              <a:gd name="T25" fmla="*/ 52 h 172"/>
              <a:gd name="T26" fmla="*/ 116 w 148"/>
              <a:gd name="T27" fmla="*/ 62 h 172"/>
              <a:gd name="T28" fmla="*/ 124 w 148"/>
              <a:gd name="T29" fmla="*/ 70 h 172"/>
              <a:gd name="T30" fmla="*/ 136 w 148"/>
              <a:gd name="T31" fmla="*/ 58 h 172"/>
              <a:gd name="T32" fmla="*/ 138 w 148"/>
              <a:gd name="T33" fmla="*/ 50 h 172"/>
              <a:gd name="T34" fmla="*/ 132 w 148"/>
              <a:gd name="T35" fmla="*/ 14 h 172"/>
              <a:gd name="T36" fmla="*/ 126 w 148"/>
              <a:gd name="T37" fmla="*/ 12 h 172"/>
              <a:gd name="T38" fmla="*/ 118 w 148"/>
              <a:gd name="T39" fmla="*/ 14 h 172"/>
              <a:gd name="T40" fmla="*/ 112 w 148"/>
              <a:gd name="T41" fmla="*/ 14 h 172"/>
              <a:gd name="T42" fmla="*/ 108 w 148"/>
              <a:gd name="T43" fmla="*/ 12 h 172"/>
              <a:gd name="T44" fmla="*/ 100 w 148"/>
              <a:gd name="T45" fmla="*/ 14 h 172"/>
              <a:gd name="T46" fmla="*/ 96 w 148"/>
              <a:gd name="T47" fmla="*/ 14 h 172"/>
              <a:gd name="T48" fmla="*/ 96 w 148"/>
              <a:gd name="T49" fmla="*/ 10 h 172"/>
              <a:gd name="T50" fmla="*/ 92 w 148"/>
              <a:gd name="T51" fmla="*/ 10 h 172"/>
              <a:gd name="T52" fmla="*/ 90 w 148"/>
              <a:gd name="T53" fmla="*/ 12 h 172"/>
              <a:gd name="T54" fmla="*/ 90 w 148"/>
              <a:gd name="T55" fmla="*/ 16 h 172"/>
              <a:gd name="T56" fmla="*/ 86 w 148"/>
              <a:gd name="T57" fmla="*/ 16 h 172"/>
              <a:gd name="T58" fmla="*/ 88 w 148"/>
              <a:gd name="T59" fmla="*/ 12 h 172"/>
              <a:gd name="T60" fmla="*/ 76 w 148"/>
              <a:gd name="T61" fmla="*/ 12 h 172"/>
              <a:gd name="T62" fmla="*/ 72 w 148"/>
              <a:gd name="T63" fmla="*/ 18 h 172"/>
              <a:gd name="T64" fmla="*/ 64 w 148"/>
              <a:gd name="T65" fmla="*/ 18 h 172"/>
              <a:gd name="T66" fmla="*/ 54 w 148"/>
              <a:gd name="T67" fmla="*/ 14 h 172"/>
              <a:gd name="T68" fmla="*/ 38 w 148"/>
              <a:gd name="T69" fmla="*/ 16 h 172"/>
              <a:gd name="T70" fmla="*/ 30 w 148"/>
              <a:gd name="T71" fmla="*/ 12 h 172"/>
              <a:gd name="T72" fmla="*/ 28 w 148"/>
              <a:gd name="T73" fmla="*/ 8 h 172"/>
              <a:gd name="T74" fmla="*/ 10 w 148"/>
              <a:gd name="T75" fmla="*/ 8 h 172"/>
              <a:gd name="T76" fmla="*/ 4 w 148"/>
              <a:gd name="T77" fmla="*/ 0 h 172"/>
              <a:gd name="T78" fmla="*/ 0 w 148"/>
              <a:gd name="T79" fmla="*/ 6 h 172"/>
              <a:gd name="T80" fmla="*/ 4 w 148"/>
              <a:gd name="T81" fmla="*/ 18 h 172"/>
              <a:gd name="T82" fmla="*/ 2 w 148"/>
              <a:gd name="T83" fmla="*/ 24 h 172"/>
              <a:gd name="T84" fmla="*/ 0 w 148"/>
              <a:gd name="T85" fmla="*/ 34 h 172"/>
              <a:gd name="T86" fmla="*/ 2 w 148"/>
              <a:gd name="T87" fmla="*/ 42 h 172"/>
              <a:gd name="T88" fmla="*/ 102 w 148"/>
              <a:gd name="T89" fmla="*/ 168 h 172"/>
              <a:gd name="T90" fmla="*/ 118 w 148"/>
              <a:gd name="T91" fmla="*/ 168 h 172"/>
              <a:gd name="T92" fmla="*/ 126 w 148"/>
              <a:gd name="T93" fmla="*/ 162 h 172"/>
              <a:gd name="T94" fmla="*/ 140 w 148"/>
              <a:gd name="T95" fmla="*/ 15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72">
                <a:moveTo>
                  <a:pt x="148" y="148"/>
                </a:moveTo>
                <a:lnTo>
                  <a:pt x="148" y="148"/>
                </a:lnTo>
                <a:lnTo>
                  <a:pt x="146" y="146"/>
                </a:lnTo>
                <a:lnTo>
                  <a:pt x="146" y="146"/>
                </a:lnTo>
                <a:lnTo>
                  <a:pt x="144" y="136"/>
                </a:lnTo>
                <a:lnTo>
                  <a:pt x="144" y="136"/>
                </a:lnTo>
                <a:lnTo>
                  <a:pt x="148" y="134"/>
                </a:lnTo>
                <a:lnTo>
                  <a:pt x="148" y="134"/>
                </a:lnTo>
                <a:lnTo>
                  <a:pt x="144" y="130"/>
                </a:lnTo>
                <a:lnTo>
                  <a:pt x="144" y="130"/>
                </a:lnTo>
                <a:lnTo>
                  <a:pt x="144" y="126"/>
                </a:lnTo>
                <a:lnTo>
                  <a:pt x="144" y="126"/>
                </a:lnTo>
                <a:lnTo>
                  <a:pt x="136" y="110"/>
                </a:lnTo>
                <a:lnTo>
                  <a:pt x="136" y="110"/>
                </a:lnTo>
                <a:lnTo>
                  <a:pt x="132" y="108"/>
                </a:lnTo>
                <a:lnTo>
                  <a:pt x="132" y="108"/>
                </a:lnTo>
                <a:lnTo>
                  <a:pt x="128" y="102"/>
                </a:lnTo>
                <a:lnTo>
                  <a:pt x="128" y="102"/>
                </a:lnTo>
                <a:lnTo>
                  <a:pt x="126" y="94"/>
                </a:lnTo>
                <a:lnTo>
                  <a:pt x="124" y="88"/>
                </a:lnTo>
                <a:lnTo>
                  <a:pt x="124" y="88"/>
                </a:lnTo>
                <a:lnTo>
                  <a:pt x="122" y="82"/>
                </a:lnTo>
                <a:lnTo>
                  <a:pt x="122" y="82"/>
                </a:lnTo>
                <a:lnTo>
                  <a:pt x="122" y="80"/>
                </a:lnTo>
                <a:lnTo>
                  <a:pt x="122" y="80"/>
                </a:lnTo>
                <a:lnTo>
                  <a:pt x="118" y="78"/>
                </a:lnTo>
                <a:lnTo>
                  <a:pt x="118" y="78"/>
                </a:lnTo>
                <a:lnTo>
                  <a:pt x="118" y="72"/>
                </a:lnTo>
                <a:lnTo>
                  <a:pt x="118" y="68"/>
                </a:lnTo>
                <a:lnTo>
                  <a:pt x="118" y="68"/>
                </a:lnTo>
                <a:lnTo>
                  <a:pt x="114" y="64"/>
                </a:lnTo>
                <a:lnTo>
                  <a:pt x="114" y="64"/>
                </a:lnTo>
                <a:lnTo>
                  <a:pt x="110" y="58"/>
                </a:lnTo>
                <a:lnTo>
                  <a:pt x="106" y="50"/>
                </a:lnTo>
                <a:lnTo>
                  <a:pt x="106" y="50"/>
                </a:lnTo>
                <a:lnTo>
                  <a:pt x="108" y="46"/>
                </a:lnTo>
                <a:lnTo>
                  <a:pt x="108" y="46"/>
                </a:lnTo>
                <a:lnTo>
                  <a:pt x="112" y="48"/>
                </a:lnTo>
                <a:lnTo>
                  <a:pt x="114" y="52"/>
                </a:lnTo>
                <a:lnTo>
                  <a:pt x="114" y="52"/>
                </a:lnTo>
                <a:lnTo>
                  <a:pt x="116" y="58"/>
                </a:lnTo>
                <a:lnTo>
                  <a:pt x="116" y="62"/>
                </a:lnTo>
                <a:lnTo>
                  <a:pt x="116" y="62"/>
                </a:lnTo>
                <a:lnTo>
                  <a:pt x="124" y="70"/>
                </a:lnTo>
                <a:lnTo>
                  <a:pt x="124" y="70"/>
                </a:lnTo>
                <a:lnTo>
                  <a:pt x="130" y="70"/>
                </a:lnTo>
                <a:lnTo>
                  <a:pt x="130" y="70"/>
                </a:lnTo>
                <a:lnTo>
                  <a:pt x="136" y="58"/>
                </a:lnTo>
                <a:lnTo>
                  <a:pt x="136" y="58"/>
                </a:lnTo>
                <a:lnTo>
                  <a:pt x="138" y="50"/>
                </a:lnTo>
                <a:lnTo>
                  <a:pt x="138" y="50"/>
                </a:lnTo>
                <a:lnTo>
                  <a:pt x="136" y="44"/>
                </a:lnTo>
                <a:lnTo>
                  <a:pt x="134" y="22"/>
                </a:lnTo>
                <a:lnTo>
                  <a:pt x="132" y="14"/>
                </a:lnTo>
                <a:lnTo>
                  <a:pt x="130" y="12"/>
                </a:lnTo>
                <a:lnTo>
                  <a:pt x="130" y="12"/>
                </a:lnTo>
                <a:lnTo>
                  <a:pt x="126" y="12"/>
                </a:lnTo>
                <a:lnTo>
                  <a:pt x="122" y="12"/>
                </a:lnTo>
                <a:lnTo>
                  <a:pt x="122" y="12"/>
                </a:lnTo>
                <a:lnTo>
                  <a:pt x="118" y="14"/>
                </a:lnTo>
                <a:lnTo>
                  <a:pt x="112" y="16"/>
                </a:lnTo>
                <a:lnTo>
                  <a:pt x="112" y="16"/>
                </a:lnTo>
                <a:lnTo>
                  <a:pt x="112" y="14"/>
                </a:lnTo>
                <a:lnTo>
                  <a:pt x="112" y="12"/>
                </a:lnTo>
                <a:lnTo>
                  <a:pt x="108" y="12"/>
                </a:lnTo>
                <a:lnTo>
                  <a:pt x="108" y="12"/>
                </a:lnTo>
                <a:lnTo>
                  <a:pt x="104" y="14"/>
                </a:lnTo>
                <a:lnTo>
                  <a:pt x="102" y="16"/>
                </a:lnTo>
                <a:lnTo>
                  <a:pt x="100" y="14"/>
                </a:lnTo>
                <a:lnTo>
                  <a:pt x="100" y="14"/>
                </a:lnTo>
                <a:lnTo>
                  <a:pt x="96" y="14"/>
                </a:lnTo>
                <a:lnTo>
                  <a:pt x="96" y="14"/>
                </a:lnTo>
                <a:lnTo>
                  <a:pt x="94" y="12"/>
                </a:lnTo>
                <a:lnTo>
                  <a:pt x="96" y="12"/>
                </a:lnTo>
                <a:lnTo>
                  <a:pt x="96" y="10"/>
                </a:lnTo>
                <a:lnTo>
                  <a:pt x="96" y="10"/>
                </a:lnTo>
                <a:lnTo>
                  <a:pt x="92" y="10"/>
                </a:lnTo>
                <a:lnTo>
                  <a:pt x="92" y="10"/>
                </a:lnTo>
                <a:lnTo>
                  <a:pt x="90" y="10"/>
                </a:lnTo>
                <a:lnTo>
                  <a:pt x="88" y="12"/>
                </a:lnTo>
                <a:lnTo>
                  <a:pt x="90" y="12"/>
                </a:lnTo>
                <a:lnTo>
                  <a:pt x="90" y="12"/>
                </a:lnTo>
                <a:lnTo>
                  <a:pt x="90" y="14"/>
                </a:lnTo>
                <a:lnTo>
                  <a:pt x="90" y="16"/>
                </a:lnTo>
                <a:lnTo>
                  <a:pt x="90" y="18"/>
                </a:lnTo>
                <a:lnTo>
                  <a:pt x="86" y="16"/>
                </a:lnTo>
                <a:lnTo>
                  <a:pt x="86" y="16"/>
                </a:lnTo>
                <a:lnTo>
                  <a:pt x="86" y="14"/>
                </a:lnTo>
                <a:lnTo>
                  <a:pt x="88" y="12"/>
                </a:lnTo>
                <a:lnTo>
                  <a:pt x="88" y="12"/>
                </a:lnTo>
                <a:lnTo>
                  <a:pt x="82" y="14"/>
                </a:lnTo>
                <a:lnTo>
                  <a:pt x="76" y="12"/>
                </a:lnTo>
                <a:lnTo>
                  <a:pt x="76" y="12"/>
                </a:lnTo>
                <a:lnTo>
                  <a:pt x="74" y="18"/>
                </a:lnTo>
                <a:lnTo>
                  <a:pt x="74" y="18"/>
                </a:lnTo>
                <a:lnTo>
                  <a:pt x="72" y="18"/>
                </a:lnTo>
                <a:lnTo>
                  <a:pt x="68" y="16"/>
                </a:lnTo>
                <a:lnTo>
                  <a:pt x="68" y="16"/>
                </a:lnTo>
                <a:lnTo>
                  <a:pt x="64" y="18"/>
                </a:lnTo>
                <a:lnTo>
                  <a:pt x="58" y="18"/>
                </a:lnTo>
                <a:lnTo>
                  <a:pt x="58" y="18"/>
                </a:lnTo>
                <a:lnTo>
                  <a:pt x="54" y="14"/>
                </a:lnTo>
                <a:lnTo>
                  <a:pt x="54" y="14"/>
                </a:lnTo>
                <a:lnTo>
                  <a:pt x="46" y="16"/>
                </a:lnTo>
                <a:lnTo>
                  <a:pt x="38" y="16"/>
                </a:lnTo>
                <a:lnTo>
                  <a:pt x="38" y="14"/>
                </a:lnTo>
                <a:lnTo>
                  <a:pt x="38" y="14"/>
                </a:lnTo>
                <a:lnTo>
                  <a:pt x="30" y="12"/>
                </a:lnTo>
                <a:lnTo>
                  <a:pt x="30" y="12"/>
                </a:lnTo>
                <a:lnTo>
                  <a:pt x="28" y="8"/>
                </a:lnTo>
                <a:lnTo>
                  <a:pt x="28" y="8"/>
                </a:lnTo>
                <a:lnTo>
                  <a:pt x="22" y="6"/>
                </a:lnTo>
                <a:lnTo>
                  <a:pt x="18" y="6"/>
                </a:lnTo>
                <a:lnTo>
                  <a:pt x="10" y="8"/>
                </a:lnTo>
                <a:lnTo>
                  <a:pt x="6" y="2"/>
                </a:lnTo>
                <a:lnTo>
                  <a:pt x="6" y="2"/>
                </a:lnTo>
                <a:lnTo>
                  <a:pt x="4" y="0"/>
                </a:lnTo>
                <a:lnTo>
                  <a:pt x="0" y="2"/>
                </a:lnTo>
                <a:lnTo>
                  <a:pt x="0" y="2"/>
                </a:lnTo>
                <a:lnTo>
                  <a:pt x="0" y="6"/>
                </a:lnTo>
                <a:lnTo>
                  <a:pt x="0" y="12"/>
                </a:lnTo>
                <a:lnTo>
                  <a:pt x="0" y="12"/>
                </a:lnTo>
                <a:lnTo>
                  <a:pt x="4" y="18"/>
                </a:lnTo>
                <a:lnTo>
                  <a:pt x="4" y="22"/>
                </a:lnTo>
                <a:lnTo>
                  <a:pt x="2" y="24"/>
                </a:lnTo>
                <a:lnTo>
                  <a:pt x="2" y="24"/>
                </a:lnTo>
                <a:lnTo>
                  <a:pt x="0" y="28"/>
                </a:lnTo>
                <a:lnTo>
                  <a:pt x="0" y="34"/>
                </a:lnTo>
                <a:lnTo>
                  <a:pt x="0" y="34"/>
                </a:lnTo>
                <a:lnTo>
                  <a:pt x="0" y="40"/>
                </a:lnTo>
                <a:lnTo>
                  <a:pt x="2" y="42"/>
                </a:lnTo>
                <a:lnTo>
                  <a:pt x="2" y="42"/>
                </a:lnTo>
                <a:lnTo>
                  <a:pt x="6" y="48"/>
                </a:lnTo>
                <a:lnTo>
                  <a:pt x="6" y="168"/>
                </a:lnTo>
                <a:lnTo>
                  <a:pt x="102" y="168"/>
                </a:lnTo>
                <a:lnTo>
                  <a:pt x="106" y="166"/>
                </a:lnTo>
                <a:lnTo>
                  <a:pt x="106" y="168"/>
                </a:lnTo>
                <a:lnTo>
                  <a:pt x="118" y="168"/>
                </a:lnTo>
                <a:lnTo>
                  <a:pt x="120" y="172"/>
                </a:lnTo>
                <a:lnTo>
                  <a:pt x="126" y="170"/>
                </a:lnTo>
                <a:lnTo>
                  <a:pt x="126" y="162"/>
                </a:lnTo>
                <a:lnTo>
                  <a:pt x="132" y="160"/>
                </a:lnTo>
                <a:lnTo>
                  <a:pt x="136" y="152"/>
                </a:lnTo>
                <a:lnTo>
                  <a:pt x="140" y="152"/>
                </a:lnTo>
                <a:lnTo>
                  <a:pt x="148" y="14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6" name="Freeform 200">
            <a:extLst>
              <a:ext uri="{FF2B5EF4-FFF2-40B4-BE49-F238E27FC236}">
                <a16:creationId xmlns:a16="http://schemas.microsoft.com/office/drawing/2014/main" id="{DB61265D-928A-49D3-BAE2-BEE86A921B70}"/>
              </a:ext>
            </a:extLst>
          </p:cNvPr>
          <p:cNvSpPr>
            <a:spLocks/>
          </p:cNvSpPr>
          <p:nvPr userDrawn="1"/>
        </p:nvSpPr>
        <p:spPr bwMode="auto">
          <a:xfrm>
            <a:off x="4031200" y="3646328"/>
            <a:ext cx="124101" cy="188759"/>
          </a:xfrm>
          <a:custGeom>
            <a:avLst/>
            <a:gdLst>
              <a:gd name="T0" fmla="*/ 26 w 74"/>
              <a:gd name="T1" fmla="*/ 0 h 110"/>
              <a:gd name="T2" fmla="*/ 14 w 74"/>
              <a:gd name="T3" fmla="*/ 8 h 110"/>
              <a:gd name="T4" fmla="*/ 14 w 74"/>
              <a:gd name="T5" fmla="*/ 12 h 110"/>
              <a:gd name="T6" fmla="*/ 16 w 74"/>
              <a:gd name="T7" fmla="*/ 20 h 110"/>
              <a:gd name="T8" fmla="*/ 12 w 74"/>
              <a:gd name="T9" fmla="*/ 24 h 110"/>
              <a:gd name="T10" fmla="*/ 10 w 74"/>
              <a:gd name="T11" fmla="*/ 34 h 110"/>
              <a:gd name="T12" fmla="*/ 12 w 74"/>
              <a:gd name="T13" fmla="*/ 40 h 110"/>
              <a:gd name="T14" fmla="*/ 8 w 74"/>
              <a:gd name="T15" fmla="*/ 42 h 110"/>
              <a:gd name="T16" fmla="*/ 6 w 74"/>
              <a:gd name="T17" fmla="*/ 44 h 110"/>
              <a:gd name="T18" fmla="*/ 4 w 74"/>
              <a:gd name="T19" fmla="*/ 44 h 110"/>
              <a:gd name="T20" fmla="*/ 4 w 74"/>
              <a:gd name="T21" fmla="*/ 48 h 110"/>
              <a:gd name="T22" fmla="*/ 6 w 74"/>
              <a:gd name="T23" fmla="*/ 50 h 110"/>
              <a:gd name="T24" fmla="*/ 6 w 74"/>
              <a:gd name="T25" fmla="*/ 54 h 110"/>
              <a:gd name="T26" fmla="*/ 6 w 74"/>
              <a:gd name="T27" fmla="*/ 52 h 110"/>
              <a:gd name="T28" fmla="*/ 4 w 74"/>
              <a:gd name="T29" fmla="*/ 62 h 110"/>
              <a:gd name="T30" fmla="*/ 6 w 74"/>
              <a:gd name="T31" fmla="*/ 62 h 110"/>
              <a:gd name="T32" fmla="*/ 6 w 74"/>
              <a:gd name="T33" fmla="*/ 66 h 110"/>
              <a:gd name="T34" fmla="*/ 4 w 74"/>
              <a:gd name="T35" fmla="*/ 66 h 110"/>
              <a:gd name="T36" fmla="*/ 0 w 74"/>
              <a:gd name="T37" fmla="*/ 70 h 110"/>
              <a:gd name="T38" fmla="*/ 8 w 74"/>
              <a:gd name="T39" fmla="*/ 72 h 110"/>
              <a:gd name="T40" fmla="*/ 14 w 74"/>
              <a:gd name="T41" fmla="*/ 72 h 110"/>
              <a:gd name="T42" fmla="*/ 16 w 74"/>
              <a:gd name="T43" fmla="*/ 72 h 110"/>
              <a:gd name="T44" fmla="*/ 16 w 74"/>
              <a:gd name="T45" fmla="*/ 70 h 110"/>
              <a:gd name="T46" fmla="*/ 18 w 74"/>
              <a:gd name="T47" fmla="*/ 70 h 110"/>
              <a:gd name="T48" fmla="*/ 18 w 74"/>
              <a:gd name="T49" fmla="*/ 74 h 110"/>
              <a:gd name="T50" fmla="*/ 14 w 74"/>
              <a:gd name="T51" fmla="*/ 74 h 110"/>
              <a:gd name="T52" fmla="*/ 12 w 74"/>
              <a:gd name="T53" fmla="*/ 78 h 110"/>
              <a:gd name="T54" fmla="*/ 14 w 74"/>
              <a:gd name="T55" fmla="*/ 78 h 110"/>
              <a:gd name="T56" fmla="*/ 14 w 74"/>
              <a:gd name="T57" fmla="*/ 80 h 110"/>
              <a:gd name="T58" fmla="*/ 6 w 74"/>
              <a:gd name="T59" fmla="*/ 88 h 110"/>
              <a:gd name="T60" fmla="*/ 10 w 74"/>
              <a:gd name="T61" fmla="*/ 94 h 110"/>
              <a:gd name="T62" fmla="*/ 4 w 74"/>
              <a:gd name="T63" fmla="*/ 98 h 110"/>
              <a:gd name="T64" fmla="*/ 10 w 74"/>
              <a:gd name="T65" fmla="*/ 104 h 110"/>
              <a:gd name="T66" fmla="*/ 14 w 74"/>
              <a:gd name="T67" fmla="*/ 102 h 110"/>
              <a:gd name="T68" fmla="*/ 14 w 74"/>
              <a:gd name="T69" fmla="*/ 100 h 110"/>
              <a:gd name="T70" fmla="*/ 18 w 74"/>
              <a:gd name="T71" fmla="*/ 108 h 110"/>
              <a:gd name="T72" fmla="*/ 20 w 74"/>
              <a:gd name="T73" fmla="*/ 110 h 110"/>
              <a:gd name="T74" fmla="*/ 22 w 74"/>
              <a:gd name="T75" fmla="*/ 110 h 110"/>
              <a:gd name="T76" fmla="*/ 26 w 74"/>
              <a:gd name="T77" fmla="*/ 108 h 110"/>
              <a:gd name="T78" fmla="*/ 30 w 74"/>
              <a:gd name="T79" fmla="*/ 104 h 110"/>
              <a:gd name="T80" fmla="*/ 34 w 74"/>
              <a:gd name="T81" fmla="*/ 94 h 110"/>
              <a:gd name="T82" fmla="*/ 38 w 74"/>
              <a:gd name="T83" fmla="*/ 88 h 110"/>
              <a:gd name="T84" fmla="*/ 44 w 74"/>
              <a:gd name="T85" fmla="*/ 80 h 110"/>
              <a:gd name="T86" fmla="*/ 62 w 74"/>
              <a:gd name="T87" fmla="*/ 70 h 110"/>
              <a:gd name="T88" fmla="*/ 68 w 74"/>
              <a:gd name="T89" fmla="*/ 64 h 110"/>
              <a:gd name="T90" fmla="*/ 70 w 74"/>
              <a:gd name="T91" fmla="*/ 52 h 110"/>
              <a:gd name="T92" fmla="*/ 74 w 74"/>
              <a:gd name="T93" fmla="*/ 52 h 110"/>
              <a:gd name="T94" fmla="*/ 72 w 74"/>
              <a:gd name="T95" fmla="*/ 44 h 110"/>
              <a:gd name="T96" fmla="*/ 72 w 74"/>
              <a:gd name="T97" fmla="*/ 34 h 110"/>
              <a:gd name="T98" fmla="*/ 72 w 74"/>
              <a:gd name="T99" fmla="*/ 28 h 110"/>
              <a:gd name="T100" fmla="*/ 68 w 74"/>
              <a:gd name="T101" fmla="*/ 26 h 110"/>
              <a:gd name="T102" fmla="*/ 62 w 74"/>
              <a:gd name="T103" fmla="*/ 22 h 110"/>
              <a:gd name="T104" fmla="*/ 60 w 74"/>
              <a:gd name="T105" fmla="*/ 22 h 110"/>
              <a:gd name="T106" fmla="*/ 46 w 74"/>
              <a:gd name="T107" fmla="*/ 20 h 110"/>
              <a:gd name="T108" fmla="*/ 44 w 74"/>
              <a:gd name="T109" fmla="*/ 20 h 110"/>
              <a:gd name="T110" fmla="*/ 42 w 74"/>
              <a:gd name="T111" fmla="*/ 16 h 110"/>
              <a:gd name="T112" fmla="*/ 40 w 74"/>
              <a:gd name="T113" fmla="*/ 10 h 110"/>
              <a:gd name="T114" fmla="*/ 32 w 74"/>
              <a:gd name="T115" fmla="*/ 6 h 110"/>
              <a:gd name="T116" fmla="*/ 28 w 74"/>
              <a:gd name="T117" fmla="*/ 2 h 110"/>
              <a:gd name="T118" fmla="*/ 26 w 74"/>
              <a:gd name="T11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10">
                <a:moveTo>
                  <a:pt x="26" y="0"/>
                </a:moveTo>
                <a:lnTo>
                  <a:pt x="26" y="0"/>
                </a:lnTo>
                <a:lnTo>
                  <a:pt x="14" y="8"/>
                </a:lnTo>
                <a:lnTo>
                  <a:pt x="14" y="8"/>
                </a:lnTo>
                <a:lnTo>
                  <a:pt x="14" y="10"/>
                </a:lnTo>
                <a:lnTo>
                  <a:pt x="14" y="12"/>
                </a:lnTo>
                <a:lnTo>
                  <a:pt x="14" y="12"/>
                </a:lnTo>
                <a:lnTo>
                  <a:pt x="16" y="20"/>
                </a:lnTo>
                <a:lnTo>
                  <a:pt x="16" y="20"/>
                </a:lnTo>
                <a:lnTo>
                  <a:pt x="12" y="24"/>
                </a:lnTo>
                <a:lnTo>
                  <a:pt x="10" y="28"/>
                </a:lnTo>
                <a:lnTo>
                  <a:pt x="10" y="34"/>
                </a:lnTo>
                <a:lnTo>
                  <a:pt x="12" y="40"/>
                </a:lnTo>
                <a:lnTo>
                  <a:pt x="12" y="40"/>
                </a:lnTo>
                <a:lnTo>
                  <a:pt x="8" y="40"/>
                </a:lnTo>
                <a:lnTo>
                  <a:pt x="8" y="42"/>
                </a:lnTo>
                <a:lnTo>
                  <a:pt x="8" y="42"/>
                </a:lnTo>
                <a:lnTo>
                  <a:pt x="6" y="44"/>
                </a:lnTo>
                <a:lnTo>
                  <a:pt x="4" y="44"/>
                </a:lnTo>
                <a:lnTo>
                  <a:pt x="4" y="44"/>
                </a:lnTo>
                <a:lnTo>
                  <a:pt x="4" y="48"/>
                </a:lnTo>
                <a:lnTo>
                  <a:pt x="4" y="48"/>
                </a:lnTo>
                <a:lnTo>
                  <a:pt x="6" y="50"/>
                </a:lnTo>
                <a:lnTo>
                  <a:pt x="6" y="50"/>
                </a:lnTo>
                <a:lnTo>
                  <a:pt x="6" y="52"/>
                </a:lnTo>
                <a:lnTo>
                  <a:pt x="6" y="54"/>
                </a:lnTo>
                <a:lnTo>
                  <a:pt x="6" y="52"/>
                </a:lnTo>
                <a:lnTo>
                  <a:pt x="6" y="52"/>
                </a:lnTo>
                <a:lnTo>
                  <a:pt x="2" y="56"/>
                </a:lnTo>
                <a:lnTo>
                  <a:pt x="4" y="62"/>
                </a:lnTo>
                <a:lnTo>
                  <a:pt x="6" y="62"/>
                </a:lnTo>
                <a:lnTo>
                  <a:pt x="6" y="62"/>
                </a:lnTo>
                <a:lnTo>
                  <a:pt x="6" y="66"/>
                </a:lnTo>
                <a:lnTo>
                  <a:pt x="6" y="66"/>
                </a:lnTo>
                <a:lnTo>
                  <a:pt x="4" y="66"/>
                </a:lnTo>
                <a:lnTo>
                  <a:pt x="4" y="66"/>
                </a:lnTo>
                <a:lnTo>
                  <a:pt x="0" y="70"/>
                </a:lnTo>
                <a:lnTo>
                  <a:pt x="0" y="70"/>
                </a:lnTo>
                <a:lnTo>
                  <a:pt x="8" y="72"/>
                </a:lnTo>
                <a:lnTo>
                  <a:pt x="8" y="72"/>
                </a:lnTo>
                <a:lnTo>
                  <a:pt x="10" y="74"/>
                </a:lnTo>
                <a:lnTo>
                  <a:pt x="14" y="72"/>
                </a:lnTo>
                <a:lnTo>
                  <a:pt x="14" y="72"/>
                </a:lnTo>
                <a:lnTo>
                  <a:pt x="16" y="72"/>
                </a:lnTo>
                <a:lnTo>
                  <a:pt x="16" y="70"/>
                </a:lnTo>
                <a:lnTo>
                  <a:pt x="16" y="70"/>
                </a:lnTo>
                <a:lnTo>
                  <a:pt x="18" y="70"/>
                </a:lnTo>
                <a:lnTo>
                  <a:pt x="18" y="70"/>
                </a:lnTo>
                <a:lnTo>
                  <a:pt x="18" y="74"/>
                </a:lnTo>
                <a:lnTo>
                  <a:pt x="18" y="74"/>
                </a:lnTo>
                <a:lnTo>
                  <a:pt x="14" y="74"/>
                </a:lnTo>
                <a:lnTo>
                  <a:pt x="14" y="74"/>
                </a:lnTo>
                <a:lnTo>
                  <a:pt x="12" y="76"/>
                </a:lnTo>
                <a:lnTo>
                  <a:pt x="12" y="78"/>
                </a:lnTo>
                <a:lnTo>
                  <a:pt x="12" y="78"/>
                </a:lnTo>
                <a:lnTo>
                  <a:pt x="14" y="78"/>
                </a:lnTo>
                <a:lnTo>
                  <a:pt x="14" y="78"/>
                </a:lnTo>
                <a:lnTo>
                  <a:pt x="14" y="80"/>
                </a:lnTo>
                <a:lnTo>
                  <a:pt x="14" y="80"/>
                </a:lnTo>
                <a:lnTo>
                  <a:pt x="6" y="88"/>
                </a:lnTo>
                <a:lnTo>
                  <a:pt x="8" y="92"/>
                </a:lnTo>
                <a:lnTo>
                  <a:pt x="10" y="94"/>
                </a:lnTo>
                <a:lnTo>
                  <a:pt x="4" y="98"/>
                </a:lnTo>
                <a:lnTo>
                  <a:pt x="4" y="98"/>
                </a:lnTo>
                <a:lnTo>
                  <a:pt x="6" y="100"/>
                </a:lnTo>
                <a:lnTo>
                  <a:pt x="10" y="104"/>
                </a:lnTo>
                <a:lnTo>
                  <a:pt x="10" y="104"/>
                </a:lnTo>
                <a:lnTo>
                  <a:pt x="14" y="102"/>
                </a:lnTo>
                <a:lnTo>
                  <a:pt x="14" y="100"/>
                </a:lnTo>
                <a:lnTo>
                  <a:pt x="14" y="100"/>
                </a:lnTo>
                <a:lnTo>
                  <a:pt x="16" y="102"/>
                </a:lnTo>
                <a:lnTo>
                  <a:pt x="18" y="108"/>
                </a:lnTo>
                <a:lnTo>
                  <a:pt x="18" y="108"/>
                </a:lnTo>
                <a:lnTo>
                  <a:pt x="20" y="110"/>
                </a:lnTo>
                <a:lnTo>
                  <a:pt x="22" y="110"/>
                </a:lnTo>
                <a:lnTo>
                  <a:pt x="22" y="110"/>
                </a:lnTo>
                <a:lnTo>
                  <a:pt x="22" y="110"/>
                </a:lnTo>
                <a:lnTo>
                  <a:pt x="26" y="108"/>
                </a:lnTo>
                <a:lnTo>
                  <a:pt x="28" y="106"/>
                </a:lnTo>
                <a:lnTo>
                  <a:pt x="30" y="104"/>
                </a:lnTo>
                <a:lnTo>
                  <a:pt x="30" y="104"/>
                </a:lnTo>
                <a:lnTo>
                  <a:pt x="34" y="94"/>
                </a:lnTo>
                <a:lnTo>
                  <a:pt x="38" y="88"/>
                </a:lnTo>
                <a:lnTo>
                  <a:pt x="38" y="88"/>
                </a:lnTo>
                <a:lnTo>
                  <a:pt x="44" y="80"/>
                </a:lnTo>
                <a:lnTo>
                  <a:pt x="44" y="80"/>
                </a:lnTo>
                <a:lnTo>
                  <a:pt x="50" y="76"/>
                </a:lnTo>
                <a:lnTo>
                  <a:pt x="62" y="70"/>
                </a:lnTo>
                <a:lnTo>
                  <a:pt x="62" y="70"/>
                </a:lnTo>
                <a:lnTo>
                  <a:pt x="68" y="64"/>
                </a:lnTo>
                <a:lnTo>
                  <a:pt x="70" y="58"/>
                </a:lnTo>
                <a:lnTo>
                  <a:pt x="70" y="52"/>
                </a:lnTo>
                <a:lnTo>
                  <a:pt x="74" y="52"/>
                </a:lnTo>
                <a:lnTo>
                  <a:pt x="74" y="52"/>
                </a:lnTo>
                <a:lnTo>
                  <a:pt x="74" y="50"/>
                </a:lnTo>
                <a:lnTo>
                  <a:pt x="72" y="44"/>
                </a:lnTo>
                <a:lnTo>
                  <a:pt x="72" y="44"/>
                </a:lnTo>
                <a:lnTo>
                  <a:pt x="72" y="34"/>
                </a:lnTo>
                <a:lnTo>
                  <a:pt x="68" y="32"/>
                </a:lnTo>
                <a:lnTo>
                  <a:pt x="72" y="28"/>
                </a:lnTo>
                <a:lnTo>
                  <a:pt x="72" y="28"/>
                </a:lnTo>
                <a:lnTo>
                  <a:pt x="68" y="26"/>
                </a:lnTo>
                <a:lnTo>
                  <a:pt x="62" y="22"/>
                </a:lnTo>
                <a:lnTo>
                  <a:pt x="62" y="22"/>
                </a:lnTo>
                <a:lnTo>
                  <a:pt x="62" y="20"/>
                </a:lnTo>
                <a:lnTo>
                  <a:pt x="60" y="22"/>
                </a:lnTo>
                <a:lnTo>
                  <a:pt x="60" y="24"/>
                </a:lnTo>
                <a:lnTo>
                  <a:pt x="46" y="20"/>
                </a:lnTo>
                <a:lnTo>
                  <a:pt x="46" y="20"/>
                </a:lnTo>
                <a:lnTo>
                  <a:pt x="44" y="20"/>
                </a:lnTo>
                <a:lnTo>
                  <a:pt x="42" y="16"/>
                </a:lnTo>
                <a:lnTo>
                  <a:pt x="42" y="16"/>
                </a:lnTo>
                <a:lnTo>
                  <a:pt x="42" y="12"/>
                </a:lnTo>
                <a:lnTo>
                  <a:pt x="40" y="10"/>
                </a:lnTo>
                <a:lnTo>
                  <a:pt x="40" y="10"/>
                </a:lnTo>
                <a:lnTo>
                  <a:pt x="32" y="6"/>
                </a:lnTo>
                <a:lnTo>
                  <a:pt x="32" y="6"/>
                </a:lnTo>
                <a:lnTo>
                  <a:pt x="28" y="2"/>
                </a:lnTo>
                <a:lnTo>
                  <a:pt x="28" y="0"/>
                </a:lnTo>
                <a:lnTo>
                  <a:pt x="2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7" name="Freeform 201">
            <a:extLst>
              <a:ext uri="{FF2B5EF4-FFF2-40B4-BE49-F238E27FC236}">
                <a16:creationId xmlns:a16="http://schemas.microsoft.com/office/drawing/2014/main" id="{F7E03DCC-B0AA-4C15-8606-DB6C7BD43D70}"/>
              </a:ext>
            </a:extLst>
          </p:cNvPr>
          <p:cNvSpPr>
            <a:spLocks/>
          </p:cNvSpPr>
          <p:nvPr userDrawn="1"/>
        </p:nvSpPr>
        <p:spPr bwMode="auto">
          <a:xfrm>
            <a:off x="4245861" y="3110940"/>
            <a:ext cx="80497" cy="54911"/>
          </a:xfrm>
          <a:custGeom>
            <a:avLst/>
            <a:gdLst>
              <a:gd name="T0" fmla="*/ 2 w 48"/>
              <a:gd name="T1" fmla="*/ 26 h 32"/>
              <a:gd name="T2" fmla="*/ 2 w 48"/>
              <a:gd name="T3" fmla="*/ 26 h 32"/>
              <a:gd name="T4" fmla="*/ 6 w 48"/>
              <a:gd name="T5" fmla="*/ 32 h 32"/>
              <a:gd name="T6" fmla="*/ 6 w 48"/>
              <a:gd name="T7" fmla="*/ 32 h 32"/>
              <a:gd name="T8" fmla="*/ 8 w 48"/>
              <a:gd name="T9" fmla="*/ 32 h 32"/>
              <a:gd name="T10" fmla="*/ 8 w 48"/>
              <a:gd name="T11" fmla="*/ 32 h 32"/>
              <a:gd name="T12" fmla="*/ 12 w 48"/>
              <a:gd name="T13" fmla="*/ 26 h 32"/>
              <a:gd name="T14" fmla="*/ 12 w 48"/>
              <a:gd name="T15" fmla="*/ 26 h 32"/>
              <a:gd name="T16" fmla="*/ 10 w 48"/>
              <a:gd name="T17" fmla="*/ 20 h 32"/>
              <a:gd name="T18" fmla="*/ 10 w 48"/>
              <a:gd name="T19" fmla="*/ 20 h 32"/>
              <a:gd name="T20" fmla="*/ 18 w 48"/>
              <a:gd name="T21" fmla="*/ 22 h 32"/>
              <a:gd name="T22" fmla="*/ 18 w 48"/>
              <a:gd name="T23" fmla="*/ 22 h 32"/>
              <a:gd name="T24" fmla="*/ 20 w 48"/>
              <a:gd name="T25" fmla="*/ 26 h 32"/>
              <a:gd name="T26" fmla="*/ 20 w 48"/>
              <a:gd name="T27" fmla="*/ 26 h 32"/>
              <a:gd name="T28" fmla="*/ 24 w 48"/>
              <a:gd name="T29" fmla="*/ 26 h 32"/>
              <a:gd name="T30" fmla="*/ 28 w 48"/>
              <a:gd name="T31" fmla="*/ 24 h 32"/>
              <a:gd name="T32" fmla="*/ 28 w 48"/>
              <a:gd name="T33" fmla="*/ 20 h 32"/>
              <a:gd name="T34" fmla="*/ 28 w 48"/>
              <a:gd name="T35" fmla="*/ 20 h 32"/>
              <a:gd name="T36" fmla="*/ 34 w 48"/>
              <a:gd name="T37" fmla="*/ 20 h 32"/>
              <a:gd name="T38" fmla="*/ 42 w 48"/>
              <a:gd name="T39" fmla="*/ 22 h 32"/>
              <a:gd name="T40" fmla="*/ 46 w 48"/>
              <a:gd name="T41" fmla="*/ 22 h 32"/>
              <a:gd name="T42" fmla="*/ 48 w 48"/>
              <a:gd name="T43" fmla="*/ 20 h 32"/>
              <a:gd name="T44" fmla="*/ 48 w 48"/>
              <a:gd name="T45" fmla="*/ 18 h 32"/>
              <a:gd name="T46" fmla="*/ 46 w 48"/>
              <a:gd name="T47" fmla="*/ 14 h 32"/>
              <a:gd name="T48" fmla="*/ 46 w 48"/>
              <a:gd name="T49" fmla="*/ 14 h 32"/>
              <a:gd name="T50" fmla="*/ 42 w 48"/>
              <a:gd name="T51" fmla="*/ 12 h 32"/>
              <a:gd name="T52" fmla="*/ 38 w 48"/>
              <a:gd name="T53" fmla="*/ 10 h 32"/>
              <a:gd name="T54" fmla="*/ 38 w 48"/>
              <a:gd name="T55" fmla="*/ 10 h 32"/>
              <a:gd name="T56" fmla="*/ 36 w 48"/>
              <a:gd name="T57" fmla="*/ 10 h 32"/>
              <a:gd name="T58" fmla="*/ 28 w 48"/>
              <a:gd name="T59" fmla="*/ 8 h 32"/>
              <a:gd name="T60" fmla="*/ 28 w 48"/>
              <a:gd name="T61" fmla="*/ 8 h 32"/>
              <a:gd name="T62" fmla="*/ 26 w 48"/>
              <a:gd name="T63" fmla="*/ 6 h 32"/>
              <a:gd name="T64" fmla="*/ 22 w 48"/>
              <a:gd name="T65" fmla="*/ 2 h 32"/>
              <a:gd name="T66" fmla="*/ 22 w 48"/>
              <a:gd name="T67" fmla="*/ 2 h 32"/>
              <a:gd name="T68" fmla="*/ 18 w 48"/>
              <a:gd name="T69" fmla="*/ 2 h 32"/>
              <a:gd name="T70" fmla="*/ 18 w 48"/>
              <a:gd name="T71" fmla="*/ 2 h 32"/>
              <a:gd name="T72" fmla="*/ 16 w 48"/>
              <a:gd name="T73" fmla="*/ 0 h 32"/>
              <a:gd name="T74" fmla="*/ 16 w 48"/>
              <a:gd name="T75" fmla="*/ 0 h 32"/>
              <a:gd name="T76" fmla="*/ 6 w 48"/>
              <a:gd name="T77" fmla="*/ 0 h 32"/>
              <a:gd name="T78" fmla="*/ 6 w 48"/>
              <a:gd name="T79" fmla="*/ 0 h 32"/>
              <a:gd name="T80" fmla="*/ 2 w 48"/>
              <a:gd name="T81" fmla="*/ 2 h 32"/>
              <a:gd name="T82" fmla="*/ 2 w 48"/>
              <a:gd name="T83" fmla="*/ 2 h 32"/>
              <a:gd name="T84" fmla="*/ 0 w 48"/>
              <a:gd name="T85" fmla="*/ 2 h 32"/>
              <a:gd name="T86" fmla="*/ 2 w 48"/>
              <a:gd name="T87" fmla="*/ 12 h 32"/>
              <a:gd name="T88" fmla="*/ 0 w 48"/>
              <a:gd name="T89" fmla="*/ 16 h 32"/>
              <a:gd name="T90" fmla="*/ 0 w 48"/>
              <a:gd name="T91" fmla="*/ 18 h 32"/>
              <a:gd name="T92" fmla="*/ 0 w 48"/>
              <a:gd name="T93" fmla="*/ 18 h 32"/>
              <a:gd name="T94" fmla="*/ 2 w 48"/>
              <a:gd name="T95" fmla="*/ 22 h 32"/>
              <a:gd name="T96" fmla="*/ 2 w 48"/>
              <a:gd name="T97" fmla="*/ 22 h 32"/>
              <a:gd name="T98" fmla="*/ 2 w 48"/>
              <a:gd name="T99" fmla="*/ 26 h 32"/>
              <a:gd name="T100" fmla="*/ 2 w 48"/>
              <a:gd name="T10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32">
                <a:moveTo>
                  <a:pt x="2" y="26"/>
                </a:moveTo>
                <a:lnTo>
                  <a:pt x="2" y="26"/>
                </a:lnTo>
                <a:lnTo>
                  <a:pt x="6" y="32"/>
                </a:lnTo>
                <a:lnTo>
                  <a:pt x="6" y="32"/>
                </a:lnTo>
                <a:lnTo>
                  <a:pt x="8" y="32"/>
                </a:lnTo>
                <a:lnTo>
                  <a:pt x="8" y="32"/>
                </a:lnTo>
                <a:lnTo>
                  <a:pt x="12" y="26"/>
                </a:lnTo>
                <a:lnTo>
                  <a:pt x="12" y="26"/>
                </a:lnTo>
                <a:lnTo>
                  <a:pt x="10" y="20"/>
                </a:lnTo>
                <a:lnTo>
                  <a:pt x="10" y="20"/>
                </a:lnTo>
                <a:lnTo>
                  <a:pt x="18" y="22"/>
                </a:lnTo>
                <a:lnTo>
                  <a:pt x="18" y="22"/>
                </a:lnTo>
                <a:lnTo>
                  <a:pt x="20" y="26"/>
                </a:lnTo>
                <a:lnTo>
                  <a:pt x="20" y="26"/>
                </a:lnTo>
                <a:lnTo>
                  <a:pt x="24" y="26"/>
                </a:lnTo>
                <a:lnTo>
                  <a:pt x="28" y="24"/>
                </a:lnTo>
                <a:lnTo>
                  <a:pt x="28" y="20"/>
                </a:lnTo>
                <a:lnTo>
                  <a:pt x="28" y="20"/>
                </a:lnTo>
                <a:lnTo>
                  <a:pt x="34" y="20"/>
                </a:lnTo>
                <a:lnTo>
                  <a:pt x="42" y="22"/>
                </a:lnTo>
                <a:lnTo>
                  <a:pt x="46" y="22"/>
                </a:lnTo>
                <a:lnTo>
                  <a:pt x="48" y="20"/>
                </a:lnTo>
                <a:lnTo>
                  <a:pt x="48" y="18"/>
                </a:lnTo>
                <a:lnTo>
                  <a:pt x="46" y="14"/>
                </a:lnTo>
                <a:lnTo>
                  <a:pt x="46" y="14"/>
                </a:lnTo>
                <a:lnTo>
                  <a:pt x="42" y="12"/>
                </a:lnTo>
                <a:lnTo>
                  <a:pt x="38" y="10"/>
                </a:lnTo>
                <a:lnTo>
                  <a:pt x="38" y="10"/>
                </a:lnTo>
                <a:lnTo>
                  <a:pt x="36" y="10"/>
                </a:lnTo>
                <a:lnTo>
                  <a:pt x="28" y="8"/>
                </a:lnTo>
                <a:lnTo>
                  <a:pt x="28" y="8"/>
                </a:lnTo>
                <a:lnTo>
                  <a:pt x="26" y="6"/>
                </a:lnTo>
                <a:lnTo>
                  <a:pt x="22" y="2"/>
                </a:lnTo>
                <a:lnTo>
                  <a:pt x="22" y="2"/>
                </a:lnTo>
                <a:lnTo>
                  <a:pt x="18" y="2"/>
                </a:lnTo>
                <a:lnTo>
                  <a:pt x="18" y="2"/>
                </a:lnTo>
                <a:lnTo>
                  <a:pt x="16" y="0"/>
                </a:lnTo>
                <a:lnTo>
                  <a:pt x="16" y="0"/>
                </a:lnTo>
                <a:lnTo>
                  <a:pt x="6" y="0"/>
                </a:lnTo>
                <a:lnTo>
                  <a:pt x="6" y="0"/>
                </a:lnTo>
                <a:lnTo>
                  <a:pt x="2" y="2"/>
                </a:lnTo>
                <a:lnTo>
                  <a:pt x="2" y="2"/>
                </a:lnTo>
                <a:lnTo>
                  <a:pt x="0" y="2"/>
                </a:lnTo>
                <a:lnTo>
                  <a:pt x="2" y="12"/>
                </a:lnTo>
                <a:lnTo>
                  <a:pt x="0" y="16"/>
                </a:lnTo>
                <a:lnTo>
                  <a:pt x="0" y="18"/>
                </a:lnTo>
                <a:lnTo>
                  <a:pt x="0" y="18"/>
                </a:lnTo>
                <a:lnTo>
                  <a:pt x="2" y="22"/>
                </a:lnTo>
                <a:lnTo>
                  <a:pt x="2" y="22"/>
                </a:lnTo>
                <a:lnTo>
                  <a:pt x="2" y="26"/>
                </a:lnTo>
                <a:lnTo>
                  <a:pt x="2"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8" name="Freeform 202">
            <a:extLst>
              <a:ext uri="{FF2B5EF4-FFF2-40B4-BE49-F238E27FC236}">
                <a16:creationId xmlns:a16="http://schemas.microsoft.com/office/drawing/2014/main" id="{97F09FC4-FCFB-425F-AB99-179C60DCC27E}"/>
              </a:ext>
            </a:extLst>
          </p:cNvPr>
          <p:cNvSpPr>
            <a:spLocks/>
          </p:cNvSpPr>
          <p:nvPr userDrawn="1"/>
        </p:nvSpPr>
        <p:spPr bwMode="auto">
          <a:xfrm>
            <a:off x="6786570" y="3320291"/>
            <a:ext cx="43603" cy="58344"/>
          </a:xfrm>
          <a:custGeom>
            <a:avLst/>
            <a:gdLst>
              <a:gd name="T0" fmla="*/ 24 w 26"/>
              <a:gd name="T1" fmla="*/ 26 h 34"/>
              <a:gd name="T2" fmla="*/ 24 w 26"/>
              <a:gd name="T3" fmla="*/ 26 h 34"/>
              <a:gd name="T4" fmla="*/ 22 w 26"/>
              <a:gd name="T5" fmla="*/ 22 h 34"/>
              <a:gd name="T6" fmla="*/ 22 w 26"/>
              <a:gd name="T7" fmla="*/ 22 h 34"/>
              <a:gd name="T8" fmla="*/ 20 w 26"/>
              <a:gd name="T9" fmla="*/ 22 h 34"/>
              <a:gd name="T10" fmla="*/ 20 w 26"/>
              <a:gd name="T11" fmla="*/ 20 h 34"/>
              <a:gd name="T12" fmla="*/ 20 w 26"/>
              <a:gd name="T13" fmla="*/ 20 h 34"/>
              <a:gd name="T14" fmla="*/ 26 w 26"/>
              <a:gd name="T15" fmla="*/ 14 h 34"/>
              <a:gd name="T16" fmla="*/ 26 w 26"/>
              <a:gd name="T17" fmla="*/ 8 h 34"/>
              <a:gd name="T18" fmla="*/ 26 w 26"/>
              <a:gd name="T19" fmla="*/ 4 h 34"/>
              <a:gd name="T20" fmla="*/ 22 w 26"/>
              <a:gd name="T21" fmla="*/ 0 h 34"/>
              <a:gd name="T22" fmla="*/ 16 w 26"/>
              <a:gd name="T23" fmla="*/ 6 h 34"/>
              <a:gd name="T24" fmla="*/ 12 w 26"/>
              <a:gd name="T25" fmla="*/ 2 h 34"/>
              <a:gd name="T26" fmla="*/ 10 w 26"/>
              <a:gd name="T27" fmla="*/ 4 h 34"/>
              <a:gd name="T28" fmla="*/ 10 w 26"/>
              <a:gd name="T29" fmla="*/ 4 h 34"/>
              <a:gd name="T30" fmla="*/ 6 w 26"/>
              <a:gd name="T31" fmla="*/ 10 h 34"/>
              <a:gd name="T32" fmla="*/ 4 w 26"/>
              <a:gd name="T33" fmla="*/ 14 h 34"/>
              <a:gd name="T34" fmla="*/ 4 w 26"/>
              <a:gd name="T35" fmla="*/ 18 h 34"/>
              <a:gd name="T36" fmla="*/ 4 w 26"/>
              <a:gd name="T37" fmla="*/ 18 h 34"/>
              <a:gd name="T38" fmla="*/ 2 w 26"/>
              <a:gd name="T39" fmla="*/ 22 h 34"/>
              <a:gd name="T40" fmla="*/ 2 w 26"/>
              <a:gd name="T41" fmla="*/ 24 h 34"/>
              <a:gd name="T42" fmla="*/ 0 w 26"/>
              <a:gd name="T43" fmla="*/ 28 h 34"/>
              <a:gd name="T44" fmla="*/ 0 w 26"/>
              <a:gd name="T45" fmla="*/ 30 h 34"/>
              <a:gd name="T46" fmla="*/ 0 w 26"/>
              <a:gd name="T47" fmla="*/ 30 h 34"/>
              <a:gd name="T48" fmla="*/ 4 w 26"/>
              <a:gd name="T49" fmla="*/ 34 h 34"/>
              <a:gd name="T50" fmla="*/ 8 w 26"/>
              <a:gd name="T51" fmla="*/ 34 h 34"/>
              <a:gd name="T52" fmla="*/ 8 w 26"/>
              <a:gd name="T53" fmla="*/ 34 h 34"/>
              <a:gd name="T54" fmla="*/ 12 w 26"/>
              <a:gd name="T55" fmla="*/ 32 h 34"/>
              <a:gd name="T56" fmla="*/ 18 w 26"/>
              <a:gd name="T57" fmla="*/ 34 h 34"/>
              <a:gd name="T58" fmla="*/ 24 w 26"/>
              <a:gd name="T5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34">
                <a:moveTo>
                  <a:pt x="24" y="26"/>
                </a:moveTo>
                <a:lnTo>
                  <a:pt x="24" y="26"/>
                </a:lnTo>
                <a:lnTo>
                  <a:pt x="22" y="22"/>
                </a:lnTo>
                <a:lnTo>
                  <a:pt x="22" y="22"/>
                </a:lnTo>
                <a:lnTo>
                  <a:pt x="20" y="22"/>
                </a:lnTo>
                <a:lnTo>
                  <a:pt x="20" y="20"/>
                </a:lnTo>
                <a:lnTo>
                  <a:pt x="20" y="20"/>
                </a:lnTo>
                <a:lnTo>
                  <a:pt x="26" y="14"/>
                </a:lnTo>
                <a:lnTo>
                  <a:pt x="26" y="8"/>
                </a:lnTo>
                <a:lnTo>
                  <a:pt x="26" y="4"/>
                </a:lnTo>
                <a:lnTo>
                  <a:pt x="22" y="0"/>
                </a:lnTo>
                <a:lnTo>
                  <a:pt x="16" y="6"/>
                </a:lnTo>
                <a:lnTo>
                  <a:pt x="12" y="2"/>
                </a:lnTo>
                <a:lnTo>
                  <a:pt x="10" y="4"/>
                </a:lnTo>
                <a:lnTo>
                  <a:pt x="10" y="4"/>
                </a:lnTo>
                <a:lnTo>
                  <a:pt x="6" y="10"/>
                </a:lnTo>
                <a:lnTo>
                  <a:pt x="4" y="14"/>
                </a:lnTo>
                <a:lnTo>
                  <a:pt x="4" y="18"/>
                </a:lnTo>
                <a:lnTo>
                  <a:pt x="4" y="18"/>
                </a:lnTo>
                <a:lnTo>
                  <a:pt x="2" y="22"/>
                </a:lnTo>
                <a:lnTo>
                  <a:pt x="2" y="24"/>
                </a:lnTo>
                <a:lnTo>
                  <a:pt x="0" y="28"/>
                </a:lnTo>
                <a:lnTo>
                  <a:pt x="0" y="30"/>
                </a:lnTo>
                <a:lnTo>
                  <a:pt x="0" y="30"/>
                </a:lnTo>
                <a:lnTo>
                  <a:pt x="4" y="34"/>
                </a:lnTo>
                <a:lnTo>
                  <a:pt x="8" y="34"/>
                </a:lnTo>
                <a:lnTo>
                  <a:pt x="8" y="34"/>
                </a:lnTo>
                <a:lnTo>
                  <a:pt x="12" y="32"/>
                </a:lnTo>
                <a:lnTo>
                  <a:pt x="18" y="34"/>
                </a:lnTo>
                <a:lnTo>
                  <a:pt x="24" y="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9" name="Freeform 203">
            <a:extLst>
              <a:ext uri="{FF2B5EF4-FFF2-40B4-BE49-F238E27FC236}">
                <a16:creationId xmlns:a16="http://schemas.microsoft.com/office/drawing/2014/main" id="{2FB2B0F3-7166-4D81-AB77-D4AC8E9A2D98}"/>
              </a:ext>
            </a:extLst>
          </p:cNvPr>
          <p:cNvSpPr>
            <a:spLocks noEditPoints="1"/>
          </p:cNvSpPr>
          <p:nvPr userDrawn="1"/>
        </p:nvSpPr>
        <p:spPr bwMode="auto">
          <a:xfrm>
            <a:off x="6036936" y="1885726"/>
            <a:ext cx="105654" cy="133847"/>
          </a:xfrm>
          <a:custGeom>
            <a:avLst/>
            <a:gdLst>
              <a:gd name="T0" fmla="*/ 24 w 63"/>
              <a:gd name="T1" fmla="*/ 54 h 78"/>
              <a:gd name="T2" fmla="*/ 30 w 63"/>
              <a:gd name="T3" fmla="*/ 60 h 78"/>
              <a:gd name="T4" fmla="*/ 32 w 63"/>
              <a:gd name="T5" fmla="*/ 64 h 78"/>
              <a:gd name="T6" fmla="*/ 37 w 63"/>
              <a:gd name="T7" fmla="*/ 64 h 78"/>
              <a:gd name="T8" fmla="*/ 37 w 63"/>
              <a:gd name="T9" fmla="*/ 54 h 78"/>
              <a:gd name="T10" fmla="*/ 30 w 63"/>
              <a:gd name="T11" fmla="*/ 46 h 78"/>
              <a:gd name="T12" fmla="*/ 37 w 63"/>
              <a:gd name="T13" fmla="*/ 38 h 78"/>
              <a:gd name="T14" fmla="*/ 39 w 63"/>
              <a:gd name="T15" fmla="*/ 32 h 78"/>
              <a:gd name="T16" fmla="*/ 32 w 63"/>
              <a:gd name="T17" fmla="*/ 26 h 78"/>
              <a:gd name="T18" fmla="*/ 26 w 63"/>
              <a:gd name="T19" fmla="*/ 16 h 78"/>
              <a:gd name="T20" fmla="*/ 32 w 63"/>
              <a:gd name="T21" fmla="*/ 16 h 78"/>
              <a:gd name="T22" fmla="*/ 37 w 63"/>
              <a:gd name="T23" fmla="*/ 12 h 78"/>
              <a:gd name="T24" fmla="*/ 34 w 63"/>
              <a:gd name="T25" fmla="*/ 6 h 78"/>
              <a:gd name="T26" fmla="*/ 37 w 63"/>
              <a:gd name="T27" fmla="*/ 0 h 78"/>
              <a:gd name="T28" fmla="*/ 26 w 63"/>
              <a:gd name="T29" fmla="*/ 4 h 78"/>
              <a:gd name="T30" fmla="*/ 22 w 63"/>
              <a:gd name="T31" fmla="*/ 10 h 78"/>
              <a:gd name="T32" fmla="*/ 16 w 63"/>
              <a:gd name="T33" fmla="*/ 14 h 78"/>
              <a:gd name="T34" fmla="*/ 8 w 63"/>
              <a:gd name="T35" fmla="*/ 16 h 78"/>
              <a:gd name="T36" fmla="*/ 2 w 63"/>
              <a:gd name="T37" fmla="*/ 22 h 78"/>
              <a:gd name="T38" fmla="*/ 2 w 63"/>
              <a:gd name="T39" fmla="*/ 24 h 78"/>
              <a:gd name="T40" fmla="*/ 8 w 63"/>
              <a:gd name="T41" fmla="*/ 20 h 78"/>
              <a:gd name="T42" fmla="*/ 12 w 63"/>
              <a:gd name="T43" fmla="*/ 18 h 78"/>
              <a:gd name="T44" fmla="*/ 22 w 63"/>
              <a:gd name="T45" fmla="*/ 28 h 78"/>
              <a:gd name="T46" fmla="*/ 16 w 63"/>
              <a:gd name="T47" fmla="*/ 24 h 78"/>
              <a:gd name="T48" fmla="*/ 0 w 63"/>
              <a:gd name="T49" fmla="*/ 30 h 78"/>
              <a:gd name="T50" fmla="*/ 2 w 63"/>
              <a:gd name="T51" fmla="*/ 42 h 78"/>
              <a:gd name="T52" fmla="*/ 2 w 63"/>
              <a:gd name="T53" fmla="*/ 48 h 78"/>
              <a:gd name="T54" fmla="*/ 4 w 63"/>
              <a:gd name="T55" fmla="*/ 56 h 78"/>
              <a:gd name="T56" fmla="*/ 10 w 63"/>
              <a:gd name="T57" fmla="*/ 64 h 78"/>
              <a:gd name="T58" fmla="*/ 61 w 63"/>
              <a:gd name="T59" fmla="*/ 66 h 78"/>
              <a:gd name="T60" fmla="*/ 51 w 63"/>
              <a:gd name="T61" fmla="*/ 70 h 78"/>
              <a:gd name="T62" fmla="*/ 45 w 63"/>
              <a:gd name="T63" fmla="*/ 68 h 78"/>
              <a:gd name="T64" fmla="*/ 43 w 63"/>
              <a:gd name="T65" fmla="*/ 68 h 78"/>
              <a:gd name="T66" fmla="*/ 43 w 63"/>
              <a:gd name="T67" fmla="*/ 72 h 78"/>
              <a:gd name="T68" fmla="*/ 45 w 63"/>
              <a:gd name="T69" fmla="*/ 76 h 78"/>
              <a:gd name="T70" fmla="*/ 49 w 63"/>
              <a:gd name="T71" fmla="*/ 78 h 78"/>
              <a:gd name="T72" fmla="*/ 53 w 63"/>
              <a:gd name="T73" fmla="*/ 76 h 78"/>
              <a:gd name="T74" fmla="*/ 57 w 63"/>
              <a:gd name="T75" fmla="*/ 72 h 78"/>
              <a:gd name="T76" fmla="*/ 63 w 63"/>
              <a:gd name="T77" fmla="*/ 66 h 78"/>
              <a:gd name="T78" fmla="*/ 39 w 63"/>
              <a:gd name="T79" fmla="*/ 66 h 78"/>
              <a:gd name="T80" fmla="*/ 37 w 63"/>
              <a:gd name="T81" fmla="*/ 74 h 78"/>
              <a:gd name="T82" fmla="*/ 39 w 63"/>
              <a:gd name="T83" fmla="*/ 68 h 78"/>
              <a:gd name="T84" fmla="*/ 39 w 63"/>
              <a:gd name="T85" fmla="*/ 66 h 78"/>
              <a:gd name="T86" fmla="*/ 55 w 63"/>
              <a:gd name="T87" fmla="*/ 38 h 78"/>
              <a:gd name="T88" fmla="*/ 53 w 63"/>
              <a:gd name="T89" fmla="*/ 46 h 78"/>
              <a:gd name="T90" fmla="*/ 49 w 63"/>
              <a:gd name="T91" fmla="*/ 50 h 78"/>
              <a:gd name="T92" fmla="*/ 49 w 63"/>
              <a:gd name="T93" fmla="*/ 46 h 78"/>
              <a:gd name="T94" fmla="*/ 43 w 63"/>
              <a:gd name="T95" fmla="*/ 50 h 78"/>
              <a:gd name="T96" fmla="*/ 39 w 63"/>
              <a:gd name="T97" fmla="*/ 50 h 78"/>
              <a:gd name="T98" fmla="*/ 41 w 63"/>
              <a:gd name="T99" fmla="*/ 54 h 78"/>
              <a:gd name="T100" fmla="*/ 43 w 63"/>
              <a:gd name="T101" fmla="*/ 62 h 78"/>
              <a:gd name="T102" fmla="*/ 49 w 63"/>
              <a:gd name="T103" fmla="*/ 62 h 78"/>
              <a:gd name="T104" fmla="*/ 51 w 63"/>
              <a:gd name="T105" fmla="*/ 60 h 78"/>
              <a:gd name="T106" fmla="*/ 55 w 63"/>
              <a:gd name="T107" fmla="*/ 66 h 78"/>
              <a:gd name="T108" fmla="*/ 55 w 63"/>
              <a:gd name="T109" fmla="*/ 62 h 78"/>
              <a:gd name="T110" fmla="*/ 61 w 63"/>
              <a:gd name="T111" fmla="*/ 58 h 78"/>
              <a:gd name="T112" fmla="*/ 57 w 63"/>
              <a:gd name="T113" fmla="*/ 52 h 78"/>
              <a:gd name="T114" fmla="*/ 61 w 63"/>
              <a:gd name="T115" fmla="*/ 50 h 78"/>
              <a:gd name="T116" fmla="*/ 59 w 63"/>
              <a:gd name="T117" fmla="*/ 38 h 78"/>
              <a:gd name="T118" fmla="*/ 12 w 63"/>
              <a:gd name="T119" fmla="*/ 20 h 78"/>
              <a:gd name="T120" fmla="*/ 10 w 63"/>
              <a:gd name="T121" fmla="*/ 26 h 78"/>
              <a:gd name="T122" fmla="*/ 14 w 63"/>
              <a:gd name="T123" fmla="*/ 22 h 78"/>
              <a:gd name="T124" fmla="*/ 12 w 63"/>
              <a:gd name="T125"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 h="78">
                <a:moveTo>
                  <a:pt x="22" y="64"/>
                </a:moveTo>
                <a:lnTo>
                  <a:pt x="22" y="64"/>
                </a:lnTo>
                <a:lnTo>
                  <a:pt x="24" y="54"/>
                </a:lnTo>
                <a:lnTo>
                  <a:pt x="24" y="54"/>
                </a:lnTo>
                <a:lnTo>
                  <a:pt x="30" y="60"/>
                </a:lnTo>
                <a:lnTo>
                  <a:pt x="30" y="60"/>
                </a:lnTo>
                <a:lnTo>
                  <a:pt x="30" y="64"/>
                </a:lnTo>
                <a:lnTo>
                  <a:pt x="32" y="64"/>
                </a:lnTo>
                <a:lnTo>
                  <a:pt x="32" y="64"/>
                </a:lnTo>
                <a:lnTo>
                  <a:pt x="32" y="64"/>
                </a:lnTo>
                <a:lnTo>
                  <a:pt x="34" y="64"/>
                </a:lnTo>
                <a:lnTo>
                  <a:pt x="37" y="64"/>
                </a:lnTo>
                <a:lnTo>
                  <a:pt x="37" y="64"/>
                </a:lnTo>
                <a:lnTo>
                  <a:pt x="37" y="54"/>
                </a:lnTo>
                <a:lnTo>
                  <a:pt x="37" y="54"/>
                </a:lnTo>
                <a:lnTo>
                  <a:pt x="26" y="54"/>
                </a:lnTo>
                <a:lnTo>
                  <a:pt x="26" y="54"/>
                </a:lnTo>
                <a:lnTo>
                  <a:pt x="30" y="46"/>
                </a:lnTo>
                <a:lnTo>
                  <a:pt x="32" y="36"/>
                </a:lnTo>
                <a:lnTo>
                  <a:pt x="32" y="36"/>
                </a:lnTo>
                <a:lnTo>
                  <a:pt x="37" y="38"/>
                </a:lnTo>
                <a:lnTo>
                  <a:pt x="41" y="34"/>
                </a:lnTo>
                <a:lnTo>
                  <a:pt x="39" y="32"/>
                </a:lnTo>
                <a:lnTo>
                  <a:pt x="39" y="32"/>
                </a:lnTo>
                <a:lnTo>
                  <a:pt x="34" y="32"/>
                </a:lnTo>
                <a:lnTo>
                  <a:pt x="34" y="32"/>
                </a:lnTo>
                <a:lnTo>
                  <a:pt x="32" y="26"/>
                </a:lnTo>
                <a:lnTo>
                  <a:pt x="32" y="18"/>
                </a:lnTo>
                <a:lnTo>
                  <a:pt x="32" y="18"/>
                </a:lnTo>
                <a:lnTo>
                  <a:pt x="26" y="16"/>
                </a:lnTo>
                <a:lnTo>
                  <a:pt x="26" y="16"/>
                </a:lnTo>
                <a:lnTo>
                  <a:pt x="32" y="16"/>
                </a:lnTo>
                <a:lnTo>
                  <a:pt x="32" y="16"/>
                </a:lnTo>
                <a:lnTo>
                  <a:pt x="34" y="12"/>
                </a:lnTo>
                <a:lnTo>
                  <a:pt x="34" y="12"/>
                </a:lnTo>
                <a:lnTo>
                  <a:pt x="37" y="12"/>
                </a:lnTo>
                <a:lnTo>
                  <a:pt x="37" y="12"/>
                </a:lnTo>
                <a:lnTo>
                  <a:pt x="34" y="6"/>
                </a:lnTo>
                <a:lnTo>
                  <a:pt x="34" y="6"/>
                </a:lnTo>
                <a:lnTo>
                  <a:pt x="37" y="2"/>
                </a:lnTo>
                <a:lnTo>
                  <a:pt x="37" y="2"/>
                </a:lnTo>
                <a:lnTo>
                  <a:pt x="37" y="0"/>
                </a:lnTo>
                <a:lnTo>
                  <a:pt x="37" y="0"/>
                </a:lnTo>
                <a:lnTo>
                  <a:pt x="30" y="2"/>
                </a:lnTo>
                <a:lnTo>
                  <a:pt x="26" y="4"/>
                </a:lnTo>
                <a:lnTo>
                  <a:pt x="26" y="4"/>
                </a:lnTo>
                <a:lnTo>
                  <a:pt x="24" y="8"/>
                </a:lnTo>
                <a:lnTo>
                  <a:pt x="22" y="10"/>
                </a:lnTo>
                <a:lnTo>
                  <a:pt x="22" y="12"/>
                </a:lnTo>
                <a:lnTo>
                  <a:pt x="22" y="12"/>
                </a:lnTo>
                <a:lnTo>
                  <a:pt x="16" y="14"/>
                </a:lnTo>
                <a:lnTo>
                  <a:pt x="14" y="14"/>
                </a:lnTo>
                <a:lnTo>
                  <a:pt x="12" y="14"/>
                </a:lnTo>
                <a:lnTo>
                  <a:pt x="8" y="16"/>
                </a:lnTo>
                <a:lnTo>
                  <a:pt x="8" y="16"/>
                </a:lnTo>
                <a:lnTo>
                  <a:pt x="2" y="22"/>
                </a:lnTo>
                <a:lnTo>
                  <a:pt x="2" y="22"/>
                </a:lnTo>
                <a:lnTo>
                  <a:pt x="2" y="24"/>
                </a:lnTo>
                <a:lnTo>
                  <a:pt x="2" y="24"/>
                </a:lnTo>
                <a:lnTo>
                  <a:pt x="2" y="24"/>
                </a:lnTo>
                <a:lnTo>
                  <a:pt x="6" y="24"/>
                </a:lnTo>
                <a:lnTo>
                  <a:pt x="6" y="24"/>
                </a:lnTo>
                <a:lnTo>
                  <a:pt x="8" y="20"/>
                </a:lnTo>
                <a:lnTo>
                  <a:pt x="8" y="20"/>
                </a:lnTo>
                <a:lnTo>
                  <a:pt x="10" y="18"/>
                </a:lnTo>
                <a:lnTo>
                  <a:pt x="12" y="18"/>
                </a:lnTo>
                <a:lnTo>
                  <a:pt x="20" y="18"/>
                </a:lnTo>
                <a:lnTo>
                  <a:pt x="20" y="18"/>
                </a:lnTo>
                <a:lnTo>
                  <a:pt x="22" y="28"/>
                </a:lnTo>
                <a:lnTo>
                  <a:pt x="22" y="28"/>
                </a:lnTo>
                <a:lnTo>
                  <a:pt x="18" y="24"/>
                </a:lnTo>
                <a:lnTo>
                  <a:pt x="16" y="24"/>
                </a:lnTo>
                <a:lnTo>
                  <a:pt x="12" y="32"/>
                </a:lnTo>
                <a:lnTo>
                  <a:pt x="12" y="32"/>
                </a:lnTo>
                <a:lnTo>
                  <a:pt x="0" y="30"/>
                </a:lnTo>
                <a:lnTo>
                  <a:pt x="0" y="30"/>
                </a:lnTo>
                <a:lnTo>
                  <a:pt x="2" y="40"/>
                </a:lnTo>
                <a:lnTo>
                  <a:pt x="2" y="42"/>
                </a:lnTo>
                <a:lnTo>
                  <a:pt x="6" y="44"/>
                </a:lnTo>
                <a:lnTo>
                  <a:pt x="6" y="46"/>
                </a:lnTo>
                <a:lnTo>
                  <a:pt x="2" y="48"/>
                </a:lnTo>
                <a:lnTo>
                  <a:pt x="2" y="48"/>
                </a:lnTo>
                <a:lnTo>
                  <a:pt x="2" y="52"/>
                </a:lnTo>
                <a:lnTo>
                  <a:pt x="4" y="56"/>
                </a:lnTo>
                <a:lnTo>
                  <a:pt x="10" y="62"/>
                </a:lnTo>
                <a:lnTo>
                  <a:pt x="10" y="62"/>
                </a:lnTo>
                <a:lnTo>
                  <a:pt x="10" y="64"/>
                </a:lnTo>
                <a:lnTo>
                  <a:pt x="22" y="64"/>
                </a:lnTo>
                <a:close/>
                <a:moveTo>
                  <a:pt x="61" y="66"/>
                </a:moveTo>
                <a:lnTo>
                  <a:pt x="61" y="66"/>
                </a:lnTo>
                <a:lnTo>
                  <a:pt x="55" y="68"/>
                </a:lnTo>
                <a:lnTo>
                  <a:pt x="51" y="70"/>
                </a:lnTo>
                <a:lnTo>
                  <a:pt x="51" y="70"/>
                </a:lnTo>
                <a:lnTo>
                  <a:pt x="49" y="70"/>
                </a:lnTo>
                <a:lnTo>
                  <a:pt x="49" y="70"/>
                </a:lnTo>
                <a:lnTo>
                  <a:pt x="45" y="68"/>
                </a:lnTo>
                <a:lnTo>
                  <a:pt x="45" y="68"/>
                </a:lnTo>
                <a:lnTo>
                  <a:pt x="43" y="68"/>
                </a:lnTo>
                <a:lnTo>
                  <a:pt x="43" y="68"/>
                </a:lnTo>
                <a:lnTo>
                  <a:pt x="43" y="68"/>
                </a:lnTo>
                <a:lnTo>
                  <a:pt x="43" y="70"/>
                </a:lnTo>
                <a:lnTo>
                  <a:pt x="43" y="72"/>
                </a:lnTo>
                <a:lnTo>
                  <a:pt x="43" y="72"/>
                </a:lnTo>
                <a:lnTo>
                  <a:pt x="45" y="76"/>
                </a:lnTo>
                <a:lnTo>
                  <a:pt x="45" y="76"/>
                </a:lnTo>
                <a:lnTo>
                  <a:pt x="45" y="76"/>
                </a:lnTo>
                <a:lnTo>
                  <a:pt x="47" y="78"/>
                </a:lnTo>
                <a:lnTo>
                  <a:pt x="49" y="78"/>
                </a:lnTo>
                <a:lnTo>
                  <a:pt x="51" y="76"/>
                </a:lnTo>
                <a:lnTo>
                  <a:pt x="51" y="76"/>
                </a:lnTo>
                <a:lnTo>
                  <a:pt x="53" y="76"/>
                </a:lnTo>
                <a:lnTo>
                  <a:pt x="55" y="76"/>
                </a:lnTo>
                <a:lnTo>
                  <a:pt x="55" y="76"/>
                </a:lnTo>
                <a:lnTo>
                  <a:pt x="57" y="72"/>
                </a:lnTo>
                <a:lnTo>
                  <a:pt x="57" y="72"/>
                </a:lnTo>
                <a:lnTo>
                  <a:pt x="61" y="68"/>
                </a:lnTo>
                <a:lnTo>
                  <a:pt x="63" y="66"/>
                </a:lnTo>
                <a:lnTo>
                  <a:pt x="61" y="66"/>
                </a:lnTo>
                <a:lnTo>
                  <a:pt x="61" y="66"/>
                </a:lnTo>
                <a:close/>
                <a:moveTo>
                  <a:pt x="39" y="66"/>
                </a:moveTo>
                <a:lnTo>
                  <a:pt x="39" y="66"/>
                </a:lnTo>
                <a:lnTo>
                  <a:pt x="37" y="72"/>
                </a:lnTo>
                <a:lnTo>
                  <a:pt x="37" y="74"/>
                </a:lnTo>
                <a:lnTo>
                  <a:pt x="37" y="74"/>
                </a:lnTo>
                <a:lnTo>
                  <a:pt x="37" y="74"/>
                </a:lnTo>
                <a:lnTo>
                  <a:pt x="39" y="68"/>
                </a:lnTo>
                <a:lnTo>
                  <a:pt x="41" y="66"/>
                </a:lnTo>
                <a:lnTo>
                  <a:pt x="39" y="64"/>
                </a:lnTo>
                <a:lnTo>
                  <a:pt x="39" y="66"/>
                </a:lnTo>
                <a:lnTo>
                  <a:pt x="39" y="66"/>
                </a:lnTo>
                <a:close/>
                <a:moveTo>
                  <a:pt x="55" y="38"/>
                </a:moveTo>
                <a:lnTo>
                  <a:pt x="55" y="38"/>
                </a:lnTo>
                <a:lnTo>
                  <a:pt x="51" y="40"/>
                </a:lnTo>
                <a:lnTo>
                  <a:pt x="53" y="46"/>
                </a:lnTo>
                <a:lnTo>
                  <a:pt x="53" y="46"/>
                </a:lnTo>
                <a:lnTo>
                  <a:pt x="51" y="48"/>
                </a:lnTo>
                <a:lnTo>
                  <a:pt x="51" y="50"/>
                </a:lnTo>
                <a:lnTo>
                  <a:pt x="49" y="50"/>
                </a:lnTo>
                <a:lnTo>
                  <a:pt x="49" y="50"/>
                </a:lnTo>
                <a:lnTo>
                  <a:pt x="49" y="46"/>
                </a:lnTo>
                <a:lnTo>
                  <a:pt x="49" y="46"/>
                </a:lnTo>
                <a:lnTo>
                  <a:pt x="45" y="46"/>
                </a:lnTo>
                <a:lnTo>
                  <a:pt x="43" y="46"/>
                </a:lnTo>
                <a:lnTo>
                  <a:pt x="43" y="50"/>
                </a:lnTo>
                <a:lnTo>
                  <a:pt x="43" y="50"/>
                </a:lnTo>
                <a:lnTo>
                  <a:pt x="39" y="50"/>
                </a:lnTo>
                <a:lnTo>
                  <a:pt x="39" y="50"/>
                </a:lnTo>
                <a:lnTo>
                  <a:pt x="39" y="52"/>
                </a:lnTo>
                <a:lnTo>
                  <a:pt x="39" y="52"/>
                </a:lnTo>
                <a:lnTo>
                  <a:pt x="41" y="54"/>
                </a:lnTo>
                <a:lnTo>
                  <a:pt x="43" y="54"/>
                </a:lnTo>
                <a:lnTo>
                  <a:pt x="43" y="54"/>
                </a:lnTo>
                <a:lnTo>
                  <a:pt x="43" y="62"/>
                </a:lnTo>
                <a:lnTo>
                  <a:pt x="43" y="62"/>
                </a:lnTo>
                <a:lnTo>
                  <a:pt x="49" y="62"/>
                </a:lnTo>
                <a:lnTo>
                  <a:pt x="49" y="62"/>
                </a:lnTo>
                <a:lnTo>
                  <a:pt x="47" y="60"/>
                </a:lnTo>
                <a:lnTo>
                  <a:pt x="49" y="60"/>
                </a:lnTo>
                <a:lnTo>
                  <a:pt x="51" y="60"/>
                </a:lnTo>
                <a:lnTo>
                  <a:pt x="51" y="66"/>
                </a:lnTo>
                <a:lnTo>
                  <a:pt x="51" y="66"/>
                </a:lnTo>
                <a:lnTo>
                  <a:pt x="55" y="66"/>
                </a:lnTo>
                <a:lnTo>
                  <a:pt x="55" y="66"/>
                </a:lnTo>
                <a:lnTo>
                  <a:pt x="55" y="62"/>
                </a:lnTo>
                <a:lnTo>
                  <a:pt x="55" y="62"/>
                </a:lnTo>
                <a:lnTo>
                  <a:pt x="59" y="60"/>
                </a:lnTo>
                <a:lnTo>
                  <a:pt x="61" y="58"/>
                </a:lnTo>
                <a:lnTo>
                  <a:pt x="61" y="58"/>
                </a:lnTo>
                <a:lnTo>
                  <a:pt x="61" y="54"/>
                </a:lnTo>
                <a:lnTo>
                  <a:pt x="61" y="54"/>
                </a:lnTo>
                <a:lnTo>
                  <a:pt x="57" y="52"/>
                </a:lnTo>
                <a:lnTo>
                  <a:pt x="57" y="52"/>
                </a:lnTo>
                <a:lnTo>
                  <a:pt x="61" y="50"/>
                </a:lnTo>
                <a:lnTo>
                  <a:pt x="61" y="50"/>
                </a:lnTo>
                <a:lnTo>
                  <a:pt x="61" y="44"/>
                </a:lnTo>
                <a:lnTo>
                  <a:pt x="59" y="38"/>
                </a:lnTo>
                <a:lnTo>
                  <a:pt x="59" y="38"/>
                </a:lnTo>
                <a:lnTo>
                  <a:pt x="55" y="38"/>
                </a:lnTo>
                <a:lnTo>
                  <a:pt x="55" y="38"/>
                </a:lnTo>
                <a:close/>
                <a:moveTo>
                  <a:pt x="12" y="20"/>
                </a:moveTo>
                <a:lnTo>
                  <a:pt x="12" y="20"/>
                </a:lnTo>
                <a:lnTo>
                  <a:pt x="10" y="24"/>
                </a:lnTo>
                <a:lnTo>
                  <a:pt x="10" y="26"/>
                </a:lnTo>
                <a:lnTo>
                  <a:pt x="12" y="24"/>
                </a:lnTo>
                <a:lnTo>
                  <a:pt x="12" y="24"/>
                </a:lnTo>
                <a:lnTo>
                  <a:pt x="14" y="22"/>
                </a:lnTo>
                <a:lnTo>
                  <a:pt x="14" y="20"/>
                </a:lnTo>
                <a:lnTo>
                  <a:pt x="12" y="20"/>
                </a:lnTo>
                <a:lnTo>
                  <a:pt x="12"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0" name="Freeform 204">
            <a:extLst>
              <a:ext uri="{FF2B5EF4-FFF2-40B4-BE49-F238E27FC236}">
                <a16:creationId xmlns:a16="http://schemas.microsoft.com/office/drawing/2014/main" id="{A63B098E-D3C2-43B8-A0FC-42756DC83107}"/>
              </a:ext>
            </a:extLst>
          </p:cNvPr>
          <p:cNvSpPr>
            <a:spLocks/>
          </p:cNvSpPr>
          <p:nvPr userDrawn="1"/>
        </p:nvSpPr>
        <p:spPr bwMode="auto">
          <a:xfrm>
            <a:off x="6129172" y="2129396"/>
            <a:ext cx="134163" cy="89231"/>
          </a:xfrm>
          <a:custGeom>
            <a:avLst/>
            <a:gdLst>
              <a:gd name="T0" fmla="*/ 64 w 80"/>
              <a:gd name="T1" fmla="*/ 46 h 52"/>
              <a:gd name="T2" fmla="*/ 66 w 80"/>
              <a:gd name="T3" fmla="*/ 42 h 52"/>
              <a:gd name="T4" fmla="*/ 70 w 80"/>
              <a:gd name="T5" fmla="*/ 40 h 52"/>
              <a:gd name="T6" fmla="*/ 72 w 80"/>
              <a:gd name="T7" fmla="*/ 38 h 52"/>
              <a:gd name="T8" fmla="*/ 72 w 80"/>
              <a:gd name="T9" fmla="*/ 34 h 52"/>
              <a:gd name="T10" fmla="*/ 80 w 80"/>
              <a:gd name="T11" fmla="*/ 32 h 52"/>
              <a:gd name="T12" fmla="*/ 78 w 80"/>
              <a:gd name="T13" fmla="*/ 26 h 52"/>
              <a:gd name="T14" fmla="*/ 74 w 80"/>
              <a:gd name="T15" fmla="*/ 24 h 52"/>
              <a:gd name="T16" fmla="*/ 74 w 80"/>
              <a:gd name="T17" fmla="*/ 22 h 52"/>
              <a:gd name="T18" fmla="*/ 70 w 80"/>
              <a:gd name="T19" fmla="*/ 18 h 52"/>
              <a:gd name="T20" fmla="*/ 68 w 80"/>
              <a:gd name="T21" fmla="*/ 18 h 52"/>
              <a:gd name="T22" fmla="*/ 58 w 80"/>
              <a:gd name="T23" fmla="*/ 16 h 52"/>
              <a:gd name="T24" fmla="*/ 54 w 80"/>
              <a:gd name="T25" fmla="*/ 12 h 52"/>
              <a:gd name="T26" fmla="*/ 50 w 80"/>
              <a:gd name="T27" fmla="*/ 10 h 52"/>
              <a:gd name="T28" fmla="*/ 48 w 80"/>
              <a:gd name="T29" fmla="*/ 10 h 52"/>
              <a:gd name="T30" fmla="*/ 46 w 80"/>
              <a:gd name="T31" fmla="*/ 8 h 52"/>
              <a:gd name="T32" fmla="*/ 44 w 80"/>
              <a:gd name="T33" fmla="*/ 6 h 52"/>
              <a:gd name="T34" fmla="*/ 32 w 80"/>
              <a:gd name="T35" fmla="*/ 4 h 52"/>
              <a:gd name="T36" fmla="*/ 26 w 80"/>
              <a:gd name="T37" fmla="*/ 0 h 52"/>
              <a:gd name="T38" fmla="*/ 18 w 80"/>
              <a:gd name="T39" fmla="*/ 6 h 52"/>
              <a:gd name="T40" fmla="*/ 10 w 80"/>
              <a:gd name="T41" fmla="*/ 12 h 52"/>
              <a:gd name="T42" fmla="*/ 6 w 80"/>
              <a:gd name="T43" fmla="*/ 14 h 52"/>
              <a:gd name="T44" fmla="*/ 2 w 80"/>
              <a:gd name="T45" fmla="*/ 14 h 52"/>
              <a:gd name="T46" fmla="*/ 0 w 80"/>
              <a:gd name="T47" fmla="*/ 20 h 52"/>
              <a:gd name="T48" fmla="*/ 4 w 80"/>
              <a:gd name="T49" fmla="*/ 24 h 52"/>
              <a:gd name="T50" fmla="*/ 6 w 80"/>
              <a:gd name="T51" fmla="*/ 28 h 52"/>
              <a:gd name="T52" fmla="*/ 8 w 80"/>
              <a:gd name="T53" fmla="*/ 36 h 52"/>
              <a:gd name="T54" fmla="*/ 10 w 80"/>
              <a:gd name="T55" fmla="*/ 40 h 52"/>
              <a:gd name="T56" fmla="*/ 14 w 80"/>
              <a:gd name="T57" fmla="*/ 40 h 52"/>
              <a:gd name="T58" fmla="*/ 16 w 80"/>
              <a:gd name="T59" fmla="*/ 42 h 52"/>
              <a:gd name="T60" fmla="*/ 20 w 80"/>
              <a:gd name="T61" fmla="*/ 46 h 52"/>
              <a:gd name="T62" fmla="*/ 28 w 80"/>
              <a:gd name="T63" fmla="*/ 52 h 52"/>
              <a:gd name="T64" fmla="*/ 30 w 80"/>
              <a:gd name="T65" fmla="*/ 50 h 52"/>
              <a:gd name="T66" fmla="*/ 34 w 80"/>
              <a:gd name="T67" fmla="*/ 44 h 52"/>
              <a:gd name="T68" fmla="*/ 36 w 80"/>
              <a:gd name="T69" fmla="*/ 42 h 52"/>
              <a:gd name="T70" fmla="*/ 42 w 80"/>
              <a:gd name="T71" fmla="*/ 42 h 52"/>
              <a:gd name="T72" fmla="*/ 44 w 80"/>
              <a:gd name="T73" fmla="*/ 44 h 52"/>
              <a:gd name="T74" fmla="*/ 54 w 80"/>
              <a:gd name="T75" fmla="*/ 48 h 52"/>
              <a:gd name="T76" fmla="*/ 64 w 80"/>
              <a:gd name="T7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0" h="52">
                <a:moveTo>
                  <a:pt x="64" y="46"/>
                </a:moveTo>
                <a:lnTo>
                  <a:pt x="64" y="46"/>
                </a:lnTo>
                <a:lnTo>
                  <a:pt x="64" y="44"/>
                </a:lnTo>
                <a:lnTo>
                  <a:pt x="66" y="42"/>
                </a:lnTo>
                <a:lnTo>
                  <a:pt x="70" y="40"/>
                </a:lnTo>
                <a:lnTo>
                  <a:pt x="70" y="40"/>
                </a:lnTo>
                <a:lnTo>
                  <a:pt x="70" y="40"/>
                </a:lnTo>
                <a:lnTo>
                  <a:pt x="72" y="38"/>
                </a:lnTo>
                <a:lnTo>
                  <a:pt x="72" y="36"/>
                </a:lnTo>
                <a:lnTo>
                  <a:pt x="72" y="34"/>
                </a:lnTo>
                <a:lnTo>
                  <a:pt x="72" y="34"/>
                </a:lnTo>
                <a:lnTo>
                  <a:pt x="80" y="32"/>
                </a:lnTo>
                <a:lnTo>
                  <a:pt x="80" y="32"/>
                </a:lnTo>
                <a:lnTo>
                  <a:pt x="78" y="26"/>
                </a:lnTo>
                <a:lnTo>
                  <a:pt x="76" y="24"/>
                </a:lnTo>
                <a:lnTo>
                  <a:pt x="74" y="24"/>
                </a:lnTo>
                <a:lnTo>
                  <a:pt x="74" y="24"/>
                </a:lnTo>
                <a:lnTo>
                  <a:pt x="74" y="22"/>
                </a:lnTo>
                <a:lnTo>
                  <a:pt x="72" y="20"/>
                </a:lnTo>
                <a:lnTo>
                  <a:pt x="70" y="18"/>
                </a:lnTo>
                <a:lnTo>
                  <a:pt x="68" y="18"/>
                </a:lnTo>
                <a:lnTo>
                  <a:pt x="68" y="18"/>
                </a:lnTo>
                <a:lnTo>
                  <a:pt x="64" y="18"/>
                </a:lnTo>
                <a:lnTo>
                  <a:pt x="58" y="16"/>
                </a:lnTo>
                <a:lnTo>
                  <a:pt x="58" y="16"/>
                </a:lnTo>
                <a:lnTo>
                  <a:pt x="54" y="12"/>
                </a:lnTo>
                <a:lnTo>
                  <a:pt x="52" y="10"/>
                </a:lnTo>
                <a:lnTo>
                  <a:pt x="50" y="10"/>
                </a:lnTo>
                <a:lnTo>
                  <a:pt x="50" y="10"/>
                </a:lnTo>
                <a:lnTo>
                  <a:pt x="48" y="10"/>
                </a:lnTo>
                <a:lnTo>
                  <a:pt x="46" y="10"/>
                </a:lnTo>
                <a:lnTo>
                  <a:pt x="46" y="8"/>
                </a:lnTo>
                <a:lnTo>
                  <a:pt x="44" y="6"/>
                </a:lnTo>
                <a:lnTo>
                  <a:pt x="44" y="6"/>
                </a:lnTo>
                <a:lnTo>
                  <a:pt x="36" y="6"/>
                </a:lnTo>
                <a:lnTo>
                  <a:pt x="32" y="4"/>
                </a:lnTo>
                <a:lnTo>
                  <a:pt x="26" y="0"/>
                </a:lnTo>
                <a:lnTo>
                  <a:pt x="26" y="0"/>
                </a:lnTo>
                <a:lnTo>
                  <a:pt x="18" y="6"/>
                </a:lnTo>
                <a:lnTo>
                  <a:pt x="18" y="6"/>
                </a:lnTo>
                <a:lnTo>
                  <a:pt x="12" y="8"/>
                </a:lnTo>
                <a:lnTo>
                  <a:pt x="10" y="12"/>
                </a:lnTo>
                <a:lnTo>
                  <a:pt x="10" y="12"/>
                </a:lnTo>
                <a:lnTo>
                  <a:pt x="6" y="14"/>
                </a:lnTo>
                <a:lnTo>
                  <a:pt x="2" y="14"/>
                </a:lnTo>
                <a:lnTo>
                  <a:pt x="2" y="14"/>
                </a:lnTo>
                <a:lnTo>
                  <a:pt x="0" y="16"/>
                </a:lnTo>
                <a:lnTo>
                  <a:pt x="0" y="20"/>
                </a:lnTo>
                <a:lnTo>
                  <a:pt x="0" y="20"/>
                </a:lnTo>
                <a:lnTo>
                  <a:pt x="4" y="24"/>
                </a:lnTo>
                <a:lnTo>
                  <a:pt x="6" y="28"/>
                </a:lnTo>
                <a:lnTo>
                  <a:pt x="6" y="28"/>
                </a:lnTo>
                <a:lnTo>
                  <a:pt x="8" y="32"/>
                </a:lnTo>
                <a:lnTo>
                  <a:pt x="8" y="36"/>
                </a:lnTo>
                <a:lnTo>
                  <a:pt x="8" y="36"/>
                </a:lnTo>
                <a:lnTo>
                  <a:pt x="10" y="40"/>
                </a:lnTo>
                <a:lnTo>
                  <a:pt x="12" y="40"/>
                </a:lnTo>
                <a:lnTo>
                  <a:pt x="14" y="40"/>
                </a:lnTo>
                <a:lnTo>
                  <a:pt x="16" y="42"/>
                </a:lnTo>
                <a:lnTo>
                  <a:pt x="16" y="42"/>
                </a:lnTo>
                <a:lnTo>
                  <a:pt x="20" y="46"/>
                </a:lnTo>
                <a:lnTo>
                  <a:pt x="20" y="46"/>
                </a:lnTo>
                <a:lnTo>
                  <a:pt x="24" y="50"/>
                </a:lnTo>
                <a:lnTo>
                  <a:pt x="28" y="52"/>
                </a:lnTo>
                <a:lnTo>
                  <a:pt x="30" y="50"/>
                </a:lnTo>
                <a:lnTo>
                  <a:pt x="30" y="50"/>
                </a:lnTo>
                <a:lnTo>
                  <a:pt x="30" y="50"/>
                </a:lnTo>
                <a:lnTo>
                  <a:pt x="34" y="44"/>
                </a:lnTo>
                <a:lnTo>
                  <a:pt x="36" y="42"/>
                </a:lnTo>
                <a:lnTo>
                  <a:pt x="36" y="42"/>
                </a:lnTo>
                <a:lnTo>
                  <a:pt x="38" y="42"/>
                </a:lnTo>
                <a:lnTo>
                  <a:pt x="42" y="42"/>
                </a:lnTo>
                <a:lnTo>
                  <a:pt x="44" y="44"/>
                </a:lnTo>
                <a:lnTo>
                  <a:pt x="44" y="44"/>
                </a:lnTo>
                <a:lnTo>
                  <a:pt x="48" y="46"/>
                </a:lnTo>
                <a:lnTo>
                  <a:pt x="54" y="48"/>
                </a:lnTo>
                <a:lnTo>
                  <a:pt x="54" y="48"/>
                </a:lnTo>
                <a:lnTo>
                  <a:pt x="64" y="46"/>
                </a:lnTo>
                <a:lnTo>
                  <a:pt x="64" y="4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1" name="Freeform 205">
            <a:extLst>
              <a:ext uri="{FF2B5EF4-FFF2-40B4-BE49-F238E27FC236}">
                <a16:creationId xmlns:a16="http://schemas.microsoft.com/office/drawing/2014/main" id="{E3196CB6-4EB9-4D6A-B6B6-D392DF3F4829}"/>
              </a:ext>
            </a:extLst>
          </p:cNvPr>
          <p:cNvSpPr>
            <a:spLocks noEditPoints="1"/>
          </p:cNvSpPr>
          <p:nvPr userDrawn="1"/>
        </p:nvSpPr>
        <p:spPr bwMode="auto">
          <a:xfrm>
            <a:off x="6581972" y="2644192"/>
            <a:ext cx="53665" cy="34320"/>
          </a:xfrm>
          <a:custGeom>
            <a:avLst/>
            <a:gdLst>
              <a:gd name="T0" fmla="*/ 26 w 32"/>
              <a:gd name="T1" fmla="*/ 12 h 20"/>
              <a:gd name="T2" fmla="*/ 26 w 32"/>
              <a:gd name="T3" fmla="*/ 12 h 20"/>
              <a:gd name="T4" fmla="*/ 24 w 32"/>
              <a:gd name="T5" fmla="*/ 6 h 20"/>
              <a:gd name="T6" fmla="*/ 28 w 32"/>
              <a:gd name="T7" fmla="*/ 6 h 20"/>
              <a:gd name="T8" fmla="*/ 28 w 32"/>
              <a:gd name="T9" fmla="*/ 6 h 20"/>
              <a:gd name="T10" fmla="*/ 30 w 32"/>
              <a:gd name="T11" fmla="*/ 2 h 20"/>
              <a:gd name="T12" fmla="*/ 32 w 32"/>
              <a:gd name="T13" fmla="*/ 0 h 20"/>
              <a:gd name="T14" fmla="*/ 32 w 32"/>
              <a:gd name="T15" fmla="*/ 0 h 20"/>
              <a:gd name="T16" fmla="*/ 32 w 32"/>
              <a:gd name="T17" fmla="*/ 0 h 20"/>
              <a:gd name="T18" fmla="*/ 26 w 32"/>
              <a:gd name="T19" fmla="*/ 4 h 20"/>
              <a:gd name="T20" fmla="*/ 22 w 32"/>
              <a:gd name="T21" fmla="*/ 6 h 20"/>
              <a:gd name="T22" fmla="*/ 22 w 32"/>
              <a:gd name="T23" fmla="*/ 6 h 20"/>
              <a:gd name="T24" fmla="*/ 16 w 32"/>
              <a:gd name="T25" fmla="*/ 6 h 20"/>
              <a:gd name="T26" fmla="*/ 10 w 32"/>
              <a:gd name="T27" fmla="*/ 6 h 20"/>
              <a:gd name="T28" fmla="*/ 10 w 32"/>
              <a:gd name="T29" fmla="*/ 6 h 20"/>
              <a:gd name="T30" fmla="*/ 12 w 32"/>
              <a:gd name="T31" fmla="*/ 10 h 20"/>
              <a:gd name="T32" fmla="*/ 12 w 32"/>
              <a:gd name="T33" fmla="*/ 10 h 20"/>
              <a:gd name="T34" fmla="*/ 8 w 32"/>
              <a:gd name="T35" fmla="*/ 10 h 20"/>
              <a:gd name="T36" fmla="*/ 8 w 32"/>
              <a:gd name="T37" fmla="*/ 10 h 20"/>
              <a:gd name="T38" fmla="*/ 10 w 32"/>
              <a:gd name="T39" fmla="*/ 12 h 20"/>
              <a:gd name="T40" fmla="*/ 14 w 32"/>
              <a:gd name="T41" fmla="*/ 12 h 20"/>
              <a:gd name="T42" fmla="*/ 14 w 32"/>
              <a:gd name="T43" fmla="*/ 12 h 20"/>
              <a:gd name="T44" fmla="*/ 18 w 32"/>
              <a:gd name="T45" fmla="*/ 10 h 20"/>
              <a:gd name="T46" fmla="*/ 18 w 32"/>
              <a:gd name="T47" fmla="*/ 10 h 20"/>
              <a:gd name="T48" fmla="*/ 20 w 32"/>
              <a:gd name="T49" fmla="*/ 10 h 20"/>
              <a:gd name="T50" fmla="*/ 20 w 32"/>
              <a:gd name="T51" fmla="*/ 10 h 20"/>
              <a:gd name="T52" fmla="*/ 26 w 32"/>
              <a:gd name="T53" fmla="*/ 12 h 20"/>
              <a:gd name="T54" fmla="*/ 26 w 32"/>
              <a:gd name="T55" fmla="*/ 12 h 20"/>
              <a:gd name="T56" fmla="*/ 26 w 32"/>
              <a:gd name="T57" fmla="*/ 12 h 20"/>
              <a:gd name="T58" fmla="*/ 26 w 32"/>
              <a:gd name="T59" fmla="*/ 12 h 20"/>
              <a:gd name="T60" fmla="*/ 24 w 32"/>
              <a:gd name="T61" fmla="*/ 12 h 20"/>
              <a:gd name="T62" fmla="*/ 24 w 32"/>
              <a:gd name="T63" fmla="*/ 12 h 20"/>
              <a:gd name="T64" fmla="*/ 22 w 32"/>
              <a:gd name="T65" fmla="*/ 14 h 20"/>
              <a:gd name="T66" fmla="*/ 18 w 32"/>
              <a:gd name="T67" fmla="*/ 16 h 20"/>
              <a:gd name="T68" fmla="*/ 18 w 32"/>
              <a:gd name="T69" fmla="*/ 16 h 20"/>
              <a:gd name="T70" fmla="*/ 12 w 32"/>
              <a:gd name="T71" fmla="*/ 20 h 20"/>
              <a:gd name="T72" fmla="*/ 8 w 32"/>
              <a:gd name="T73" fmla="*/ 20 h 20"/>
              <a:gd name="T74" fmla="*/ 2 w 32"/>
              <a:gd name="T75" fmla="*/ 16 h 20"/>
              <a:gd name="T76" fmla="*/ 2 w 32"/>
              <a:gd name="T77" fmla="*/ 16 h 20"/>
              <a:gd name="T78" fmla="*/ 0 w 32"/>
              <a:gd name="T79" fmla="*/ 12 h 20"/>
              <a:gd name="T80" fmla="*/ 0 w 32"/>
              <a:gd name="T81" fmla="*/ 12 h 20"/>
              <a:gd name="T82" fmla="*/ 8 w 32"/>
              <a:gd name="T83" fmla="*/ 10 h 20"/>
              <a:gd name="T84" fmla="*/ 8 w 32"/>
              <a:gd name="T85" fmla="*/ 10 h 20"/>
              <a:gd name="T86" fmla="*/ 10 w 32"/>
              <a:gd name="T87" fmla="*/ 12 h 20"/>
              <a:gd name="T88" fmla="*/ 14 w 32"/>
              <a:gd name="T89" fmla="*/ 12 h 20"/>
              <a:gd name="T90" fmla="*/ 14 w 32"/>
              <a:gd name="T91" fmla="*/ 12 h 20"/>
              <a:gd name="T92" fmla="*/ 18 w 32"/>
              <a:gd name="T93" fmla="*/ 10 h 20"/>
              <a:gd name="T94" fmla="*/ 18 w 32"/>
              <a:gd name="T95" fmla="*/ 10 h 20"/>
              <a:gd name="T96" fmla="*/ 20 w 32"/>
              <a:gd name="T97" fmla="*/ 10 h 20"/>
              <a:gd name="T98" fmla="*/ 20 w 32"/>
              <a:gd name="T99" fmla="*/ 10 h 20"/>
              <a:gd name="T100" fmla="*/ 26 w 32"/>
              <a:gd name="T101" fmla="*/ 12 h 20"/>
              <a:gd name="T102" fmla="*/ 26 w 32"/>
              <a:gd name="T103"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20">
                <a:moveTo>
                  <a:pt x="26" y="12"/>
                </a:moveTo>
                <a:lnTo>
                  <a:pt x="26" y="12"/>
                </a:lnTo>
                <a:lnTo>
                  <a:pt x="24" y="6"/>
                </a:lnTo>
                <a:lnTo>
                  <a:pt x="28" y="6"/>
                </a:lnTo>
                <a:lnTo>
                  <a:pt x="28" y="6"/>
                </a:lnTo>
                <a:lnTo>
                  <a:pt x="30" y="2"/>
                </a:lnTo>
                <a:lnTo>
                  <a:pt x="32" y="0"/>
                </a:lnTo>
                <a:lnTo>
                  <a:pt x="32" y="0"/>
                </a:lnTo>
                <a:lnTo>
                  <a:pt x="32" y="0"/>
                </a:lnTo>
                <a:lnTo>
                  <a:pt x="26" y="4"/>
                </a:lnTo>
                <a:lnTo>
                  <a:pt x="22" y="6"/>
                </a:lnTo>
                <a:lnTo>
                  <a:pt x="22" y="6"/>
                </a:lnTo>
                <a:lnTo>
                  <a:pt x="16" y="6"/>
                </a:lnTo>
                <a:lnTo>
                  <a:pt x="10" y="6"/>
                </a:lnTo>
                <a:lnTo>
                  <a:pt x="10" y="6"/>
                </a:lnTo>
                <a:lnTo>
                  <a:pt x="12" y="10"/>
                </a:lnTo>
                <a:lnTo>
                  <a:pt x="12" y="10"/>
                </a:lnTo>
                <a:lnTo>
                  <a:pt x="8" y="10"/>
                </a:lnTo>
                <a:lnTo>
                  <a:pt x="8" y="10"/>
                </a:lnTo>
                <a:lnTo>
                  <a:pt x="10" y="12"/>
                </a:lnTo>
                <a:lnTo>
                  <a:pt x="14" y="12"/>
                </a:lnTo>
                <a:lnTo>
                  <a:pt x="14" y="12"/>
                </a:lnTo>
                <a:lnTo>
                  <a:pt x="18" y="10"/>
                </a:lnTo>
                <a:lnTo>
                  <a:pt x="18" y="10"/>
                </a:lnTo>
                <a:lnTo>
                  <a:pt x="20" y="10"/>
                </a:lnTo>
                <a:lnTo>
                  <a:pt x="20" y="10"/>
                </a:lnTo>
                <a:lnTo>
                  <a:pt x="26" y="12"/>
                </a:lnTo>
                <a:lnTo>
                  <a:pt x="26" y="12"/>
                </a:lnTo>
                <a:close/>
                <a:moveTo>
                  <a:pt x="26" y="12"/>
                </a:moveTo>
                <a:lnTo>
                  <a:pt x="26" y="12"/>
                </a:lnTo>
                <a:lnTo>
                  <a:pt x="24" y="12"/>
                </a:lnTo>
                <a:lnTo>
                  <a:pt x="24" y="12"/>
                </a:lnTo>
                <a:lnTo>
                  <a:pt x="22" y="14"/>
                </a:lnTo>
                <a:lnTo>
                  <a:pt x="18" y="16"/>
                </a:lnTo>
                <a:lnTo>
                  <a:pt x="18" y="16"/>
                </a:lnTo>
                <a:lnTo>
                  <a:pt x="12" y="20"/>
                </a:lnTo>
                <a:lnTo>
                  <a:pt x="8" y="20"/>
                </a:lnTo>
                <a:lnTo>
                  <a:pt x="2" y="16"/>
                </a:lnTo>
                <a:lnTo>
                  <a:pt x="2" y="16"/>
                </a:lnTo>
                <a:lnTo>
                  <a:pt x="0" y="12"/>
                </a:lnTo>
                <a:lnTo>
                  <a:pt x="0" y="12"/>
                </a:lnTo>
                <a:lnTo>
                  <a:pt x="8" y="10"/>
                </a:lnTo>
                <a:lnTo>
                  <a:pt x="8" y="10"/>
                </a:lnTo>
                <a:lnTo>
                  <a:pt x="10" y="12"/>
                </a:lnTo>
                <a:lnTo>
                  <a:pt x="14" y="12"/>
                </a:lnTo>
                <a:lnTo>
                  <a:pt x="14" y="12"/>
                </a:lnTo>
                <a:lnTo>
                  <a:pt x="18" y="10"/>
                </a:lnTo>
                <a:lnTo>
                  <a:pt x="18" y="10"/>
                </a:lnTo>
                <a:lnTo>
                  <a:pt x="20" y="10"/>
                </a:lnTo>
                <a:lnTo>
                  <a:pt x="20" y="10"/>
                </a:lnTo>
                <a:lnTo>
                  <a:pt x="26" y="12"/>
                </a:lnTo>
                <a:lnTo>
                  <a:pt x="26"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2" name="Freeform 206">
            <a:extLst>
              <a:ext uri="{FF2B5EF4-FFF2-40B4-BE49-F238E27FC236}">
                <a16:creationId xmlns:a16="http://schemas.microsoft.com/office/drawing/2014/main" id="{34931784-F1B3-4A11-BAE9-434DBF44F4A0}"/>
              </a:ext>
            </a:extLst>
          </p:cNvPr>
          <p:cNvSpPr>
            <a:spLocks noEditPoints="1"/>
          </p:cNvSpPr>
          <p:nvPr userDrawn="1"/>
        </p:nvSpPr>
        <p:spPr bwMode="auto">
          <a:xfrm>
            <a:off x="3960686" y="3007981"/>
            <a:ext cx="227540" cy="102959"/>
          </a:xfrm>
          <a:custGeom>
            <a:avLst/>
            <a:gdLst>
              <a:gd name="T0" fmla="*/ 22 w 136"/>
              <a:gd name="T1" fmla="*/ 24 h 60"/>
              <a:gd name="T2" fmla="*/ 24 w 136"/>
              <a:gd name="T3" fmla="*/ 24 h 60"/>
              <a:gd name="T4" fmla="*/ 20 w 136"/>
              <a:gd name="T5" fmla="*/ 30 h 60"/>
              <a:gd name="T6" fmla="*/ 22 w 136"/>
              <a:gd name="T7" fmla="*/ 30 h 60"/>
              <a:gd name="T8" fmla="*/ 28 w 136"/>
              <a:gd name="T9" fmla="*/ 20 h 60"/>
              <a:gd name="T10" fmla="*/ 22 w 136"/>
              <a:gd name="T11" fmla="*/ 18 h 60"/>
              <a:gd name="T12" fmla="*/ 12 w 136"/>
              <a:gd name="T13" fmla="*/ 6 h 60"/>
              <a:gd name="T14" fmla="*/ 4 w 136"/>
              <a:gd name="T15" fmla="*/ 18 h 60"/>
              <a:gd name="T16" fmla="*/ 0 w 136"/>
              <a:gd name="T17" fmla="*/ 20 h 60"/>
              <a:gd name="T18" fmla="*/ 12 w 136"/>
              <a:gd name="T19" fmla="*/ 20 h 60"/>
              <a:gd name="T20" fmla="*/ 16 w 136"/>
              <a:gd name="T21" fmla="*/ 16 h 60"/>
              <a:gd name="T22" fmla="*/ 18 w 136"/>
              <a:gd name="T23" fmla="*/ 12 h 60"/>
              <a:gd name="T24" fmla="*/ 26 w 136"/>
              <a:gd name="T25" fmla="*/ 8 h 60"/>
              <a:gd name="T26" fmla="*/ 38 w 136"/>
              <a:gd name="T27" fmla="*/ 8 h 60"/>
              <a:gd name="T28" fmla="*/ 38 w 136"/>
              <a:gd name="T29" fmla="*/ 12 h 60"/>
              <a:gd name="T30" fmla="*/ 48 w 136"/>
              <a:gd name="T31" fmla="*/ 14 h 60"/>
              <a:gd name="T32" fmla="*/ 56 w 136"/>
              <a:gd name="T33" fmla="*/ 18 h 60"/>
              <a:gd name="T34" fmla="*/ 58 w 136"/>
              <a:gd name="T35" fmla="*/ 24 h 60"/>
              <a:gd name="T36" fmla="*/ 64 w 136"/>
              <a:gd name="T37" fmla="*/ 26 h 60"/>
              <a:gd name="T38" fmla="*/ 66 w 136"/>
              <a:gd name="T39" fmla="*/ 30 h 60"/>
              <a:gd name="T40" fmla="*/ 80 w 136"/>
              <a:gd name="T41" fmla="*/ 28 h 60"/>
              <a:gd name="T42" fmla="*/ 82 w 136"/>
              <a:gd name="T43" fmla="*/ 38 h 60"/>
              <a:gd name="T44" fmla="*/ 98 w 136"/>
              <a:gd name="T45" fmla="*/ 46 h 60"/>
              <a:gd name="T46" fmla="*/ 94 w 136"/>
              <a:gd name="T47" fmla="*/ 54 h 60"/>
              <a:gd name="T48" fmla="*/ 92 w 136"/>
              <a:gd name="T49" fmla="*/ 60 h 60"/>
              <a:gd name="T50" fmla="*/ 126 w 136"/>
              <a:gd name="T51" fmla="*/ 54 h 60"/>
              <a:gd name="T52" fmla="*/ 130 w 136"/>
              <a:gd name="T53" fmla="*/ 56 h 60"/>
              <a:gd name="T54" fmla="*/ 136 w 136"/>
              <a:gd name="T55" fmla="*/ 52 h 60"/>
              <a:gd name="T56" fmla="*/ 136 w 136"/>
              <a:gd name="T57" fmla="*/ 48 h 60"/>
              <a:gd name="T58" fmla="*/ 124 w 136"/>
              <a:gd name="T59" fmla="*/ 46 h 60"/>
              <a:gd name="T60" fmla="*/ 118 w 136"/>
              <a:gd name="T61" fmla="*/ 44 h 60"/>
              <a:gd name="T62" fmla="*/ 108 w 136"/>
              <a:gd name="T63" fmla="*/ 36 h 60"/>
              <a:gd name="T64" fmla="*/ 102 w 136"/>
              <a:gd name="T65" fmla="*/ 30 h 60"/>
              <a:gd name="T66" fmla="*/ 98 w 136"/>
              <a:gd name="T67" fmla="*/ 30 h 60"/>
              <a:gd name="T68" fmla="*/ 96 w 136"/>
              <a:gd name="T69" fmla="*/ 24 h 60"/>
              <a:gd name="T70" fmla="*/ 90 w 136"/>
              <a:gd name="T71" fmla="*/ 20 h 60"/>
              <a:gd name="T72" fmla="*/ 86 w 136"/>
              <a:gd name="T73" fmla="*/ 20 h 60"/>
              <a:gd name="T74" fmla="*/ 78 w 136"/>
              <a:gd name="T75" fmla="*/ 18 h 60"/>
              <a:gd name="T76" fmla="*/ 70 w 136"/>
              <a:gd name="T77" fmla="*/ 14 h 60"/>
              <a:gd name="T78" fmla="*/ 66 w 136"/>
              <a:gd name="T79" fmla="*/ 6 h 60"/>
              <a:gd name="T80" fmla="*/ 42 w 136"/>
              <a:gd name="T81" fmla="*/ 2 h 60"/>
              <a:gd name="T82" fmla="*/ 38 w 136"/>
              <a:gd name="T83" fmla="*/ 4 h 60"/>
              <a:gd name="T84" fmla="*/ 38 w 136"/>
              <a:gd name="T85" fmla="*/ 0 h 60"/>
              <a:gd name="T86" fmla="*/ 22 w 136"/>
              <a:gd name="T8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60">
                <a:moveTo>
                  <a:pt x="22" y="18"/>
                </a:moveTo>
                <a:lnTo>
                  <a:pt x="22" y="18"/>
                </a:lnTo>
                <a:lnTo>
                  <a:pt x="22" y="24"/>
                </a:lnTo>
                <a:lnTo>
                  <a:pt x="22" y="24"/>
                </a:lnTo>
                <a:lnTo>
                  <a:pt x="24" y="22"/>
                </a:lnTo>
                <a:lnTo>
                  <a:pt x="24" y="24"/>
                </a:lnTo>
                <a:lnTo>
                  <a:pt x="24" y="26"/>
                </a:lnTo>
                <a:lnTo>
                  <a:pt x="20" y="30"/>
                </a:lnTo>
                <a:lnTo>
                  <a:pt x="20" y="30"/>
                </a:lnTo>
                <a:lnTo>
                  <a:pt x="18" y="30"/>
                </a:lnTo>
                <a:lnTo>
                  <a:pt x="20" y="30"/>
                </a:lnTo>
                <a:lnTo>
                  <a:pt x="22" y="30"/>
                </a:lnTo>
                <a:lnTo>
                  <a:pt x="22" y="30"/>
                </a:lnTo>
                <a:lnTo>
                  <a:pt x="28" y="26"/>
                </a:lnTo>
                <a:lnTo>
                  <a:pt x="28" y="20"/>
                </a:lnTo>
                <a:lnTo>
                  <a:pt x="28" y="20"/>
                </a:lnTo>
                <a:lnTo>
                  <a:pt x="22" y="18"/>
                </a:lnTo>
                <a:lnTo>
                  <a:pt x="22" y="18"/>
                </a:lnTo>
                <a:close/>
                <a:moveTo>
                  <a:pt x="22" y="0"/>
                </a:moveTo>
                <a:lnTo>
                  <a:pt x="22" y="0"/>
                </a:lnTo>
                <a:lnTo>
                  <a:pt x="12" y="6"/>
                </a:lnTo>
                <a:lnTo>
                  <a:pt x="4" y="14"/>
                </a:lnTo>
                <a:lnTo>
                  <a:pt x="4" y="14"/>
                </a:lnTo>
                <a:lnTo>
                  <a:pt x="4" y="18"/>
                </a:lnTo>
                <a:lnTo>
                  <a:pt x="4" y="18"/>
                </a:lnTo>
                <a:lnTo>
                  <a:pt x="0" y="20"/>
                </a:lnTo>
                <a:lnTo>
                  <a:pt x="0" y="20"/>
                </a:lnTo>
                <a:lnTo>
                  <a:pt x="6" y="22"/>
                </a:lnTo>
                <a:lnTo>
                  <a:pt x="12" y="20"/>
                </a:lnTo>
                <a:lnTo>
                  <a:pt x="12" y="20"/>
                </a:lnTo>
                <a:lnTo>
                  <a:pt x="12" y="16"/>
                </a:lnTo>
                <a:lnTo>
                  <a:pt x="12" y="16"/>
                </a:lnTo>
                <a:lnTo>
                  <a:pt x="16" y="16"/>
                </a:lnTo>
                <a:lnTo>
                  <a:pt x="16" y="16"/>
                </a:lnTo>
                <a:lnTo>
                  <a:pt x="16" y="16"/>
                </a:lnTo>
                <a:lnTo>
                  <a:pt x="18" y="12"/>
                </a:lnTo>
                <a:lnTo>
                  <a:pt x="18" y="12"/>
                </a:lnTo>
                <a:lnTo>
                  <a:pt x="22" y="8"/>
                </a:lnTo>
                <a:lnTo>
                  <a:pt x="26" y="8"/>
                </a:lnTo>
                <a:lnTo>
                  <a:pt x="30" y="6"/>
                </a:lnTo>
                <a:lnTo>
                  <a:pt x="30" y="6"/>
                </a:lnTo>
                <a:lnTo>
                  <a:pt x="38" y="8"/>
                </a:lnTo>
                <a:lnTo>
                  <a:pt x="38" y="8"/>
                </a:lnTo>
                <a:lnTo>
                  <a:pt x="38" y="12"/>
                </a:lnTo>
                <a:lnTo>
                  <a:pt x="38" y="12"/>
                </a:lnTo>
                <a:lnTo>
                  <a:pt x="42" y="14"/>
                </a:lnTo>
                <a:lnTo>
                  <a:pt x="48" y="14"/>
                </a:lnTo>
                <a:lnTo>
                  <a:pt x="48" y="14"/>
                </a:lnTo>
                <a:lnTo>
                  <a:pt x="52" y="18"/>
                </a:lnTo>
                <a:lnTo>
                  <a:pt x="52" y="18"/>
                </a:lnTo>
                <a:lnTo>
                  <a:pt x="56" y="18"/>
                </a:lnTo>
                <a:lnTo>
                  <a:pt x="56" y="18"/>
                </a:lnTo>
                <a:lnTo>
                  <a:pt x="56" y="20"/>
                </a:lnTo>
                <a:lnTo>
                  <a:pt x="58" y="24"/>
                </a:lnTo>
                <a:lnTo>
                  <a:pt x="58" y="24"/>
                </a:lnTo>
                <a:lnTo>
                  <a:pt x="60" y="24"/>
                </a:lnTo>
                <a:lnTo>
                  <a:pt x="64" y="26"/>
                </a:lnTo>
                <a:lnTo>
                  <a:pt x="64" y="26"/>
                </a:lnTo>
                <a:lnTo>
                  <a:pt x="66" y="30"/>
                </a:lnTo>
                <a:lnTo>
                  <a:pt x="66" y="30"/>
                </a:lnTo>
                <a:lnTo>
                  <a:pt x="74" y="30"/>
                </a:lnTo>
                <a:lnTo>
                  <a:pt x="80" y="28"/>
                </a:lnTo>
                <a:lnTo>
                  <a:pt x="80" y="28"/>
                </a:lnTo>
                <a:lnTo>
                  <a:pt x="80" y="34"/>
                </a:lnTo>
                <a:lnTo>
                  <a:pt x="80" y="34"/>
                </a:lnTo>
                <a:lnTo>
                  <a:pt x="82" y="38"/>
                </a:lnTo>
                <a:lnTo>
                  <a:pt x="86" y="42"/>
                </a:lnTo>
                <a:lnTo>
                  <a:pt x="98" y="46"/>
                </a:lnTo>
                <a:lnTo>
                  <a:pt x="98" y="46"/>
                </a:lnTo>
                <a:lnTo>
                  <a:pt x="98" y="50"/>
                </a:lnTo>
                <a:lnTo>
                  <a:pt x="98" y="50"/>
                </a:lnTo>
                <a:lnTo>
                  <a:pt x="94" y="54"/>
                </a:lnTo>
                <a:lnTo>
                  <a:pt x="92" y="56"/>
                </a:lnTo>
                <a:lnTo>
                  <a:pt x="92" y="56"/>
                </a:lnTo>
                <a:lnTo>
                  <a:pt x="92" y="60"/>
                </a:lnTo>
                <a:lnTo>
                  <a:pt x="92" y="60"/>
                </a:lnTo>
                <a:lnTo>
                  <a:pt x="110" y="56"/>
                </a:lnTo>
                <a:lnTo>
                  <a:pt x="126" y="54"/>
                </a:lnTo>
                <a:lnTo>
                  <a:pt x="126" y="54"/>
                </a:lnTo>
                <a:lnTo>
                  <a:pt x="128" y="56"/>
                </a:lnTo>
                <a:lnTo>
                  <a:pt x="130" y="56"/>
                </a:lnTo>
                <a:lnTo>
                  <a:pt x="130" y="56"/>
                </a:lnTo>
                <a:lnTo>
                  <a:pt x="136" y="52"/>
                </a:lnTo>
                <a:lnTo>
                  <a:pt x="136" y="52"/>
                </a:lnTo>
                <a:lnTo>
                  <a:pt x="136" y="50"/>
                </a:lnTo>
                <a:lnTo>
                  <a:pt x="136" y="48"/>
                </a:lnTo>
                <a:lnTo>
                  <a:pt x="136" y="48"/>
                </a:lnTo>
                <a:lnTo>
                  <a:pt x="130" y="44"/>
                </a:lnTo>
                <a:lnTo>
                  <a:pt x="130" y="44"/>
                </a:lnTo>
                <a:lnTo>
                  <a:pt x="124" y="46"/>
                </a:lnTo>
                <a:lnTo>
                  <a:pt x="120" y="46"/>
                </a:lnTo>
                <a:lnTo>
                  <a:pt x="118" y="44"/>
                </a:lnTo>
                <a:lnTo>
                  <a:pt x="118" y="44"/>
                </a:lnTo>
                <a:lnTo>
                  <a:pt x="120" y="36"/>
                </a:lnTo>
                <a:lnTo>
                  <a:pt x="120" y="36"/>
                </a:lnTo>
                <a:lnTo>
                  <a:pt x="108" y="36"/>
                </a:lnTo>
                <a:lnTo>
                  <a:pt x="106" y="34"/>
                </a:lnTo>
                <a:lnTo>
                  <a:pt x="102" y="30"/>
                </a:lnTo>
                <a:lnTo>
                  <a:pt x="102" y="30"/>
                </a:lnTo>
                <a:lnTo>
                  <a:pt x="100" y="30"/>
                </a:lnTo>
                <a:lnTo>
                  <a:pt x="98" y="30"/>
                </a:lnTo>
                <a:lnTo>
                  <a:pt x="98" y="30"/>
                </a:lnTo>
                <a:lnTo>
                  <a:pt x="98" y="26"/>
                </a:lnTo>
                <a:lnTo>
                  <a:pt x="96" y="24"/>
                </a:lnTo>
                <a:lnTo>
                  <a:pt x="96" y="24"/>
                </a:lnTo>
                <a:lnTo>
                  <a:pt x="92" y="22"/>
                </a:lnTo>
                <a:lnTo>
                  <a:pt x="90" y="24"/>
                </a:lnTo>
                <a:lnTo>
                  <a:pt x="90" y="20"/>
                </a:lnTo>
                <a:lnTo>
                  <a:pt x="90" y="20"/>
                </a:lnTo>
                <a:lnTo>
                  <a:pt x="86" y="20"/>
                </a:lnTo>
                <a:lnTo>
                  <a:pt x="86" y="20"/>
                </a:lnTo>
                <a:lnTo>
                  <a:pt x="84" y="18"/>
                </a:lnTo>
                <a:lnTo>
                  <a:pt x="84" y="18"/>
                </a:lnTo>
                <a:lnTo>
                  <a:pt x="78" y="18"/>
                </a:lnTo>
                <a:lnTo>
                  <a:pt x="72" y="16"/>
                </a:lnTo>
                <a:lnTo>
                  <a:pt x="72" y="16"/>
                </a:lnTo>
                <a:lnTo>
                  <a:pt x="70" y="14"/>
                </a:lnTo>
                <a:lnTo>
                  <a:pt x="68" y="12"/>
                </a:lnTo>
                <a:lnTo>
                  <a:pt x="66" y="6"/>
                </a:lnTo>
                <a:lnTo>
                  <a:pt x="66" y="6"/>
                </a:lnTo>
                <a:lnTo>
                  <a:pt x="54" y="4"/>
                </a:lnTo>
                <a:lnTo>
                  <a:pt x="42" y="2"/>
                </a:lnTo>
                <a:lnTo>
                  <a:pt x="42" y="2"/>
                </a:lnTo>
                <a:lnTo>
                  <a:pt x="42" y="4"/>
                </a:lnTo>
                <a:lnTo>
                  <a:pt x="40" y="4"/>
                </a:lnTo>
                <a:lnTo>
                  <a:pt x="38" y="4"/>
                </a:lnTo>
                <a:lnTo>
                  <a:pt x="38" y="4"/>
                </a:lnTo>
                <a:lnTo>
                  <a:pt x="38" y="0"/>
                </a:lnTo>
                <a:lnTo>
                  <a:pt x="38" y="0"/>
                </a:lnTo>
                <a:lnTo>
                  <a:pt x="30" y="0"/>
                </a:lnTo>
                <a:lnTo>
                  <a:pt x="22" y="0"/>
                </a:lnTo>
                <a:lnTo>
                  <a:pt x="2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3" name="Freeform 207">
            <a:extLst>
              <a:ext uri="{FF2B5EF4-FFF2-40B4-BE49-F238E27FC236}">
                <a16:creationId xmlns:a16="http://schemas.microsoft.com/office/drawing/2014/main" id="{881FB98C-7413-4D6E-81A4-9E98808A2818}"/>
              </a:ext>
            </a:extLst>
          </p:cNvPr>
          <p:cNvSpPr>
            <a:spLocks/>
          </p:cNvSpPr>
          <p:nvPr userDrawn="1"/>
        </p:nvSpPr>
        <p:spPr bwMode="auto">
          <a:xfrm>
            <a:off x="6155595" y="2280402"/>
            <a:ext cx="137762" cy="151007"/>
          </a:xfrm>
          <a:custGeom>
            <a:avLst/>
            <a:gdLst>
              <a:gd name="T0" fmla="*/ 66 w 82"/>
              <a:gd name="T1" fmla="*/ 84 h 88"/>
              <a:gd name="T2" fmla="*/ 62 w 82"/>
              <a:gd name="T3" fmla="*/ 80 h 88"/>
              <a:gd name="T4" fmla="*/ 56 w 82"/>
              <a:gd name="T5" fmla="*/ 76 h 88"/>
              <a:gd name="T6" fmla="*/ 46 w 82"/>
              <a:gd name="T7" fmla="*/ 64 h 88"/>
              <a:gd name="T8" fmla="*/ 38 w 82"/>
              <a:gd name="T9" fmla="*/ 54 h 88"/>
              <a:gd name="T10" fmla="*/ 40 w 82"/>
              <a:gd name="T11" fmla="*/ 52 h 88"/>
              <a:gd name="T12" fmla="*/ 32 w 82"/>
              <a:gd name="T13" fmla="*/ 40 h 88"/>
              <a:gd name="T14" fmla="*/ 32 w 82"/>
              <a:gd name="T15" fmla="*/ 34 h 88"/>
              <a:gd name="T16" fmla="*/ 36 w 82"/>
              <a:gd name="T17" fmla="*/ 34 h 88"/>
              <a:gd name="T18" fmla="*/ 42 w 82"/>
              <a:gd name="T19" fmla="*/ 38 h 88"/>
              <a:gd name="T20" fmla="*/ 44 w 82"/>
              <a:gd name="T21" fmla="*/ 38 h 88"/>
              <a:gd name="T22" fmla="*/ 50 w 82"/>
              <a:gd name="T23" fmla="*/ 40 h 88"/>
              <a:gd name="T24" fmla="*/ 60 w 82"/>
              <a:gd name="T25" fmla="*/ 38 h 88"/>
              <a:gd name="T26" fmla="*/ 66 w 82"/>
              <a:gd name="T27" fmla="*/ 40 h 88"/>
              <a:gd name="T28" fmla="*/ 68 w 82"/>
              <a:gd name="T29" fmla="*/ 42 h 88"/>
              <a:gd name="T30" fmla="*/ 80 w 82"/>
              <a:gd name="T31" fmla="*/ 44 h 88"/>
              <a:gd name="T32" fmla="*/ 82 w 82"/>
              <a:gd name="T33" fmla="*/ 40 h 88"/>
              <a:gd name="T34" fmla="*/ 80 w 82"/>
              <a:gd name="T35" fmla="*/ 34 h 88"/>
              <a:gd name="T36" fmla="*/ 80 w 82"/>
              <a:gd name="T37" fmla="*/ 30 h 88"/>
              <a:gd name="T38" fmla="*/ 74 w 82"/>
              <a:gd name="T39" fmla="*/ 30 h 88"/>
              <a:gd name="T40" fmla="*/ 66 w 82"/>
              <a:gd name="T41" fmla="*/ 26 h 88"/>
              <a:gd name="T42" fmla="*/ 54 w 82"/>
              <a:gd name="T43" fmla="*/ 16 h 88"/>
              <a:gd name="T44" fmla="*/ 48 w 82"/>
              <a:gd name="T45" fmla="*/ 6 h 88"/>
              <a:gd name="T46" fmla="*/ 42 w 82"/>
              <a:gd name="T47" fmla="*/ 0 h 88"/>
              <a:gd name="T48" fmla="*/ 38 w 82"/>
              <a:gd name="T49" fmla="*/ 4 h 88"/>
              <a:gd name="T50" fmla="*/ 32 w 82"/>
              <a:gd name="T51" fmla="*/ 8 h 88"/>
              <a:gd name="T52" fmla="*/ 28 w 82"/>
              <a:gd name="T53" fmla="*/ 10 h 88"/>
              <a:gd name="T54" fmla="*/ 22 w 82"/>
              <a:gd name="T55" fmla="*/ 22 h 88"/>
              <a:gd name="T56" fmla="*/ 18 w 82"/>
              <a:gd name="T57" fmla="*/ 20 h 88"/>
              <a:gd name="T58" fmla="*/ 16 w 82"/>
              <a:gd name="T59" fmla="*/ 20 h 88"/>
              <a:gd name="T60" fmla="*/ 16 w 82"/>
              <a:gd name="T61" fmla="*/ 28 h 88"/>
              <a:gd name="T62" fmla="*/ 0 w 82"/>
              <a:gd name="T63" fmla="*/ 34 h 88"/>
              <a:gd name="T64" fmla="*/ 2 w 82"/>
              <a:gd name="T65" fmla="*/ 40 h 88"/>
              <a:gd name="T66" fmla="*/ 6 w 82"/>
              <a:gd name="T67" fmla="*/ 44 h 88"/>
              <a:gd name="T68" fmla="*/ 6 w 82"/>
              <a:gd name="T69" fmla="*/ 42 h 88"/>
              <a:gd name="T70" fmla="*/ 10 w 82"/>
              <a:gd name="T71" fmla="*/ 40 h 88"/>
              <a:gd name="T72" fmla="*/ 16 w 82"/>
              <a:gd name="T73" fmla="*/ 34 h 88"/>
              <a:gd name="T74" fmla="*/ 16 w 82"/>
              <a:gd name="T75" fmla="*/ 46 h 88"/>
              <a:gd name="T76" fmla="*/ 24 w 82"/>
              <a:gd name="T77" fmla="*/ 56 h 88"/>
              <a:gd name="T78" fmla="*/ 22 w 82"/>
              <a:gd name="T79" fmla="*/ 60 h 88"/>
              <a:gd name="T80" fmla="*/ 28 w 82"/>
              <a:gd name="T81" fmla="*/ 64 h 88"/>
              <a:gd name="T82" fmla="*/ 34 w 82"/>
              <a:gd name="T83" fmla="*/ 66 h 88"/>
              <a:gd name="T84" fmla="*/ 38 w 82"/>
              <a:gd name="T85" fmla="*/ 68 h 88"/>
              <a:gd name="T86" fmla="*/ 54 w 82"/>
              <a:gd name="T87" fmla="*/ 80 h 88"/>
              <a:gd name="T88" fmla="*/ 60 w 82"/>
              <a:gd name="T89" fmla="*/ 80 h 88"/>
              <a:gd name="T90" fmla="*/ 66 w 82"/>
              <a:gd name="T91" fmla="*/ 88 h 88"/>
              <a:gd name="T92" fmla="*/ 70 w 82"/>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 h="88">
                <a:moveTo>
                  <a:pt x="70" y="88"/>
                </a:moveTo>
                <a:lnTo>
                  <a:pt x="70" y="88"/>
                </a:lnTo>
                <a:lnTo>
                  <a:pt x="66" y="84"/>
                </a:lnTo>
                <a:lnTo>
                  <a:pt x="66" y="84"/>
                </a:lnTo>
                <a:lnTo>
                  <a:pt x="62" y="80"/>
                </a:lnTo>
                <a:lnTo>
                  <a:pt x="62" y="80"/>
                </a:lnTo>
                <a:lnTo>
                  <a:pt x="60" y="78"/>
                </a:lnTo>
                <a:lnTo>
                  <a:pt x="56" y="76"/>
                </a:lnTo>
                <a:lnTo>
                  <a:pt x="56" y="76"/>
                </a:lnTo>
                <a:lnTo>
                  <a:pt x="52" y="70"/>
                </a:lnTo>
                <a:lnTo>
                  <a:pt x="52" y="70"/>
                </a:lnTo>
                <a:lnTo>
                  <a:pt x="46" y="64"/>
                </a:lnTo>
                <a:lnTo>
                  <a:pt x="40" y="56"/>
                </a:lnTo>
                <a:lnTo>
                  <a:pt x="40" y="56"/>
                </a:lnTo>
                <a:lnTo>
                  <a:pt x="38" y="54"/>
                </a:lnTo>
                <a:lnTo>
                  <a:pt x="40" y="54"/>
                </a:lnTo>
                <a:lnTo>
                  <a:pt x="40" y="52"/>
                </a:lnTo>
                <a:lnTo>
                  <a:pt x="40" y="52"/>
                </a:lnTo>
                <a:lnTo>
                  <a:pt x="36" y="44"/>
                </a:lnTo>
                <a:lnTo>
                  <a:pt x="32" y="40"/>
                </a:lnTo>
                <a:lnTo>
                  <a:pt x="32" y="40"/>
                </a:lnTo>
                <a:lnTo>
                  <a:pt x="32" y="36"/>
                </a:lnTo>
                <a:lnTo>
                  <a:pt x="32" y="36"/>
                </a:lnTo>
                <a:lnTo>
                  <a:pt x="32" y="34"/>
                </a:lnTo>
                <a:lnTo>
                  <a:pt x="34" y="34"/>
                </a:lnTo>
                <a:lnTo>
                  <a:pt x="36" y="34"/>
                </a:lnTo>
                <a:lnTo>
                  <a:pt x="36" y="34"/>
                </a:lnTo>
                <a:lnTo>
                  <a:pt x="38" y="38"/>
                </a:lnTo>
                <a:lnTo>
                  <a:pt x="40" y="38"/>
                </a:lnTo>
                <a:lnTo>
                  <a:pt x="42" y="38"/>
                </a:lnTo>
                <a:lnTo>
                  <a:pt x="42" y="38"/>
                </a:lnTo>
                <a:lnTo>
                  <a:pt x="42" y="36"/>
                </a:lnTo>
                <a:lnTo>
                  <a:pt x="44" y="38"/>
                </a:lnTo>
                <a:lnTo>
                  <a:pt x="48" y="40"/>
                </a:lnTo>
                <a:lnTo>
                  <a:pt x="48" y="40"/>
                </a:lnTo>
                <a:lnTo>
                  <a:pt x="50" y="40"/>
                </a:lnTo>
                <a:lnTo>
                  <a:pt x="52" y="38"/>
                </a:lnTo>
                <a:lnTo>
                  <a:pt x="56" y="38"/>
                </a:lnTo>
                <a:lnTo>
                  <a:pt x="60" y="38"/>
                </a:lnTo>
                <a:lnTo>
                  <a:pt x="60" y="38"/>
                </a:lnTo>
                <a:lnTo>
                  <a:pt x="66" y="40"/>
                </a:lnTo>
                <a:lnTo>
                  <a:pt x="66" y="40"/>
                </a:lnTo>
                <a:lnTo>
                  <a:pt x="66" y="40"/>
                </a:lnTo>
                <a:lnTo>
                  <a:pt x="68" y="42"/>
                </a:lnTo>
                <a:lnTo>
                  <a:pt x="68" y="42"/>
                </a:lnTo>
                <a:lnTo>
                  <a:pt x="70" y="44"/>
                </a:lnTo>
                <a:lnTo>
                  <a:pt x="74" y="44"/>
                </a:lnTo>
                <a:lnTo>
                  <a:pt x="80" y="44"/>
                </a:lnTo>
                <a:lnTo>
                  <a:pt x="80" y="44"/>
                </a:lnTo>
                <a:lnTo>
                  <a:pt x="82" y="42"/>
                </a:lnTo>
                <a:lnTo>
                  <a:pt x="82" y="40"/>
                </a:lnTo>
                <a:lnTo>
                  <a:pt x="80" y="36"/>
                </a:lnTo>
                <a:lnTo>
                  <a:pt x="80" y="36"/>
                </a:lnTo>
                <a:lnTo>
                  <a:pt x="80" y="34"/>
                </a:lnTo>
                <a:lnTo>
                  <a:pt x="80" y="32"/>
                </a:lnTo>
                <a:lnTo>
                  <a:pt x="82" y="30"/>
                </a:lnTo>
                <a:lnTo>
                  <a:pt x="80" y="30"/>
                </a:lnTo>
                <a:lnTo>
                  <a:pt x="80" y="30"/>
                </a:lnTo>
                <a:lnTo>
                  <a:pt x="76" y="30"/>
                </a:lnTo>
                <a:lnTo>
                  <a:pt x="74" y="30"/>
                </a:lnTo>
                <a:lnTo>
                  <a:pt x="70" y="28"/>
                </a:lnTo>
                <a:lnTo>
                  <a:pt x="70" y="28"/>
                </a:lnTo>
                <a:lnTo>
                  <a:pt x="66" y="26"/>
                </a:lnTo>
                <a:lnTo>
                  <a:pt x="60" y="22"/>
                </a:lnTo>
                <a:lnTo>
                  <a:pt x="60" y="22"/>
                </a:lnTo>
                <a:lnTo>
                  <a:pt x="54" y="16"/>
                </a:lnTo>
                <a:lnTo>
                  <a:pt x="50" y="10"/>
                </a:lnTo>
                <a:lnTo>
                  <a:pt x="50" y="10"/>
                </a:lnTo>
                <a:lnTo>
                  <a:pt x="48" y="6"/>
                </a:lnTo>
                <a:lnTo>
                  <a:pt x="46" y="4"/>
                </a:lnTo>
                <a:lnTo>
                  <a:pt x="42" y="0"/>
                </a:lnTo>
                <a:lnTo>
                  <a:pt x="42" y="0"/>
                </a:lnTo>
                <a:lnTo>
                  <a:pt x="40" y="2"/>
                </a:lnTo>
                <a:lnTo>
                  <a:pt x="38" y="4"/>
                </a:lnTo>
                <a:lnTo>
                  <a:pt x="38" y="4"/>
                </a:lnTo>
                <a:lnTo>
                  <a:pt x="36" y="8"/>
                </a:lnTo>
                <a:lnTo>
                  <a:pt x="32" y="8"/>
                </a:lnTo>
                <a:lnTo>
                  <a:pt x="32" y="8"/>
                </a:lnTo>
                <a:lnTo>
                  <a:pt x="30" y="8"/>
                </a:lnTo>
                <a:lnTo>
                  <a:pt x="28" y="10"/>
                </a:lnTo>
                <a:lnTo>
                  <a:pt x="28" y="10"/>
                </a:lnTo>
                <a:lnTo>
                  <a:pt x="26" y="18"/>
                </a:lnTo>
                <a:lnTo>
                  <a:pt x="24" y="22"/>
                </a:lnTo>
                <a:lnTo>
                  <a:pt x="22" y="22"/>
                </a:lnTo>
                <a:lnTo>
                  <a:pt x="22" y="22"/>
                </a:lnTo>
                <a:lnTo>
                  <a:pt x="20" y="22"/>
                </a:lnTo>
                <a:lnTo>
                  <a:pt x="18" y="20"/>
                </a:lnTo>
                <a:lnTo>
                  <a:pt x="18" y="18"/>
                </a:lnTo>
                <a:lnTo>
                  <a:pt x="16" y="20"/>
                </a:lnTo>
                <a:lnTo>
                  <a:pt x="16" y="20"/>
                </a:lnTo>
                <a:lnTo>
                  <a:pt x="18" y="24"/>
                </a:lnTo>
                <a:lnTo>
                  <a:pt x="16" y="28"/>
                </a:lnTo>
                <a:lnTo>
                  <a:pt x="16" y="28"/>
                </a:lnTo>
                <a:lnTo>
                  <a:pt x="12" y="30"/>
                </a:lnTo>
                <a:lnTo>
                  <a:pt x="8" y="32"/>
                </a:lnTo>
                <a:lnTo>
                  <a:pt x="0" y="34"/>
                </a:lnTo>
                <a:lnTo>
                  <a:pt x="0" y="34"/>
                </a:lnTo>
                <a:lnTo>
                  <a:pt x="0" y="34"/>
                </a:lnTo>
                <a:lnTo>
                  <a:pt x="2" y="40"/>
                </a:lnTo>
                <a:lnTo>
                  <a:pt x="2" y="46"/>
                </a:lnTo>
                <a:lnTo>
                  <a:pt x="2" y="46"/>
                </a:lnTo>
                <a:lnTo>
                  <a:pt x="6" y="44"/>
                </a:lnTo>
                <a:lnTo>
                  <a:pt x="6" y="44"/>
                </a:lnTo>
                <a:lnTo>
                  <a:pt x="6" y="42"/>
                </a:lnTo>
                <a:lnTo>
                  <a:pt x="6" y="42"/>
                </a:lnTo>
                <a:lnTo>
                  <a:pt x="8" y="40"/>
                </a:lnTo>
                <a:lnTo>
                  <a:pt x="10" y="40"/>
                </a:lnTo>
                <a:lnTo>
                  <a:pt x="10" y="40"/>
                </a:lnTo>
                <a:lnTo>
                  <a:pt x="14" y="30"/>
                </a:lnTo>
                <a:lnTo>
                  <a:pt x="14" y="30"/>
                </a:lnTo>
                <a:lnTo>
                  <a:pt x="16" y="34"/>
                </a:lnTo>
                <a:lnTo>
                  <a:pt x="18" y="38"/>
                </a:lnTo>
                <a:lnTo>
                  <a:pt x="16" y="46"/>
                </a:lnTo>
                <a:lnTo>
                  <a:pt x="16" y="46"/>
                </a:lnTo>
                <a:lnTo>
                  <a:pt x="24" y="52"/>
                </a:lnTo>
                <a:lnTo>
                  <a:pt x="26" y="54"/>
                </a:lnTo>
                <a:lnTo>
                  <a:pt x="24" y="56"/>
                </a:lnTo>
                <a:lnTo>
                  <a:pt x="22" y="56"/>
                </a:lnTo>
                <a:lnTo>
                  <a:pt x="22" y="56"/>
                </a:lnTo>
                <a:lnTo>
                  <a:pt x="22" y="60"/>
                </a:lnTo>
                <a:lnTo>
                  <a:pt x="22" y="60"/>
                </a:lnTo>
                <a:lnTo>
                  <a:pt x="28" y="64"/>
                </a:lnTo>
                <a:lnTo>
                  <a:pt x="28" y="64"/>
                </a:lnTo>
                <a:lnTo>
                  <a:pt x="32" y="64"/>
                </a:lnTo>
                <a:lnTo>
                  <a:pt x="32" y="64"/>
                </a:lnTo>
                <a:lnTo>
                  <a:pt x="34" y="66"/>
                </a:lnTo>
                <a:lnTo>
                  <a:pt x="34" y="68"/>
                </a:lnTo>
                <a:lnTo>
                  <a:pt x="34" y="68"/>
                </a:lnTo>
                <a:lnTo>
                  <a:pt x="38" y="68"/>
                </a:lnTo>
                <a:lnTo>
                  <a:pt x="42" y="66"/>
                </a:lnTo>
                <a:lnTo>
                  <a:pt x="42" y="66"/>
                </a:lnTo>
                <a:lnTo>
                  <a:pt x="54" y="80"/>
                </a:lnTo>
                <a:lnTo>
                  <a:pt x="54" y="80"/>
                </a:lnTo>
                <a:lnTo>
                  <a:pt x="58" y="80"/>
                </a:lnTo>
                <a:lnTo>
                  <a:pt x="60" y="80"/>
                </a:lnTo>
                <a:lnTo>
                  <a:pt x="60" y="80"/>
                </a:lnTo>
                <a:lnTo>
                  <a:pt x="62" y="84"/>
                </a:lnTo>
                <a:lnTo>
                  <a:pt x="66" y="88"/>
                </a:lnTo>
                <a:lnTo>
                  <a:pt x="66" y="88"/>
                </a:lnTo>
                <a:lnTo>
                  <a:pt x="70" y="88"/>
                </a:lnTo>
                <a:lnTo>
                  <a:pt x="70" y="8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4" name="Freeform 490">
            <a:extLst>
              <a:ext uri="{FF2B5EF4-FFF2-40B4-BE49-F238E27FC236}">
                <a16:creationId xmlns:a16="http://schemas.microsoft.com/office/drawing/2014/main" id="{BD79E2A7-79DD-4280-9973-D1CEDC67D1A2}"/>
              </a:ext>
            </a:extLst>
          </p:cNvPr>
          <p:cNvSpPr>
            <a:spLocks/>
          </p:cNvSpPr>
          <p:nvPr userDrawn="1"/>
        </p:nvSpPr>
        <p:spPr bwMode="auto">
          <a:xfrm>
            <a:off x="6101419" y="3574256"/>
            <a:ext cx="168720" cy="240238"/>
          </a:xfrm>
          <a:custGeom>
            <a:avLst/>
            <a:gdLst>
              <a:gd name="T0" fmla="*/ 12 w 100"/>
              <a:gd name="T1" fmla="*/ 136 h 140"/>
              <a:gd name="T2" fmla="*/ 20 w 100"/>
              <a:gd name="T3" fmla="*/ 136 h 140"/>
              <a:gd name="T4" fmla="*/ 20 w 100"/>
              <a:gd name="T5" fmla="*/ 132 h 140"/>
              <a:gd name="T6" fmla="*/ 26 w 100"/>
              <a:gd name="T7" fmla="*/ 134 h 140"/>
              <a:gd name="T8" fmla="*/ 30 w 100"/>
              <a:gd name="T9" fmla="*/ 134 h 140"/>
              <a:gd name="T10" fmla="*/ 34 w 100"/>
              <a:gd name="T11" fmla="*/ 132 h 140"/>
              <a:gd name="T12" fmla="*/ 40 w 100"/>
              <a:gd name="T13" fmla="*/ 132 h 140"/>
              <a:gd name="T14" fmla="*/ 40 w 100"/>
              <a:gd name="T15" fmla="*/ 126 h 140"/>
              <a:gd name="T16" fmla="*/ 48 w 100"/>
              <a:gd name="T17" fmla="*/ 128 h 140"/>
              <a:gd name="T18" fmla="*/ 52 w 100"/>
              <a:gd name="T19" fmla="*/ 140 h 140"/>
              <a:gd name="T20" fmla="*/ 70 w 100"/>
              <a:gd name="T21" fmla="*/ 130 h 140"/>
              <a:gd name="T22" fmla="*/ 74 w 100"/>
              <a:gd name="T23" fmla="*/ 114 h 140"/>
              <a:gd name="T24" fmla="*/ 76 w 100"/>
              <a:gd name="T25" fmla="*/ 100 h 140"/>
              <a:gd name="T26" fmla="*/ 80 w 100"/>
              <a:gd name="T27" fmla="*/ 84 h 140"/>
              <a:gd name="T28" fmla="*/ 86 w 100"/>
              <a:gd name="T29" fmla="*/ 74 h 140"/>
              <a:gd name="T30" fmla="*/ 92 w 100"/>
              <a:gd name="T31" fmla="*/ 56 h 140"/>
              <a:gd name="T32" fmla="*/ 92 w 100"/>
              <a:gd name="T33" fmla="*/ 36 h 140"/>
              <a:gd name="T34" fmla="*/ 94 w 100"/>
              <a:gd name="T35" fmla="*/ 20 h 140"/>
              <a:gd name="T36" fmla="*/ 100 w 100"/>
              <a:gd name="T37" fmla="*/ 0 h 140"/>
              <a:gd name="T38" fmla="*/ 90 w 100"/>
              <a:gd name="T39" fmla="*/ 4 h 140"/>
              <a:gd name="T40" fmla="*/ 84 w 100"/>
              <a:gd name="T41" fmla="*/ 2 h 140"/>
              <a:gd name="T42" fmla="*/ 80 w 100"/>
              <a:gd name="T43" fmla="*/ 8 h 140"/>
              <a:gd name="T44" fmla="*/ 74 w 100"/>
              <a:gd name="T45" fmla="*/ 12 h 140"/>
              <a:gd name="T46" fmla="*/ 70 w 100"/>
              <a:gd name="T47" fmla="*/ 20 h 140"/>
              <a:gd name="T48" fmla="*/ 72 w 100"/>
              <a:gd name="T49" fmla="*/ 26 h 140"/>
              <a:gd name="T50" fmla="*/ 58 w 100"/>
              <a:gd name="T51" fmla="*/ 24 h 140"/>
              <a:gd name="T52" fmla="*/ 52 w 100"/>
              <a:gd name="T53" fmla="*/ 22 h 140"/>
              <a:gd name="T54" fmla="*/ 42 w 100"/>
              <a:gd name="T55" fmla="*/ 20 h 140"/>
              <a:gd name="T56" fmla="*/ 32 w 100"/>
              <a:gd name="T57" fmla="*/ 30 h 140"/>
              <a:gd name="T58" fmla="*/ 32 w 100"/>
              <a:gd name="T59" fmla="*/ 36 h 140"/>
              <a:gd name="T60" fmla="*/ 38 w 100"/>
              <a:gd name="T61" fmla="*/ 34 h 140"/>
              <a:gd name="T62" fmla="*/ 50 w 100"/>
              <a:gd name="T63" fmla="*/ 36 h 140"/>
              <a:gd name="T64" fmla="*/ 46 w 100"/>
              <a:gd name="T65" fmla="*/ 46 h 140"/>
              <a:gd name="T66" fmla="*/ 38 w 100"/>
              <a:gd name="T67" fmla="*/ 48 h 140"/>
              <a:gd name="T68" fmla="*/ 38 w 100"/>
              <a:gd name="T69" fmla="*/ 58 h 140"/>
              <a:gd name="T70" fmla="*/ 36 w 100"/>
              <a:gd name="T71" fmla="*/ 60 h 140"/>
              <a:gd name="T72" fmla="*/ 40 w 100"/>
              <a:gd name="T73" fmla="*/ 62 h 140"/>
              <a:gd name="T74" fmla="*/ 42 w 100"/>
              <a:gd name="T75" fmla="*/ 70 h 140"/>
              <a:gd name="T76" fmla="*/ 42 w 100"/>
              <a:gd name="T77" fmla="*/ 78 h 140"/>
              <a:gd name="T78" fmla="*/ 44 w 100"/>
              <a:gd name="T79" fmla="*/ 84 h 140"/>
              <a:gd name="T80" fmla="*/ 42 w 100"/>
              <a:gd name="T81" fmla="*/ 88 h 140"/>
              <a:gd name="T82" fmla="*/ 46 w 100"/>
              <a:gd name="T83" fmla="*/ 96 h 140"/>
              <a:gd name="T84" fmla="*/ 44 w 100"/>
              <a:gd name="T85" fmla="*/ 104 h 140"/>
              <a:gd name="T86" fmla="*/ 38 w 100"/>
              <a:gd name="T87" fmla="*/ 98 h 140"/>
              <a:gd name="T88" fmla="*/ 36 w 100"/>
              <a:gd name="T89" fmla="*/ 96 h 140"/>
              <a:gd name="T90" fmla="*/ 26 w 100"/>
              <a:gd name="T91" fmla="*/ 98 h 140"/>
              <a:gd name="T92" fmla="*/ 22 w 100"/>
              <a:gd name="T93" fmla="*/ 94 h 140"/>
              <a:gd name="T94" fmla="*/ 22 w 100"/>
              <a:gd name="T95" fmla="*/ 98 h 140"/>
              <a:gd name="T96" fmla="*/ 14 w 100"/>
              <a:gd name="T97" fmla="*/ 98 h 140"/>
              <a:gd name="T98" fmla="*/ 12 w 100"/>
              <a:gd name="T99" fmla="*/ 102 h 140"/>
              <a:gd name="T100" fmla="*/ 12 w 100"/>
              <a:gd name="T101" fmla="*/ 106 h 140"/>
              <a:gd name="T102" fmla="*/ 14 w 100"/>
              <a:gd name="T103" fmla="*/ 116 h 140"/>
              <a:gd name="T104" fmla="*/ 14 w 100"/>
              <a:gd name="T105" fmla="*/ 122 h 140"/>
              <a:gd name="T106" fmla="*/ 8 w 100"/>
              <a:gd name="T107" fmla="*/ 120 h 140"/>
              <a:gd name="T108" fmla="*/ 2 w 100"/>
              <a:gd name="T109" fmla="*/ 120 h 140"/>
              <a:gd name="T110" fmla="*/ 0 w 100"/>
              <a:gd name="T111" fmla="*/ 128 h 140"/>
              <a:gd name="T112" fmla="*/ 6 w 100"/>
              <a:gd name="T113" fmla="*/ 134 h 140"/>
              <a:gd name="T114" fmla="*/ 8 w 100"/>
              <a:gd name="T115" fmla="*/ 13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140">
                <a:moveTo>
                  <a:pt x="12" y="138"/>
                </a:moveTo>
                <a:lnTo>
                  <a:pt x="12" y="138"/>
                </a:lnTo>
                <a:lnTo>
                  <a:pt x="12" y="136"/>
                </a:lnTo>
                <a:lnTo>
                  <a:pt x="16" y="136"/>
                </a:lnTo>
                <a:lnTo>
                  <a:pt x="16" y="136"/>
                </a:lnTo>
                <a:lnTo>
                  <a:pt x="20" y="136"/>
                </a:lnTo>
                <a:lnTo>
                  <a:pt x="18" y="134"/>
                </a:lnTo>
                <a:lnTo>
                  <a:pt x="20" y="132"/>
                </a:lnTo>
                <a:lnTo>
                  <a:pt x="20" y="132"/>
                </a:lnTo>
                <a:lnTo>
                  <a:pt x="22" y="132"/>
                </a:lnTo>
                <a:lnTo>
                  <a:pt x="24" y="132"/>
                </a:lnTo>
                <a:lnTo>
                  <a:pt x="26" y="134"/>
                </a:lnTo>
                <a:lnTo>
                  <a:pt x="26" y="134"/>
                </a:lnTo>
                <a:lnTo>
                  <a:pt x="28" y="134"/>
                </a:lnTo>
                <a:lnTo>
                  <a:pt x="30" y="134"/>
                </a:lnTo>
                <a:lnTo>
                  <a:pt x="30" y="134"/>
                </a:lnTo>
                <a:lnTo>
                  <a:pt x="32" y="132"/>
                </a:lnTo>
                <a:lnTo>
                  <a:pt x="34" y="132"/>
                </a:lnTo>
                <a:lnTo>
                  <a:pt x="38" y="134"/>
                </a:lnTo>
                <a:lnTo>
                  <a:pt x="38" y="134"/>
                </a:lnTo>
                <a:lnTo>
                  <a:pt x="40" y="132"/>
                </a:lnTo>
                <a:lnTo>
                  <a:pt x="40" y="130"/>
                </a:lnTo>
                <a:lnTo>
                  <a:pt x="40" y="126"/>
                </a:lnTo>
                <a:lnTo>
                  <a:pt x="40" y="126"/>
                </a:lnTo>
                <a:lnTo>
                  <a:pt x="44" y="128"/>
                </a:lnTo>
                <a:lnTo>
                  <a:pt x="44" y="128"/>
                </a:lnTo>
                <a:lnTo>
                  <a:pt x="48" y="128"/>
                </a:lnTo>
                <a:lnTo>
                  <a:pt x="50" y="126"/>
                </a:lnTo>
                <a:lnTo>
                  <a:pt x="50" y="136"/>
                </a:lnTo>
                <a:lnTo>
                  <a:pt x="52" y="140"/>
                </a:lnTo>
                <a:lnTo>
                  <a:pt x="56" y="138"/>
                </a:lnTo>
                <a:lnTo>
                  <a:pt x="64" y="136"/>
                </a:lnTo>
                <a:lnTo>
                  <a:pt x="70" y="130"/>
                </a:lnTo>
                <a:lnTo>
                  <a:pt x="70" y="126"/>
                </a:lnTo>
                <a:lnTo>
                  <a:pt x="74" y="120"/>
                </a:lnTo>
                <a:lnTo>
                  <a:pt x="74" y="114"/>
                </a:lnTo>
                <a:lnTo>
                  <a:pt x="76" y="110"/>
                </a:lnTo>
                <a:lnTo>
                  <a:pt x="76" y="106"/>
                </a:lnTo>
                <a:lnTo>
                  <a:pt x="76" y="100"/>
                </a:lnTo>
                <a:lnTo>
                  <a:pt x="78" y="96"/>
                </a:lnTo>
                <a:lnTo>
                  <a:pt x="80" y="90"/>
                </a:lnTo>
                <a:lnTo>
                  <a:pt x="80" y="84"/>
                </a:lnTo>
                <a:lnTo>
                  <a:pt x="84" y="80"/>
                </a:lnTo>
                <a:lnTo>
                  <a:pt x="84" y="82"/>
                </a:lnTo>
                <a:lnTo>
                  <a:pt x="86" y="74"/>
                </a:lnTo>
                <a:lnTo>
                  <a:pt x="86" y="68"/>
                </a:lnTo>
                <a:lnTo>
                  <a:pt x="90" y="62"/>
                </a:lnTo>
                <a:lnTo>
                  <a:pt x="92" y="56"/>
                </a:lnTo>
                <a:lnTo>
                  <a:pt x="92" y="48"/>
                </a:lnTo>
                <a:lnTo>
                  <a:pt x="92" y="42"/>
                </a:lnTo>
                <a:lnTo>
                  <a:pt x="92" y="36"/>
                </a:lnTo>
                <a:lnTo>
                  <a:pt x="92" y="30"/>
                </a:lnTo>
                <a:lnTo>
                  <a:pt x="94" y="24"/>
                </a:lnTo>
                <a:lnTo>
                  <a:pt x="94" y="20"/>
                </a:lnTo>
                <a:lnTo>
                  <a:pt x="98" y="16"/>
                </a:lnTo>
                <a:lnTo>
                  <a:pt x="100" y="10"/>
                </a:lnTo>
                <a:lnTo>
                  <a:pt x="100" y="0"/>
                </a:lnTo>
                <a:lnTo>
                  <a:pt x="100" y="0"/>
                </a:lnTo>
                <a:lnTo>
                  <a:pt x="90" y="4"/>
                </a:lnTo>
                <a:lnTo>
                  <a:pt x="90" y="4"/>
                </a:lnTo>
                <a:lnTo>
                  <a:pt x="88" y="4"/>
                </a:lnTo>
                <a:lnTo>
                  <a:pt x="84" y="2"/>
                </a:lnTo>
                <a:lnTo>
                  <a:pt x="84" y="2"/>
                </a:lnTo>
                <a:lnTo>
                  <a:pt x="80" y="4"/>
                </a:lnTo>
                <a:lnTo>
                  <a:pt x="80" y="8"/>
                </a:lnTo>
                <a:lnTo>
                  <a:pt x="80" y="8"/>
                </a:lnTo>
                <a:lnTo>
                  <a:pt x="78" y="10"/>
                </a:lnTo>
                <a:lnTo>
                  <a:pt x="76" y="12"/>
                </a:lnTo>
                <a:lnTo>
                  <a:pt x="74" y="12"/>
                </a:lnTo>
                <a:lnTo>
                  <a:pt x="74" y="12"/>
                </a:lnTo>
                <a:lnTo>
                  <a:pt x="72" y="14"/>
                </a:lnTo>
                <a:lnTo>
                  <a:pt x="70" y="20"/>
                </a:lnTo>
                <a:lnTo>
                  <a:pt x="70" y="20"/>
                </a:lnTo>
                <a:lnTo>
                  <a:pt x="72" y="26"/>
                </a:lnTo>
                <a:lnTo>
                  <a:pt x="72" y="26"/>
                </a:lnTo>
                <a:lnTo>
                  <a:pt x="66" y="24"/>
                </a:lnTo>
                <a:lnTo>
                  <a:pt x="66" y="24"/>
                </a:lnTo>
                <a:lnTo>
                  <a:pt x="58" y="24"/>
                </a:lnTo>
                <a:lnTo>
                  <a:pt x="58" y="24"/>
                </a:lnTo>
                <a:lnTo>
                  <a:pt x="54" y="24"/>
                </a:lnTo>
                <a:lnTo>
                  <a:pt x="52" y="22"/>
                </a:lnTo>
                <a:lnTo>
                  <a:pt x="52" y="22"/>
                </a:lnTo>
                <a:lnTo>
                  <a:pt x="48" y="20"/>
                </a:lnTo>
                <a:lnTo>
                  <a:pt x="42" y="20"/>
                </a:lnTo>
                <a:lnTo>
                  <a:pt x="32" y="20"/>
                </a:lnTo>
                <a:lnTo>
                  <a:pt x="32" y="20"/>
                </a:lnTo>
                <a:lnTo>
                  <a:pt x="32" y="30"/>
                </a:lnTo>
                <a:lnTo>
                  <a:pt x="32" y="30"/>
                </a:lnTo>
                <a:lnTo>
                  <a:pt x="32" y="34"/>
                </a:lnTo>
                <a:lnTo>
                  <a:pt x="32" y="36"/>
                </a:lnTo>
                <a:lnTo>
                  <a:pt x="34" y="36"/>
                </a:lnTo>
                <a:lnTo>
                  <a:pt x="34" y="36"/>
                </a:lnTo>
                <a:lnTo>
                  <a:pt x="38" y="34"/>
                </a:lnTo>
                <a:lnTo>
                  <a:pt x="42" y="34"/>
                </a:lnTo>
                <a:lnTo>
                  <a:pt x="42" y="34"/>
                </a:lnTo>
                <a:lnTo>
                  <a:pt x="50" y="36"/>
                </a:lnTo>
                <a:lnTo>
                  <a:pt x="48" y="46"/>
                </a:lnTo>
                <a:lnTo>
                  <a:pt x="48" y="46"/>
                </a:lnTo>
                <a:lnTo>
                  <a:pt x="46" y="46"/>
                </a:lnTo>
                <a:lnTo>
                  <a:pt x="42" y="46"/>
                </a:lnTo>
                <a:lnTo>
                  <a:pt x="42" y="46"/>
                </a:lnTo>
                <a:lnTo>
                  <a:pt x="38" y="48"/>
                </a:lnTo>
                <a:lnTo>
                  <a:pt x="36" y="52"/>
                </a:lnTo>
                <a:lnTo>
                  <a:pt x="36" y="52"/>
                </a:lnTo>
                <a:lnTo>
                  <a:pt x="38" y="58"/>
                </a:lnTo>
                <a:lnTo>
                  <a:pt x="38" y="58"/>
                </a:lnTo>
                <a:lnTo>
                  <a:pt x="36" y="58"/>
                </a:lnTo>
                <a:lnTo>
                  <a:pt x="36" y="60"/>
                </a:lnTo>
                <a:lnTo>
                  <a:pt x="36" y="60"/>
                </a:lnTo>
                <a:lnTo>
                  <a:pt x="36" y="60"/>
                </a:lnTo>
                <a:lnTo>
                  <a:pt x="40" y="62"/>
                </a:lnTo>
                <a:lnTo>
                  <a:pt x="42" y="66"/>
                </a:lnTo>
                <a:lnTo>
                  <a:pt x="42" y="66"/>
                </a:lnTo>
                <a:lnTo>
                  <a:pt x="42" y="70"/>
                </a:lnTo>
                <a:lnTo>
                  <a:pt x="42" y="74"/>
                </a:lnTo>
                <a:lnTo>
                  <a:pt x="42" y="74"/>
                </a:lnTo>
                <a:lnTo>
                  <a:pt x="42" y="78"/>
                </a:lnTo>
                <a:lnTo>
                  <a:pt x="44" y="80"/>
                </a:lnTo>
                <a:lnTo>
                  <a:pt x="44" y="80"/>
                </a:lnTo>
                <a:lnTo>
                  <a:pt x="44" y="84"/>
                </a:lnTo>
                <a:lnTo>
                  <a:pt x="42" y="86"/>
                </a:lnTo>
                <a:lnTo>
                  <a:pt x="42" y="86"/>
                </a:lnTo>
                <a:lnTo>
                  <a:pt x="42" y="88"/>
                </a:lnTo>
                <a:lnTo>
                  <a:pt x="42" y="88"/>
                </a:lnTo>
                <a:lnTo>
                  <a:pt x="46" y="90"/>
                </a:lnTo>
                <a:lnTo>
                  <a:pt x="46" y="96"/>
                </a:lnTo>
                <a:lnTo>
                  <a:pt x="46" y="96"/>
                </a:lnTo>
                <a:lnTo>
                  <a:pt x="44" y="102"/>
                </a:lnTo>
                <a:lnTo>
                  <a:pt x="44" y="104"/>
                </a:lnTo>
                <a:lnTo>
                  <a:pt x="42" y="102"/>
                </a:lnTo>
                <a:lnTo>
                  <a:pt x="42" y="102"/>
                </a:lnTo>
                <a:lnTo>
                  <a:pt x="38" y="98"/>
                </a:lnTo>
                <a:lnTo>
                  <a:pt x="38" y="96"/>
                </a:lnTo>
                <a:lnTo>
                  <a:pt x="36" y="96"/>
                </a:lnTo>
                <a:lnTo>
                  <a:pt x="36" y="96"/>
                </a:lnTo>
                <a:lnTo>
                  <a:pt x="30" y="96"/>
                </a:lnTo>
                <a:lnTo>
                  <a:pt x="26" y="98"/>
                </a:lnTo>
                <a:lnTo>
                  <a:pt x="26" y="98"/>
                </a:lnTo>
                <a:lnTo>
                  <a:pt x="26" y="96"/>
                </a:lnTo>
                <a:lnTo>
                  <a:pt x="22" y="94"/>
                </a:lnTo>
                <a:lnTo>
                  <a:pt x="22" y="94"/>
                </a:lnTo>
                <a:lnTo>
                  <a:pt x="20" y="94"/>
                </a:lnTo>
                <a:lnTo>
                  <a:pt x="20" y="94"/>
                </a:lnTo>
                <a:lnTo>
                  <a:pt x="22" y="98"/>
                </a:lnTo>
                <a:lnTo>
                  <a:pt x="20" y="98"/>
                </a:lnTo>
                <a:lnTo>
                  <a:pt x="20" y="98"/>
                </a:lnTo>
                <a:lnTo>
                  <a:pt x="14" y="98"/>
                </a:lnTo>
                <a:lnTo>
                  <a:pt x="12" y="98"/>
                </a:lnTo>
                <a:lnTo>
                  <a:pt x="12" y="102"/>
                </a:lnTo>
                <a:lnTo>
                  <a:pt x="12" y="102"/>
                </a:lnTo>
                <a:lnTo>
                  <a:pt x="14" y="104"/>
                </a:lnTo>
                <a:lnTo>
                  <a:pt x="12" y="106"/>
                </a:lnTo>
                <a:lnTo>
                  <a:pt x="12" y="106"/>
                </a:lnTo>
                <a:lnTo>
                  <a:pt x="12" y="108"/>
                </a:lnTo>
                <a:lnTo>
                  <a:pt x="12" y="110"/>
                </a:lnTo>
                <a:lnTo>
                  <a:pt x="14" y="116"/>
                </a:lnTo>
                <a:lnTo>
                  <a:pt x="14" y="116"/>
                </a:lnTo>
                <a:lnTo>
                  <a:pt x="16" y="120"/>
                </a:lnTo>
                <a:lnTo>
                  <a:pt x="14" y="122"/>
                </a:lnTo>
                <a:lnTo>
                  <a:pt x="12" y="122"/>
                </a:lnTo>
                <a:lnTo>
                  <a:pt x="12" y="122"/>
                </a:lnTo>
                <a:lnTo>
                  <a:pt x="8" y="120"/>
                </a:lnTo>
                <a:lnTo>
                  <a:pt x="4" y="118"/>
                </a:lnTo>
                <a:lnTo>
                  <a:pt x="4" y="118"/>
                </a:lnTo>
                <a:lnTo>
                  <a:pt x="2" y="120"/>
                </a:lnTo>
                <a:lnTo>
                  <a:pt x="0" y="124"/>
                </a:lnTo>
                <a:lnTo>
                  <a:pt x="0" y="128"/>
                </a:lnTo>
                <a:lnTo>
                  <a:pt x="0" y="128"/>
                </a:lnTo>
                <a:lnTo>
                  <a:pt x="2" y="130"/>
                </a:lnTo>
                <a:lnTo>
                  <a:pt x="6" y="132"/>
                </a:lnTo>
                <a:lnTo>
                  <a:pt x="6" y="134"/>
                </a:lnTo>
                <a:lnTo>
                  <a:pt x="8" y="134"/>
                </a:lnTo>
                <a:lnTo>
                  <a:pt x="8" y="134"/>
                </a:lnTo>
                <a:lnTo>
                  <a:pt x="8" y="138"/>
                </a:lnTo>
                <a:lnTo>
                  <a:pt x="12" y="1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5" name="Freeform 211">
            <a:extLst>
              <a:ext uri="{FF2B5EF4-FFF2-40B4-BE49-F238E27FC236}">
                <a16:creationId xmlns:a16="http://schemas.microsoft.com/office/drawing/2014/main" id="{79EC9924-E153-4EBB-99C7-9F8A6453819F}"/>
              </a:ext>
            </a:extLst>
          </p:cNvPr>
          <p:cNvSpPr>
            <a:spLocks/>
          </p:cNvSpPr>
          <p:nvPr userDrawn="1"/>
        </p:nvSpPr>
        <p:spPr bwMode="auto">
          <a:xfrm>
            <a:off x="8543991" y="2774607"/>
            <a:ext cx="9287" cy="13728"/>
          </a:xfrm>
          <a:custGeom>
            <a:avLst/>
            <a:gdLst>
              <a:gd name="T0" fmla="*/ 4 w 6"/>
              <a:gd name="T1" fmla="*/ 0 h 8"/>
              <a:gd name="T2" fmla="*/ 6 w 6"/>
              <a:gd name="T3" fmla="*/ 0 h 8"/>
              <a:gd name="T4" fmla="*/ 6 w 6"/>
              <a:gd name="T5" fmla="*/ 0 h 8"/>
              <a:gd name="T6" fmla="*/ 6 w 6"/>
              <a:gd name="T7" fmla="*/ 4 h 8"/>
              <a:gd name="T8" fmla="*/ 6 w 6"/>
              <a:gd name="T9" fmla="*/ 8 h 8"/>
              <a:gd name="T10" fmla="*/ 6 w 6"/>
              <a:gd name="T11" fmla="*/ 8 h 8"/>
              <a:gd name="T12" fmla="*/ 4 w 6"/>
              <a:gd name="T13" fmla="*/ 8 h 8"/>
              <a:gd name="T14" fmla="*/ 2 w 6"/>
              <a:gd name="T15" fmla="*/ 8 h 8"/>
              <a:gd name="T16" fmla="*/ 2 w 6"/>
              <a:gd name="T17" fmla="*/ 6 h 8"/>
              <a:gd name="T18" fmla="*/ 2 w 6"/>
              <a:gd name="T19" fmla="*/ 6 h 8"/>
              <a:gd name="T20" fmla="*/ 2 w 6"/>
              <a:gd name="T21" fmla="*/ 6 h 8"/>
              <a:gd name="T22" fmla="*/ 0 w 6"/>
              <a:gd name="T23" fmla="*/ 6 h 8"/>
              <a:gd name="T24" fmla="*/ 0 w 6"/>
              <a:gd name="T25" fmla="*/ 6 h 8"/>
              <a:gd name="T26" fmla="*/ 0 w 6"/>
              <a:gd name="T27" fmla="*/ 2 h 8"/>
              <a:gd name="T28" fmla="*/ 0 w 6"/>
              <a:gd name="T29" fmla="*/ 2 h 8"/>
              <a:gd name="T30" fmla="*/ 4 w 6"/>
              <a:gd name="T31" fmla="*/ 0 h 8"/>
              <a:gd name="T32" fmla="*/ 4 w 6"/>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8">
                <a:moveTo>
                  <a:pt x="4" y="0"/>
                </a:moveTo>
                <a:lnTo>
                  <a:pt x="6" y="0"/>
                </a:lnTo>
                <a:lnTo>
                  <a:pt x="6" y="0"/>
                </a:lnTo>
                <a:lnTo>
                  <a:pt x="6" y="4"/>
                </a:lnTo>
                <a:lnTo>
                  <a:pt x="6" y="8"/>
                </a:lnTo>
                <a:lnTo>
                  <a:pt x="6" y="8"/>
                </a:lnTo>
                <a:lnTo>
                  <a:pt x="4" y="8"/>
                </a:lnTo>
                <a:lnTo>
                  <a:pt x="2" y="8"/>
                </a:lnTo>
                <a:lnTo>
                  <a:pt x="2" y="6"/>
                </a:lnTo>
                <a:lnTo>
                  <a:pt x="2" y="6"/>
                </a:lnTo>
                <a:lnTo>
                  <a:pt x="2" y="6"/>
                </a:lnTo>
                <a:lnTo>
                  <a:pt x="0" y="6"/>
                </a:lnTo>
                <a:lnTo>
                  <a:pt x="0" y="6"/>
                </a:lnTo>
                <a:lnTo>
                  <a:pt x="0" y="2"/>
                </a:lnTo>
                <a:lnTo>
                  <a:pt x="0" y="2"/>
                </a:lnTo>
                <a:lnTo>
                  <a:pt x="4" y="0"/>
                </a:lnTo>
                <a:lnTo>
                  <a:pt x="4"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6" name="Freeform 212">
            <a:extLst>
              <a:ext uri="{FF2B5EF4-FFF2-40B4-BE49-F238E27FC236}">
                <a16:creationId xmlns:a16="http://schemas.microsoft.com/office/drawing/2014/main" id="{E9EB5D36-E7AC-4D46-9F2B-125ADF78F24C}"/>
              </a:ext>
            </a:extLst>
          </p:cNvPr>
          <p:cNvSpPr>
            <a:spLocks noEditPoints="1"/>
          </p:cNvSpPr>
          <p:nvPr userDrawn="1"/>
        </p:nvSpPr>
        <p:spPr bwMode="auto">
          <a:xfrm>
            <a:off x="7489877" y="2050460"/>
            <a:ext cx="1382267" cy="1129119"/>
          </a:xfrm>
          <a:custGeom>
            <a:avLst/>
            <a:gdLst>
              <a:gd name="T0" fmla="*/ 480 w 824"/>
              <a:gd name="T1" fmla="*/ 634 h 658"/>
              <a:gd name="T2" fmla="*/ 498 w 824"/>
              <a:gd name="T3" fmla="*/ 654 h 658"/>
              <a:gd name="T4" fmla="*/ 510 w 824"/>
              <a:gd name="T5" fmla="*/ 630 h 658"/>
              <a:gd name="T6" fmla="*/ 646 w 824"/>
              <a:gd name="T7" fmla="*/ 412 h 658"/>
              <a:gd name="T8" fmla="*/ 620 w 824"/>
              <a:gd name="T9" fmla="*/ 354 h 658"/>
              <a:gd name="T10" fmla="*/ 644 w 824"/>
              <a:gd name="T11" fmla="*/ 330 h 658"/>
              <a:gd name="T12" fmla="*/ 662 w 824"/>
              <a:gd name="T13" fmla="*/ 322 h 658"/>
              <a:gd name="T14" fmla="*/ 644 w 824"/>
              <a:gd name="T15" fmla="*/ 308 h 658"/>
              <a:gd name="T16" fmla="*/ 614 w 824"/>
              <a:gd name="T17" fmla="*/ 320 h 658"/>
              <a:gd name="T18" fmla="*/ 596 w 824"/>
              <a:gd name="T19" fmla="*/ 292 h 658"/>
              <a:gd name="T20" fmla="*/ 628 w 824"/>
              <a:gd name="T21" fmla="*/ 268 h 658"/>
              <a:gd name="T22" fmla="*/ 662 w 824"/>
              <a:gd name="T23" fmla="*/ 252 h 658"/>
              <a:gd name="T24" fmla="*/ 648 w 824"/>
              <a:gd name="T25" fmla="*/ 288 h 658"/>
              <a:gd name="T26" fmla="*/ 680 w 824"/>
              <a:gd name="T27" fmla="*/ 268 h 658"/>
              <a:gd name="T28" fmla="*/ 708 w 824"/>
              <a:gd name="T29" fmla="*/ 246 h 658"/>
              <a:gd name="T30" fmla="*/ 756 w 824"/>
              <a:gd name="T31" fmla="*/ 212 h 658"/>
              <a:gd name="T32" fmla="*/ 786 w 824"/>
              <a:gd name="T33" fmla="*/ 166 h 658"/>
              <a:gd name="T34" fmla="*/ 814 w 824"/>
              <a:gd name="T35" fmla="*/ 148 h 658"/>
              <a:gd name="T36" fmla="*/ 798 w 824"/>
              <a:gd name="T37" fmla="*/ 112 h 658"/>
              <a:gd name="T38" fmla="*/ 746 w 824"/>
              <a:gd name="T39" fmla="*/ 72 h 658"/>
              <a:gd name="T40" fmla="*/ 682 w 824"/>
              <a:gd name="T41" fmla="*/ 6 h 658"/>
              <a:gd name="T42" fmla="*/ 636 w 824"/>
              <a:gd name="T43" fmla="*/ 38 h 658"/>
              <a:gd name="T44" fmla="*/ 610 w 824"/>
              <a:gd name="T45" fmla="*/ 78 h 658"/>
              <a:gd name="T46" fmla="*/ 582 w 824"/>
              <a:gd name="T47" fmla="*/ 120 h 658"/>
              <a:gd name="T48" fmla="*/ 614 w 824"/>
              <a:gd name="T49" fmla="*/ 138 h 658"/>
              <a:gd name="T50" fmla="*/ 530 w 824"/>
              <a:gd name="T51" fmla="*/ 176 h 658"/>
              <a:gd name="T52" fmla="*/ 458 w 824"/>
              <a:gd name="T53" fmla="*/ 220 h 658"/>
              <a:gd name="T54" fmla="*/ 334 w 824"/>
              <a:gd name="T55" fmla="*/ 218 h 658"/>
              <a:gd name="T56" fmla="*/ 254 w 824"/>
              <a:gd name="T57" fmla="*/ 162 h 658"/>
              <a:gd name="T58" fmla="*/ 208 w 824"/>
              <a:gd name="T59" fmla="*/ 86 h 658"/>
              <a:gd name="T60" fmla="*/ 124 w 824"/>
              <a:gd name="T61" fmla="*/ 150 h 658"/>
              <a:gd name="T62" fmla="*/ 96 w 824"/>
              <a:gd name="T63" fmla="*/ 218 h 658"/>
              <a:gd name="T64" fmla="*/ 68 w 824"/>
              <a:gd name="T65" fmla="*/ 240 h 658"/>
              <a:gd name="T66" fmla="*/ 34 w 824"/>
              <a:gd name="T67" fmla="*/ 262 h 658"/>
              <a:gd name="T68" fmla="*/ 10 w 824"/>
              <a:gd name="T69" fmla="*/ 268 h 658"/>
              <a:gd name="T70" fmla="*/ 14 w 824"/>
              <a:gd name="T71" fmla="*/ 298 h 658"/>
              <a:gd name="T72" fmla="*/ 64 w 824"/>
              <a:gd name="T73" fmla="*/ 338 h 658"/>
              <a:gd name="T74" fmla="*/ 72 w 824"/>
              <a:gd name="T75" fmla="*/ 390 h 658"/>
              <a:gd name="T76" fmla="*/ 104 w 824"/>
              <a:gd name="T77" fmla="*/ 444 h 658"/>
              <a:gd name="T78" fmla="*/ 170 w 824"/>
              <a:gd name="T79" fmla="*/ 482 h 658"/>
              <a:gd name="T80" fmla="*/ 258 w 824"/>
              <a:gd name="T81" fmla="*/ 484 h 658"/>
              <a:gd name="T82" fmla="*/ 322 w 824"/>
              <a:gd name="T83" fmla="*/ 488 h 658"/>
              <a:gd name="T84" fmla="*/ 332 w 824"/>
              <a:gd name="T85" fmla="*/ 546 h 658"/>
              <a:gd name="T86" fmla="*/ 358 w 824"/>
              <a:gd name="T87" fmla="*/ 574 h 658"/>
              <a:gd name="T88" fmla="*/ 388 w 824"/>
              <a:gd name="T89" fmla="*/ 578 h 658"/>
              <a:gd name="T90" fmla="*/ 460 w 824"/>
              <a:gd name="T91" fmla="*/ 596 h 658"/>
              <a:gd name="T92" fmla="*/ 488 w 824"/>
              <a:gd name="T93" fmla="*/ 598 h 658"/>
              <a:gd name="T94" fmla="*/ 496 w 824"/>
              <a:gd name="T95" fmla="*/ 608 h 658"/>
              <a:gd name="T96" fmla="*/ 516 w 824"/>
              <a:gd name="T97" fmla="*/ 594 h 658"/>
              <a:gd name="T98" fmla="*/ 544 w 824"/>
              <a:gd name="T99" fmla="*/ 578 h 658"/>
              <a:gd name="T100" fmla="*/ 556 w 824"/>
              <a:gd name="T101" fmla="*/ 578 h 658"/>
              <a:gd name="T102" fmla="*/ 580 w 824"/>
              <a:gd name="T103" fmla="*/ 572 h 658"/>
              <a:gd name="T104" fmla="*/ 594 w 824"/>
              <a:gd name="T105" fmla="*/ 556 h 658"/>
              <a:gd name="T106" fmla="*/ 616 w 824"/>
              <a:gd name="T107" fmla="*/ 538 h 658"/>
              <a:gd name="T108" fmla="*/ 624 w 824"/>
              <a:gd name="T109" fmla="*/ 528 h 658"/>
              <a:gd name="T110" fmla="*/ 628 w 824"/>
              <a:gd name="T111" fmla="*/ 502 h 658"/>
              <a:gd name="T112" fmla="*/ 640 w 824"/>
              <a:gd name="T113" fmla="*/ 484 h 658"/>
              <a:gd name="T114" fmla="*/ 646 w 824"/>
              <a:gd name="T115" fmla="*/ 472 h 658"/>
              <a:gd name="T116" fmla="*/ 660 w 824"/>
              <a:gd name="T117" fmla="*/ 450 h 658"/>
              <a:gd name="T118" fmla="*/ 640 w 824"/>
              <a:gd name="T119" fmla="*/ 4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4" h="658">
                <a:moveTo>
                  <a:pt x="506" y="624"/>
                </a:moveTo>
                <a:lnTo>
                  <a:pt x="506" y="624"/>
                </a:lnTo>
                <a:lnTo>
                  <a:pt x="498" y="626"/>
                </a:lnTo>
                <a:lnTo>
                  <a:pt x="492" y="628"/>
                </a:lnTo>
                <a:lnTo>
                  <a:pt x="492" y="628"/>
                </a:lnTo>
                <a:lnTo>
                  <a:pt x="488" y="628"/>
                </a:lnTo>
                <a:lnTo>
                  <a:pt x="484" y="630"/>
                </a:lnTo>
                <a:lnTo>
                  <a:pt x="484" y="630"/>
                </a:lnTo>
                <a:lnTo>
                  <a:pt x="484" y="632"/>
                </a:lnTo>
                <a:lnTo>
                  <a:pt x="484" y="634"/>
                </a:lnTo>
                <a:lnTo>
                  <a:pt x="484" y="634"/>
                </a:lnTo>
                <a:lnTo>
                  <a:pt x="482" y="634"/>
                </a:lnTo>
                <a:lnTo>
                  <a:pt x="480" y="634"/>
                </a:lnTo>
                <a:lnTo>
                  <a:pt x="480" y="634"/>
                </a:lnTo>
                <a:lnTo>
                  <a:pt x="474" y="638"/>
                </a:lnTo>
                <a:lnTo>
                  <a:pt x="474" y="638"/>
                </a:lnTo>
                <a:lnTo>
                  <a:pt x="474" y="646"/>
                </a:lnTo>
                <a:lnTo>
                  <a:pt x="476" y="652"/>
                </a:lnTo>
                <a:lnTo>
                  <a:pt x="476" y="652"/>
                </a:lnTo>
                <a:lnTo>
                  <a:pt x="478" y="652"/>
                </a:lnTo>
                <a:lnTo>
                  <a:pt x="482" y="654"/>
                </a:lnTo>
                <a:lnTo>
                  <a:pt x="482" y="654"/>
                </a:lnTo>
                <a:lnTo>
                  <a:pt x="488" y="658"/>
                </a:lnTo>
                <a:lnTo>
                  <a:pt x="488" y="658"/>
                </a:lnTo>
                <a:lnTo>
                  <a:pt x="498" y="654"/>
                </a:lnTo>
                <a:lnTo>
                  <a:pt x="498" y="654"/>
                </a:lnTo>
                <a:lnTo>
                  <a:pt x="498" y="650"/>
                </a:lnTo>
                <a:lnTo>
                  <a:pt x="498" y="650"/>
                </a:lnTo>
                <a:lnTo>
                  <a:pt x="502" y="650"/>
                </a:lnTo>
                <a:lnTo>
                  <a:pt x="504" y="648"/>
                </a:lnTo>
                <a:lnTo>
                  <a:pt x="504" y="648"/>
                </a:lnTo>
                <a:lnTo>
                  <a:pt x="504" y="646"/>
                </a:lnTo>
                <a:lnTo>
                  <a:pt x="504" y="642"/>
                </a:lnTo>
                <a:lnTo>
                  <a:pt x="506" y="640"/>
                </a:lnTo>
                <a:lnTo>
                  <a:pt x="506" y="640"/>
                </a:lnTo>
                <a:lnTo>
                  <a:pt x="508" y="634"/>
                </a:lnTo>
                <a:lnTo>
                  <a:pt x="510" y="632"/>
                </a:lnTo>
                <a:lnTo>
                  <a:pt x="510" y="632"/>
                </a:lnTo>
                <a:lnTo>
                  <a:pt x="510" y="630"/>
                </a:lnTo>
                <a:lnTo>
                  <a:pt x="510" y="630"/>
                </a:lnTo>
                <a:lnTo>
                  <a:pt x="510" y="630"/>
                </a:lnTo>
                <a:lnTo>
                  <a:pt x="510" y="630"/>
                </a:lnTo>
                <a:lnTo>
                  <a:pt x="510" y="626"/>
                </a:lnTo>
                <a:lnTo>
                  <a:pt x="510" y="626"/>
                </a:lnTo>
                <a:lnTo>
                  <a:pt x="506" y="624"/>
                </a:lnTo>
                <a:lnTo>
                  <a:pt x="506" y="624"/>
                </a:lnTo>
                <a:close/>
                <a:moveTo>
                  <a:pt x="630" y="416"/>
                </a:moveTo>
                <a:lnTo>
                  <a:pt x="630" y="416"/>
                </a:lnTo>
                <a:lnTo>
                  <a:pt x="638" y="414"/>
                </a:lnTo>
                <a:lnTo>
                  <a:pt x="646" y="416"/>
                </a:lnTo>
                <a:lnTo>
                  <a:pt x="646" y="416"/>
                </a:lnTo>
                <a:lnTo>
                  <a:pt x="646" y="412"/>
                </a:lnTo>
                <a:lnTo>
                  <a:pt x="646" y="412"/>
                </a:lnTo>
                <a:lnTo>
                  <a:pt x="636" y="400"/>
                </a:lnTo>
                <a:lnTo>
                  <a:pt x="632" y="392"/>
                </a:lnTo>
                <a:lnTo>
                  <a:pt x="630" y="384"/>
                </a:lnTo>
                <a:lnTo>
                  <a:pt x="630" y="384"/>
                </a:lnTo>
                <a:lnTo>
                  <a:pt x="624" y="386"/>
                </a:lnTo>
                <a:lnTo>
                  <a:pt x="624" y="386"/>
                </a:lnTo>
                <a:lnTo>
                  <a:pt x="626" y="382"/>
                </a:lnTo>
                <a:lnTo>
                  <a:pt x="626" y="382"/>
                </a:lnTo>
                <a:lnTo>
                  <a:pt x="620" y="370"/>
                </a:lnTo>
                <a:lnTo>
                  <a:pt x="618" y="362"/>
                </a:lnTo>
                <a:lnTo>
                  <a:pt x="620" y="354"/>
                </a:lnTo>
                <a:lnTo>
                  <a:pt x="620" y="354"/>
                </a:lnTo>
                <a:lnTo>
                  <a:pt x="622" y="352"/>
                </a:lnTo>
                <a:lnTo>
                  <a:pt x="624" y="350"/>
                </a:lnTo>
                <a:lnTo>
                  <a:pt x="628" y="348"/>
                </a:lnTo>
                <a:lnTo>
                  <a:pt x="628" y="348"/>
                </a:lnTo>
                <a:lnTo>
                  <a:pt x="628" y="342"/>
                </a:lnTo>
                <a:lnTo>
                  <a:pt x="628" y="342"/>
                </a:lnTo>
                <a:lnTo>
                  <a:pt x="632" y="338"/>
                </a:lnTo>
                <a:lnTo>
                  <a:pt x="636" y="334"/>
                </a:lnTo>
                <a:lnTo>
                  <a:pt x="636" y="334"/>
                </a:lnTo>
                <a:lnTo>
                  <a:pt x="638" y="332"/>
                </a:lnTo>
                <a:lnTo>
                  <a:pt x="638" y="332"/>
                </a:lnTo>
                <a:lnTo>
                  <a:pt x="644" y="330"/>
                </a:lnTo>
                <a:lnTo>
                  <a:pt x="644" y="330"/>
                </a:lnTo>
                <a:lnTo>
                  <a:pt x="646" y="326"/>
                </a:lnTo>
                <a:lnTo>
                  <a:pt x="646" y="326"/>
                </a:lnTo>
                <a:lnTo>
                  <a:pt x="650" y="326"/>
                </a:lnTo>
                <a:lnTo>
                  <a:pt x="650" y="326"/>
                </a:lnTo>
                <a:lnTo>
                  <a:pt x="652" y="324"/>
                </a:lnTo>
                <a:lnTo>
                  <a:pt x="652" y="324"/>
                </a:lnTo>
                <a:lnTo>
                  <a:pt x="654" y="322"/>
                </a:lnTo>
                <a:lnTo>
                  <a:pt x="654" y="322"/>
                </a:lnTo>
                <a:lnTo>
                  <a:pt x="654" y="322"/>
                </a:lnTo>
                <a:lnTo>
                  <a:pt x="658" y="324"/>
                </a:lnTo>
                <a:lnTo>
                  <a:pt x="658" y="324"/>
                </a:lnTo>
                <a:lnTo>
                  <a:pt x="660" y="322"/>
                </a:lnTo>
                <a:lnTo>
                  <a:pt x="662" y="322"/>
                </a:lnTo>
                <a:lnTo>
                  <a:pt x="662" y="322"/>
                </a:lnTo>
                <a:lnTo>
                  <a:pt x="666" y="314"/>
                </a:lnTo>
                <a:lnTo>
                  <a:pt x="666" y="312"/>
                </a:lnTo>
                <a:lnTo>
                  <a:pt x="666" y="312"/>
                </a:lnTo>
                <a:lnTo>
                  <a:pt x="660" y="310"/>
                </a:lnTo>
                <a:lnTo>
                  <a:pt x="660" y="310"/>
                </a:lnTo>
                <a:lnTo>
                  <a:pt x="656" y="310"/>
                </a:lnTo>
                <a:lnTo>
                  <a:pt x="654" y="312"/>
                </a:lnTo>
                <a:lnTo>
                  <a:pt x="650" y="312"/>
                </a:lnTo>
                <a:lnTo>
                  <a:pt x="646" y="312"/>
                </a:lnTo>
                <a:lnTo>
                  <a:pt x="646" y="312"/>
                </a:lnTo>
                <a:lnTo>
                  <a:pt x="644" y="308"/>
                </a:lnTo>
                <a:lnTo>
                  <a:pt x="644" y="308"/>
                </a:lnTo>
                <a:lnTo>
                  <a:pt x="638" y="308"/>
                </a:lnTo>
                <a:lnTo>
                  <a:pt x="630" y="308"/>
                </a:lnTo>
                <a:lnTo>
                  <a:pt x="630" y="308"/>
                </a:lnTo>
                <a:lnTo>
                  <a:pt x="630" y="312"/>
                </a:lnTo>
                <a:lnTo>
                  <a:pt x="630" y="312"/>
                </a:lnTo>
                <a:lnTo>
                  <a:pt x="624" y="314"/>
                </a:lnTo>
                <a:lnTo>
                  <a:pt x="624" y="314"/>
                </a:lnTo>
                <a:lnTo>
                  <a:pt x="622" y="316"/>
                </a:lnTo>
                <a:lnTo>
                  <a:pt x="622" y="318"/>
                </a:lnTo>
                <a:lnTo>
                  <a:pt x="622" y="318"/>
                </a:lnTo>
                <a:lnTo>
                  <a:pt x="616" y="318"/>
                </a:lnTo>
                <a:lnTo>
                  <a:pt x="616" y="318"/>
                </a:lnTo>
                <a:lnTo>
                  <a:pt x="614" y="320"/>
                </a:lnTo>
                <a:lnTo>
                  <a:pt x="614" y="320"/>
                </a:lnTo>
                <a:lnTo>
                  <a:pt x="610" y="320"/>
                </a:lnTo>
                <a:lnTo>
                  <a:pt x="610" y="320"/>
                </a:lnTo>
                <a:lnTo>
                  <a:pt x="608" y="316"/>
                </a:lnTo>
                <a:lnTo>
                  <a:pt x="608" y="312"/>
                </a:lnTo>
                <a:lnTo>
                  <a:pt x="608" y="312"/>
                </a:lnTo>
                <a:lnTo>
                  <a:pt x="606" y="308"/>
                </a:lnTo>
                <a:lnTo>
                  <a:pt x="604" y="304"/>
                </a:lnTo>
                <a:lnTo>
                  <a:pt x="602" y="304"/>
                </a:lnTo>
                <a:lnTo>
                  <a:pt x="602" y="304"/>
                </a:lnTo>
                <a:lnTo>
                  <a:pt x="598" y="298"/>
                </a:lnTo>
                <a:lnTo>
                  <a:pt x="596" y="292"/>
                </a:lnTo>
                <a:lnTo>
                  <a:pt x="596" y="292"/>
                </a:lnTo>
                <a:lnTo>
                  <a:pt x="596" y="286"/>
                </a:lnTo>
                <a:lnTo>
                  <a:pt x="596" y="286"/>
                </a:lnTo>
                <a:lnTo>
                  <a:pt x="598" y="284"/>
                </a:lnTo>
                <a:lnTo>
                  <a:pt x="598" y="284"/>
                </a:lnTo>
                <a:lnTo>
                  <a:pt x="606" y="284"/>
                </a:lnTo>
                <a:lnTo>
                  <a:pt x="612" y="284"/>
                </a:lnTo>
                <a:lnTo>
                  <a:pt x="612" y="284"/>
                </a:lnTo>
                <a:lnTo>
                  <a:pt x="614" y="280"/>
                </a:lnTo>
                <a:lnTo>
                  <a:pt x="618" y="274"/>
                </a:lnTo>
                <a:lnTo>
                  <a:pt x="618" y="274"/>
                </a:lnTo>
                <a:lnTo>
                  <a:pt x="626" y="268"/>
                </a:lnTo>
                <a:lnTo>
                  <a:pt x="626" y="268"/>
                </a:lnTo>
                <a:lnTo>
                  <a:pt x="628" y="268"/>
                </a:lnTo>
                <a:lnTo>
                  <a:pt x="628" y="268"/>
                </a:lnTo>
                <a:lnTo>
                  <a:pt x="630" y="266"/>
                </a:lnTo>
                <a:lnTo>
                  <a:pt x="632" y="262"/>
                </a:lnTo>
                <a:lnTo>
                  <a:pt x="634" y="262"/>
                </a:lnTo>
                <a:lnTo>
                  <a:pt x="634" y="262"/>
                </a:lnTo>
                <a:lnTo>
                  <a:pt x="636" y="260"/>
                </a:lnTo>
                <a:lnTo>
                  <a:pt x="636" y="256"/>
                </a:lnTo>
                <a:lnTo>
                  <a:pt x="636" y="256"/>
                </a:lnTo>
                <a:lnTo>
                  <a:pt x="640" y="250"/>
                </a:lnTo>
                <a:lnTo>
                  <a:pt x="644" y="246"/>
                </a:lnTo>
                <a:lnTo>
                  <a:pt x="644" y="246"/>
                </a:lnTo>
                <a:lnTo>
                  <a:pt x="662" y="252"/>
                </a:lnTo>
                <a:lnTo>
                  <a:pt x="662" y="252"/>
                </a:lnTo>
                <a:lnTo>
                  <a:pt x="656" y="260"/>
                </a:lnTo>
                <a:lnTo>
                  <a:pt x="650" y="268"/>
                </a:lnTo>
                <a:lnTo>
                  <a:pt x="650" y="268"/>
                </a:lnTo>
                <a:lnTo>
                  <a:pt x="648" y="270"/>
                </a:lnTo>
                <a:lnTo>
                  <a:pt x="648" y="270"/>
                </a:lnTo>
                <a:lnTo>
                  <a:pt x="648" y="274"/>
                </a:lnTo>
                <a:lnTo>
                  <a:pt x="648" y="278"/>
                </a:lnTo>
                <a:lnTo>
                  <a:pt x="648" y="278"/>
                </a:lnTo>
                <a:lnTo>
                  <a:pt x="654" y="278"/>
                </a:lnTo>
                <a:lnTo>
                  <a:pt x="654" y="278"/>
                </a:lnTo>
                <a:lnTo>
                  <a:pt x="650" y="282"/>
                </a:lnTo>
                <a:lnTo>
                  <a:pt x="648" y="286"/>
                </a:lnTo>
                <a:lnTo>
                  <a:pt x="648" y="288"/>
                </a:lnTo>
                <a:lnTo>
                  <a:pt x="648" y="288"/>
                </a:lnTo>
                <a:lnTo>
                  <a:pt x="650" y="288"/>
                </a:lnTo>
                <a:lnTo>
                  <a:pt x="650" y="288"/>
                </a:lnTo>
                <a:lnTo>
                  <a:pt x="650" y="288"/>
                </a:lnTo>
                <a:lnTo>
                  <a:pt x="650" y="288"/>
                </a:lnTo>
                <a:lnTo>
                  <a:pt x="654" y="288"/>
                </a:lnTo>
                <a:lnTo>
                  <a:pt x="654" y="288"/>
                </a:lnTo>
                <a:lnTo>
                  <a:pt x="654" y="286"/>
                </a:lnTo>
                <a:lnTo>
                  <a:pt x="654" y="284"/>
                </a:lnTo>
                <a:lnTo>
                  <a:pt x="654" y="284"/>
                </a:lnTo>
                <a:lnTo>
                  <a:pt x="666" y="274"/>
                </a:lnTo>
                <a:lnTo>
                  <a:pt x="676" y="268"/>
                </a:lnTo>
                <a:lnTo>
                  <a:pt x="680" y="268"/>
                </a:lnTo>
                <a:lnTo>
                  <a:pt x="684" y="268"/>
                </a:lnTo>
                <a:lnTo>
                  <a:pt x="684" y="268"/>
                </a:lnTo>
                <a:lnTo>
                  <a:pt x="688" y="270"/>
                </a:lnTo>
                <a:lnTo>
                  <a:pt x="688" y="270"/>
                </a:lnTo>
                <a:lnTo>
                  <a:pt x="688" y="270"/>
                </a:lnTo>
                <a:lnTo>
                  <a:pt x="690" y="270"/>
                </a:lnTo>
                <a:lnTo>
                  <a:pt x="690" y="268"/>
                </a:lnTo>
                <a:lnTo>
                  <a:pt x="692" y="268"/>
                </a:lnTo>
                <a:lnTo>
                  <a:pt x="692" y="268"/>
                </a:lnTo>
                <a:lnTo>
                  <a:pt x="692" y="270"/>
                </a:lnTo>
                <a:lnTo>
                  <a:pt x="698" y="260"/>
                </a:lnTo>
                <a:lnTo>
                  <a:pt x="702" y="254"/>
                </a:lnTo>
                <a:lnTo>
                  <a:pt x="708" y="246"/>
                </a:lnTo>
                <a:lnTo>
                  <a:pt x="712" y="240"/>
                </a:lnTo>
                <a:lnTo>
                  <a:pt x="720" y="232"/>
                </a:lnTo>
                <a:lnTo>
                  <a:pt x="720" y="224"/>
                </a:lnTo>
                <a:lnTo>
                  <a:pt x="726" y="222"/>
                </a:lnTo>
                <a:lnTo>
                  <a:pt x="730" y="228"/>
                </a:lnTo>
                <a:lnTo>
                  <a:pt x="734" y="230"/>
                </a:lnTo>
                <a:lnTo>
                  <a:pt x="742" y="232"/>
                </a:lnTo>
                <a:lnTo>
                  <a:pt x="742" y="226"/>
                </a:lnTo>
                <a:lnTo>
                  <a:pt x="742" y="222"/>
                </a:lnTo>
                <a:lnTo>
                  <a:pt x="746" y="218"/>
                </a:lnTo>
                <a:lnTo>
                  <a:pt x="752" y="218"/>
                </a:lnTo>
                <a:lnTo>
                  <a:pt x="756" y="216"/>
                </a:lnTo>
                <a:lnTo>
                  <a:pt x="756" y="212"/>
                </a:lnTo>
                <a:lnTo>
                  <a:pt x="762" y="210"/>
                </a:lnTo>
                <a:lnTo>
                  <a:pt x="762" y="200"/>
                </a:lnTo>
                <a:lnTo>
                  <a:pt x="772" y="212"/>
                </a:lnTo>
                <a:lnTo>
                  <a:pt x="774" y="208"/>
                </a:lnTo>
                <a:lnTo>
                  <a:pt x="774" y="202"/>
                </a:lnTo>
                <a:lnTo>
                  <a:pt x="776" y="200"/>
                </a:lnTo>
                <a:lnTo>
                  <a:pt x="778" y="194"/>
                </a:lnTo>
                <a:lnTo>
                  <a:pt x="776" y="184"/>
                </a:lnTo>
                <a:lnTo>
                  <a:pt x="778" y="178"/>
                </a:lnTo>
                <a:lnTo>
                  <a:pt x="778" y="172"/>
                </a:lnTo>
                <a:lnTo>
                  <a:pt x="782" y="168"/>
                </a:lnTo>
                <a:lnTo>
                  <a:pt x="786" y="166"/>
                </a:lnTo>
                <a:lnTo>
                  <a:pt x="786" y="166"/>
                </a:lnTo>
                <a:lnTo>
                  <a:pt x="786" y="164"/>
                </a:lnTo>
                <a:lnTo>
                  <a:pt x="786" y="164"/>
                </a:lnTo>
                <a:lnTo>
                  <a:pt x="786" y="164"/>
                </a:lnTo>
                <a:lnTo>
                  <a:pt x="786" y="162"/>
                </a:lnTo>
                <a:lnTo>
                  <a:pt x="786" y="162"/>
                </a:lnTo>
                <a:lnTo>
                  <a:pt x="792" y="164"/>
                </a:lnTo>
                <a:lnTo>
                  <a:pt x="794" y="168"/>
                </a:lnTo>
                <a:lnTo>
                  <a:pt x="794" y="168"/>
                </a:lnTo>
                <a:lnTo>
                  <a:pt x="798" y="164"/>
                </a:lnTo>
                <a:lnTo>
                  <a:pt x="804" y="160"/>
                </a:lnTo>
                <a:lnTo>
                  <a:pt x="806" y="156"/>
                </a:lnTo>
                <a:lnTo>
                  <a:pt x="810" y="154"/>
                </a:lnTo>
                <a:lnTo>
                  <a:pt x="814" y="148"/>
                </a:lnTo>
                <a:lnTo>
                  <a:pt x="818" y="142"/>
                </a:lnTo>
                <a:lnTo>
                  <a:pt x="820" y="132"/>
                </a:lnTo>
                <a:lnTo>
                  <a:pt x="820" y="126"/>
                </a:lnTo>
                <a:lnTo>
                  <a:pt x="824" y="124"/>
                </a:lnTo>
                <a:lnTo>
                  <a:pt x="824" y="116"/>
                </a:lnTo>
                <a:lnTo>
                  <a:pt x="820" y="112"/>
                </a:lnTo>
                <a:lnTo>
                  <a:pt x="820" y="108"/>
                </a:lnTo>
                <a:lnTo>
                  <a:pt x="824" y="100"/>
                </a:lnTo>
                <a:lnTo>
                  <a:pt x="816" y="102"/>
                </a:lnTo>
                <a:lnTo>
                  <a:pt x="814" y="106"/>
                </a:lnTo>
                <a:lnTo>
                  <a:pt x="808" y="108"/>
                </a:lnTo>
                <a:lnTo>
                  <a:pt x="804" y="108"/>
                </a:lnTo>
                <a:lnTo>
                  <a:pt x="798" y="112"/>
                </a:lnTo>
                <a:lnTo>
                  <a:pt x="794" y="116"/>
                </a:lnTo>
                <a:lnTo>
                  <a:pt x="788" y="118"/>
                </a:lnTo>
                <a:lnTo>
                  <a:pt x="784" y="120"/>
                </a:lnTo>
                <a:lnTo>
                  <a:pt x="778" y="116"/>
                </a:lnTo>
                <a:lnTo>
                  <a:pt x="772" y="114"/>
                </a:lnTo>
                <a:lnTo>
                  <a:pt x="770" y="108"/>
                </a:lnTo>
                <a:lnTo>
                  <a:pt x="770" y="102"/>
                </a:lnTo>
                <a:lnTo>
                  <a:pt x="768" y="96"/>
                </a:lnTo>
                <a:lnTo>
                  <a:pt x="762" y="90"/>
                </a:lnTo>
                <a:lnTo>
                  <a:pt x="760" y="84"/>
                </a:lnTo>
                <a:lnTo>
                  <a:pt x="758" y="78"/>
                </a:lnTo>
                <a:lnTo>
                  <a:pt x="754" y="74"/>
                </a:lnTo>
                <a:lnTo>
                  <a:pt x="746" y="72"/>
                </a:lnTo>
                <a:lnTo>
                  <a:pt x="740" y="70"/>
                </a:lnTo>
                <a:lnTo>
                  <a:pt x="734" y="70"/>
                </a:lnTo>
                <a:lnTo>
                  <a:pt x="730" y="66"/>
                </a:lnTo>
                <a:lnTo>
                  <a:pt x="726" y="58"/>
                </a:lnTo>
                <a:lnTo>
                  <a:pt x="720" y="48"/>
                </a:lnTo>
                <a:lnTo>
                  <a:pt x="718" y="40"/>
                </a:lnTo>
                <a:lnTo>
                  <a:pt x="718" y="34"/>
                </a:lnTo>
                <a:lnTo>
                  <a:pt x="712" y="28"/>
                </a:lnTo>
                <a:lnTo>
                  <a:pt x="710" y="22"/>
                </a:lnTo>
                <a:lnTo>
                  <a:pt x="702" y="16"/>
                </a:lnTo>
                <a:lnTo>
                  <a:pt x="692" y="16"/>
                </a:lnTo>
                <a:lnTo>
                  <a:pt x="688" y="10"/>
                </a:lnTo>
                <a:lnTo>
                  <a:pt x="682" y="6"/>
                </a:lnTo>
                <a:lnTo>
                  <a:pt x="676" y="2"/>
                </a:lnTo>
                <a:lnTo>
                  <a:pt x="668" y="0"/>
                </a:lnTo>
                <a:lnTo>
                  <a:pt x="664" y="2"/>
                </a:lnTo>
                <a:lnTo>
                  <a:pt x="658" y="4"/>
                </a:lnTo>
                <a:lnTo>
                  <a:pt x="650" y="4"/>
                </a:lnTo>
                <a:lnTo>
                  <a:pt x="644" y="8"/>
                </a:lnTo>
                <a:lnTo>
                  <a:pt x="638" y="14"/>
                </a:lnTo>
                <a:lnTo>
                  <a:pt x="634" y="20"/>
                </a:lnTo>
                <a:lnTo>
                  <a:pt x="632" y="22"/>
                </a:lnTo>
                <a:lnTo>
                  <a:pt x="630" y="26"/>
                </a:lnTo>
                <a:lnTo>
                  <a:pt x="636" y="24"/>
                </a:lnTo>
                <a:lnTo>
                  <a:pt x="636" y="32"/>
                </a:lnTo>
                <a:lnTo>
                  <a:pt x="636" y="38"/>
                </a:lnTo>
                <a:lnTo>
                  <a:pt x="632" y="42"/>
                </a:lnTo>
                <a:lnTo>
                  <a:pt x="634" y="48"/>
                </a:lnTo>
                <a:lnTo>
                  <a:pt x="628" y="56"/>
                </a:lnTo>
                <a:lnTo>
                  <a:pt x="624" y="62"/>
                </a:lnTo>
                <a:lnTo>
                  <a:pt x="624" y="62"/>
                </a:lnTo>
                <a:lnTo>
                  <a:pt x="620" y="66"/>
                </a:lnTo>
                <a:lnTo>
                  <a:pt x="618" y="68"/>
                </a:lnTo>
                <a:lnTo>
                  <a:pt x="618" y="70"/>
                </a:lnTo>
                <a:lnTo>
                  <a:pt x="620" y="72"/>
                </a:lnTo>
                <a:lnTo>
                  <a:pt x="620" y="72"/>
                </a:lnTo>
                <a:lnTo>
                  <a:pt x="618" y="74"/>
                </a:lnTo>
                <a:lnTo>
                  <a:pt x="614" y="76"/>
                </a:lnTo>
                <a:lnTo>
                  <a:pt x="610" y="78"/>
                </a:lnTo>
                <a:lnTo>
                  <a:pt x="600" y="84"/>
                </a:lnTo>
                <a:lnTo>
                  <a:pt x="594" y="80"/>
                </a:lnTo>
                <a:lnTo>
                  <a:pt x="586" y="76"/>
                </a:lnTo>
                <a:lnTo>
                  <a:pt x="580" y="78"/>
                </a:lnTo>
                <a:lnTo>
                  <a:pt x="574" y="94"/>
                </a:lnTo>
                <a:lnTo>
                  <a:pt x="574" y="94"/>
                </a:lnTo>
                <a:lnTo>
                  <a:pt x="576" y="100"/>
                </a:lnTo>
                <a:lnTo>
                  <a:pt x="576" y="100"/>
                </a:lnTo>
                <a:lnTo>
                  <a:pt x="576" y="104"/>
                </a:lnTo>
                <a:lnTo>
                  <a:pt x="574" y="106"/>
                </a:lnTo>
                <a:lnTo>
                  <a:pt x="572" y="110"/>
                </a:lnTo>
                <a:lnTo>
                  <a:pt x="572" y="116"/>
                </a:lnTo>
                <a:lnTo>
                  <a:pt x="582" y="120"/>
                </a:lnTo>
                <a:lnTo>
                  <a:pt x="592" y="118"/>
                </a:lnTo>
                <a:lnTo>
                  <a:pt x="598" y="112"/>
                </a:lnTo>
                <a:lnTo>
                  <a:pt x="602" y="112"/>
                </a:lnTo>
                <a:lnTo>
                  <a:pt x="606" y="116"/>
                </a:lnTo>
                <a:lnTo>
                  <a:pt x="612" y="122"/>
                </a:lnTo>
                <a:lnTo>
                  <a:pt x="622" y="126"/>
                </a:lnTo>
                <a:lnTo>
                  <a:pt x="628" y="132"/>
                </a:lnTo>
                <a:lnTo>
                  <a:pt x="624" y="138"/>
                </a:lnTo>
                <a:lnTo>
                  <a:pt x="624" y="138"/>
                </a:lnTo>
                <a:lnTo>
                  <a:pt x="620" y="136"/>
                </a:lnTo>
                <a:lnTo>
                  <a:pt x="616" y="136"/>
                </a:lnTo>
                <a:lnTo>
                  <a:pt x="614" y="138"/>
                </a:lnTo>
                <a:lnTo>
                  <a:pt x="614" y="138"/>
                </a:lnTo>
                <a:lnTo>
                  <a:pt x="610" y="140"/>
                </a:lnTo>
                <a:lnTo>
                  <a:pt x="606" y="142"/>
                </a:lnTo>
                <a:lnTo>
                  <a:pt x="604" y="146"/>
                </a:lnTo>
                <a:lnTo>
                  <a:pt x="596" y="144"/>
                </a:lnTo>
                <a:lnTo>
                  <a:pt x="586" y="152"/>
                </a:lnTo>
                <a:lnTo>
                  <a:pt x="580" y="148"/>
                </a:lnTo>
                <a:lnTo>
                  <a:pt x="576" y="148"/>
                </a:lnTo>
                <a:lnTo>
                  <a:pt x="574" y="156"/>
                </a:lnTo>
                <a:lnTo>
                  <a:pt x="570" y="160"/>
                </a:lnTo>
                <a:lnTo>
                  <a:pt x="552" y="164"/>
                </a:lnTo>
                <a:lnTo>
                  <a:pt x="550" y="174"/>
                </a:lnTo>
                <a:lnTo>
                  <a:pt x="538" y="180"/>
                </a:lnTo>
                <a:lnTo>
                  <a:pt x="530" y="176"/>
                </a:lnTo>
                <a:lnTo>
                  <a:pt x="524" y="170"/>
                </a:lnTo>
                <a:lnTo>
                  <a:pt x="518" y="168"/>
                </a:lnTo>
                <a:lnTo>
                  <a:pt x="512" y="172"/>
                </a:lnTo>
                <a:lnTo>
                  <a:pt x="510" y="180"/>
                </a:lnTo>
                <a:lnTo>
                  <a:pt x="508" y="186"/>
                </a:lnTo>
                <a:lnTo>
                  <a:pt x="510" y="196"/>
                </a:lnTo>
                <a:lnTo>
                  <a:pt x="512" y="202"/>
                </a:lnTo>
                <a:lnTo>
                  <a:pt x="508" y="208"/>
                </a:lnTo>
                <a:lnTo>
                  <a:pt x="502" y="212"/>
                </a:lnTo>
                <a:lnTo>
                  <a:pt x="492" y="214"/>
                </a:lnTo>
                <a:lnTo>
                  <a:pt x="478" y="218"/>
                </a:lnTo>
                <a:lnTo>
                  <a:pt x="466" y="218"/>
                </a:lnTo>
                <a:lnTo>
                  <a:pt x="458" y="220"/>
                </a:lnTo>
                <a:lnTo>
                  <a:pt x="454" y="220"/>
                </a:lnTo>
                <a:lnTo>
                  <a:pt x="446" y="228"/>
                </a:lnTo>
                <a:lnTo>
                  <a:pt x="438" y="232"/>
                </a:lnTo>
                <a:lnTo>
                  <a:pt x="428" y="232"/>
                </a:lnTo>
                <a:lnTo>
                  <a:pt x="418" y="234"/>
                </a:lnTo>
                <a:lnTo>
                  <a:pt x="406" y="234"/>
                </a:lnTo>
                <a:lnTo>
                  <a:pt x="398" y="230"/>
                </a:lnTo>
                <a:lnTo>
                  <a:pt x="392" y="222"/>
                </a:lnTo>
                <a:lnTo>
                  <a:pt x="388" y="220"/>
                </a:lnTo>
                <a:lnTo>
                  <a:pt x="368" y="220"/>
                </a:lnTo>
                <a:lnTo>
                  <a:pt x="356" y="218"/>
                </a:lnTo>
                <a:lnTo>
                  <a:pt x="344" y="218"/>
                </a:lnTo>
                <a:lnTo>
                  <a:pt x="334" y="218"/>
                </a:lnTo>
                <a:lnTo>
                  <a:pt x="326" y="218"/>
                </a:lnTo>
                <a:lnTo>
                  <a:pt x="320" y="212"/>
                </a:lnTo>
                <a:lnTo>
                  <a:pt x="312" y="206"/>
                </a:lnTo>
                <a:lnTo>
                  <a:pt x="304" y="200"/>
                </a:lnTo>
                <a:lnTo>
                  <a:pt x="300" y="196"/>
                </a:lnTo>
                <a:lnTo>
                  <a:pt x="298" y="188"/>
                </a:lnTo>
                <a:lnTo>
                  <a:pt x="292" y="182"/>
                </a:lnTo>
                <a:lnTo>
                  <a:pt x="284" y="180"/>
                </a:lnTo>
                <a:lnTo>
                  <a:pt x="280" y="176"/>
                </a:lnTo>
                <a:lnTo>
                  <a:pt x="272" y="172"/>
                </a:lnTo>
                <a:lnTo>
                  <a:pt x="264" y="170"/>
                </a:lnTo>
                <a:lnTo>
                  <a:pt x="256" y="168"/>
                </a:lnTo>
                <a:lnTo>
                  <a:pt x="254" y="162"/>
                </a:lnTo>
                <a:lnTo>
                  <a:pt x="256" y="154"/>
                </a:lnTo>
                <a:lnTo>
                  <a:pt x="258" y="148"/>
                </a:lnTo>
                <a:lnTo>
                  <a:pt x="254" y="140"/>
                </a:lnTo>
                <a:lnTo>
                  <a:pt x="246" y="138"/>
                </a:lnTo>
                <a:lnTo>
                  <a:pt x="246" y="132"/>
                </a:lnTo>
                <a:lnTo>
                  <a:pt x="238" y="124"/>
                </a:lnTo>
                <a:lnTo>
                  <a:pt x="230" y="118"/>
                </a:lnTo>
                <a:lnTo>
                  <a:pt x="222" y="120"/>
                </a:lnTo>
                <a:lnTo>
                  <a:pt x="214" y="118"/>
                </a:lnTo>
                <a:lnTo>
                  <a:pt x="210" y="114"/>
                </a:lnTo>
                <a:lnTo>
                  <a:pt x="208" y="110"/>
                </a:lnTo>
                <a:lnTo>
                  <a:pt x="206" y="100"/>
                </a:lnTo>
                <a:lnTo>
                  <a:pt x="208" y="86"/>
                </a:lnTo>
                <a:lnTo>
                  <a:pt x="200" y="92"/>
                </a:lnTo>
                <a:lnTo>
                  <a:pt x="182" y="94"/>
                </a:lnTo>
                <a:lnTo>
                  <a:pt x="176" y="100"/>
                </a:lnTo>
                <a:lnTo>
                  <a:pt x="172" y="106"/>
                </a:lnTo>
                <a:lnTo>
                  <a:pt x="164" y="108"/>
                </a:lnTo>
                <a:lnTo>
                  <a:pt x="162" y="112"/>
                </a:lnTo>
                <a:lnTo>
                  <a:pt x="160" y="120"/>
                </a:lnTo>
                <a:lnTo>
                  <a:pt x="150" y="124"/>
                </a:lnTo>
                <a:lnTo>
                  <a:pt x="142" y="124"/>
                </a:lnTo>
                <a:lnTo>
                  <a:pt x="136" y="128"/>
                </a:lnTo>
                <a:lnTo>
                  <a:pt x="132" y="136"/>
                </a:lnTo>
                <a:lnTo>
                  <a:pt x="126" y="140"/>
                </a:lnTo>
                <a:lnTo>
                  <a:pt x="124" y="150"/>
                </a:lnTo>
                <a:lnTo>
                  <a:pt x="126" y="160"/>
                </a:lnTo>
                <a:lnTo>
                  <a:pt x="130" y="164"/>
                </a:lnTo>
                <a:lnTo>
                  <a:pt x="128" y="168"/>
                </a:lnTo>
                <a:lnTo>
                  <a:pt x="114" y="168"/>
                </a:lnTo>
                <a:lnTo>
                  <a:pt x="104" y="174"/>
                </a:lnTo>
                <a:lnTo>
                  <a:pt x="94" y="176"/>
                </a:lnTo>
                <a:lnTo>
                  <a:pt x="90" y="178"/>
                </a:lnTo>
                <a:lnTo>
                  <a:pt x="92" y="184"/>
                </a:lnTo>
                <a:lnTo>
                  <a:pt x="100" y="190"/>
                </a:lnTo>
                <a:lnTo>
                  <a:pt x="102" y="196"/>
                </a:lnTo>
                <a:lnTo>
                  <a:pt x="100" y="202"/>
                </a:lnTo>
                <a:lnTo>
                  <a:pt x="96" y="208"/>
                </a:lnTo>
                <a:lnTo>
                  <a:pt x="96" y="218"/>
                </a:lnTo>
                <a:lnTo>
                  <a:pt x="96" y="218"/>
                </a:lnTo>
                <a:lnTo>
                  <a:pt x="86" y="224"/>
                </a:lnTo>
                <a:lnTo>
                  <a:pt x="86" y="224"/>
                </a:lnTo>
                <a:lnTo>
                  <a:pt x="80" y="230"/>
                </a:lnTo>
                <a:lnTo>
                  <a:pt x="80" y="230"/>
                </a:lnTo>
                <a:lnTo>
                  <a:pt x="76" y="230"/>
                </a:lnTo>
                <a:lnTo>
                  <a:pt x="72" y="232"/>
                </a:lnTo>
                <a:lnTo>
                  <a:pt x="72" y="232"/>
                </a:lnTo>
                <a:lnTo>
                  <a:pt x="70" y="236"/>
                </a:lnTo>
                <a:lnTo>
                  <a:pt x="70" y="238"/>
                </a:lnTo>
                <a:lnTo>
                  <a:pt x="70" y="238"/>
                </a:lnTo>
                <a:lnTo>
                  <a:pt x="70" y="240"/>
                </a:lnTo>
                <a:lnTo>
                  <a:pt x="68" y="240"/>
                </a:lnTo>
                <a:lnTo>
                  <a:pt x="62" y="240"/>
                </a:lnTo>
                <a:lnTo>
                  <a:pt x="54" y="242"/>
                </a:lnTo>
                <a:lnTo>
                  <a:pt x="50" y="244"/>
                </a:lnTo>
                <a:lnTo>
                  <a:pt x="48" y="246"/>
                </a:lnTo>
                <a:lnTo>
                  <a:pt x="48" y="246"/>
                </a:lnTo>
                <a:lnTo>
                  <a:pt x="48" y="250"/>
                </a:lnTo>
                <a:lnTo>
                  <a:pt x="48" y="252"/>
                </a:lnTo>
                <a:lnTo>
                  <a:pt x="46" y="256"/>
                </a:lnTo>
                <a:lnTo>
                  <a:pt x="46" y="258"/>
                </a:lnTo>
                <a:lnTo>
                  <a:pt x="46" y="258"/>
                </a:lnTo>
                <a:lnTo>
                  <a:pt x="42" y="260"/>
                </a:lnTo>
                <a:lnTo>
                  <a:pt x="40" y="260"/>
                </a:lnTo>
                <a:lnTo>
                  <a:pt x="34" y="262"/>
                </a:lnTo>
                <a:lnTo>
                  <a:pt x="34" y="262"/>
                </a:lnTo>
                <a:lnTo>
                  <a:pt x="30" y="264"/>
                </a:lnTo>
                <a:lnTo>
                  <a:pt x="28" y="264"/>
                </a:lnTo>
                <a:lnTo>
                  <a:pt x="28" y="264"/>
                </a:lnTo>
                <a:lnTo>
                  <a:pt x="26" y="264"/>
                </a:lnTo>
                <a:lnTo>
                  <a:pt x="24" y="262"/>
                </a:lnTo>
                <a:lnTo>
                  <a:pt x="24" y="260"/>
                </a:lnTo>
                <a:lnTo>
                  <a:pt x="22" y="258"/>
                </a:lnTo>
                <a:lnTo>
                  <a:pt x="22" y="258"/>
                </a:lnTo>
                <a:lnTo>
                  <a:pt x="18" y="258"/>
                </a:lnTo>
                <a:lnTo>
                  <a:pt x="14" y="262"/>
                </a:lnTo>
                <a:lnTo>
                  <a:pt x="14" y="262"/>
                </a:lnTo>
                <a:lnTo>
                  <a:pt x="10" y="268"/>
                </a:lnTo>
                <a:lnTo>
                  <a:pt x="10" y="268"/>
                </a:lnTo>
                <a:lnTo>
                  <a:pt x="4" y="270"/>
                </a:lnTo>
                <a:lnTo>
                  <a:pt x="4" y="270"/>
                </a:lnTo>
                <a:lnTo>
                  <a:pt x="0" y="274"/>
                </a:lnTo>
                <a:lnTo>
                  <a:pt x="2" y="276"/>
                </a:lnTo>
                <a:lnTo>
                  <a:pt x="2" y="276"/>
                </a:lnTo>
                <a:lnTo>
                  <a:pt x="2" y="282"/>
                </a:lnTo>
                <a:lnTo>
                  <a:pt x="2" y="286"/>
                </a:lnTo>
                <a:lnTo>
                  <a:pt x="6" y="290"/>
                </a:lnTo>
                <a:lnTo>
                  <a:pt x="14" y="286"/>
                </a:lnTo>
                <a:lnTo>
                  <a:pt x="16" y="288"/>
                </a:lnTo>
                <a:lnTo>
                  <a:pt x="16" y="292"/>
                </a:lnTo>
                <a:lnTo>
                  <a:pt x="14" y="298"/>
                </a:lnTo>
                <a:lnTo>
                  <a:pt x="16" y="306"/>
                </a:lnTo>
                <a:lnTo>
                  <a:pt x="18" y="312"/>
                </a:lnTo>
                <a:lnTo>
                  <a:pt x="20" y="316"/>
                </a:lnTo>
                <a:lnTo>
                  <a:pt x="22" y="320"/>
                </a:lnTo>
                <a:lnTo>
                  <a:pt x="16" y="322"/>
                </a:lnTo>
                <a:lnTo>
                  <a:pt x="16" y="326"/>
                </a:lnTo>
                <a:lnTo>
                  <a:pt x="26" y="326"/>
                </a:lnTo>
                <a:lnTo>
                  <a:pt x="40" y="336"/>
                </a:lnTo>
                <a:lnTo>
                  <a:pt x="44" y="340"/>
                </a:lnTo>
                <a:lnTo>
                  <a:pt x="50" y="346"/>
                </a:lnTo>
                <a:lnTo>
                  <a:pt x="56" y="340"/>
                </a:lnTo>
                <a:lnTo>
                  <a:pt x="58" y="338"/>
                </a:lnTo>
                <a:lnTo>
                  <a:pt x="64" y="338"/>
                </a:lnTo>
                <a:lnTo>
                  <a:pt x="70" y="340"/>
                </a:lnTo>
                <a:lnTo>
                  <a:pt x="76" y="340"/>
                </a:lnTo>
                <a:lnTo>
                  <a:pt x="80" y="346"/>
                </a:lnTo>
                <a:lnTo>
                  <a:pt x="82" y="350"/>
                </a:lnTo>
                <a:lnTo>
                  <a:pt x="86" y="356"/>
                </a:lnTo>
                <a:lnTo>
                  <a:pt x="82" y="360"/>
                </a:lnTo>
                <a:lnTo>
                  <a:pt x="80" y="364"/>
                </a:lnTo>
                <a:lnTo>
                  <a:pt x="78" y="368"/>
                </a:lnTo>
                <a:lnTo>
                  <a:pt x="74" y="372"/>
                </a:lnTo>
                <a:lnTo>
                  <a:pt x="72" y="378"/>
                </a:lnTo>
                <a:lnTo>
                  <a:pt x="68" y="382"/>
                </a:lnTo>
                <a:lnTo>
                  <a:pt x="66" y="386"/>
                </a:lnTo>
                <a:lnTo>
                  <a:pt x="72" y="390"/>
                </a:lnTo>
                <a:lnTo>
                  <a:pt x="74" y="396"/>
                </a:lnTo>
                <a:lnTo>
                  <a:pt x="74" y="404"/>
                </a:lnTo>
                <a:lnTo>
                  <a:pt x="78" y="406"/>
                </a:lnTo>
                <a:lnTo>
                  <a:pt x="82" y="408"/>
                </a:lnTo>
                <a:lnTo>
                  <a:pt x="82" y="412"/>
                </a:lnTo>
                <a:lnTo>
                  <a:pt x="80" y="420"/>
                </a:lnTo>
                <a:lnTo>
                  <a:pt x="80" y="424"/>
                </a:lnTo>
                <a:lnTo>
                  <a:pt x="78" y="426"/>
                </a:lnTo>
                <a:lnTo>
                  <a:pt x="80" y="432"/>
                </a:lnTo>
                <a:lnTo>
                  <a:pt x="86" y="434"/>
                </a:lnTo>
                <a:lnTo>
                  <a:pt x="92" y="438"/>
                </a:lnTo>
                <a:lnTo>
                  <a:pt x="100" y="440"/>
                </a:lnTo>
                <a:lnTo>
                  <a:pt x="104" y="444"/>
                </a:lnTo>
                <a:lnTo>
                  <a:pt x="108" y="448"/>
                </a:lnTo>
                <a:lnTo>
                  <a:pt x="112" y="448"/>
                </a:lnTo>
                <a:lnTo>
                  <a:pt x="118" y="448"/>
                </a:lnTo>
                <a:lnTo>
                  <a:pt x="124" y="448"/>
                </a:lnTo>
                <a:lnTo>
                  <a:pt x="130" y="450"/>
                </a:lnTo>
                <a:lnTo>
                  <a:pt x="136" y="460"/>
                </a:lnTo>
                <a:lnTo>
                  <a:pt x="142" y="460"/>
                </a:lnTo>
                <a:lnTo>
                  <a:pt x="148" y="458"/>
                </a:lnTo>
                <a:lnTo>
                  <a:pt x="154" y="462"/>
                </a:lnTo>
                <a:lnTo>
                  <a:pt x="154" y="468"/>
                </a:lnTo>
                <a:lnTo>
                  <a:pt x="160" y="472"/>
                </a:lnTo>
                <a:lnTo>
                  <a:pt x="166" y="478"/>
                </a:lnTo>
                <a:lnTo>
                  <a:pt x="170" y="482"/>
                </a:lnTo>
                <a:lnTo>
                  <a:pt x="176" y="482"/>
                </a:lnTo>
                <a:lnTo>
                  <a:pt x="182" y="486"/>
                </a:lnTo>
                <a:lnTo>
                  <a:pt x="194" y="488"/>
                </a:lnTo>
                <a:lnTo>
                  <a:pt x="202" y="490"/>
                </a:lnTo>
                <a:lnTo>
                  <a:pt x="208" y="486"/>
                </a:lnTo>
                <a:lnTo>
                  <a:pt x="214" y="488"/>
                </a:lnTo>
                <a:lnTo>
                  <a:pt x="218" y="494"/>
                </a:lnTo>
                <a:lnTo>
                  <a:pt x="224" y="484"/>
                </a:lnTo>
                <a:lnTo>
                  <a:pt x="228" y="482"/>
                </a:lnTo>
                <a:lnTo>
                  <a:pt x="236" y="480"/>
                </a:lnTo>
                <a:lnTo>
                  <a:pt x="242" y="484"/>
                </a:lnTo>
                <a:lnTo>
                  <a:pt x="248" y="484"/>
                </a:lnTo>
                <a:lnTo>
                  <a:pt x="258" y="484"/>
                </a:lnTo>
                <a:lnTo>
                  <a:pt x="264" y="482"/>
                </a:lnTo>
                <a:lnTo>
                  <a:pt x="272" y="480"/>
                </a:lnTo>
                <a:lnTo>
                  <a:pt x="276" y="476"/>
                </a:lnTo>
                <a:lnTo>
                  <a:pt x="284" y="474"/>
                </a:lnTo>
                <a:lnTo>
                  <a:pt x="288" y="476"/>
                </a:lnTo>
                <a:lnTo>
                  <a:pt x="292" y="472"/>
                </a:lnTo>
                <a:lnTo>
                  <a:pt x="298" y="472"/>
                </a:lnTo>
                <a:lnTo>
                  <a:pt x="306" y="476"/>
                </a:lnTo>
                <a:lnTo>
                  <a:pt x="306" y="482"/>
                </a:lnTo>
                <a:lnTo>
                  <a:pt x="308" y="486"/>
                </a:lnTo>
                <a:lnTo>
                  <a:pt x="314" y="484"/>
                </a:lnTo>
                <a:lnTo>
                  <a:pt x="316" y="486"/>
                </a:lnTo>
                <a:lnTo>
                  <a:pt x="322" y="488"/>
                </a:lnTo>
                <a:lnTo>
                  <a:pt x="326" y="490"/>
                </a:lnTo>
                <a:lnTo>
                  <a:pt x="328" y="494"/>
                </a:lnTo>
                <a:lnTo>
                  <a:pt x="330" y="498"/>
                </a:lnTo>
                <a:lnTo>
                  <a:pt x="334" y="498"/>
                </a:lnTo>
                <a:lnTo>
                  <a:pt x="338" y="498"/>
                </a:lnTo>
                <a:lnTo>
                  <a:pt x="340" y="504"/>
                </a:lnTo>
                <a:lnTo>
                  <a:pt x="342" y="508"/>
                </a:lnTo>
                <a:lnTo>
                  <a:pt x="340" y="516"/>
                </a:lnTo>
                <a:lnTo>
                  <a:pt x="342" y="520"/>
                </a:lnTo>
                <a:lnTo>
                  <a:pt x="342" y="524"/>
                </a:lnTo>
                <a:lnTo>
                  <a:pt x="340" y="534"/>
                </a:lnTo>
                <a:lnTo>
                  <a:pt x="336" y="540"/>
                </a:lnTo>
                <a:lnTo>
                  <a:pt x="332" y="546"/>
                </a:lnTo>
                <a:lnTo>
                  <a:pt x="332" y="550"/>
                </a:lnTo>
                <a:lnTo>
                  <a:pt x="334" y="554"/>
                </a:lnTo>
                <a:lnTo>
                  <a:pt x="334" y="560"/>
                </a:lnTo>
                <a:lnTo>
                  <a:pt x="336" y="562"/>
                </a:lnTo>
                <a:lnTo>
                  <a:pt x="338" y="562"/>
                </a:lnTo>
                <a:lnTo>
                  <a:pt x="340" y="558"/>
                </a:lnTo>
                <a:lnTo>
                  <a:pt x="346" y="556"/>
                </a:lnTo>
                <a:lnTo>
                  <a:pt x="350" y="556"/>
                </a:lnTo>
                <a:lnTo>
                  <a:pt x="352" y="560"/>
                </a:lnTo>
                <a:lnTo>
                  <a:pt x="352" y="564"/>
                </a:lnTo>
                <a:lnTo>
                  <a:pt x="354" y="570"/>
                </a:lnTo>
                <a:lnTo>
                  <a:pt x="358" y="570"/>
                </a:lnTo>
                <a:lnTo>
                  <a:pt x="358" y="574"/>
                </a:lnTo>
                <a:lnTo>
                  <a:pt x="354" y="580"/>
                </a:lnTo>
                <a:lnTo>
                  <a:pt x="354" y="584"/>
                </a:lnTo>
                <a:lnTo>
                  <a:pt x="360" y="586"/>
                </a:lnTo>
                <a:lnTo>
                  <a:pt x="364" y="586"/>
                </a:lnTo>
                <a:lnTo>
                  <a:pt x="366" y="594"/>
                </a:lnTo>
                <a:lnTo>
                  <a:pt x="368" y="600"/>
                </a:lnTo>
                <a:lnTo>
                  <a:pt x="378" y="602"/>
                </a:lnTo>
                <a:lnTo>
                  <a:pt x="376" y="608"/>
                </a:lnTo>
                <a:lnTo>
                  <a:pt x="384" y="608"/>
                </a:lnTo>
                <a:lnTo>
                  <a:pt x="388" y="602"/>
                </a:lnTo>
                <a:lnTo>
                  <a:pt x="388" y="592"/>
                </a:lnTo>
                <a:lnTo>
                  <a:pt x="384" y="584"/>
                </a:lnTo>
                <a:lnTo>
                  <a:pt x="388" y="578"/>
                </a:lnTo>
                <a:lnTo>
                  <a:pt x="394" y="580"/>
                </a:lnTo>
                <a:lnTo>
                  <a:pt x="400" y="576"/>
                </a:lnTo>
                <a:lnTo>
                  <a:pt x="408" y="578"/>
                </a:lnTo>
                <a:lnTo>
                  <a:pt x="416" y="576"/>
                </a:lnTo>
                <a:lnTo>
                  <a:pt x="426" y="576"/>
                </a:lnTo>
                <a:lnTo>
                  <a:pt x="432" y="570"/>
                </a:lnTo>
                <a:lnTo>
                  <a:pt x="438" y="572"/>
                </a:lnTo>
                <a:lnTo>
                  <a:pt x="442" y="574"/>
                </a:lnTo>
                <a:lnTo>
                  <a:pt x="448" y="576"/>
                </a:lnTo>
                <a:lnTo>
                  <a:pt x="446" y="584"/>
                </a:lnTo>
                <a:lnTo>
                  <a:pt x="450" y="590"/>
                </a:lnTo>
                <a:lnTo>
                  <a:pt x="454" y="594"/>
                </a:lnTo>
                <a:lnTo>
                  <a:pt x="460" y="596"/>
                </a:lnTo>
                <a:lnTo>
                  <a:pt x="464" y="596"/>
                </a:lnTo>
                <a:lnTo>
                  <a:pt x="470" y="598"/>
                </a:lnTo>
                <a:lnTo>
                  <a:pt x="470" y="598"/>
                </a:lnTo>
                <a:lnTo>
                  <a:pt x="472" y="594"/>
                </a:lnTo>
                <a:lnTo>
                  <a:pt x="472" y="594"/>
                </a:lnTo>
                <a:lnTo>
                  <a:pt x="476" y="594"/>
                </a:lnTo>
                <a:lnTo>
                  <a:pt x="482" y="594"/>
                </a:lnTo>
                <a:lnTo>
                  <a:pt x="484" y="596"/>
                </a:lnTo>
                <a:lnTo>
                  <a:pt x="484" y="596"/>
                </a:lnTo>
                <a:lnTo>
                  <a:pt x="486" y="596"/>
                </a:lnTo>
                <a:lnTo>
                  <a:pt x="488" y="596"/>
                </a:lnTo>
                <a:lnTo>
                  <a:pt x="488" y="596"/>
                </a:lnTo>
                <a:lnTo>
                  <a:pt x="488" y="598"/>
                </a:lnTo>
                <a:lnTo>
                  <a:pt x="490" y="600"/>
                </a:lnTo>
                <a:lnTo>
                  <a:pt x="490" y="600"/>
                </a:lnTo>
                <a:lnTo>
                  <a:pt x="488" y="604"/>
                </a:lnTo>
                <a:lnTo>
                  <a:pt x="488" y="610"/>
                </a:lnTo>
                <a:lnTo>
                  <a:pt x="490" y="610"/>
                </a:lnTo>
                <a:lnTo>
                  <a:pt x="490" y="610"/>
                </a:lnTo>
                <a:lnTo>
                  <a:pt x="492" y="620"/>
                </a:lnTo>
                <a:lnTo>
                  <a:pt x="492" y="620"/>
                </a:lnTo>
                <a:lnTo>
                  <a:pt x="500" y="618"/>
                </a:lnTo>
                <a:lnTo>
                  <a:pt x="500" y="618"/>
                </a:lnTo>
                <a:lnTo>
                  <a:pt x="500" y="612"/>
                </a:lnTo>
                <a:lnTo>
                  <a:pt x="496" y="608"/>
                </a:lnTo>
                <a:lnTo>
                  <a:pt x="496" y="608"/>
                </a:lnTo>
                <a:lnTo>
                  <a:pt x="498" y="608"/>
                </a:lnTo>
                <a:lnTo>
                  <a:pt x="498" y="608"/>
                </a:lnTo>
                <a:lnTo>
                  <a:pt x="500" y="606"/>
                </a:lnTo>
                <a:lnTo>
                  <a:pt x="500" y="604"/>
                </a:lnTo>
                <a:lnTo>
                  <a:pt x="500" y="604"/>
                </a:lnTo>
                <a:lnTo>
                  <a:pt x="504" y="604"/>
                </a:lnTo>
                <a:lnTo>
                  <a:pt x="508" y="602"/>
                </a:lnTo>
                <a:lnTo>
                  <a:pt x="508" y="602"/>
                </a:lnTo>
                <a:lnTo>
                  <a:pt x="512" y="596"/>
                </a:lnTo>
                <a:lnTo>
                  <a:pt x="512" y="596"/>
                </a:lnTo>
                <a:lnTo>
                  <a:pt x="516" y="596"/>
                </a:lnTo>
                <a:lnTo>
                  <a:pt x="516" y="594"/>
                </a:lnTo>
                <a:lnTo>
                  <a:pt x="516" y="594"/>
                </a:lnTo>
                <a:lnTo>
                  <a:pt x="516" y="594"/>
                </a:lnTo>
                <a:lnTo>
                  <a:pt x="518" y="594"/>
                </a:lnTo>
                <a:lnTo>
                  <a:pt x="518" y="594"/>
                </a:lnTo>
                <a:lnTo>
                  <a:pt x="520" y="590"/>
                </a:lnTo>
                <a:lnTo>
                  <a:pt x="520" y="590"/>
                </a:lnTo>
                <a:lnTo>
                  <a:pt x="522" y="590"/>
                </a:lnTo>
                <a:lnTo>
                  <a:pt x="524" y="592"/>
                </a:lnTo>
                <a:lnTo>
                  <a:pt x="526" y="590"/>
                </a:lnTo>
                <a:lnTo>
                  <a:pt x="526" y="590"/>
                </a:lnTo>
                <a:lnTo>
                  <a:pt x="532" y="590"/>
                </a:lnTo>
                <a:lnTo>
                  <a:pt x="538" y="590"/>
                </a:lnTo>
                <a:lnTo>
                  <a:pt x="538" y="590"/>
                </a:lnTo>
                <a:lnTo>
                  <a:pt x="544" y="578"/>
                </a:lnTo>
                <a:lnTo>
                  <a:pt x="546" y="578"/>
                </a:lnTo>
                <a:lnTo>
                  <a:pt x="546" y="578"/>
                </a:lnTo>
                <a:lnTo>
                  <a:pt x="548" y="576"/>
                </a:lnTo>
                <a:lnTo>
                  <a:pt x="548" y="574"/>
                </a:lnTo>
                <a:lnTo>
                  <a:pt x="546" y="574"/>
                </a:lnTo>
                <a:lnTo>
                  <a:pt x="546" y="572"/>
                </a:lnTo>
                <a:lnTo>
                  <a:pt x="546" y="572"/>
                </a:lnTo>
                <a:lnTo>
                  <a:pt x="550" y="572"/>
                </a:lnTo>
                <a:lnTo>
                  <a:pt x="550" y="572"/>
                </a:lnTo>
                <a:lnTo>
                  <a:pt x="552" y="578"/>
                </a:lnTo>
                <a:lnTo>
                  <a:pt x="552" y="578"/>
                </a:lnTo>
                <a:lnTo>
                  <a:pt x="556" y="578"/>
                </a:lnTo>
                <a:lnTo>
                  <a:pt x="556" y="578"/>
                </a:lnTo>
                <a:lnTo>
                  <a:pt x="558" y="578"/>
                </a:lnTo>
                <a:lnTo>
                  <a:pt x="560" y="580"/>
                </a:lnTo>
                <a:lnTo>
                  <a:pt x="560" y="580"/>
                </a:lnTo>
                <a:lnTo>
                  <a:pt x="562" y="578"/>
                </a:lnTo>
                <a:lnTo>
                  <a:pt x="562" y="576"/>
                </a:lnTo>
                <a:lnTo>
                  <a:pt x="562" y="576"/>
                </a:lnTo>
                <a:lnTo>
                  <a:pt x="570" y="574"/>
                </a:lnTo>
                <a:lnTo>
                  <a:pt x="570" y="574"/>
                </a:lnTo>
                <a:lnTo>
                  <a:pt x="574" y="576"/>
                </a:lnTo>
                <a:lnTo>
                  <a:pt x="576" y="576"/>
                </a:lnTo>
                <a:lnTo>
                  <a:pt x="576" y="574"/>
                </a:lnTo>
                <a:lnTo>
                  <a:pt x="576" y="574"/>
                </a:lnTo>
                <a:lnTo>
                  <a:pt x="580" y="572"/>
                </a:lnTo>
                <a:lnTo>
                  <a:pt x="580" y="572"/>
                </a:lnTo>
                <a:lnTo>
                  <a:pt x="582" y="568"/>
                </a:lnTo>
                <a:lnTo>
                  <a:pt x="580" y="566"/>
                </a:lnTo>
                <a:lnTo>
                  <a:pt x="580" y="564"/>
                </a:lnTo>
                <a:lnTo>
                  <a:pt x="580" y="564"/>
                </a:lnTo>
                <a:lnTo>
                  <a:pt x="588" y="560"/>
                </a:lnTo>
                <a:lnTo>
                  <a:pt x="588" y="560"/>
                </a:lnTo>
                <a:lnTo>
                  <a:pt x="588" y="558"/>
                </a:lnTo>
                <a:lnTo>
                  <a:pt x="588" y="558"/>
                </a:lnTo>
                <a:lnTo>
                  <a:pt x="590" y="558"/>
                </a:lnTo>
                <a:lnTo>
                  <a:pt x="592" y="558"/>
                </a:lnTo>
                <a:lnTo>
                  <a:pt x="592" y="558"/>
                </a:lnTo>
                <a:lnTo>
                  <a:pt x="594" y="556"/>
                </a:lnTo>
                <a:lnTo>
                  <a:pt x="594" y="556"/>
                </a:lnTo>
                <a:lnTo>
                  <a:pt x="594" y="552"/>
                </a:lnTo>
                <a:lnTo>
                  <a:pt x="594" y="552"/>
                </a:lnTo>
                <a:lnTo>
                  <a:pt x="598" y="552"/>
                </a:lnTo>
                <a:lnTo>
                  <a:pt x="600" y="552"/>
                </a:lnTo>
                <a:lnTo>
                  <a:pt x="600" y="552"/>
                </a:lnTo>
                <a:lnTo>
                  <a:pt x="602" y="548"/>
                </a:lnTo>
                <a:lnTo>
                  <a:pt x="602" y="548"/>
                </a:lnTo>
                <a:lnTo>
                  <a:pt x="602" y="542"/>
                </a:lnTo>
                <a:lnTo>
                  <a:pt x="602" y="542"/>
                </a:lnTo>
                <a:lnTo>
                  <a:pt x="616" y="540"/>
                </a:lnTo>
                <a:lnTo>
                  <a:pt x="616" y="540"/>
                </a:lnTo>
                <a:lnTo>
                  <a:pt x="616" y="538"/>
                </a:lnTo>
                <a:lnTo>
                  <a:pt x="614" y="538"/>
                </a:lnTo>
                <a:lnTo>
                  <a:pt x="614" y="538"/>
                </a:lnTo>
                <a:lnTo>
                  <a:pt x="614" y="536"/>
                </a:lnTo>
                <a:lnTo>
                  <a:pt x="616" y="534"/>
                </a:lnTo>
                <a:lnTo>
                  <a:pt x="618" y="534"/>
                </a:lnTo>
                <a:lnTo>
                  <a:pt x="618" y="532"/>
                </a:lnTo>
                <a:lnTo>
                  <a:pt x="618" y="532"/>
                </a:lnTo>
                <a:lnTo>
                  <a:pt x="616" y="532"/>
                </a:lnTo>
                <a:lnTo>
                  <a:pt x="616" y="530"/>
                </a:lnTo>
                <a:lnTo>
                  <a:pt x="618" y="528"/>
                </a:lnTo>
                <a:lnTo>
                  <a:pt x="618" y="528"/>
                </a:lnTo>
                <a:lnTo>
                  <a:pt x="624" y="528"/>
                </a:lnTo>
                <a:lnTo>
                  <a:pt x="624" y="528"/>
                </a:lnTo>
                <a:lnTo>
                  <a:pt x="624" y="526"/>
                </a:lnTo>
                <a:lnTo>
                  <a:pt x="626" y="526"/>
                </a:lnTo>
                <a:lnTo>
                  <a:pt x="626" y="526"/>
                </a:lnTo>
                <a:lnTo>
                  <a:pt x="624" y="516"/>
                </a:lnTo>
                <a:lnTo>
                  <a:pt x="624" y="516"/>
                </a:lnTo>
                <a:lnTo>
                  <a:pt x="620" y="516"/>
                </a:lnTo>
                <a:lnTo>
                  <a:pt x="620" y="512"/>
                </a:lnTo>
                <a:lnTo>
                  <a:pt x="620" y="512"/>
                </a:lnTo>
                <a:lnTo>
                  <a:pt x="624" y="512"/>
                </a:lnTo>
                <a:lnTo>
                  <a:pt x="624" y="512"/>
                </a:lnTo>
                <a:lnTo>
                  <a:pt x="624" y="504"/>
                </a:lnTo>
                <a:lnTo>
                  <a:pt x="624" y="504"/>
                </a:lnTo>
                <a:lnTo>
                  <a:pt x="628" y="502"/>
                </a:lnTo>
                <a:lnTo>
                  <a:pt x="632" y="500"/>
                </a:lnTo>
                <a:lnTo>
                  <a:pt x="632" y="500"/>
                </a:lnTo>
                <a:lnTo>
                  <a:pt x="632" y="498"/>
                </a:lnTo>
                <a:lnTo>
                  <a:pt x="632" y="498"/>
                </a:lnTo>
                <a:lnTo>
                  <a:pt x="638" y="494"/>
                </a:lnTo>
                <a:lnTo>
                  <a:pt x="638" y="494"/>
                </a:lnTo>
                <a:lnTo>
                  <a:pt x="638" y="488"/>
                </a:lnTo>
                <a:lnTo>
                  <a:pt x="638" y="488"/>
                </a:lnTo>
                <a:lnTo>
                  <a:pt x="638" y="486"/>
                </a:lnTo>
                <a:lnTo>
                  <a:pt x="640" y="486"/>
                </a:lnTo>
                <a:lnTo>
                  <a:pt x="640" y="486"/>
                </a:lnTo>
                <a:lnTo>
                  <a:pt x="640" y="484"/>
                </a:lnTo>
                <a:lnTo>
                  <a:pt x="640" y="484"/>
                </a:lnTo>
                <a:lnTo>
                  <a:pt x="638" y="484"/>
                </a:lnTo>
                <a:lnTo>
                  <a:pt x="640" y="484"/>
                </a:lnTo>
                <a:lnTo>
                  <a:pt x="644" y="484"/>
                </a:lnTo>
                <a:lnTo>
                  <a:pt x="644" y="484"/>
                </a:lnTo>
                <a:lnTo>
                  <a:pt x="644" y="480"/>
                </a:lnTo>
                <a:lnTo>
                  <a:pt x="646" y="478"/>
                </a:lnTo>
                <a:lnTo>
                  <a:pt x="646" y="478"/>
                </a:lnTo>
                <a:lnTo>
                  <a:pt x="650" y="478"/>
                </a:lnTo>
                <a:lnTo>
                  <a:pt x="650" y="478"/>
                </a:lnTo>
                <a:lnTo>
                  <a:pt x="650" y="474"/>
                </a:lnTo>
                <a:lnTo>
                  <a:pt x="650" y="474"/>
                </a:lnTo>
                <a:lnTo>
                  <a:pt x="646" y="472"/>
                </a:lnTo>
                <a:lnTo>
                  <a:pt x="646" y="472"/>
                </a:lnTo>
                <a:lnTo>
                  <a:pt x="648" y="470"/>
                </a:lnTo>
                <a:lnTo>
                  <a:pt x="648" y="468"/>
                </a:lnTo>
                <a:lnTo>
                  <a:pt x="648" y="462"/>
                </a:lnTo>
                <a:lnTo>
                  <a:pt x="648" y="462"/>
                </a:lnTo>
                <a:lnTo>
                  <a:pt x="656" y="462"/>
                </a:lnTo>
                <a:lnTo>
                  <a:pt x="656" y="462"/>
                </a:lnTo>
                <a:lnTo>
                  <a:pt x="654" y="460"/>
                </a:lnTo>
                <a:lnTo>
                  <a:pt x="654" y="456"/>
                </a:lnTo>
                <a:lnTo>
                  <a:pt x="656" y="454"/>
                </a:lnTo>
                <a:lnTo>
                  <a:pt x="654" y="452"/>
                </a:lnTo>
                <a:lnTo>
                  <a:pt x="654" y="452"/>
                </a:lnTo>
                <a:lnTo>
                  <a:pt x="658" y="450"/>
                </a:lnTo>
                <a:lnTo>
                  <a:pt x="660" y="450"/>
                </a:lnTo>
                <a:lnTo>
                  <a:pt x="660" y="450"/>
                </a:lnTo>
                <a:lnTo>
                  <a:pt x="658" y="446"/>
                </a:lnTo>
                <a:lnTo>
                  <a:pt x="658" y="446"/>
                </a:lnTo>
                <a:lnTo>
                  <a:pt x="654" y="446"/>
                </a:lnTo>
                <a:lnTo>
                  <a:pt x="652" y="442"/>
                </a:lnTo>
                <a:lnTo>
                  <a:pt x="652" y="442"/>
                </a:lnTo>
                <a:lnTo>
                  <a:pt x="646" y="444"/>
                </a:lnTo>
                <a:lnTo>
                  <a:pt x="644" y="444"/>
                </a:lnTo>
                <a:lnTo>
                  <a:pt x="640" y="444"/>
                </a:lnTo>
                <a:lnTo>
                  <a:pt x="640" y="444"/>
                </a:lnTo>
                <a:lnTo>
                  <a:pt x="640" y="442"/>
                </a:lnTo>
                <a:lnTo>
                  <a:pt x="640" y="440"/>
                </a:lnTo>
                <a:lnTo>
                  <a:pt x="640" y="440"/>
                </a:lnTo>
                <a:lnTo>
                  <a:pt x="652" y="432"/>
                </a:lnTo>
                <a:lnTo>
                  <a:pt x="630" y="416"/>
                </a:lnTo>
                <a:close/>
              </a:path>
            </a:pathLst>
          </a:custGeom>
          <a:solidFill>
            <a:srgbClr val="008200"/>
          </a:solidFill>
          <a:ln w="9525">
            <a:solidFill>
              <a:srgbClr val="0082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7" name="Freeform 216">
            <a:extLst>
              <a:ext uri="{FF2B5EF4-FFF2-40B4-BE49-F238E27FC236}">
                <a16:creationId xmlns:a16="http://schemas.microsoft.com/office/drawing/2014/main" id="{33A11B4E-D560-4D01-A570-07CDC276D77D}"/>
              </a:ext>
            </a:extLst>
          </p:cNvPr>
          <p:cNvSpPr>
            <a:spLocks noEditPoints="1"/>
          </p:cNvSpPr>
          <p:nvPr userDrawn="1"/>
        </p:nvSpPr>
        <p:spPr bwMode="auto">
          <a:xfrm>
            <a:off x="6161787" y="3001116"/>
            <a:ext cx="238375" cy="470181"/>
          </a:xfrm>
          <a:custGeom>
            <a:avLst/>
            <a:gdLst>
              <a:gd name="T0" fmla="*/ 18 w 142"/>
              <a:gd name="T1" fmla="*/ 182 h 274"/>
              <a:gd name="T2" fmla="*/ 18 w 142"/>
              <a:gd name="T3" fmla="*/ 188 h 274"/>
              <a:gd name="T4" fmla="*/ 22 w 142"/>
              <a:gd name="T5" fmla="*/ 194 h 274"/>
              <a:gd name="T6" fmla="*/ 22 w 142"/>
              <a:gd name="T7" fmla="*/ 202 h 274"/>
              <a:gd name="T8" fmla="*/ 18 w 142"/>
              <a:gd name="T9" fmla="*/ 208 h 274"/>
              <a:gd name="T10" fmla="*/ 22 w 142"/>
              <a:gd name="T11" fmla="*/ 218 h 274"/>
              <a:gd name="T12" fmla="*/ 24 w 142"/>
              <a:gd name="T13" fmla="*/ 226 h 274"/>
              <a:gd name="T14" fmla="*/ 24 w 142"/>
              <a:gd name="T15" fmla="*/ 232 h 274"/>
              <a:gd name="T16" fmla="*/ 12 w 142"/>
              <a:gd name="T17" fmla="*/ 232 h 274"/>
              <a:gd name="T18" fmla="*/ 6 w 142"/>
              <a:gd name="T19" fmla="*/ 238 h 274"/>
              <a:gd name="T20" fmla="*/ 6 w 142"/>
              <a:gd name="T21" fmla="*/ 242 h 274"/>
              <a:gd name="T22" fmla="*/ 18 w 142"/>
              <a:gd name="T23" fmla="*/ 260 h 274"/>
              <a:gd name="T24" fmla="*/ 22 w 142"/>
              <a:gd name="T25" fmla="*/ 274 h 274"/>
              <a:gd name="T26" fmla="*/ 32 w 142"/>
              <a:gd name="T27" fmla="*/ 268 h 274"/>
              <a:gd name="T28" fmla="*/ 38 w 142"/>
              <a:gd name="T29" fmla="*/ 270 h 274"/>
              <a:gd name="T30" fmla="*/ 60 w 142"/>
              <a:gd name="T31" fmla="*/ 266 h 274"/>
              <a:gd name="T32" fmla="*/ 70 w 142"/>
              <a:gd name="T33" fmla="*/ 256 h 274"/>
              <a:gd name="T34" fmla="*/ 74 w 142"/>
              <a:gd name="T35" fmla="*/ 254 h 274"/>
              <a:gd name="T36" fmla="*/ 72 w 142"/>
              <a:gd name="T37" fmla="*/ 246 h 274"/>
              <a:gd name="T38" fmla="*/ 78 w 142"/>
              <a:gd name="T39" fmla="*/ 242 h 274"/>
              <a:gd name="T40" fmla="*/ 86 w 142"/>
              <a:gd name="T41" fmla="*/ 240 h 274"/>
              <a:gd name="T42" fmla="*/ 94 w 142"/>
              <a:gd name="T43" fmla="*/ 236 h 274"/>
              <a:gd name="T44" fmla="*/ 100 w 142"/>
              <a:gd name="T45" fmla="*/ 230 h 274"/>
              <a:gd name="T46" fmla="*/ 108 w 142"/>
              <a:gd name="T47" fmla="*/ 226 h 274"/>
              <a:gd name="T48" fmla="*/ 112 w 142"/>
              <a:gd name="T49" fmla="*/ 220 h 274"/>
              <a:gd name="T50" fmla="*/ 118 w 142"/>
              <a:gd name="T51" fmla="*/ 216 h 274"/>
              <a:gd name="T52" fmla="*/ 118 w 142"/>
              <a:gd name="T53" fmla="*/ 210 h 274"/>
              <a:gd name="T54" fmla="*/ 116 w 142"/>
              <a:gd name="T55" fmla="*/ 204 h 274"/>
              <a:gd name="T56" fmla="*/ 116 w 142"/>
              <a:gd name="T57" fmla="*/ 198 h 274"/>
              <a:gd name="T58" fmla="*/ 114 w 142"/>
              <a:gd name="T59" fmla="*/ 192 h 274"/>
              <a:gd name="T60" fmla="*/ 118 w 142"/>
              <a:gd name="T61" fmla="*/ 186 h 274"/>
              <a:gd name="T62" fmla="*/ 112 w 142"/>
              <a:gd name="T63" fmla="*/ 182 h 274"/>
              <a:gd name="T64" fmla="*/ 106 w 142"/>
              <a:gd name="T65" fmla="*/ 184 h 274"/>
              <a:gd name="T66" fmla="*/ 106 w 142"/>
              <a:gd name="T67" fmla="*/ 178 h 274"/>
              <a:gd name="T68" fmla="*/ 110 w 142"/>
              <a:gd name="T69" fmla="*/ 174 h 274"/>
              <a:gd name="T70" fmla="*/ 112 w 142"/>
              <a:gd name="T71" fmla="*/ 168 h 274"/>
              <a:gd name="T72" fmla="*/ 116 w 142"/>
              <a:gd name="T73" fmla="*/ 160 h 274"/>
              <a:gd name="T74" fmla="*/ 118 w 142"/>
              <a:gd name="T75" fmla="*/ 152 h 274"/>
              <a:gd name="T76" fmla="*/ 122 w 142"/>
              <a:gd name="T77" fmla="*/ 146 h 274"/>
              <a:gd name="T78" fmla="*/ 122 w 142"/>
              <a:gd name="T79" fmla="*/ 140 h 274"/>
              <a:gd name="T80" fmla="*/ 126 w 142"/>
              <a:gd name="T81" fmla="*/ 134 h 274"/>
              <a:gd name="T82" fmla="*/ 132 w 142"/>
              <a:gd name="T83" fmla="*/ 132 h 274"/>
              <a:gd name="T84" fmla="*/ 142 w 142"/>
              <a:gd name="T85" fmla="*/ 132 h 274"/>
              <a:gd name="T86" fmla="*/ 12 w 142"/>
              <a:gd name="T87" fmla="*/ 10 h 274"/>
              <a:gd name="T88" fmla="*/ 24 w 142"/>
              <a:gd name="T89" fmla="*/ 50 h 274"/>
              <a:gd name="T90" fmla="*/ 26 w 142"/>
              <a:gd name="T91" fmla="*/ 58 h 274"/>
              <a:gd name="T92" fmla="*/ 22 w 142"/>
              <a:gd name="T93" fmla="*/ 72 h 274"/>
              <a:gd name="T94" fmla="*/ 0 w 142"/>
              <a:gd name="T95" fmla="*/ 146 h 274"/>
              <a:gd name="T96" fmla="*/ 2 w 142"/>
              <a:gd name="T97" fmla="*/ 160 h 274"/>
              <a:gd name="T98" fmla="*/ 6 w 142"/>
              <a:gd name="T99" fmla="*/ 160 h 274"/>
              <a:gd name="T100" fmla="*/ 14 w 142"/>
              <a:gd name="T101" fmla="*/ 168 h 274"/>
              <a:gd name="T102" fmla="*/ 24 w 142"/>
              <a:gd name="T103" fmla="*/ 168 h 274"/>
              <a:gd name="T104" fmla="*/ 24 w 142"/>
              <a:gd name="T105" fmla="*/ 174 h 274"/>
              <a:gd name="T106" fmla="*/ 20 w 142"/>
              <a:gd name="T107" fmla="*/ 172 h 274"/>
              <a:gd name="T108" fmla="*/ 10 w 142"/>
              <a:gd name="T109" fmla="*/ 174 h 274"/>
              <a:gd name="T110" fmla="*/ 2 w 142"/>
              <a:gd name="T111" fmla="*/ 1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274">
                <a:moveTo>
                  <a:pt x="8" y="174"/>
                </a:moveTo>
                <a:lnTo>
                  <a:pt x="8" y="174"/>
                </a:lnTo>
                <a:lnTo>
                  <a:pt x="18" y="182"/>
                </a:lnTo>
                <a:lnTo>
                  <a:pt x="18" y="182"/>
                </a:lnTo>
                <a:lnTo>
                  <a:pt x="18" y="186"/>
                </a:lnTo>
                <a:lnTo>
                  <a:pt x="18" y="188"/>
                </a:lnTo>
                <a:lnTo>
                  <a:pt x="18" y="190"/>
                </a:lnTo>
                <a:lnTo>
                  <a:pt x="18" y="190"/>
                </a:lnTo>
                <a:lnTo>
                  <a:pt x="22" y="194"/>
                </a:lnTo>
                <a:lnTo>
                  <a:pt x="22" y="198"/>
                </a:lnTo>
                <a:lnTo>
                  <a:pt x="22" y="198"/>
                </a:lnTo>
                <a:lnTo>
                  <a:pt x="22" y="202"/>
                </a:lnTo>
                <a:lnTo>
                  <a:pt x="22" y="202"/>
                </a:lnTo>
                <a:lnTo>
                  <a:pt x="20" y="204"/>
                </a:lnTo>
                <a:lnTo>
                  <a:pt x="18" y="208"/>
                </a:lnTo>
                <a:lnTo>
                  <a:pt x="18" y="208"/>
                </a:lnTo>
                <a:lnTo>
                  <a:pt x="20" y="214"/>
                </a:lnTo>
                <a:lnTo>
                  <a:pt x="22" y="218"/>
                </a:lnTo>
                <a:lnTo>
                  <a:pt x="22" y="218"/>
                </a:lnTo>
                <a:lnTo>
                  <a:pt x="22" y="222"/>
                </a:lnTo>
                <a:lnTo>
                  <a:pt x="24" y="226"/>
                </a:lnTo>
                <a:lnTo>
                  <a:pt x="24" y="226"/>
                </a:lnTo>
                <a:lnTo>
                  <a:pt x="24" y="230"/>
                </a:lnTo>
                <a:lnTo>
                  <a:pt x="24" y="232"/>
                </a:lnTo>
                <a:lnTo>
                  <a:pt x="24" y="232"/>
                </a:lnTo>
                <a:lnTo>
                  <a:pt x="18" y="232"/>
                </a:lnTo>
                <a:lnTo>
                  <a:pt x="12" y="232"/>
                </a:lnTo>
                <a:lnTo>
                  <a:pt x="8" y="234"/>
                </a:lnTo>
                <a:lnTo>
                  <a:pt x="8" y="234"/>
                </a:lnTo>
                <a:lnTo>
                  <a:pt x="6" y="238"/>
                </a:lnTo>
                <a:lnTo>
                  <a:pt x="6" y="240"/>
                </a:lnTo>
                <a:lnTo>
                  <a:pt x="6" y="242"/>
                </a:lnTo>
                <a:lnTo>
                  <a:pt x="6" y="242"/>
                </a:lnTo>
                <a:lnTo>
                  <a:pt x="16" y="254"/>
                </a:lnTo>
                <a:lnTo>
                  <a:pt x="16" y="254"/>
                </a:lnTo>
                <a:lnTo>
                  <a:pt x="18" y="260"/>
                </a:lnTo>
                <a:lnTo>
                  <a:pt x="20" y="266"/>
                </a:lnTo>
                <a:lnTo>
                  <a:pt x="16" y="274"/>
                </a:lnTo>
                <a:lnTo>
                  <a:pt x="22" y="274"/>
                </a:lnTo>
                <a:lnTo>
                  <a:pt x="28" y="274"/>
                </a:lnTo>
                <a:lnTo>
                  <a:pt x="32" y="268"/>
                </a:lnTo>
                <a:lnTo>
                  <a:pt x="32" y="268"/>
                </a:lnTo>
                <a:lnTo>
                  <a:pt x="34" y="270"/>
                </a:lnTo>
                <a:lnTo>
                  <a:pt x="38" y="270"/>
                </a:lnTo>
                <a:lnTo>
                  <a:pt x="38" y="270"/>
                </a:lnTo>
                <a:lnTo>
                  <a:pt x="54" y="268"/>
                </a:lnTo>
                <a:lnTo>
                  <a:pt x="54" y="268"/>
                </a:lnTo>
                <a:lnTo>
                  <a:pt x="60" y="266"/>
                </a:lnTo>
                <a:lnTo>
                  <a:pt x="64" y="260"/>
                </a:lnTo>
                <a:lnTo>
                  <a:pt x="64" y="260"/>
                </a:lnTo>
                <a:lnTo>
                  <a:pt x="70" y="256"/>
                </a:lnTo>
                <a:lnTo>
                  <a:pt x="74" y="254"/>
                </a:lnTo>
                <a:lnTo>
                  <a:pt x="74" y="254"/>
                </a:lnTo>
                <a:lnTo>
                  <a:pt x="74" y="254"/>
                </a:lnTo>
                <a:lnTo>
                  <a:pt x="72" y="252"/>
                </a:lnTo>
                <a:lnTo>
                  <a:pt x="70" y="250"/>
                </a:lnTo>
                <a:lnTo>
                  <a:pt x="72" y="246"/>
                </a:lnTo>
                <a:lnTo>
                  <a:pt x="72" y="246"/>
                </a:lnTo>
                <a:lnTo>
                  <a:pt x="74" y="244"/>
                </a:lnTo>
                <a:lnTo>
                  <a:pt x="78" y="242"/>
                </a:lnTo>
                <a:lnTo>
                  <a:pt x="84" y="242"/>
                </a:lnTo>
                <a:lnTo>
                  <a:pt x="86" y="240"/>
                </a:lnTo>
                <a:lnTo>
                  <a:pt x="86" y="240"/>
                </a:lnTo>
                <a:lnTo>
                  <a:pt x="90" y="238"/>
                </a:lnTo>
                <a:lnTo>
                  <a:pt x="94" y="236"/>
                </a:lnTo>
                <a:lnTo>
                  <a:pt x="94" y="236"/>
                </a:lnTo>
                <a:lnTo>
                  <a:pt x="96" y="236"/>
                </a:lnTo>
                <a:lnTo>
                  <a:pt x="98" y="234"/>
                </a:lnTo>
                <a:lnTo>
                  <a:pt x="100" y="230"/>
                </a:lnTo>
                <a:lnTo>
                  <a:pt x="100" y="230"/>
                </a:lnTo>
                <a:lnTo>
                  <a:pt x="108" y="226"/>
                </a:lnTo>
                <a:lnTo>
                  <a:pt x="108" y="226"/>
                </a:lnTo>
                <a:lnTo>
                  <a:pt x="110" y="224"/>
                </a:lnTo>
                <a:lnTo>
                  <a:pt x="112" y="220"/>
                </a:lnTo>
                <a:lnTo>
                  <a:pt x="112" y="220"/>
                </a:lnTo>
                <a:lnTo>
                  <a:pt x="114" y="218"/>
                </a:lnTo>
                <a:lnTo>
                  <a:pt x="116" y="216"/>
                </a:lnTo>
                <a:lnTo>
                  <a:pt x="118" y="216"/>
                </a:lnTo>
                <a:lnTo>
                  <a:pt x="118" y="216"/>
                </a:lnTo>
                <a:lnTo>
                  <a:pt x="118" y="214"/>
                </a:lnTo>
                <a:lnTo>
                  <a:pt x="118" y="210"/>
                </a:lnTo>
                <a:lnTo>
                  <a:pt x="118" y="210"/>
                </a:lnTo>
                <a:lnTo>
                  <a:pt x="114" y="206"/>
                </a:lnTo>
                <a:lnTo>
                  <a:pt x="116" y="204"/>
                </a:lnTo>
                <a:lnTo>
                  <a:pt x="116" y="204"/>
                </a:lnTo>
                <a:lnTo>
                  <a:pt x="116" y="198"/>
                </a:lnTo>
                <a:lnTo>
                  <a:pt x="116" y="198"/>
                </a:lnTo>
                <a:lnTo>
                  <a:pt x="114" y="194"/>
                </a:lnTo>
                <a:lnTo>
                  <a:pt x="114" y="194"/>
                </a:lnTo>
                <a:lnTo>
                  <a:pt x="114" y="192"/>
                </a:lnTo>
                <a:lnTo>
                  <a:pt x="116" y="190"/>
                </a:lnTo>
                <a:lnTo>
                  <a:pt x="118" y="188"/>
                </a:lnTo>
                <a:lnTo>
                  <a:pt x="118" y="186"/>
                </a:lnTo>
                <a:lnTo>
                  <a:pt x="118" y="186"/>
                </a:lnTo>
                <a:lnTo>
                  <a:pt x="114" y="184"/>
                </a:lnTo>
                <a:lnTo>
                  <a:pt x="112" y="182"/>
                </a:lnTo>
                <a:lnTo>
                  <a:pt x="112" y="182"/>
                </a:lnTo>
                <a:lnTo>
                  <a:pt x="108" y="184"/>
                </a:lnTo>
                <a:lnTo>
                  <a:pt x="106" y="184"/>
                </a:lnTo>
                <a:lnTo>
                  <a:pt x="106" y="182"/>
                </a:lnTo>
                <a:lnTo>
                  <a:pt x="106" y="182"/>
                </a:lnTo>
                <a:lnTo>
                  <a:pt x="106" y="178"/>
                </a:lnTo>
                <a:lnTo>
                  <a:pt x="106" y="176"/>
                </a:lnTo>
                <a:lnTo>
                  <a:pt x="106" y="176"/>
                </a:lnTo>
                <a:lnTo>
                  <a:pt x="110" y="174"/>
                </a:lnTo>
                <a:lnTo>
                  <a:pt x="110" y="170"/>
                </a:lnTo>
                <a:lnTo>
                  <a:pt x="110" y="170"/>
                </a:lnTo>
                <a:lnTo>
                  <a:pt x="112" y="168"/>
                </a:lnTo>
                <a:lnTo>
                  <a:pt x="114" y="166"/>
                </a:lnTo>
                <a:lnTo>
                  <a:pt x="114" y="166"/>
                </a:lnTo>
                <a:lnTo>
                  <a:pt x="116" y="160"/>
                </a:lnTo>
                <a:lnTo>
                  <a:pt x="118" y="156"/>
                </a:lnTo>
                <a:lnTo>
                  <a:pt x="118" y="156"/>
                </a:lnTo>
                <a:lnTo>
                  <a:pt x="118" y="152"/>
                </a:lnTo>
                <a:lnTo>
                  <a:pt x="120" y="150"/>
                </a:lnTo>
                <a:lnTo>
                  <a:pt x="120" y="150"/>
                </a:lnTo>
                <a:lnTo>
                  <a:pt x="122" y="146"/>
                </a:lnTo>
                <a:lnTo>
                  <a:pt x="122" y="142"/>
                </a:lnTo>
                <a:lnTo>
                  <a:pt x="122" y="142"/>
                </a:lnTo>
                <a:lnTo>
                  <a:pt x="122" y="140"/>
                </a:lnTo>
                <a:lnTo>
                  <a:pt x="122" y="138"/>
                </a:lnTo>
                <a:lnTo>
                  <a:pt x="126" y="134"/>
                </a:lnTo>
                <a:lnTo>
                  <a:pt x="126" y="134"/>
                </a:lnTo>
                <a:lnTo>
                  <a:pt x="126" y="132"/>
                </a:lnTo>
                <a:lnTo>
                  <a:pt x="128" y="132"/>
                </a:lnTo>
                <a:lnTo>
                  <a:pt x="132" y="132"/>
                </a:lnTo>
                <a:lnTo>
                  <a:pt x="132" y="132"/>
                </a:lnTo>
                <a:lnTo>
                  <a:pt x="138" y="134"/>
                </a:lnTo>
                <a:lnTo>
                  <a:pt x="142" y="132"/>
                </a:lnTo>
                <a:lnTo>
                  <a:pt x="142" y="70"/>
                </a:lnTo>
                <a:lnTo>
                  <a:pt x="26" y="0"/>
                </a:lnTo>
                <a:lnTo>
                  <a:pt x="12" y="10"/>
                </a:lnTo>
                <a:lnTo>
                  <a:pt x="20" y="44"/>
                </a:lnTo>
                <a:lnTo>
                  <a:pt x="20" y="44"/>
                </a:lnTo>
                <a:lnTo>
                  <a:pt x="24" y="50"/>
                </a:lnTo>
                <a:lnTo>
                  <a:pt x="26" y="54"/>
                </a:lnTo>
                <a:lnTo>
                  <a:pt x="26" y="58"/>
                </a:lnTo>
                <a:lnTo>
                  <a:pt x="26" y="58"/>
                </a:lnTo>
                <a:lnTo>
                  <a:pt x="22" y="64"/>
                </a:lnTo>
                <a:lnTo>
                  <a:pt x="22" y="72"/>
                </a:lnTo>
                <a:lnTo>
                  <a:pt x="22" y="72"/>
                </a:lnTo>
                <a:lnTo>
                  <a:pt x="20" y="102"/>
                </a:lnTo>
                <a:lnTo>
                  <a:pt x="22" y="128"/>
                </a:lnTo>
                <a:lnTo>
                  <a:pt x="0" y="146"/>
                </a:lnTo>
                <a:lnTo>
                  <a:pt x="0" y="160"/>
                </a:lnTo>
                <a:lnTo>
                  <a:pt x="8" y="174"/>
                </a:lnTo>
                <a:close/>
                <a:moveTo>
                  <a:pt x="2" y="160"/>
                </a:moveTo>
                <a:lnTo>
                  <a:pt x="2" y="160"/>
                </a:lnTo>
                <a:lnTo>
                  <a:pt x="6" y="160"/>
                </a:lnTo>
                <a:lnTo>
                  <a:pt x="6" y="160"/>
                </a:lnTo>
                <a:lnTo>
                  <a:pt x="6" y="164"/>
                </a:lnTo>
                <a:lnTo>
                  <a:pt x="6" y="164"/>
                </a:lnTo>
                <a:lnTo>
                  <a:pt x="14" y="168"/>
                </a:lnTo>
                <a:lnTo>
                  <a:pt x="14" y="168"/>
                </a:lnTo>
                <a:lnTo>
                  <a:pt x="24" y="168"/>
                </a:lnTo>
                <a:lnTo>
                  <a:pt x="24" y="168"/>
                </a:lnTo>
                <a:lnTo>
                  <a:pt x="24" y="174"/>
                </a:lnTo>
                <a:lnTo>
                  <a:pt x="24" y="174"/>
                </a:lnTo>
                <a:lnTo>
                  <a:pt x="24" y="174"/>
                </a:lnTo>
                <a:lnTo>
                  <a:pt x="22" y="174"/>
                </a:lnTo>
                <a:lnTo>
                  <a:pt x="22" y="174"/>
                </a:lnTo>
                <a:lnTo>
                  <a:pt x="20" y="172"/>
                </a:lnTo>
                <a:lnTo>
                  <a:pt x="20" y="172"/>
                </a:lnTo>
                <a:lnTo>
                  <a:pt x="14" y="172"/>
                </a:lnTo>
                <a:lnTo>
                  <a:pt x="10" y="174"/>
                </a:lnTo>
                <a:lnTo>
                  <a:pt x="10" y="174"/>
                </a:lnTo>
                <a:lnTo>
                  <a:pt x="2" y="160"/>
                </a:lnTo>
                <a:lnTo>
                  <a:pt x="2"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8" name="Freeform 217">
            <a:extLst>
              <a:ext uri="{FF2B5EF4-FFF2-40B4-BE49-F238E27FC236}">
                <a16:creationId xmlns:a16="http://schemas.microsoft.com/office/drawing/2014/main" id="{C986BCD4-8939-48E8-95BD-835A1896F0ED}"/>
              </a:ext>
            </a:extLst>
          </p:cNvPr>
          <p:cNvSpPr>
            <a:spLocks/>
          </p:cNvSpPr>
          <p:nvPr userDrawn="1"/>
        </p:nvSpPr>
        <p:spPr bwMode="auto">
          <a:xfrm>
            <a:off x="6164882" y="3371769"/>
            <a:ext cx="298743" cy="223078"/>
          </a:xfrm>
          <a:custGeom>
            <a:avLst/>
            <a:gdLst>
              <a:gd name="T0" fmla="*/ 64 w 178"/>
              <a:gd name="T1" fmla="*/ 106 h 130"/>
              <a:gd name="T2" fmla="*/ 70 w 178"/>
              <a:gd name="T3" fmla="*/ 98 h 130"/>
              <a:gd name="T4" fmla="*/ 76 w 178"/>
              <a:gd name="T5" fmla="*/ 90 h 130"/>
              <a:gd name="T6" fmla="*/ 86 w 178"/>
              <a:gd name="T7" fmla="*/ 92 h 130"/>
              <a:gd name="T8" fmla="*/ 94 w 178"/>
              <a:gd name="T9" fmla="*/ 98 h 130"/>
              <a:gd name="T10" fmla="*/ 106 w 178"/>
              <a:gd name="T11" fmla="*/ 100 h 130"/>
              <a:gd name="T12" fmla="*/ 114 w 178"/>
              <a:gd name="T13" fmla="*/ 102 h 130"/>
              <a:gd name="T14" fmla="*/ 122 w 178"/>
              <a:gd name="T15" fmla="*/ 100 h 130"/>
              <a:gd name="T16" fmla="*/ 126 w 178"/>
              <a:gd name="T17" fmla="*/ 96 h 130"/>
              <a:gd name="T18" fmla="*/ 132 w 178"/>
              <a:gd name="T19" fmla="*/ 100 h 130"/>
              <a:gd name="T20" fmla="*/ 142 w 178"/>
              <a:gd name="T21" fmla="*/ 98 h 130"/>
              <a:gd name="T22" fmla="*/ 142 w 178"/>
              <a:gd name="T23" fmla="*/ 94 h 130"/>
              <a:gd name="T24" fmla="*/ 146 w 178"/>
              <a:gd name="T25" fmla="*/ 94 h 130"/>
              <a:gd name="T26" fmla="*/ 150 w 178"/>
              <a:gd name="T27" fmla="*/ 94 h 130"/>
              <a:gd name="T28" fmla="*/ 156 w 178"/>
              <a:gd name="T29" fmla="*/ 88 h 130"/>
              <a:gd name="T30" fmla="*/ 166 w 178"/>
              <a:gd name="T31" fmla="*/ 88 h 130"/>
              <a:gd name="T32" fmla="*/ 170 w 178"/>
              <a:gd name="T33" fmla="*/ 90 h 130"/>
              <a:gd name="T34" fmla="*/ 178 w 178"/>
              <a:gd name="T35" fmla="*/ 88 h 130"/>
              <a:gd name="T36" fmla="*/ 174 w 178"/>
              <a:gd name="T37" fmla="*/ 84 h 130"/>
              <a:gd name="T38" fmla="*/ 174 w 178"/>
              <a:gd name="T39" fmla="*/ 76 h 130"/>
              <a:gd name="T40" fmla="*/ 166 w 178"/>
              <a:gd name="T41" fmla="*/ 68 h 130"/>
              <a:gd name="T42" fmla="*/ 160 w 178"/>
              <a:gd name="T43" fmla="*/ 58 h 130"/>
              <a:gd name="T44" fmla="*/ 154 w 178"/>
              <a:gd name="T45" fmla="*/ 56 h 130"/>
              <a:gd name="T46" fmla="*/ 148 w 178"/>
              <a:gd name="T47" fmla="*/ 52 h 130"/>
              <a:gd name="T48" fmla="*/ 140 w 178"/>
              <a:gd name="T49" fmla="*/ 50 h 130"/>
              <a:gd name="T50" fmla="*/ 138 w 178"/>
              <a:gd name="T51" fmla="*/ 48 h 130"/>
              <a:gd name="T52" fmla="*/ 130 w 178"/>
              <a:gd name="T53" fmla="*/ 38 h 130"/>
              <a:gd name="T54" fmla="*/ 130 w 178"/>
              <a:gd name="T55" fmla="*/ 32 h 130"/>
              <a:gd name="T56" fmla="*/ 126 w 178"/>
              <a:gd name="T57" fmla="*/ 22 h 130"/>
              <a:gd name="T58" fmla="*/ 124 w 178"/>
              <a:gd name="T59" fmla="*/ 16 h 130"/>
              <a:gd name="T60" fmla="*/ 116 w 178"/>
              <a:gd name="T61" fmla="*/ 0 h 130"/>
              <a:gd name="T62" fmla="*/ 112 w 178"/>
              <a:gd name="T63" fmla="*/ 2 h 130"/>
              <a:gd name="T64" fmla="*/ 108 w 178"/>
              <a:gd name="T65" fmla="*/ 8 h 130"/>
              <a:gd name="T66" fmla="*/ 98 w 178"/>
              <a:gd name="T67" fmla="*/ 14 h 130"/>
              <a:gd name="T68" fmla="*/ 94 w 178"/>
              <a:gd name="T69" fmla="*/ 20 h 130"/>
              <a:gd name="T70" fmla="*/ 88 w 178"/>
              <a:gd name="T71" fmla="*/ 22 h 130"/>
              <a:gd name="T72" fmla="*/ 82 w 178"/>
              <a:gd name="T73" fmla="*/ 26 h 130"/>
              <a:gd name="T74" fmla="*/ 70 w 178"/>
              <a:gd name="T75" fmla="*/ 30 h 130"/>
              <a:gd name="T76" fmla="*/ 70 w 178"/>
              <a:gd name="T77" fmla="*/ 36 h 130"/>
              <a:gd name="T78" fmla="*/ 72 w 178"/>
              <a:gd name="T79" fmla="*/ 38 h 130"/>
              <a:gd name="T80" fmla="*/ 62 w 178"/>
              <a:gd name="T81" fmla="*/ 44 h 130"/>
              <a:gd name="T82" fmla="*/ 52 w 178"/>
              <a:gd name="T83" fmla="*/ 52 h 130"/>
              <a:gd name="T84" fmla="*/ 32 w 178"/>
              <a:gd name="T85" fmla="*/ 54 h 130"/>
              <a:gd name="T86" fmla="*/ 20 w 178"/>
              <a:gd name="T87" fmla="*/ 58 h 130"/>
              <a:gd name="T88" fmla="*/ 10 w 178"/>
              <a:gd name="T89" fmla="*/ 66 h 130"/>
              <a:gd name="T90" fmla="*/ 4 w 178"/>
              <a:gd name="T91" fmla="*/ 76 h 130"/>
              <a:gd name="T92" fmla="*/ 2 w 178"/>
              <a:gd name="T93" fmla="*/ 82 h 130"/>
              <a:gd name="T94" fmla="*/ 6 w 178"/>
              <a:gd name="T95" fmla="*/ 88 h 130"/>
              <a:gd name="T96" fmla="*/ 12 w 178"/>
              <a:gd name="T97" fmla="*/ 102 h 130"/>
              <a:gd name="T98" fmla="*/ 18 w 178"/>
              <a:gd name="T99" fmla="*/ 112 h 130"/>
              <a:gd name="T100" fmla="*/ 26 w 178"/>
              <a:gd name="T101" fmla="*/ 120 h 130"/>
              <a:gd name="T102" fmla="*/ 36 w 178"/>
              <a:gd name="T103" fmla="*/ 130 h 130"/>
              <a:gd name="T104" fmla="*/ 42 w 178"/>
              <a:gd name="T105" fmla="*/ 126 h 130"/>
              <a:gd name="T106" fmla="*/ 46 w 178"/>
              <a:gd name="T107" fmla="*/ 120 h 130"/>
              <a:gd name="T108" fmla="*/ 52 w 178"/>
              <a:gd name="T109" fmla="*/ 122 h 130"/>
              <a:gd name="T110" fmla="*/ 62 w 178"/>
              <a:gd name="T111" fmla="*/ 11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8" h="130">
                <a:moveTo>
                  <a:pt x="62" y="118"/>
                </a:moveTo>
                <a:lnTo>
                  <a:pt x="64" y="106"/>
                </a:lnTo>
                <a:lnTo>
                  <a:pt x="64" y="106"/>
                </a:lnTo>
                <a:lnTo>
                  <a:pt x="66" y="104"/>
                </a:lnTo>
                <a:lnTo>
                  <a:pt x="70" y="102"/>
                </a:lnTo>
                <a:lnTo>
                  <a:pt x="70" y="98"/>
                </a:lnTo>
                <a:lnTo>
                  <a:pt x="70" y="98"/>
                </a:lnTo>
                <a:lnTo>
                  <a:pt x="72" y="94"/>
                </a:lnTo>
                <a:lnTo>
                  <a:pt x="76" y="90"/>
                </a:lnTo>
                <a:lnTo>
                  <a:pt x="76" y="90"/>
                </a:lnTo>
                <a:lnTo>
                  <a:pt x="80" y="90"/>
                </a:lnTo>
                <a:lnTo>
                  <a:pt x="86" y="92"/>
                </a:lnTo>
                <a:lnTo>
                  <a:pt x="86" y="92"/>
                </a:lnTo>
                <a:lnTo>
                  <a:pt x="90" y="96"/>
                </a:lnTo>
                <a:lnTo>
                  <a:pt x="94" y="98"/>
                </a:lnTo>
                <a:lnTo>
                  <a:pt x="94" y="98"/>
                </a:lnTo>
                <a:lnTo>
                  <a:pt x="100" y="100"/>
                </a:lnTo>
                <a:lnTo>
                  <a:pt x="106" y="100"/>
                </a:lnTo>
                <a:lnTo>
                  <a:pt x="106" y="100"/>
                </a:lnTo>
                <a:lnTo>
                  <a:pt x="114" y="102"/>
                </a:lnTo>
                <a:lnTo>
                  <a:pt x="114" y="102"/>
                </a:lnTo>
                <a:lnTo>
                  <a:pt x="122" y="104"/>
                </a:lnTo>
                <a:lnTo>
                  <a:pt x="122" y="104"/>
                </a:lnTo>
                <a:lnTo>
                  <a:pt x="122" y="100"/>
                </a:lnTo>
                <a:lnTo>
                  <a:pt x="124" y="96"/>
                </a:lnTo>
                <a:lnTo>
                  <a:pt x="126" y="96"/>
                </a:lnTo>
                <a:lnTo>
                  <a:pt x="126" y="96"/>
                </a:lnTo>
                <a:lnTo>
                  <a:pt x="128" y="96"/>
                </a:lnTo>
                <a:lnTo>
                  <a:pt x="130" y="98"/>
                </a:lnTo>
                <a:lnTo>
                  <a:pt x="132" y="100"/>
                </a:lnTo>
                <a:lnTo>
                  <a:pt x="134" y="98"/>
                </a:lnTo>
                <a:lnTo>
                  <a:pt x="134" y="98"/>
                </a:lnTo>
                <a:lnTo>
                  <a:pt x="142" y="98"/>
                </a:lnTo>
                <a:lnTo>
                  <a:pt x="142" y="98"/>
                </a:lnTo>
                <a:lnTo>
                  <a:pt x="142" y="96"/>
                </a:lnTo>
                <a:lnTo>
                  <a:pt x="142" y="94"/>
                </a:lnTo>
                <a:lnTo>
                  <a:pt x="144" y="92"/>
                </a:lnTo>
                <a:lnTo>
                  <a:pt x="144" y="92"/>
                </a:lnTo>
                <a:lnTo>
                  <a:pt x="146" y="94"/>
                </a:lnTo>
                <a:lnTo>
                  <a:pt x="146" y="94"/>
                </a:lnTo>
                <a:lnTo>
                  <a:pt x="148" y="96"/>
                </a:lnTo>
                <a:lnTo>
                  <a:pt x="150" y="94"/>
                </a:lnTo>
                <a:lnTo>
                  <a:pt x="150" y="94"/>
                </a:lnTo>
                <a:lnTo>
                  <a:pt x="152" y="90"/>
                </a:lnTo>
                <a:lnTo>
                  <a:pt x="156" y="88"/>
                </a:lnTo>
                <a:lnTo>
                  <a:pt x="156" y="88"/>
                </a:lnTo>
                <a:lnTo>
                  <a:pt x="166" y="88"/>
                </a:lnTo>
                <a:lnTo>
                  <a:pt x="166" y="88"/>
                </a:lnTo>
                <a:lnTo>
                  <a:pt x="170" y="90"/>
                </a:lnTo>
                <a:lnTo>
                  <a:pt x="170" y="90"/>
                </a:lnTo>
                <a:lnTo>
                  <a:pt x="170" y="90"/>
                </a:lnTo>
                <a:lnTo>
                  <a:pt x="178" y="90"/>
                </a:lnTo>
                <a:lnTo>
                  <a:pt x="178" y="90"/>
                </a:lnTo>
                <a:lnTo>
                  <a:pt x="178" y="88"/>
                </a:lnTo>
                <a:lnTo>
                  <a:pt x="176" y="84"/>
                </a:lnTo>
                <a:lnTo>
                  <a:pt x="176" y="84"/>
                </a:lnTo>
                <a:lnTo>
                  <a:pt x="174" y="84"/>
                </a:lnTo>
                <a:lnTo>
                  <a:pt x="174" y="82"/>
                </a:lnTo>
                <a:lnTo>
                  <a:pt x="174" y="76"/>
                </a:lnTo>
                <a:lnTo>
                  <a:pt x="174" y="76"/>
                </a:lnTo>
                <a:lnTo>
                  <a:pt x="170" y="70"/>
                </a:lnTo>
                <a:lnTo>
                  <a:pt x="166" y="68"/>
                </a:lnTo>
                <a:lnTo>
                  <a:pt x="166" y="68"/>
                </a:lnTo>
                <a:lnTo>
                  <a:pt x="162" y="66"/>
                </a:lnTo>
                <a:lnTo>
                  <a:pt x="160" y="64"/>
                </a:lnTo>
                <a:lnTo>
                  <a:pt x="160" y="58"/>
                </a:lnTo>
                <a:lnTo>
                  <a:pt x="160" y="58"/>
                </a:lnTo>
                <a:lnTo>
                  <a:pt x="156" y="56"/>
                </a:lnTo>
                <a:lnTo>
                  <a:pt x="154" y="56"/>
                </a:lnTo>
                <a:lnTo>
                  <a:pt x="154" y="56"/>
                </a:lnTo>
                <a:lnTo>
                  <a:pt x="150" y="54"/>
                </a:lnTo>
                <a:lnTo>
                  <a:pt x="148" y="52"/>
                </a:lnTo>
                <a:lnTo>
                  <a:pt x="148" y="52"/>
                </a:lnTo>
                <a:lnTo>
                  <a:pt x="144" y="50"/>
                </a:lnTo>
                <a:lnTo>
                  <a:pt x="140" y="50"/>
                </a:lnTo>
                <a:lnTo>
                  <a:pt x="140" y="50"/>
                </a:lnTo>
                <a:lnTo>
                  <a:pt x="140" y="48"/>
                </a:lnTo>
                <a:lnTo>
                  <a:pt x="138" y="48"/>
                </a:lnTo>
                <a:lnTo>
                  <a:pt x="136" y="44"/>
                </a:lnTo>
                <a:lnTo>
                  <a:pt x="136" y="44"/>
                </a:lnTo>
                <a:lnTo>
                  <a:pt x="130" y="38"/>
                </a:lnTo>
                <a:lnTo>
                  <a:pt x="130" y="36"/>
                </a:lnTo>
                <a:lnTo>
                  <a:pt x="130" y="32"/>
                </a:lnTo>
                <a:lnTo>
                  <a:pt x="130" y="32"/>
                </a:lnTo>
                <a:lnTo>
                  <a:pt x="130" y="26"/>
                </a:lnTo>
                <a:lnTo>
                  <a:pt x="126" y="22"/>
                </a:lnTo>
                <a:lnTo>
                  <a:pt x="126" y="22"/>
                </a:lnTo>
                <a:lnTo>
                  <a:pt x="124" y="20"/>
                </a:lnTo>
                <a:lnTo>
                  <a:pt x="124" y="16"/>
                </a:lnTo>
                <a:lnTo>
                  <a:pt x="124" y="16"/>
                </a:lnTo>
                <a:lnTo>
                  <a:pt x="124" y="10"/>
                </a:lnTo>
                <a:lnTo>
                  <a:pt x="124" y="8"/>
                </a:lnTo>
                <a:lnTo>
                  <a:pt x="116" y="0"/>
                </a:lnTo>
                <a:lnTo>
                  <a:pt x="116" y="0"/>
                </a:lnTo>
                <a:lnTo>
                  <a:pt x="114" y="0"/>
                </a:lnTo>
                <a:lnTo>
                  <a:pt x="112" y="2"/>
                </a:lnTo>
                <a:lnTo>
                  <a:pt x="110" y="4"/>
                </a:lnTo>
                <a:lnTo>
                  <a:pt x="110" y="4"/>
                </a:lnTo>
                <a:lnTo>
                  <a:pt x="108" y="8"/>
                </a:lnTo>
                <a:lnTo>
                  <a:pt x="106" y="10"/>
                </a:lnTo>
                <a:lnTo>
                  <a:pt x="106" y="10"/>
                </a:lnTo>
                <a:lnTo>
                  <a:pt x="98" y="14"/>
                </a:lnTo>
                <a:lnTo>
                  <a:pt x="98" y="14"/>
                </a:lnTo>
                <a:lnTo>
                  <a:pt x="96" y="18"/>
                </a:lnTo>
                <a:lnTo>
                  <a:pt x="94" y="20"/>
                </a:lnTo>
                <a:lnTo>
                  <a:pt x="92" y="20"/>
                </a:lnTo>
                <a:lnTo>
                  <a:pt x="92" y="20"/>
                </a:lnTo>
                <a:lnTo>
                  <a:pt x="88" y="22"/>
                </a:lnTo>
                <a:lnTo>
                  <a:pt x="84" y="24"/>
                </a:lnTo>
                <a:lnTo>
                  <a:pt x="84" y="24"/>
                </a:lnTo>
                <a:lnTo>
                  <a:pt x="82" y="26"/>
                </a:lnTo>
                <a:lnTo>
                  <a:pt x="76" y="26"/>
                </a:lnTo>
                <a:lnTo>
                  <a:pt x="72" y="28"/>
                </a:lnTo>
                <a:lnTo>
                  <a:pt x="70" y="30"/>
                </a:lnTo>
                <a:lnTo>
                  <a:pt x="70" y="30"/>
                </a:lnTo>
                <a:lnTo>
                  <a:pt x="68" y="34"/>
                </a:lnTo>
                <a:lnTo>
                  <a:pt x="70" y="36"/>
                </a:lnTo>
                <a:lnTo>
                  <a:pt x="72" y="38"/>
                </a:lnTo>
                <a:lnTo>
                  <a:pt x="72" y="38"/>
                </a:lnTo>
                <a:lnTo>
                  <a:pt x="72" y="38"/>
                </a:lnTo>
                <a:lnTo>
                  <a:pt x="68" y="40"/>
                </a:lnTo>
                <a:lnTo>
                  <a:pt x="62" y="44"/>
                </a:lnTo>
                <a:lnTo>
                  <a:pt x="62" y="44"/>
                </a:lnTo>
                <a:lnTo>
                  <a:pt x="58" y="50"/>
                </a:lnTo>
                <a:lnTo>
                  <a:pt x="52" y="52"/>
                </a:lnTo>
                <a:lnTo>
                  <a:pt x="52" y="52"/>
                </a:lnTo>
                <a:lnTo>
                  <a:pt x="36" y="54"/>
                </a:lnTo>
                <a:lnTo>
                  <a:pt x="36" y="54"/>
                </a:lnTo>
                <a:lnTo>
                  <a:pt x="32" y="54"/>
                </a:lnTo>
                <a:lnTo>
                  <a:pt x="30" y="52"/>
                </a:lnTo>
                <a:lnTo>
                  <a:pt x="26" y="58"/>
                </a:lnTo>
                <a:lnTo>
                  <a:pt x="20" y="58"/>
                </a:lnTo>
                <a:lnTo>
                  <a:pt x="14" y="58"/>
                </a:lnTo>
                <a:lnTo>
                  <a:pt x="14" y="58"/>
                </a:lnTo>
                <a:lnTo>
                  <a:pt x="10" y="66"/>
                </a:lnTo>
                <a:lnTo>
                  <a:pt x="8" y="72"/>
                </a:lnTo>
                <a:lnTo>
                  <a:pt x="4" y="76"/>
                </a:lnTo>
                <a:lnTo>
                  <a:pt x="4" y="76"/>
                </a:lnTo>
                <a:lnTo>
                  <a:pt x="0" y="80"/>
                </a:lnTo>
                <a:lnTo>
                  <a:pt x="0" y="80"/>
                </a:lnTo>
                <a:lnTo>
                  <a:pt x="2" y="82"/>
                </a:lnTo>
                <a:lnTo>
                  <a:pt x="2" y="82"/>
                </a:lnTo>
                <a:lnTo>
                  <a:pt x="4" y="84"/>
                </a:lnTo>
                <a:lnTo>
                  <a:pt x="6" y="88"/>
                </a:lnTo>
                <a:lnTo>
                  <a:pt x="6" y="88"/>
                </a:lnTo>
                <a:lnTo>
                  <a:pt x="12" y="102"/>
                </a:lnTo>
                <a:lnTo>
                  <a:pt x="12" y="102"/>
                </a:lnTo>
                <a:lnTo>
                  <a:pt x="16" y="106"/>
                </a:lnTo>
                <a:lnTo>
                  <a:pt x="18" y="112"/>
                </a:lnTo>
                <a:lnTo>
                  <a:pt x="18" y="112"/>
                </a:lnTo>
                <a:lnTo>
                  <a:pt x="24" y="116"/>
                </a:lnTo>
                <a:lnTo>
                  <a:pt x="26" y="120"/>
                </a:lnTo>
                <a:lnTo>
                  <a:pt x="26" y="120"/>
                </a:lnTo>
                <a:lnTo>
                  <a:pt x="32" y="126"/>
                </a:lnTo>
                <a:lnTo>
                  <a:pt x="36" y="130"/>
                </a:lnTo>
                <a:lnTo>
                  <a:pt x="36" y="130"/>
                </a:lnTo>
                <a:lnTo>
                  <a:pt x="38" y="130"/>
                </a:lnTo>
                <a:lnTo>
                  <a:pt x="40" y="128"/>
                </a:lnTo>
                <a:lnTo>
                  <a:pt x="42" y="126"/>
                </a:lnTo>
                <a:lnTo>
                  <a:pt x="42" y="126"/>
                </a:lnTo>
                <a:lnTo>
                  <a:pt x="42" y="122"/>
                </a:lnTo>
                <a:lnTo>
                  <a:pt x="46" y="120"/>
                </a:lnTo>
                <a:lnTo>
                  <a:pt x="46" y="120"/>
                </a:lnTo>
                <a:lnTo>
                  <a:pt x="50" y="122"/>
                </a:lnTo>
                <a:lnTo>
                  <a:pt x="52" y="122"/>
                </a:lnTo>
                <a:lnTo>
                  <a:pt x="52" y="122"/>
                </a:lnTo>
                <a:lnTo>
                  <a:pt x="62" y="118"/>
                </a:lnTo>
                <a:lnTo>
                  <a:pt x="62" y="1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9" name="Freeform 218">
            <a:extLst>
              <a:ext uri="{FF2B5EF4-FFF2-40B4-BE49-F238E27FC236}">
                <a16:creationId xmlns:a16="http://schemas.microsoft.com/office/drawing/2014/main" id="{9BC406B1-9E40-48D7-A1FC-831B5CB09D50}"/>
              </a:ext>
            </a:extLst>
          </p:cNvPr>
          <p:cNvSpPr>
            <a:spLocks/>
          </p:cNvSpPr>
          <p:nvPr userDrawn="1"/>
        </p:nvSpPr>
        <p:spPr bwMode="auto">
          <a:xfrm>
            <a:off x="4053559" y="1405250"/>
            <a:ext cx="4643" cy="3432"/>
          </a:xfrm>
          <a:custGeom>
            <a:avLst/>
            <a:gdLst>
              <a:gd name="T0" fmla="*/ 0 w 2"/>
              <a:gd name="T1" fmla="*/ 0 h 2"/>
              <a:gd name="T2" fmla="*/ 2 w 2"/>
              <a:gd name="T3" fmla="*/ 2 h 2"/>
              <a:gd name="T4" fmla="*/ 2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0" name="Freeform 219">
            <a:extLst>
              <a:ext uri="{FF2B5EF4-FFF2-40B4-BE49-F238E27FC236}">
                <a16:creationId xmlns:a16="http://schemas.microsoft.com/office/drawing/2014/main" id="{FB2AF2C8-DBAE-4A10-9D67-C511EF77F7DE}"/>
              </a:ext>
            </a:extLst>
          </p:cNvPr>
          <p:cNvSpPr>
            <a:spLocks/>
          </p:cNvSpPr>
          <p:nvPr userDrawn="1"/>
        </p:nvSpPr>
        <p:spPr bwMode="auto">
          <a:xfrm>
            <a:off x="4090708" y="1295426"/>
            <a:ext cx="3096" cy="3432"/>
          </a:xfrm>
          <a:custGeom>
            <a:avLst/>
            <a:gdLst>
              <a:gd name="T0" fmla="*/ 2 w 2"/>
              <a:gd name="T1" fmla="*/ 0 h 2"/>
              <a:gd name="T2" fmla="*/ 2 w 2"/>
              <a:gd name="T3" fmla="*/ 0 h 2"/>
              <a:gd name="T4" fmla="*/ 2 w 2"/>
              <a:gd name="T5" fmla="*/ 2 h 2"/>
              <a:gd name="T6" fmla="*/ 0 w 2"/>
              <a:gd name="T7" fmla="*/ 2 h 2"/>
              <a:gd name="T8" fmla="*/ 0 w 2"/>
              <a:gd name="T9" fmla="*/ 2 h 2"/>
              <a:gd name="T10" fmla="*/ 0 w 2"/>
              <a:gd name="T11" fmla="*/ 0 h 2"/>
              <a:gd name="T12" fmla="*/ 2 w 2"/>
              <a:gd name="T13" fmla="*/ 0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lnTo>
                  <a:pt x="2" y="0"/>
                </a:lnTo>
                <a:lnTo>
                  <a:pt x="2" y="2"/>
                </a:lnTo>
                <a:lnTo>
                  <a:pt x="0"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1" name="Freeform 220">
            <a:extLst>
              <a:ext uri="{FF2B5EF4-FFF2-40B4-BE49-F238E27FC236}">
                <a16:creationId xmlns:a16="http://schemas.microsoft.com/office/drawing/2014/main" id="{BD017BDE-F326-4DF7-8E27-F645ACDC571B}"/>
              </a:ext>
            </a:extLst>
          </p:cNvPr>
          <p:cNvSpPr>
            <a:spLocks/>
          </p:cNvSpPr>
          <p:nvPr userDrawn="1"/>
        </p:nvSpPr>
        <p:spPr bwMode="auto">
          <a:xfrm>
            <a:off x="4093804" y="1302290"/>
            <a:ext cx="3096"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2" name="Freeform 221">
            <a:extLst>
              <a:ext uri="{FF2B5EF4-FFF2-40B4-BE49-F238E27FC236}">
                <a16:creationId xmlns:a16="http://schemas.microsoft.com/office/drawing/2014/main" id="{D8681C28-A63B-4C3C-8024-65A9E8CE9431}"/>
              </a:ext>
            </a:extLst>
          </p:cNvPr>
          <p:cNvSpPr>
            <a:spLocks/>
          </p:cNvSpPr>
          <p:nvPr userDrawn="1"/>
        </p:nvSpPr>
        <p:spPr bwMode="auto">
          <a:xfrm>
            <a:off x="4291934" y="1391521"/>
            <a:ext cx="20123" cy="6864"/>
          </a:xfrm>
          <a:custGeom>
            <a:avLst/>
            <a:gdLst>
              <a:gd name="T0" fmla="*/ 2 w 12"/>
              <a:gd name="T1" fmla="*/ 0 h 4"/>
              <a:gd name="T2" fmla="*/ 2 w 12"/>
              <a:gd name="T3" fmla="*/ 0 h 4"/>
              <a:gd name="T4" fmla="*/ 10 w 12"/>
              <a:gd name="T5" fmla="*/ 2 h 4"/>
              <a:gd name="T6" fmla="*/ 12 w 12"/>
              <a:gd name="T7" fmla="*/ 4 h 4"/>
              <a:gd name="T8" fmla="*/ 12 w 12"/>
              <a:gd name="T9" fmla="*/ 4 h 4"/>
              <a:gd name="T10" fmla="*/ 4 w 12"/>
              <a:gd name="T11" fmla="*/ 2 h 4"/>
              <a:gd name="T12" fmla="*/ 0 w 12"/>
              <a:gd name="T13" fmla="*/ 2 h 4"/>
              <a:gd name="T14" fmla="*/ 2 w 12"/>
              <a:gd name="T15" fmla="*/ 0 h 4"/>
              <a:gd name="T16" fmla="*/ 2 w 1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2" y="0"/>
                </a:moveTo>
                <a:lnTo>
                  <a:pt x="2" y="0"/>
                </a:lnTo>
                <a:lnTo>
                  <a:pt x="10" y="2"/>
                </a:lnTo>
                <a:lnTo>
                  <a:pt x="12" y="4"/>
                </a:lnTo>
                <a:lnTo>
                  <a:pt x="12" y="4"/>
                </a:lnTo>
                <a:lnTo>
                  <a:pt x="4" y="2"/>
                </a:lnTo>
                <a:lnTo>
                  <a:pt x="0" y="2"/>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3" name="Freeform 222">
            <a:extLst>
              <a:ext uri="{FF2B5EF4-FFF2-40B4-BE49-F238E27FC236}">
                <a16:creationId xmlns:a16="http://schemas.microsoft.com/office/drawing/2014/main" id="{E549AADD-4A94-460C-A28E-FD049C0AD642}"/>
              </a:ext>
            </a:extLst>
          </p:cNvPr>
          <p:cNvSpPr>
            <a:spLocks/>
          </p:cNvSpPr>
          <p:nvPr userDrawn="1"/>
        </p:nvSpPr>
        <p:spPr bwMode="auto">
          <a:xfrm>
            <a:off x="4271812" y="1360633"/>
            <a:ext cx="7740" cy="10296"/>
          </a:xfrm>
          <a:custGeom>
            <a:avLst/>
            <a:gdLst>
              <a:gd name="T0" fmla="*/ 2 w 4"/>
              <a:gd name="T1" fmla="*/ 0 h 6"/>
              <a:gd name="T2" fmla="*/ 2 w 4"/>
              <a:gd name="T3" fmla="*/ 0 h 6"/>
              <a:gd name="T4" fmla="*/ 4 w 4"/>
              <a:gd name="T5" fmla="*/ 0 h 6"/>
              <a:gd name="T6" fmla="*/ 4 w 4"/>
              <a:gd name="T7" fmla="*/ 2 h 6"/>
              <a:gd name="T8" fmla="*/ 4 w 4"/>
              <a:gd name="T9" fmla="*/ 6 h 6"/>
              <a:gd name="T10" fmla="*/ 4 w 4"/>
              <a:gd name="T11" fmla="*/ 6 h 6"/>
              <a:gd name="T12" fmla="*/ 0 w 4"/>
              <a:gd name="T13" fmla="*/ 6 h 6"/>
              <a:gd name="T14" fmla="*/ 0 w 4"/>
              <a:gd name="T15" fmla="*/ 6 h 6"/>
              <a:gd name="T16" fmla="*/ 0 w 4"/>
              <a:gd name="T17" fmla="*/ 2 h 6"/>
              <a:gd name="T18" fmla="*/ 0 w 4"/>
              <a:gd name="T19" fmla="*/ 0 h 6"/>
              <a:gd name="T20" fmla="*/ 2 w 4"/>
              <a:gd name="T21" fmla="*/ 0 h 6"/>
              <a:gd name="T22" fmla="*/ 2 w 4"/>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2" y="0"/>
                </a:moveTo>
                <a:lnTo>
                  <a:pt x="2" y="0"/>
                </a:lnTo>
                <a:lnTo>
                  <a:pt x="4" y="0"/>
                </a:lnTo>
                <a:lnTo>
                  <a:pt x="4" y="2"/>
                </a:lnTo>
                <a:lnTo>
                  <a:pt x="4" y="6"/>
                </a:lnTo>
                <a:lnTo>
                  <a:pt x="4" y="6"/>
                </a:lnTo>
                <a:lnTo>
                  <a:pt x="0" y="6"/>
                </a:lnTo>
                <a:lnTo>
                  <a:pt x="0" y="6"/>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4" name="Freeform 223">
            <a:extLst>
              <a:ext uri="{FF2B5EF4-FFF2-40B4-BE49-F238E27FC236}">
                <a16:creationId xmlns:a16="http://schemas.microsoft.com/office/drawing/2014/main" id="{DD0FD03C-89AC-4540-8927-F951FE405203}"/>
              </a:ext>
            </a:extLst>
          </p:cNvPr>
          <p:cNvSpPr>
            <a:spLocks/>
          </p:cNvSpPr>
          <p:nvPr userDrawn="1"/>
        </p:nvSpPr>
        <p:spPr bwMode="auto">
          <a:xfrm>
            <a:off x="4383259" y="1628327"/>
            <a:ext cx="3096" cy="6864"/>
          </a:xfrm>
          <a:custGeom>
            <a:avLst/>
            <a:gdLst>
              <a:gd name="T0" fmla="*/ 0 w 2"/>
              <a:gd name="T1" fmla="*/ 0 h 4"/>
              <a:gd name="T2" fmla="*/ 0 w 2"/>
              <a:gd name="T3" fmla="*/ 0 h 4"/>
              <a:gd name="T4" fmla="*/ 2 w 2"/>
              <a:gd name="T5" fmla="*/ 2 h 4"/>
              <a:gd name="T6" fmla="*/ 2 w 2"/>
              <a:gd name="T7" fmla="*/ 4 h 4"/>
              <a:gd name="T8" fmla="*/ 2 w 2"/>
              <a:gd name="T9" fmla="*/ 2 h 4"/>
              <a:gd name="T10" fmla="*/ 2 w 2"/>
              <a:gd name="T11" fmla="*/ 2 h 4"/>
              <a:gd name="T12" fmla="*/ 0 w 2"/>
              <a:gd name="T13" fmla="*/ 0 h 4"/>
              <a:gd name="T14" fmla="*/ 0 w 2"/>
              <a:gd name="T15" fmla="*/ 0 h 4"/>
              <a:gd name="T16" fmla="*/ 0 w 2"/>
              <a:gd name="T17" fmla="*/ 0 h 4"/>
              <a:gd name="T18" fmla="*/ 0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0"/>
                </a:moveTo>
                <a:lnTo>
                  <a:pt x="0" y="0"/>
                </a:lnTo>
                <a:lnTo>
                  <a:pt x="2" y="2"/>
                </a:lnTo>
                <a:lnTo>
                  <a:pt x="2" y="4"/>
                </a:lnTo>
                <a:lnTo>
                  <a:pt x="2" y="2"/>
                </a:lnTo>
                <a:lnTo>
                  <a:pt x="2" y="2"/>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5" name="Freeform 224">
            <a:extLst>
              <a:ext uri="{FF2B5EF4-FFF2-40B4-BE49-F238E27FC236}">
                <a16:creationId xmlns:a16="http://schemas.microsoft.com/office/drawing/2014/main" id="{89F0F987-330F-4AFF-BF99-976211B956BA}"/>
              </a:ext>
            </a:extLst>
          </p:cNvPr>
          <p:cNvSpPr>
            <a:spLocks/>
          </p:cNvSpPr>
          <p:nvPr userDrawn="1"/>
        </p:nvSpPr>
        <p:spPr bwMode="auto">
          <a:xfrm>
            <a:off x="3877100" y="2174011"/>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6" name="Freeform 225">
            <a:extLst>
              <a:ext uri="{FF2B5EF4-FFF2-40B4-BE49-F238E27FC236}">
                <a16:creationId xmlns:a16="http://schemas.microsoft.com/office/drawing/2014/main" id="{03853216-0C41-4BC5-8266-E5C0A04572AD}"/>
              </a:ext>
            </a:extLst>
          </p:cNvPr>
          <p:cNvSpPr>
            <a:spLocks/>
          </p:cNvSpPr>
          <p:nvPr userDrawn="1"/>
        </p:nvSpPr>
        <p:spPr bwMode="auto">
          <a:xfrm>
            <a:off x="3852334" y="2218627"/>
            <a:ext cx="4643"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7" name="Freeform 226">
            <a:extLst>
              <a:ext uri="{FF2B5EF4-FFF2-40B4-BE49-F238E27FC236}">
                <a16:creationId xmlns:a16="http://schemas.microsoft.com/office/drawing/2014/main" id="{477BFE35-A701-47FC-A3DF-4788D7306EC4}"/>
              </a:ext>
            </a:extLst>
          </p:cNvPr>
          <p:cNvSpPr>
            <a:spLocks/>
          </p:cNvSpPr>
          <p:nvPr userDrawn="1"/>
        </p:nvSpPr>
        <p:spPr bwMode="auto">
          <a:xfrm>
            <a:off x="3880195" y="2201467"/>
            <a:ext cx="6192" cy="3432"/>
          </a:xfrm>
          <a:custGeom>
            <a:avLst/>
            <a:gdLst>
              <a:gd name="T0" fmla="*/ 2 w 4"/>
              <a:gd name="T1" fmla="*/ 0 h 2"/>
              <a:gd name="T2" fmla="*/ 2 w 4"/>
              <a:gd name="T3" fmla="*/ 0 h 2"/>
              <a:gd name="T4" fmla="*/ 0 w 4"/>
              <a:gd name="T5" fmla="*/ 2 h 2"/>
              <a:gd name="T6" fmla="*/ 0 w 4"/>
              <a:gd name="T7" fmla="*/ 2 h 2"/>
              <a:gd name="T8" fmla="*/ 4 w 4"/>
              <a:gd name="T9" fmla="*/ 0 h 2"/>
              <a:gd name="T10" fmla="*/ 2 w 4"/>
              <a:gd name="T11" fmla="*/ 0 h 2"/>
              <a:gd name="T12" fmla="*/ 2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0"/>
                </a:moveTo>
                <a:lnTo>
                  <a:pt x="2" y="0"/>
                </a:lnTo>
                <a:lnTo>
                  <a:pt x="0" y="2"/>
                </a:lnTo>
                <a:lnTo>
                  <a:pt x="0" y="2"/>
                </a:lnTo>
                <a:lnTo>
                  <a:pt x="4"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8" name="Freeform 227">
            <a:extLst>
              <a:ext uri="{FF2B5EF4-FFF2-40B4-BE49-F238E27FC236}">
                <a16:creationId xmlns:a16="http://schemas.microsoft.com/office/drawing/2014/main" id="{A59AEBA6-D5A8-41F8-A3D9-8A51EB87C967}"/>
              </a:ext>
            </a:extLst>
          </p:cNvPr>
          <p:cNvSpPr>
            <a:spLocks/>
          </p:cNvSpPr>
          <p:nvPr userDrawn="1"/>
        </p:nvSpPr>
        <p:spPr bwMode="auto">
          <a:xfrm>
            <a:off x="3990095" y="2421113"/>
            <a:ext cx="1548" cy="6864"/>
          </a:xfrm>
          <a:custGeom>
            <a:avLst/>
            <a:gdLst>
              <a:gd name="T0" fmla="*/ 4 h 4"/>
              <a:gd name="T1" fmla="*/ 2 h 4"/>
              <a:gd name="T2" fmla="*/ 2 h 4"/>
              <a:gd name="T3" fmla="*/ 0 h 4"/>
              <a:gd name="T4" fmla="*/ 0 h 4"/>
              <a:gd name="T5" fmla="*/ 4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2"/>
                </a:lnTo>
                <a:lnTo>
                  <a:pt x="0" y="2"/>
                </a:lnTo>
                <a:lnTo>
                  <a:pt x="0" y="0"/>
                </a:lnTo>
                <a:lnTo>
                  <a:pt x="0" y="0"/>
                </a:lnTo>
                <a:lnTo>
                  <a:pt x="0" y="4"/>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9" name="Freeform 228">
            <a:extLst>
              <a:ext uri="{FF2B5EF4-FFF2-40B4-BE49-F238E27FC236}">
                <a16:creationId xmlns:a16="http://schemas.microsoft.com/office/drawing/2014/main" id="{A0EE2FBE-8072-4188-92B6-9195AB632E9F}"/>
              </a:ext>
            </a:extLst>
          </p:cNvPr>
          <p:cNvSpPr>
            <a:spLocks/>
          </p:cNvSpPr>
          <p:nvPr userDrawn="1"/>
        </p:nvSpPr>
        <p:spPr bwMode="auto">
          <a:xfrm>
            <a:off x="2920503" y="1415545"/>
            <a:ext cx="1548"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0" name="Freeform 229">
            <a:extLst>
              <a:ext uri="{FF2B5EF4-FFF2-40B4-BE49-F238E27FC236}">
                <a16:creationId xmlns:a16="http://schemas.microsoft.com/office/drawing/2014/main" id="{E9B07CE7-8D88-49AE-8E64-F64B759CAFD5}"/>
              </a:ext>
            </a:extLst>
          </p:cNvPr>
          <p:cNvSpPr>
            <a:spLocks/>
          </p:cNvSpPr>
          <p:nvPr userDrawn="1"/>
        </p:nvSpPr>
        <p:spPr bwMode="auto">
          <a:xfrm>
            <a:off x="2963844" y="2029868"/>
            <a:ext cx="1548" cy="3432"/>
          </a:xfrm>
          <a:custGeom>
            <a:avLst/>
            <a:gdLst>
              <a:gd name="T0" fmla="*/ 2 h 2"/>
              <a:gd name="T1" fmla="*/ 2 h 2"/>
              <a:gd name="T2" fmla="*/ 2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2"/>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1" name="Freeform 230">
            <a:extLst>
              <a:ext uri="{FF2B5EF4-FFF2-40B4-BE49-F238E27FC236}">
                <a16:creationId xmlns:a16="http://schemas.microsoft.com/office/drawing/2014/main" id="{963EE22A-492F-4231-84F4-19B9999F5AB7}"/>
              </a:ext>
            </a:extLst>
          </p:cNvPr>
          <p:cNvSpPr>
            <a:spLocks/>
          </p:cNvSpPr>
          <p:nvPr userDrawn="1"/>
        </p:nvSpPr>
        <p:spPr bwMode="auto">
          <a:xfrm>
            <a:off x="3678969" y="1480752"/>
            <a:ext cx="1548" cy="3432"/>
          </a:xfrm>
          <a:custGeom>
            <a:avLst/>
            <a:gdLst>
              <a:gd name="T0" fmla="*/ 0 h 2"/>
              <a:gd name="T1" fmla="*/ 2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2"/>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2" name="Freeform 231">
            <a:extLst>
              <a:ext uri="{FF2B5EF4-FFF2-40B4-BE49-F238E27FC236}">
                <a16:creationId xmlns:a16="http://schemas.microsoft.com/office/drawing/2014/main" id="{BAD97446-24D7-4E53-8CBA-E7449A45DF4F}"/>
              </a:ext>
            </a:extLst>
          </p:cNvPr>
          <p:cNvSpPr>
            <a:spLocks/>
          </p:cNvSpPr>
          <p:nvPr userDrawn="1"/>
        </p:nvSpPr>
        <p:spPr bwMode="auto">
          <a:xfrm>
            <a:off x="4262524" y="2263242"/>
            <a:ext cx="12383" cy="10296"/>
          </a:xfrm>
          <a:custGeom>
            <a:avLst/>
            <a:gdLst>
              <a:gd name="T0" fmla="*/ 2 w 8"/>
              <a:gd name="T1" fmla="*/ 4 h 6"/>
              <a:gd name="T2" fmla="*/ 2 w 8"/>
              <a:gd name="T3" fmla="*/ 4 h 6"/>
              <a:gd name="T4" fmla="*/ 0 w 8"/>
              <a:gd name="T5" fmla="*/ 6 h 6"/>
              <a:gd name="T6" fmla="*/ 0 w 8"/>
              <a:gd name="T7" fmla="*/ 4 h 6"/>
              <a:gd name="T8" fmla="*/ 6 w 8"/>
              <a:gd name="T9" fmla="*/ 0 h 6"/>
              <a:gd name="T10" fmla="*/ 6 w 8"/>
              <a:gd name="T11" fmla="*/ 0 h 6"/>
              <a:gd name="T12" fmla="*/ 8 w 8"/>
              <a:gd name="T13" fmla="*/ 0 h 6"/>
              <a:gd name="T14" fmla="*/ 6 w 8"/>
              <a:gd name="T15" fmla="*/ 2 h 6"/>
              <a:gd name="T16" fmla="*/ 2 w 8"/>
              <a:gd name="T17" fmla="*/ 4 h 6"/>
              <a:gd name="T18" fmla="*/ 2 w 8"/>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2" y="4"/>
                </a:moveTo>
                <a:lnTo>
                  <a:pt x="2" y="4"/>
                </a:lnTo>
                <a:lnTo>
                  <a:pt x="0" y="6"/>
                </a:lnTo>
                <a:lnTo>
                  <a:pt x="0" y="4"/>
                </a:lnTo>
                <a:lnTo>
                  <a:pt x="6" y="0"/>
                </a:lnTo>
                <a:lnTo>
                  <a:pt x="6" y="0"/>
                </a:lnTo>
                <a:lnTo>
                  <a:pt x="8" y="0"/>
                </a:lnTo>
                <a:lnTo>
                  <a:pt x="6" y="2"/>
                </a:lnTo>
                <a:lnTo>
                  <a:pt x="2" y="4"/>
                </a:lnTo>
                <a:lnTo>
                  <a:pt x="2"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3" name="Freeform 232">
            <a:extLst>
              <a:ext uri="{FF2B5EF4-FFF2-40B4-BE49-F238E27FC236}">
                <a16:creationId xmlns:a16="http://schemas.microsoft.com/office/drawing/2014/main" id="{7F2AF905-C987-4FB7-BD7D-02AD61C311BC}"/>
              </a:ext>
            </a:extLst>
          </p:cNvPr>
          <p:cNvSpPr>
            <a:spLocks/>
          </p:cNvSpPr>
          <p:nvPr userDrawn="1"/>
        </p:nvSpPr>
        <p:spPr bwMode="auto">
          <a:xfrm>
            <a:off x="4332180" y="2300994"/>
            <a:ext cx="3096" cy="3432"/>
          </a:xfrm>
          <a:custGeom>
            <a:avLst/>
            <a:gdLst>
              <a:gd name="T0" fmla="*/ 0 w 2"/>
              <a:gd name="T1" fmla="*/ 2 h 2"/>
              <a:gd name="T2" fmla="*/ 0 w 2"/>
              <a:gd name="T3" fmla="*/ 2 h 2"/>
              <a:gd name="T4" fmla="*/ 0 w 2"/>
              <a:gd name="T5" fmla="*/ 0 h 2"/>
              <a:gd name="T6" fmla="*/ 2 w 2"/>
              <a:gd name="T7" fmla="*/ 0 h 2"/>
              <a:gd name="T8" fmla="*/ 2 w 2"/>
              <a:gd name="T9" fmla="*/ 0 h 2"/>
              <a:gd name="T10" fmla="*/ 2 w 2"/>
              <a:gd name="T11" fmla="*/ 0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0" y="2"/>
                </a:lnTo>
                <a:lnTo>
                  <a:pt x="0" y="0"/>
                </a:lnTo>
                <a:lnTo>
                  <a:pt x="2" y="0"/>
                </a:lnTo>
                <a:lnTo>
                  <a:pt x="2" y="0"/>
                </a:lnTo>
                <a:lnTo>
                  <a:pt x="2" y="0"/>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4" name="Freeform 233">
            <a:extLst>
              <a:ext uri="{FF2B5EF4-FFF2-40B4-BE49-F238E27FC236}">
                <a16:creationId xmlns:a16="http://schemas.microsoft.com/office/drawing/2014/main" id="{8AA281EA-150B-4166-9FD8-795E3FF35DE7}"/>
              </a:ext>
            </a:extLst>
          </p:cNvPr>
          <p:cNvSpPr>
            <a:spLocks/>
          </p:cNvSpPr>
          <p:nvPr userDrawn="1"/>
        </p:nvSpPr>
        <p:spPr bwMode="auto">
          <a:xfrm>
            <a:off x="3960686" y="1545960"/>
            <a:ext cx="3096" cy="3432"/>
          </a:xfrm>
          <a:custGeom>
            <a:avLst/>
            <a:gdLst>
              <a:gd name="T0" fmla="*/ 0 w 2"/>
              <a:gd name="T1" fmla="*/ 0 h 2"/>
              <a:gd name="T2" fmla="*/ 0 w 2"/>
              <a:gd name="T3" fmla="*/ 2 h 2"/>
              <a:gd name="T4" fmla="*/ 0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2"/>
                </a:lnTo>
                <a:lnTo>
                  <a:pt x="0"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5" name="Freeform 234">
            <a:extLst>
              <a:ext uri="{FF2B5EF4-FFF2-40B4-BE49-F238E27FC236}">
                <a16:creationId xmlns:a16="http://schemas.microsoft.com/office/drawing/2014/main" id="{90D3E7F2-86B2-4445-9086-C5A1CCABC71F}"/>
              </a:ext>
            </a:extLst>
          </p:cNvPr>
          <p:cNvSpPr>
            <a:spLocks/>
          </p:cNvSpPr>
          <p:nvPr userDrawn="1"/>
        </p:nvSpPr>
        <p:spPr bwMode="auto">
          <a:xfrm>
            <a:off x="2940626" y="1978388"/>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6" name="Rectangle 235">
            <a:extLst>
              <a:ext uri="{FF2B5EF4-FFF2-40B4-BE49-F238E27FC236}">
                <a16:creationId xmlns:a16="http://schemas.microsoft.com/office/drawing/2014/main" id="{91CF376B-4F8D-4FE7-891B-F5B67CB857D6}"/>
              </a:ext>
            </a:extLst>
          </p:cNvPr>
          <p:cNvSpPr>
            <a:spLocks noChangeArrowheads="1"/>
          </p:cNvSpPr>
          <p:nvPr userDrawn="1"/>
        </p:nvSpPr>
        <p:spPr bwMode="auto">
          <a:xfrm>
            <a:off x="2940626" y="1978388"/>
            <a:ext cx="1548" cy="3432"/>
          </a:xfrm>
          <a:prstGeom prst="rect">
            <a:avLst/>
          </a:prstGeom>
          <a:solidFill>
            <a:srgbClr val="00095B"/>
          </a:solidFill>
          <a:ln w="3175">
            <a:solidFill>
              <a:srgbClr val="00095B"/>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7" name="Freeform 236">
            <a:extLst>
              <a:ext uri="{FF2B5EF4-FFF2-40B4-BE49-F238E27FC236}">
                <a16:creationId xmlns:a16="http://schemas.microsoft.com/office/drawing/2014/main" id="{BE112C98-1CDE-4D5E-8278-0AC11AD582CC}"/>
              </a:ext>
            </a:extLst>
          </p:cNvPr>
          <p:cNvSpPr>
            <a:spLocks/>
          </p:cNvSpPr>
          <p:nvPr userDrawn="1"/>
        </p:nvSpPr>
        <p:spPr bwMode="auto">
          <a:xfrm>
            <a:off x="3839950" y="1127259"/>
            <a:ext cx="1548" cy="3432"/>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8" name="Freeform 237">
            <a:extLst>
              <a:ext uri="{FF2B5EF4-FFF2-40B4-BE49-F238E27FC236}">
                <a16:creationId xmlns:a16="http://schemas.microsoft.com/office/drawing/2014/main" id="{8D918D1A-8C76-4EEF-8D5C-6C834F1A1DB4}"/>
              </a:ext>
            </a:extLst>
          </p:cNvPr>
          <p:cNvSpPr>
            <a:spLocks noEditPoints="1"/>
          </p:cNvSpPr>
          <p:nvPr userDrawn="1"/>
        </p:nvSpPr>
        <p:spPr bwMode="auto">
          <a:xfrm>
            <a:off x="2675936" y="1068915"/>
            <a:ext cx="2026190" cy="1359061"/>
          </a:xfrm>
          <a:custGeom>
            <a:avLst/>
            <a:gdLst>
              <a:gd name="T0" fmla="*/ 860 w 1208"/>
              <a:gd name="T1" fmla="*/ 106 h 792"/>
              <a:gd name="T2" fmla="*/ 540 w 1208"/>
              <a:gd name="T3" fmla="*/ 46 h 792"/>
              <a:gd name="T4" fmla="*/ 528 w 1208"/>
              <a:gd name="T5" fmla="*/ 30 h 792"/>
              <a:gd name="T6" fmla="*/ 668 w 1208"/>
              <a:gd name="T7" fmla="*/ 36 h 792"/>
              <a:gd name="T8" fmla="*/ 744 w 1208"/>
              <a:gd name="T9" fmla="*/ 42 h 792"/>
              <a:gd name="T10" fmla="*/ 716 w 1208"/>
              <a:gd name="T11" fmla="*/ 74 h 792"/>
              <a:gd name="T12" fmla="*/ 406 w 1208"/>
              <a:gd name="T13" fmla="*/ 56 h 792"/>
              <a:gd name="T14" fmla="*/ 456 w 1208"/>
              <a:gd name="T15" fmla="*/ 22 h 792"/>
              <a:gd name="T16" fmla="*/ 762 w 1208"/>
              <a:gd name="T17" fmla="*/ 308 h 792"/>
              <a:gd name="T18" fmla="*/ 1078 w 1208"/>
              <a:gd name="T19" fmla="*/ 276 h 792"/>
              <a:gd name="T20" fmla="*/ 1016 w 1208"/>
              <a:gd name="T21" fmla="*/ 288 h 792"/>
              <a:gd name="T22" fmla="*/ 1024 w 1208"/>
              <a:gd name="T23" fmla="*/ 332 h 792"/>
              <a:gd name="T24" fmla="*/ 962 w 1208"/>
              <a:gd name="T25" fmla="*/ 374 h 792"/>
              <a:gd name="T26" fmla="*/ 862 w 1208"/>
              <a:gd name="T27" fmla="*/ 348 h 792"/>
              <a:gd name="T28" fmla="*/ 920 w 1208"/>
              <a:gd name="T29" fmla="*/ 226 h 792"/>
              <a:gd name="T30" fmla="*/ 842 w 1208"/>
              <a:gd name="T31" fmla="*/ 172 h 792"/>
              <a:gd name="T32" fmla="*/ 742 w 1208"/>
              <a:gd name="T33" fmla="*/ 172 h 792"/>
              <a:gd name="T34" fmla="*/ 762 w 1208"/>
              <a:gd name="T35" fmla="*/ 154 h 792"/>
              <a:gd name="T36" fmla="*/ 818 w 1208"/>
              <a:gd name="T37" fmla="*/ 136 h 792"/>
              <a:gd name="T38" fmla="*/ 906 w 1208"/>
              <a:gd name="T39" fmla="*/ 146 h 792"/>
              <a:gd name="T40" fmla="*/ 982 w 1208"/>
              <a:gd name="T41" fmla="*/ 170 h 792"/>
              <a:gd name="T42" fmla="*/ 1008 w 1208"/>
              <a:gd name="T43" fmla="*/ 238 h 792"/>
              <a:gd name="T44" fmla="*/ 1078 w 1208"/>
              <a:gd name="T45" fmla="*/ 256 h 792"/>
              <a:gd name="T46" fmla="*/ 1030 w 1208"/>
              <a:gd name="T47" fmla="*/ 722 h 792"/>
              <a:gd name="T48" fmla="*/ 904 w 1208"/>
              <a:gd name="T49" fmla="*/ 732 h 792"/>
              <a:gd name="T50" fmla="*/ 822 w 1208"/>
              <a:gd name="T51" fmla="*/ 750 h 792"/>
              <a:gd name="T52" fmla="*/ 702 w 1208"/>
              <a:gd name="T53" fmla="*/ 666 h 792"/>
              <a:gd name="T54" fmla="*/ 198 w 1208"/>
              <a:gd name="T55" fmla="*/ 626 h 792"/>
              <a:gd name="T56" fmla="*/ 182 w 1208"/>
              <a:gd name="T57" fmla="*/ 592 h 792"/>
              <a:gd name="T58" fmla="*/ 132 w 1208"/>
              <a:gd name="T59" fmla="*/ 478 h 792"/>
              <a:gd name="T60" fmla="*/ 82 w 1208"/>
              <a:gd name="T61" fmla="*/ 206 h 792"/>
              <a:gd name="T62" fmla="*/ 148 w 1208"/>
              <a:gd name="T63" fmla="*/ 200 h 792"/>
              <a:gd name="T64" fmla="*/ 344 w 1208"/>
              <a:gd name="T65" fmla="*/ 220 h 792"/>
              <a:gd name="T66" fmla="*/ 468 w 1208"/>
              <a:gd name="T67" fmla="*/ 232 h 792"/>
              <a:gd name="T68" fmla="*/ 532 w 1208"/>
              <a:gd name="T69" fmla="*/ 250 h 792"/>
              <a:gd name="T70" fmla="*/ 634 w 1208"/>
              <a:gd name="T71" fmla="*/ 232 h 792"/>
              <a:gd name="T72" fmla="*/ 622 w 1208"/>
              <a:gd name="T73" fmla="*/ 154 h 792"/>
              <a:gd name="T74" fmla="*/ 634 w 1208"/>
              <a:gd name="T75" fmla="*/ 138 h 792"/>
              <a:gd name="T76" fmla="*/ 716 w 1208"/>
              <a:gd name="T77" fmla="*/ 204 h 792"/>
              <a:gd name="T78" fmla="*/ 810 w 1208"/>
              <a:gd name="T79" fmla="*/ 206 h 792"/>
              <a:gd name="T80" fmla="*/ 738 w 1208"/>
              <a:gd name="T81" fmla="*/ 302 h 792"/>
              <a:gd name="T82" fmla="*/ 666 w 1208"/>
              <a:gd name="T83" fmla="*/ 374 h 792"/>
              <a:gd name="T84" fmla="*/ 748 w 1208"/>
              <a:gd name="T85" fmla="*/ 518 h 792"/>
              <a:gd name="T86" fmla="*/ 858 w 1208"/>
              <a:gd name="T87" fmla="*/ 524 h 792"/>
              <a:gd name="T88" fmla="*/ 870 w 1208"/>
              <a:gd name="T89" fmla="*/ 372 h 792"/>
              <a:gd name="T90" fmla="*/ 1004 w 1208"/>
              <a:gd name="T91" fmla="*/ 458 h 792"/>
              <a:gd name="T92" fmla="*/ 1076 w 1208"/>
              <a:gd name="T93" fmla="*/ 496 h 792"/>
              <a:gd name="T94" fmla="*/ 1098 w 1208"/>
              <a:gd name="T95" fmla="*/ 570 h 792"/>
              <a:gd name="T96" fmla="*/ 1072 w 1208"/>
              <a:gd name="T97" fmla="*/ 632 h 792"/>
              <a:gd name="T98" fmla="*/ 998 w 1208"/>
              <a:gd name="T99" fmla="*/ 656 h 792"/>
              <a:gd name="T100" fmla="*/ 1052 w 1208"/>
              <a:gd name="T101" fmla="*/ 724 h 792"/>
              <a:gd name="T102" fmla="*/ 1160 w 1208"/>
              <a:gd name="T103" fmla="*/ 646 h 792"/>
              <a:gd name="T104" fmla="*/ 1112 w 1208"/>
              <a:gd name="T105" fmla="*/ 656 h 792"/>
              <a:gd name="T106" fmla="*/ 1204 w 1208"/>
              <a:gd name="T107" fmla="*/ 688 h 792"/>
              <a:gd name="T108" fmla="*/ 122 w 1208"/>
              <a:gd name="T109" fmla="*/ 556 h 792"/>
              <a:gd name="T110" fmla="*/ 440 w 1208"/>
              <a:gd name="T111" fmla="*/ 108 h 792"/>
              <a:gd name="T112" fmla="*/ 318 w 1208"/>
              <a:gd name="T113" fmla="*/ 148 h 792"/>
              <a:gd name="T114" fmla="*/ 352 w 1208"/>
              <a:gd name="T115" fmla="*/ 184 h 792"/>
              <a:gd name="T116" fmla="*/ 518 w 1208"/>
              <a:gd name="T117" fmla="*/ 216 h 792"/>
              <a:gd name="T118" fmla="*/ 590 w 1208"/>
              <a:gd name="T119" fmla="*/ 86 h 792"/>
              <a:gd name="T120" fmla="*/ 578 w 1208"/>
              <a:gd name="T121" fmla="*/ 156 h 792"/>
              <a:gd name="T122" fmla="*/ 136 w 1208"/>
              <a:gd name="T123" fmla="*/ 576 h 792"/>
              <a:gd name="T124" fmla="*/ 308 w 1208"/>
              <a:gd name="T125" fmla="*/ 11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8" h="792">
                <a:moveTo>
                  <a:pt x="790" y="726"/>
                </a:moveTo>
                <a:lnTo>
                  <a:pt x="790" y="726"/>
                </a:lnTo>
                <a:lnTo>
                  <a:pt x="784" y="722"/>
                </a:lnTo>
                <a:lnTo>
                  <a:pt x="784" y="722"/>
                </a:lnTo>
                <a:lnTo>
                  <a:pt x="786" y="720"/>
                </a:lnTo>
                <a:lnTo>
                  <a:pt x="786" y="720"/>
                </a:lnTo>
                <a:lnTo>
                  <a:pt x="792" y="722"/>
                </a:lnTo>
                <a:lnTo>
                  <a:pt x="798" y="724"/>
                </a:lnTo>
                <a:lnTo>
                  <a:pt x="798" y="724"/>
                </a:lnTo>
                <a:lnTo>
                  <a:pt x="800" y="726"/>
                </a:lnTo>
                <a:lnTo>
                  <a:pt x="802" y="726"/>
                </a:lnTo>
                <a:lnTo>
                  <a:pt x="800" y="726"/>
                </a:lnTo>
                <a:lnTo>
                  <a:pt x="800" y="726"/>
                </a:lnTo>
                <a:lnTo>
                  <a:pt x="790" y="726"/>
                </a:lnTo>
                <a:lnTo>
                  <a:pt x="790" y="726"/>
                </a:lnTo>
                <a:close/>
                <a:moveTo>
                  <a:pt x="840" y="190"/>
                </a:moveTo>
                <a:lnTo>
                  <a:pt x="840" y="190"/>
                </a:lnTo>
                <a:lnTo>
                  <a:pt x="838" y="192"/>
                </a:lnTo>
                <a:lnTo>
                  <a:pt x="834" y="194"/>
                </a:lnTo>
                <a:lnTo>
                  <a:pt x="834" y="194"/>
                </a:lnTo>
                <a:lnTo>
                  <a:pt x="824" y="194"/>
                </a:lnTo>
                <a:lnTo>
                  <a:pt x="824" y="194"/>
                </a:lnTo>
                <a:lnTo>
                  <a:pt x="824" y="196"/>
                </a:lnTo>
                <a:lnTo>
                  <a:pt x="826" y="196"/>
                </a:lnTo>
                <a:lnTo>
                  <a:pt x="826" y="196"/>
                </a:lnTo>
                <a:lnTo>
                  <a:pt x="826" y="198"/>
                </a:lnTo>
                <a:lnTo>
                  <a:pt x="826" y="198"/>
                </a:lnTo>
                <a:lnTo>
                  <a:pt x="826" y="198"/>
                </a:lnTo>
                <a:lnTo>
                  <a:pt x="826" y="198"/>
                </a:lnTo>
                <a:lnTo>
                  <a:pt x="826" y="198"/>
                </a:lnTo>
                <a:lnTo>
                  <a:pt x="828" y="200"/>
                </a:lnTo>
                <a:lnTo>
                  <a:pt x="828" y="200"/>
                </a:lnTo>
                <a:lnTo>
                  <a:pt x="830" y="198"/>
                </a:lnTo>
                <a:lnTo>
                  <a:pt x="830" y="198"/>
                </a:lnTo>
                <a:lnTo>
                  <a:pt x="832" y="202"/>
                </a:lnTo>
                <a:lnTo>
                  <a:pt x="834" y="202"/>
                </a:lnTo>
                <a:lnTo>
                  <a:pt x="834" y="202"/>
                </a:lnTo>
                <a:lnTo>
                  <a:pt x="842" y="194"/>
                </a:lnTo>
                <a:lnTo>
                  <a:pt x="846" y="190"/>
                </a:lnTo>
                <a:lnTo>
                  <a:pt x="844" y="190"/>
                </a:lnTo>
                <a:lnTo>
                  <a:pt x="840" y="190"/>
                </a:lnTo>
                <a:lnTo>
                  <a:pt x="840" y="190"/>
                </a:lnTo>
                <a:close/>
                <a:moveTo>
                  <a:pt x="868" y="100"/>
                </a:moveTo>
                <a:lnTo>
                  <a:pt x="866" y="100"/>
                </a:lnTo>
                <a:lnTo>
                  <a:pt x="866" y="100"/>
                </a:lnTo>
                <a:lnTo>
                  <a:pt x="862" y="88"/>
                </a:lnTo>
                <a:lnTo>
                  <a:pt x="862" y="88"/>
                </a:lnTo>
                <a:lnTo>
                  <a:pt x="860" y="84"/>
                </a:lnTo>
                <a:lnTo>
                  <a:pt x="860" y="84"/>
                </a:lnTo>
                <a:lnTo>
                  <a:pt x="856" y="84"/>
                </a:lnTo>
                <a:lnTo>
                  <a:pt x="856" y="84"/>
                </a:lnTo>
                <a:lnTo>
                  <a:pt x="854" y="84"/>
                </a:lnTo>
                <a:lnTo>
                  <a:pt x="852" y="82"/>
                </a:lnTo>
                <a:lnTo>
                  <a:pt x="852" y="82"/>
                </a:lnTo>
                <a:lnTo>
                  <a:pt x="846" y="84"/>
                </a:lnTo>
                <a:lnTo>
                  <a:pt x="840" y="86"/>
                </a:lnTo>
                <a:lnTo>
                  <a:pt x="840" y="86"/>
                </a:lnTo>
                <a:lnTo>
                  <a:pt x="840" y="86"/>
                </a:lnTo>
                <a:lnTo>
                  <a:pt x="836" y="86"/>
                </a:lnTo>
                <a:lnTo>
                  <a:pt x="834" y="86"/>
                </a:lnTo>
                <a:lnTo>
                  <a:pt x="830" y="82"/>
                </a:lnTo>
                <a:lnTo>
                  <a:pt x="830" y="82"/>
                </a:lnTo>
                <a:lnTo>
                  <a:pt x="826" y="84"/>
                </a:lnTo>
                <a:lnTo>
                  <a:pt x="822" y="86"/>
                </a:lnTo>
                <a:lnTo>
                  <a:pt x="822" y="86"/>
                </a:lnTo>
                <a:lnTo>
                  <a:pt x="818" y="86"/>
                </a:lnTo>
                <a:lnTo>
                  <a:pt x="818" y="86"/>
                </a:lnTo>
                <a:lnTo>
                  <a:pt x="814" y="90"/>
                </a:lnTo>
                <a:lnTo>
                  <a:pt x="812" y="96"/>
                </a:lnTo>
                <a:lnTo>
                  <a:pt x="808" y="108"/>
                </a:lnTo>
                <a:lnTo>
                  <a:pt x="808" y="108"/>
                </a:lnTo>
                <a:lnTo>
                  <a:pt x="808" y="106"/>
                </a:lnTo>
                <a:lnTo>
                  <a:pt x="808" y="110"/>
                </a:lnTo>
                <a:lnTo>
                  <a:pt x="810" y="114"/>
                </a:lnTo>
                <a:lnTo>
                  <a:pt x="814" y="118"/>
                </a:lnTo>
                <a:lnTo>
                  <a:pt x="814" y="118"/>
                </a:lnTo>
                <a:lnTo>
                  <a:pt x="818" y="118"/>
                </a:lnTo>
                <a:lnTo>
                  <a:pt x="820" y="116"/>
                </a:lnTo>
                <a:lnTo>
                  <a:pt x="824" y="114"/>
                </a:lnTo>
                <a:lnTo>
                  <a:pt x="824" y="114"/>
                </a:lnTo>
                <a:lnTo>
                  <a:pt x="830" y="116"/>
                </a:lnTo>
                <a:lnTo>
                  <a:pt x="838" y="116"/>
                </a:lnTo>
                <a:lnTo>
                  <a:pt x="838" y="116"/>
                </a:lnTo>
                <a:lnTo>
                  <a:pt x="842" y="116"/>
                </a:lnTo>
                <a:lnTo>
                  <a:pt x="844" y="112"/>
                </a:lnTo>
                <a:lnTo>
                  <a:pt x="850" y="108"/>
                </a:lnTo>
                <a:lnTo>
                  <a:pt x="850" y="108"/>
                </a:lnTo>
                <a:lnTo>
                  <a:pt x="852" y="108"/>
                </a:lnTo>
                <a:lnTo>
                  <a:pt x="856" y="108"/>
                </a:lnTo>
                <a:lnTo>
                  <a:pt x="856" y="108"/>
                </a:lnTo>
                <a:lnTo>
                  <a:pt x="858" y="106"/>
                </a:lnTo>
                <a:lnTo>
                  <a:pt x="858" y="106"/>
                </a:lnTo>
                <a:lnTo>
                  <a:pt x="860" y="106"/>
                </a:lnTo>
                <a:lnTo>
                  <a:pt x="864" y="106"/>
                </a:lnTo>
                <a:lnTo>
                  <a:pt x="864" y="106"/>
                </a:lnTo>
                <a:lnTo>
                  <a:pt x="868" y="104"/>
                </a:lnTo>
                <a:lnTo>
                  <a:pt x="868" y="104"/>
                </a:lnTo>
                <a:lnTo>
                  <a:pt x="868" y="100"/>
                </a:lnTo>
                <a:lnTo>
                  <a:pt x="868" y="100"/>
                </a:lnTo>
                <a:close/>
                <a:moveTo>
                  <a:pt x="570" y="12"/>
                </a:moveTo>
                <a:lnTo>
                  <a:pt x="570" y="12"/>
                </a:lnTo>
                <a:lnTo>
                  <a:pt x="572" y="14"/>
                </a:lnTo>
                <a:lnTo>
                  <a:pt x="572" y="14"/>
                </a:lnTo>
                <a:lnTo>
                  <a:pt x="572" y="14"/>
                </a:lnTo>
                <a:lnTo>
                  <a:pt x="572" y="16"/>
                </a:lnTo>
                <a:lnTo>
                  <a:pt x="570" y="16"/>
                </a:lnTo>
                <a:lnTo>
                  <a:pt x="564" y="16"/>
                </a:lnTo>
                <a:lnTo>
                  <a:pt x="564" y="16"/>
                </a:lnTo>
                <a:lnTo>
                  <a:pt x="564" y="14"/>
                </a:lnTo>
                <a:lnTo>
                  <a:pt x="564" y="14"/>
                </a:lnTo>
                <a:lnTo>
                  <a:pt x="566" y="12"/>
                </a:lnTo>
                <a:lnTo>
                  <a:pt x="566" y="12"/>
                </a:lnTo>
                <a:lnTo>
                  <a:pt x="560" y="4"/>
                </a:lnTo>
                <a:lnTo>
                  <a:pt x="560" y="6"/>
                </a:lnTo>
                <a:lnTo>
                  <a:pt x="560" y="6"/>
                </a:lnTo>
                <a:lnTo>
                  <a:pt x="554" y="6"/>
                </a:lnTo>
                <a:lnTo>
                  <a:pt x="554" y="6"/>
                </a:lnTo>
                <a:lnTo>
                  <a:pt x="554" y="8"/>
                </a:lnTo>
                <a:lnTo>
                  <a:pt x="552" y="8"/>
                </a:lnTo>
                <a:lnTo>
                  <a:pt x="554" y="12"/>
                </a:lnTo>
                <a:lnTo>
                  <a:pt x="554" y="12"/>
                </a:lnTo>
                <a:lnTo>
                  <a:pt x="562" y="14"/>
                </a:lnTo>
                <a:lnTo>
                  <a:pt x="562" y="14"/>
                </a:lnTo>
                <a:lnTo>
                  <a:pt x="562" y="14"/>
                </a:lnTo>
                <a:lnTo>
                  <a:pt x="562" y="16"/>
                </a:lnTo>
                <a:lnTo>
                  <a:pt x="562" y="16"/>
                </a:lnTo>
                <a:lnTo>
                  <a:pt x="552" y="16"/>
                </a:lnTo>
                <a:lnTo>
                  <a:pt x="552" y="16"/>
                </a:lnTo>
                <a:lnTo>
                  <a:pt x="552" y="20"/>
                </a:lnTo>
                <a:lnTo>
                  <a:pt x="552" y="20"/>
                </a:lnTo>
                <a:lnTo>
                  <a:pt x="554" y="22"/>
                </a:lnTo>
                <a:lnTo>
                  <a:pt x="558" y="24"/>
                </a:lnTo>
                <a:lnTo>
                  <a:pt x="558" y="24"/>
                </a:lnTo>
                <a:lnTo>
                  <a:pt x="558" y="32"/>
                </a:lnTo>
                <a:lnTo>
                  <a:pt x="558" y="32"/>
                </a:lnTo>
                <a:lnTo>
                  <a:pt x="560" y="32"/>
                </a:lnTo>
                <a:lnTo>
                  <a:pt x="560" y="34"/>
                </a:lnTo>
                <a:lnTo>
                  <a:pt x="558" y="38"/>
                </a:lnTo>
                <a:lnTo>
                  <a:pt x="558" y="38"/>
                </a:lnTo>
                <a:lnTo>
                  <a:pt x="554" y="36"/>
                </a:lnTo>
                <a:lnTo>
                  <a:pt x="554" y="36"/>
                </a:lnTo>
                <a:lnTo>
                  <a:pt x="554" y="34"/>
                </a:lnTo>
                <a:lnTo>
                  <a:pt x="554" y="30"/>
                </a:lnTo>
                <a:lnTo>
                  <a:pt x="554" y="30"/>
                </a:lnTo>
                <a:lnTo>
                  <a:pt x="544" y="22"/>
                </a:lnTo>
                <a:lnTo>
                  <a:pt x="544" y="22"/>
                </a:lnTo>
                <a:lnTo>
                  <a:pt x="542" y="16"/>
                </a:lnTo>
                <a:lnTo>
                  <a:pt x="542" y="16"/>
                </a:lnTo>
                <a:lnTo>
                  <a:pt x="538" y="14"/>
                </a:lnTo>
                <a:lnTo>
                  <a:pt x="536" y="14"/>
                </a:lnTo>
                <a:lnTo>
                  <a:pt x="534" y="16"/>
                </a:lnTo>
                <a:lnTo>
                  <a:pt x="534" y="16"/>
                </a:lnTo>
                <a:lnTo>
                  <a:pt x="534" y="16"/>
                </a:lnTo>
                <a:lnTo>
                  <a:pt x="534" y="18"/>
                </a:lnTo>
                <a:lnTo>
                  <a:pt x="532" y="20"/>
                </a:lnTo>
                <a:lnTo>
                  <a:pt x="532" y="20"/>
                </a:lnTo>
                <a:lnTo>
                  <a:pt x="536" y="20"/>
                </a:lnTo>
                <a:lnTo>
                  <a:pt x="536" y="20"/>
                </a:lnTo>
                <a:lnTo>
                  <a:pt x="536" y="26"/>
                </a:lnTo>
                <a:lnTo>
                  <a:pt x="538" y="32"/>
                </a:lnTo>
                <a:lnTo>
                  <a:pt x="538" y="32"/>
                </a:lnTo>
                <a:lnTo>
                  <a:pt x="540" y="32"/>
                </a:lnTo>
                <a:lnTo>
                  <a:pt x="540" y="32"/>
                </a:lnTo>
                <a:lnTo>
                  <a:pt x="542" y="38"/>
                </a:lnTo>
                <a:lnTo>
                  <a:pt x="542" y="38"/>
                </a:lnTo>
                <a:lnTo>
                  <a:pt x="540" y="40"/>
                </a:lnTo>
                <a:lnTo>
                  <a:pt x="538" y="40"/>
                </a:lnTo>
                <a:lnTo>
                  <a:pt x="538" y="40"/>
                </a:lnTo>
                <a:lnTo>
                  <a:pt x="538" y="38"/>
                </a:lnTo>
                <a:lnTo>
                  <a:pt x="538" y="38"/>
                </a:lnTo>
                <a:lnTo>
                  <a:pt x="526" y="40"/>
                </a:lnTo>
                <a:lnTo>
                  <a:pt x="526" y="40"/>
                </a:lnTo>
                <a:lnTo>
                  <a:pt x="528" y="40"/>
                </a:lnTo>
                <a:lnTo>
                  <a:pt x="530" y="42"/>
                </a:lnTo>
                <a:lnTo>
                  <a:pt x="528" y="44"/>
                </a:lnTo>
                <a:lnTo>
                  <a:pt x="528" y="44"/>
                </a:lnTo>
                <a:lnTo>
                  <a:pt x="524" y="44"/>
                </a:lnTo>
                <a:lnTo>
                  <a:pt x="524" y="44"/>
                </a:lnTo>
                <a:lnTo>
                  <a:pt x="524" y="50"/>
                </a:lnTo>
                <a:lnTo>
                  <a:pt x="524" y="50"/>
                </a:lnTo>
                <a:lnTo>
                  <a:pt x="526" y="52"/>
                </a:lnTo>
                <a:lnTo>
                  <a:pt x="530" y="52"/>
                </a:lnTo>
                <a:lnTo>
                  <a:pt x="530" y="52"/>
                </a:lnTo>
                <a:lnTo>
                  <a:pt x="536" y="50"/>
                </a:lnTo>
                <a:lnTo>
                  <a:pt x="540" y="46"/>
                </a:lnTo>
                <a:lnTo>
                  <a:pt x="540" y="46"/>
                </a:lnTo>
                <a:lnTo>
                  <a:pt x="546" y="46"/>
                </a:lnTo>
                <a:lnTo>
                  <a:pt x="554" y="46"/>
                </a:lnTo>
                <a:lnTo>
                  <a:pt x="554" y="46"/>
                </a:lnTo>
                <a:lnTo>
                  <a:pt x="560" y="42"/>
                </a:lnTo>
                <a:lnTo>
                  <a:pt x="560" y="42"/>
                </a:lnTo>
                <a:lnTo>
                  <a:pt x="560" y="46"/>
                </a:lnTo>
                <a:lnTo>
                  <a:pt x="558" y="46"/>
                </a:lnTo>
                <a:lnTo>
                  <a:pt x="558" y="46"/>
                </a:lnTo>
                <a:lnTo>
                  <a:pt x="556" y="48"/>
                </a:lnTo>
                <a:lnTo>
                  <a:pt x="556" y="48"/>
                </a:lnTo>
                <a:lnTo>
                  <a:pt x="550" y="52"/>
                </a:lnTo>
                <a:lnTo>
                  <a:pt x="550" y="52"/>
                </a:lnTo>
                <a:lnTo>
                  <a:pt x="550" y="58"/>
                </a:lnTo>
                <a:lnTo>
                  <a:pt x="554" y="60"/>
                </a:lnTo>
                <a:lnTo>
                  <a:pt x="558" y="60"/>
                </a:lnTo>
                <a:lnTo>
                  <a:pt x="564" y="60"/>
                </a:lnTo>
                <a:lnTo>
                  <a:pt x="564" y="60"/>
                </a:lnTo>
                <a:lnTo>
                  <a:pt x="572" y="62"/>
                </a:lnTo>
                <a:lnTo>
                  <a:pt x="572" y="62"/>
                </a:lnTo>
                <a:lnTo>
                  <a:pt x="582" y="60"/>
                </a:lnTo>
                <a:lnTo>
                  <a:pt x="594" y="60"/>
                </a:lnTo>
                <a:lnTo>
                  <a:pt x="594" y="60"/>
                </a:lnTo>
                <a:lnTo>
                  <a:pt x="596" y="58"/>
                </a:lnTo>
                <a:lnTo>
                  <a:pt x="596" y="58"/>
                </a:lnTo>
                <a:lnTo>
                  <a:pt x="594" y="54"/>
                </a:lnTo>
                <a:lnTo>
                  <a:pt x="594" y="54"/>
                </a:lnTo>
                <a:lnTo>
                  <a:pt x="594" y="54"/>
                </a:lnTo>
                <a:lnTo>
                  <a:pt x="596" y="54"/>
                </a:lnTo>
                <a:lnTo>
                  <a:pt x="596" y="54"/>
                </a:lnTo>
                <a:lnTo>
                  <a:pt x="598" y="52"/>
                </a:lnTo>
                <a:lnTo>
                  <a:pt x="596" y="50"/>
                </a:lnTo>
                <a:lnTo>
                  <a:pt x="596" y="50"/>
                </a:lnTo>
                <a:lnTo>
                  <a:pt x="594" y="48"/>
                </a:lnTo>
                <a:lnTo>
                  <a:pt x="592" y="48"/>
                </a:lnTo>
                <a:lnTo>
                  <a:pt x="592" y="48"/>
                </a:lnTo>
                <a:lnTo>
                  <a:pt x="592" y="42"/>
                </a:lnTo>
                <a:lnTo>
                  <a:pt x="592" y="42"/>
                </a:lnTo>
                <a:lnTo>
                  <a:pt x="594" y="42"/>
                </a:lnTo>
                <a:lnTo>
                  <a:pt x="594" y="42"/>
                </a:lnTo>
                <a:lnTo>
                  <a:pt x="594" y="38"/>
                </a:lnTo>
                <a:lnTo>
                  <a:pt x="594" y="38"/>
                </a:lnTo>
                <a:lnTo>
                  <a:pt x="588" y="38"/>
                </a:lnTo>
                <a:lnTo>
                  <a:pt x="588" y="38"/>
                </a:lnTo>
                <a:lnTo>
                  <a:pt x="590" y="34"/>
                </a:lnTo>
                <a:lnTo>
                  <a:pt x="590" y="30"/>
                </a:lnTo>
                <a:lnTo>
                  <a:pt x="588" y="26"/>
                </a:lnTo>
                <a:lnTo>
                  <a:pt x="588" y="26"/>
                </a:lnTo>
                <a:lnTo>
                  <a:pt x="586" y="22"/>
                </a:lnTo>
                <a:lnTo>
                  <a:pt x="588" y="16"/>
                </a:lnTo>
                <a:lnTo>
                  <a:pt x="588" y="16"/>
                </a:lnTo>
                <a:lnTo>
                  <a:pt x="578" y="12"/>
                </a:lnTo>
                <a:lnTo>
                  <a:pt x="578" y="12"/>
                </a:lnTo>
                <a:lnTo>
                  <a:pt x="580" y="12"/>
                </a:lnTo>
                <a:lnTo>
                  <a:pt x="580" y="10"/>
                </a:lnTo>
                <a:lnTo>
                  <a:pt x="580" y="10"/>
                </a:lnTo>
                <a:lnTo>
                  <a:pt x="576" y="8"/>
                </a:lnTo>
                <a:lnTo>
                  <a:pt x="572" y="6"/>
                </a:lnTo>
                <a:lnTo>
                  <a:pt x="572" y="6"/>
                </a:lnTo>
                <a:lnTo>
                  <a:pt x="570" y="12"/>
                </a:lnTo>
                <a:lnTo>
                  <a:pt x="570" y="12"/>
                </a:lnTo>
                <a:close/>
                <a:moveTo>
                  <a:pt x="504" y="26"/>
                </a:moveTo>
                <a:lnTo>
                  <a:pt x="504" y="28"/>
                </a:lnTo>
                <a:lnTo>
                  <a:pt x="504" y="28"/>
                </a:lnTo>
                <a:lnTo>
                  <a:pt x="518" y="26"/>
                </a:lnTo>
                <a:lnTo>
                  <a:pt x="518" y="26"/>
                </a:lnTo>
                <a:lnTo>
                  <a:pt x="516" y="28"/>
                </a:lnTo>
                <a:lnTo>
                  <a:pt x="516" y="28"/>
                </a:lnTo>
                <a:lnTo>
                  <a:pt x="506" y="32"/>
                </a:lnTo>
                <a:lnTo>
                  <a:pt x="504" y="34"/>
                </a:lnTo>
                <a:lnTo>
                  <a:pt x="504" y="34"/>
                </a:lnTo>
                <a:lnTo>
                  <a:pt x="516" y="32"/>
                </a:lnTo>
                <a:lnTo>
                  <a:pt x="518" y="34"/>
                </a:lnTo>
                <a:lnTo>
                  <a:pt x="518" y="34"/>
                </a:lnTo>
                <a:lnTo>
                  <a:pt x="514" y="36"/>
                </a:lnTo>
                <a:lnTo>
                  <a:pt x="514" y="36"/>
                </a:lnTo>
                <a:lnTo>
                  <a:pt x="512" y="40"/>
                </a:lnTo>
                <a:lnTo>
                  <a:pt x="512" y="40"/>
                </a:lnTo>
                <a:lnTo>
                  <a:pt x="508" y="40"/>
                </a:lnTo>
                <a:lnTo>
                  <a:pt x="508" y="40"/>
                </a:lnTo>
                <a:lnTo>
                  <a:pt x="508" y="44"/>
                </a:lnTo>
                <a:lnTo>
                  <a:pt x="508" y="44"/>
                </a:lnTo>
                <a:lnTo>
                  <a:pt x="514" y="44"/>
                </a:lnTo>
                <a:lnTo>
                  <a:pt x="520" y="42"/>
                </a:lnTo>
                <a:lnTo>
                  <a:pt x="520" y="42"/>
                </a:lnTo>
                <a:lnTo>
                  <a:pt x="522" y="40"/>
                </a:lnTo>
                <a:lnTo>
                  <a:pt x="524" y="38"/>
                </a:lnTo>
                <a:lnTo>
                  <a:pt x="524" y="38"/>
                </a:lnTo>
                <a:lnTo>
                  <a:pt x="530" y="34"/>
                </a:lnTo>
                <a:lnTo>
                  <a:pt x="530" y="34"/>
                </a:lnTo>
                <a:lnTo>
                  <a:pt x="530" y="32"/>
                </a:lnTo>
                <a:lnTo>
                  <a:pt x="530" y="32"/>
                </a:lnTo>
                <a:lnTo>
                  <a:pt x="528" y="32"/>
                </a:lnTo>
                <a:lnTo>
                  <a:pt x="528" y="30"/>
                </a:lnTo>
                <a:lnTo>
                  <a:pt x="530" y="28"/>
                </a:lnTo>
                <a:lnTo>
                  <a:pt x="530" y="28"/>
                </a:lnTo>
                <a:lnTo>
                  <a:pt x="530" y="26"/>
                </a:lnTo>
                <a:lnTo>
                  <a:pt x="530" y="26"/>
                </a:lnTo>
                <a:lnTo>
                  <a:pt x="530" y="24"/>
                </a:lnTo>
                <a:lnTo>
                  <a:pt x="526" y="22"/>
                </a:lnTo>
                <a:lnTo>
                  <a:pt x="526" y="22"/>
                </a:lnTo>
                <a:lnTo>
                  <a:pt x="520" y="24"/>
                </a:lnTo>
                <a:lnTo>
                  <a:pt x="520" y="24"/>
                </a:lnTo>
                <a:lnTo>
                  <a:pt x="524" y="18"/>
                </a:lnTo>
                <a:lnTo>
                  <a:pt x="524" y="16"/>
                </a:lnTo>
                <a:lnTo>
                  <a:pt x="520" y="14"/>
                </a:lnTo>
                <a:lnTo>
                  <a:pt x="520" y="14"/>
                </a:lnTo>
                <a:lnTo>
                  <a:pt x="512" y="16"/>
                </a:lnTo>
                <a:lnTo>
                  <a:pt x="506" y="18"/>
                </a:lnTo>
                <a:lnTo>
                  <a:pt x="506" y="18"/>
                </a:lnTo>
                <a:lnTo>
                  <a:pt x="502" y="20"/>
                </a:lnTo>
                <a:lnTo>
                  <a:pt x="502" y="20"/>
                </a:lnTo>
                <a:lnTo>
                  <a:pt x="500" y="20"/>
                </a:lnTo>
                <a:lnTo>
                  <a:pt x="500" y="22"/>
                </a:lnTo>
                <a:lnTo>
                  <a:pt x="500" y="24"/>
                </a:lnTo>
                <a:lnTo>
                  <a:pt x="504" y="26"/>
                </a:lnTo>
                <a:lnTo>
                  <a:pt x="504" y="26"/>
                </a:lnTo>
                <a:close/>
                <a:moveTo>
                  <a:pt x="616" y="64"/>
                </a:moveTo>
                <a:lnTo>
                  <a:pt x="616" y="64"/>
                </a:lnTo>
                <a:lnTo>
                  <a:pt x="628" y="68"/>
                </a:lnTo>
                <a:lnTo>
                  <a:pt x="628" y="68"/>
                </a:lnTo>
                <a:lnTo>
                  <a:pt x="628" y="66"/>
                </a:lnTo>
                <a:lnTo>
                  <a:pt x="630" y="66"/>
                </a:lnTo>
                <a:lnTo>
                  <a:pt x="630" y="66"/>
                </a:lnTo>
                <a:lnTo>
                  <a:pt x="634" y="70"/>
                </a:lnTo>
                <a:lnTo>
                  <a:pt x="634" y="70"/>
                </a:lnTo>
                <a:lnTo>
                  <a:pt x="640" y="70"/>
                </a:lnTo>
                <a:lnTo>
                  <a:pt x="640" y="70"/>
                </a:lnTo>
                <a:lnTo>
                  <a:pt x="642" y="58"/>
                </a:lnTo>
                <a:lnTo>
                  <a:pt x="642" y="52"/>
                </a:lnTo>
                <a:lnTo>
                  <a:pt x="642" y="48"/>
                </a:lnTo>
                <a:lnTo>
                  <a:pt x="642" y="48"/>
                </a:lnTo>
                <a:lnTo>
                  <a:pt x="638" y="46"/>
                </a:lnTo>
                <a:lnTo>
                  <a:pt x="636" y="44"/>
                </a:lnTo>
                <a:lnTo>
                  <a:pt x="636" y="44"/>
                </a:lnTo>
                <a:lnTo>
                  <a:pt x="634" y="40"/>
                </a:lnTo>
                <a:lnTo>
                  <a:pt x="634" y="40"/>
                </a:lnTo>
                <a:lnTo>
                  <a:pt x="632" y="40"/>
                </a:lnTo>
                <a:lnTo>
                  <a:pt x="628" y="38"/>
                </a:lnTo>
                <a:lnTo>
                  <a:pt x="620" y="38"/>
                </a:lnTo>
                <a:lnTo>
                  <a:pt x="620" y="38"/>
                </a:lnTo>
                <a:lnTo>
                  <a:pt x="618" y="44"/>
                </a:lnTo>
                <a:lnTo>
                  <a:pt x="614" y="48"/>
                </a:lnTo>
                <a:lnTo>
                  <a:pt x="614" y="48"/>
                </a:lnTo>
                <a:lnTo>
                  <a:pt x="612" y="50"/>
                </a:lnTo>
                <a:lnTo>
                  <a:pt x="610" y="50"/>
                </a:lnTo>
                <a:lnTo>
                  <a:pt x="610" y="50"/>
                </a:lnTo>
                <a:lnTo>
                  <a:pt x="610" y="54"/>
                </a:lnTo>
                <a:lnTo>
                  <a:pt x="610" y="54"/>
                </a:lnTo>
                <a:lnTo>
                  <a:pt x="608" y="56"/>
                </a:lnTo>
                <a:lnTo>
                  <a:pt x="608" y="56"/>
                </a:lnTo>
                <a:lnTo>
                  <a:pt x="608" y="60"/>
                </a:lnTo>
                <a:lnTo>
                  <a:pt x="608" y="62"/>
                </a:lnTo>
                <a:lnTo>
                  <a:pt x="608" y="62"/>
                </a:lnTo>
                <a:lnTo>
                  <a:pt x="610" y="62"/>
                </a:lnTo>
                <a:lnTo>
                  <a:pt x="610" y="60"/>
                </a:lnTo>
                <a:lnTo>
                  <a:pt x="610" y="60"/>
                </a:lnTo>
                <a:lnTo>
                  <a:pt x="614" y="62"/>
                </a:lnTo>
                <a:lnTo>
                  <a:pt x="614" y="62"/>
                </a:lnTo>
                <a:lnTo>
                  <a:pt x="616" y="64"/>
                </a:lnTo>
                <a:lnTo>
                  <a:pt x="616" y="64"/>
                </a:lnTo>
                <a:close/>
                <a:moveTo>
                  <a:pt x="682" y="74"/>
                </a:moveTo>
                <a:lnTo>
                  <a:pt x="682" y="74"/>
                </a:lnTo>
                <a:lnTo>
                  <a:pt x="682" y="74"/>
                </a:lnTo>
                <a:lnTo>
                  <a:pt x="680" y="72"/>
                </a:lnTo>
                <a:lnTo>
                  <a:pt x="680" y="70"/>
                </a:lnTo>
                <a:lnTo>
                  <a:pt x="676" y="70"/>
                </a:lnTo>
                <a:lnTo>
                  <a:pt x="676" y="74"/>
                </a:lnTo>
                <a:lnTo>
                  <a:pt x="676" y="74"/>
                </a:lnTo>
                <a:lnTo>
                  <a:pt x="672" y="74"/>
                </a:lnTo>
                <a:lnTo>
                  <a:pt x="668" y="74"/>
                </a:lnTo>
                <a:lnTo>
                  <a:pt x="668" y="74"/>
                </a:lnTo>
                <a:lnTo>
                  <a:pt x="668" y="68"/>
                </a:lnTo>
                <a:lnTo>
                  <a:pt x="668" y="68"/>
                </a:lnTo>
                <a:lnTo>
                  <a:pt x="668" y="66"/>
                </a:lnTo>
                <a:lnTo>
                  <a:pt x="668" y="66"/>
                </a:lnTo>
                <a:lnTo>
                  <a:pt x="666" y="58"/>
                </a:lnTo>
                <a:lnTo>
                  <a:pt x="666" y="58"/>
                </a:lnTo>
                <a:lnTo>
                  <a:pt x="668" y="56"/>
                </a:lnTo>
                <a:lnTo>
                  <a:pt x="668" y="52"/>
                </a:lnTo>
                <a:lnTo>
                  <a:pt x="668" y="52"/>
                </a:lnTo>
                <a:lnTo>
                  <a:pt x="666" y="48"/>
                </a:lnTo>
                <a:lnTo>
                  <a:pt x="666" y="48"/>
                </a:lnTo>
                <a:lnTo>
                  <a:pt x="670" y="44"/>
                </a:lnTo>
                <a:lnTo>
                  <a:pt x="670" y="40"/>
                </a:lnTo>
                <a:lnTo>
                  <a:pt x="668" y="36"/>
                </a:lnTo>
                <a:lnTo>
                  <a:pt x="668" y="36"/>
                </a:lnTo>
                <a:lnTo>
                  <a:pt x="664" y="34"/>
                </a:lnTo>
                <a:lnTo>
                  <a:pt x="664" y="34"/>
                </a:lnTo>
                <a:lnTo>
                  <a:pt x="664" y="32"/>
                </a:lnTo>
                <a:lnTo>
                  <a:pt x="664" y="32"/>
                </a:lnTo>
                <a:lnTo>
                  <a:pt x="662" y="28"/>
                </a:lnTo>
                <a:lnTo>
                  <a:pt x="658" y="28"/>
                </a:lnTo>
                <a:lnTo>
                  <a:pt x="648" y="26"/>
                </a:lnTo>
                <a:lnTo>
                  <a:pt x="648" y="22"/>
                </a:lnTo>
                <a:lnTo>
                  <a:pt x="648" y="22"/>
                </a:lnTo>
                <a:lnTo>
                  <a:pt x="646" y="22"/>
                </a:lnTo>
                <a:lnTo>
                  <a:pt x="644" y="24"/>
                </a:lnTo>
                <a:lnTo>
                  <a:pt x="642" y="28"/>
                </a:lnTo>
                <a:lnTo>
                  <a:pt x="642" y="28"/>
                </a:lnTo>
                <a:lnTo>
                  <a:pt x="640" y="28"/>
                </a:lnTo>
                <a:lnTo>
                  <a:pt x="640" y="28"/>
                </a:lnTo>
                <a:lnTo>
                  <a:pt x="634" y="24"/>
                </a:lnTo>
                <a:lnTo>
                  <a:pt x="628" y="22"/>
                </a:lnTo>
                <a:lnTo>
                  <a:pt x="628" y="22"/>
                </a:lnTo>
                <a:lnTo>
                  <a:pt x="622" y="22"/>
                </a:lnTo>
                <a:lnTo>
                  <a:pt x="618" y="20"/>
                </a:lnTo>
                <a:lnTo>
                  <a:pt x="618" y="20"/>
                </a:lnTo>
                <a:lnTo>
                  <a:pt x="616" y="18"/>
                </a:lnTo>
                <a:lnTo>
                  <a:pt x="614" y="14"/>
                </a:lnTo>
                <a:lnTo>
                  <a:pt x="614" y="14"/>
                </a:lnTo>
                <a:lnTo>
                  <a:pt x="608" y="10"/>
                </a:lnTo>
                <a:lnTo>
                  <a:pt x="608" y="10"/>
                </a:lnTo>
                <a:lnTo>
                  <a:pt x="608" y="8"/>
                </a:lnTo>
                <a:lnTo>
                  <a:pt x="608" y="8"/>
                </a:lnTo>
                <a:lnTo>
                  <a:pt x="610" y="8"/>
                </a:lnTo>
                <a:lnTo>
                  <a:pt x="610" y="8"/>
                </a:lnTo>
                <a:lnTo>
                  <a:pt x="614" y="2"/>
                </a:lnTo>
                <a:lnTo>
                  <a:pt x="614" y="2"/>
                </a:lnTo>
                <a:lnTo>
                  <a:pt x="620" y="4"/>
                </a:lnTo>
                <a:lnTo>
                  <a:pt x="620" y="4"/>
                </a:lnTo>
                <a:lnTo>
                  <a:pt x="624" y="2"/>
                </a:lnTo>
                <a:lnTo>
                  <a:pt x="624" y="2"/>
                </a:lnTo>
                <a:lnTo>
                  <a:pt x="624" y="4"/>
                </a:lnTo>
                <a:lnTo>
                  <a:pt x="624" y="4"/>
                </a:lnTo>
                <a:lnTo>
                  <a:pt x="634" y="6"/>
                </a:lnTo>
                <a:lnTo>
                  <a:pt x="634" y="6"/>
                </a:lnTo>
                <a:lnTo>
                  <a:pt x="640" y="6"/>
                </a:lnTo>
                <a:lnTo>
                  <a:pt x="644" y="6"/>
                </a:lnTo>
                <a:lnTo>
                  <a:pt x="644" y="6"/>
                </a:lnTo>
                <a:lnTo>
                  <a:pt x="650" y="10"/>
                </a:lnTo>
                <a:lnTo>
                  <a:pt x="650" y="10"/>
                </a:lnTo>
                <a:lnTo>
                  <a:pt x="650" y="14"/>
                </a:lnTo>
                <a:lnTo>
                  <a:pt x="650" y="14"/>
                </a:lnTo>
                <a:lnTo>
                  <a:pt x="660" y="14"/>
                </a:lnTo>
                <a:lnTo>
                  <a:pt x="674" y="10"/>
                </a:lnTo>
                <a:lnTo>
                  <a:pt x="674" y="10"/>
                </a:lnTo>
                <a:lnTo>
                  <a:pt x="676" y="16"/>
                </a:lnTo>
                <a:lnTo>
                  <a:pt x="676" y="16"/>
                </a:lnTo>
                <a:lnTo>
                  <a:pt x="680" y="16"/>
                </a:lnTo>
                <a:lnTo>
                  <a:pt x="684" y="16"/>
                </a:lnTo>
                <a:lnTo>
                  <a:pt x="684" y="16"/>
                </a:lnTo>
                <a:lnTo>
                  <a:pt x="686" y="20"/>
                </a:lnTo>
                <a:lnTo>
                  <a:pt x="686" y="20"/>
                </a:lnTo>
                <a:lnTo>
                  <a:pt x="696" y="22"/>
                </a:lnTo>
                <a:lnTo>
                  <a:pt x="696" y="22"/>
                </a:lnTo>
                <a:lnTo>
                  <a:pt x="696" y="26"/>
                </a:lnTo>
                <a:lnTo>
                  <a:pt x="696" y="26"/>
                </a:lnTo>
                <a:lnTo>
                  <a:pt x="690" y="28"/>
                </a:lnTo>
                <a:lnTo>
                  <a:pt x="682" y="28"/>
                </a:lnTo>
                <a:lnTo>
                  <a:pt x="682" y="30"/>
                </a:lnTo>
                <a:lnTo>
                  <a:pt x="682" y="30"/>
                </a:lnTo>
                <a:lnTo>
                  <a:pt x="686" y="32"/>
                </a:lnTo>
                <a:lnTo>
                  <a:pt x="686" y="32"/>
                </a:lnTo>
                <a:lnTo>
                  <a:pt x="684" y="36"/>
                </a:lnTo>
                <a:lnTo>
                  <a:pt x="684" y="36"/>
                </a:lnTo>
                <a:lnTo>
                  <a:pt x="686" y="36"/>
                </a:lnTo>
                <a:lnTo>
                  <a:pt x="686" y="36"/>
                </a:lnTo>
                <a:lnTo>
                  <a:pt x="688" y="32"/>
                </a:lnTo>
                <a:lnTo>
                  <a:pt x="688" y="32"/>
                </a:lnTo>
                <a:lnTo>
                  <a:pt x="694" y="32"/>
                </a:lnTo>
                <a:lnTo>
                  <a:pt x="700" y="34"/>
                </a:lnTo>
                <a:lnTo>
                  <a:pt x="700" y="34"/>
                </a:lnTo>
                <a:lnTo>
                  <a:pt x="700" y="40"/>
                </a:lnTo>
                <a:lnTo>
                  <a:pt x="700" y="40"/>
                </a:lnTo>
                <a:lnTo>
                  <a:pt x="702" y="38"/>
                </a:lnTo>
                <a:lnTo>
                  <a:pt x="702" y="36"/>
                </a:lnTo>
                <a:lnTo>
                  <a:pt x="702" y="36"/>
                </a:lnTo>
                <a:lnTo>
                  <a:pt x="716" y="40"/>
                </a:lnTo>
                <a:lnTo>
                  <a:pt x="716" y="42"/>
                </a:lnTo>
                <a:lnTo>
                  <a:pt x="716" y="42"/>
                </a:lnTo>
                <a:lnTo>
                  <a:pt x="718" y="42"/>
                </a:lnTo>
                <a:lnTo>
                  <a:pt x="718" y="40"/>
                </a:lnTo>
                <a:lnTo>
                  <a:pt x="718" y="40"/>
                </a:lnTo>
                <a:lnTo>
                  <a:pt x="722" y="42"/>
                </a:lnTo>
                <a:lnTo>
                  <a:pt x="726" y="44"/>
                </a:lnTo>
                <a:lnTo>
                  <a:pt x="726" y="38"/>
                </a:lnTo>
                <a:lnTo>
                  <a:pt x="726" y="38"/>
                </a:lnTo>
                <a:lnTo>
                  <a:pt x="734" y="42"/>
                </a:lnTo>
                <a:lnTo>
                  <a:pt x="744" y="42"/>
                </a:lnTo>
                <a:lnTo>
                  <a:pt x="744" y="42"/>
                </a:lnTo>
                <a:lnTo>
                  <a:pt x="744" y="40"/>
                </a:lnTo>
                <a:lnTo>
                  <a:pt x="744" y="40"/>
                </a:lnTo>
                <a:lnTo>
                  <a:pt x="748" y="38"/>
                </a:lnTo>
                <a:lnTo>
                  <a:pt x="748" y="38"/>
                </a:lnTo>
                <a:lnTo>
                  <a:pt x="756" y="38"/>
                </a:lnTo>
                <a:lnTo>
                  <a:pt x="762" y="38"/>
                </a:lnTo>
                <a:lnTo>
                  <a:pt x="762" y="34"/>
                </a:lnTo>
                <a:lnTo>
                  <a:pt x="762" y="34"/>
                </a:lnTo>
                <a:lnTo>
                  <a:pt x="768" y="34"/>
                </a:lnTo>
                <a:lnTo>
                  <a:pt x="770" y="32"/>
                </a:lnTo>
                <a:lnTo>
                  <a:pt x="770" y="32"/>
                </a:lnTo>
                <a:lnTo>
                  <a:pt x="774" y="32"/>
                </a:lnTo>
                <a:lnTo>
                  <a:pt x="776" y="34"/>
                </a:lnTo>
                <a:lnTo>
                  <a:pt x="780" y="36"/>
                </a:lnTo>
                <a:lnTo>
                  <a:pt x="780" y="36"/>
                </a:lnTo>
                <a:lnTo>
                  <a:pt x="784" y="34"/>
                </a:lnTo>
                <a:lnTo>
                  <a:pt x="786" y="34"/>
                </a:lnTo>
                <a:lnTo>
                  <a:pt x="786" y="34"/>
                </a:lnTo>
                <a:lnTo>
                  <a:pt x="802" y="34"/>
                </a:lnTo>
                <a:lnTo>
                  <a:pt x="802" y="34"/>
                </a:lnTo>
                <a:lnTo>
                  <a:pt x="802" y="38"/>
                </a:lnTo>
                <a:lnTo>
                  <a:pt x="806" y="40"/>
                </a:lnTo>
                <a:lnTo>
                  <a:pt x="806" y="40"/>
                </a:lnTo>
                <a:lnTo>
                  <a:pt x="810" y="40"/>
                </a:lnTo>
                <a:lnTo>
                  <a:pt x="812" y="38"/>
                </a:lnTo>
                <a:lnTo>
                  <a:pt x="812" y="38"/>
                </a:lnTo>
                <a:lnTo>
                  <a:pt x="816" y="38"/>
                </a:lnTo>
                <a:lnTo>
                  <a:pt x="820" y="40"/>
                </a:lnTo>
                <a:lnTo>
                  <a:pt x="826" y="44"/>
                </a:lnTo>
                <a:lnTo>
                  <a:pt x="826" y="44"/>
                </a:lnTo>
                <a:lnTo>
                  <a:pt x="830" y="44"/>
                </a:lnTo>
                <a:lnTo>
                  <a:pt x="830" y="44"/>
                </a:lnTo>
                <a:lnTo>
                  <a:pt x="832" y="50"/>
                </a:lnTo>
                <a:lnTo>
                  <a:pt x="832" y="52"/>
                </a:lnTo>
                <a:lnTo>
                  <a:pt x="830" y="54"/>
                </a:lnTo>
                <a:lnTo>
                  <a:pt x="830" y="54"/>
                </a:lnTo>
                <a:lnTo>
                  <a:pt x="822" y="60"/>
                </a:lnTo>
                <a:lnTo>
                  <a:pt x="822" y="60"/>
                </a:lnTo>
                <a:lnTo>
                  <a:pt x="822" y="58"/>
                </a:lnTo>
                <a:lnTo>
                  <a:pt x="822" y="60"/>
                </a:lnTo>
                <a:lnTo>
                  <a:pt x="822" y="60"/>
                </a:lnTo>
                <a:lnTo>
                  <a:pt x="822" y="64"/>
                </a:lnTo>
                <a:lnTo>
                  <a:pt x="822" y="66"/>
                </a:lnTo>
                <a:lnTo>
                  <a:pt x="822" y="64"/>
                </a:lnTo>
                <a:lnTo>
                  <a:pt x="822" y="64"/>
                </a:lnTo>
                <a:lnTo>
                  <a:pt x="820" y="68"/>
                </a:lnTo>
                <a:lnTo>
                  <a:pt x="820" y="68"/>
                </a:lnTo>
                <a:lnTo>
                  <a:pt x="806" y="70"/>
                </a:lnTo>
                <a:lnTo>
                  <a:pt x="794" y="70"/>
                </a:lnTo>
                <a:lnTo>
                  <a:pt x="794" y="70"/>
                </a:lnTo>
                <a:lnTo>
                  <a:pt x="792" y="68"/>
                </a:lnTo>
                <a:lnTo>
                  <a:pt x="792" y="68"/>
                </a:lnTo>
                <a:lnTo>
                  <a:pt x="792" y="68"/>
                </a:lnTo>
                <a:lnTo>
                  <a:pt x="792" y="70"/>
                </a:lnTo>
                <a:lnTo>
                  <a:pt x="792" y="70"/>
                </a:lnTo>
                <a:lnTo>
                  <a:pt x="790" y="70"/>
                </a:lnTo>
                <a:lnTo>
                  <a:pt x="788" y="70"/>
                </a:lnTo>
                <a:lnTo>
                  <a:pt x="788" y="70"/>
                </a:lnTo>
                <a:lnTo>
                  <a:pt x="784" y="68"/>
                </a:lnTo>
                <a:lnTo>
                  <a:pt x="784" y="68"/>
                </a:lnTo>
                <a:lnTo>
                  <a:pt x="782" y="64"/>
                </a:lnTo>
                <a:lnTo>
                  <a:pt x="782" y="64"/>
                </a:lnTo>
                <a:lnTo>
                  <a:pt x="780" y="64"/>
                </a:lnTo>
                <a:lnTo>
                  <a:pt x="780" y="64"/>
                </a:lnTo>
                <a:lnTo>
                  <a:pt x="780" y="70"/>
                </a:lnTo>
                <a:lnTo>
                  <a:pt x="780" y="70"/>
                </a:lnTo>
                <a:lnTo>
                  <a:pt x="778" y="70"/>
                </a:lnTo>
                <a:lnTo>
                  <a:pt x="778" y="70"/>
                </a:lnTo>
                <a:lnTo>
                  <a:pt x="778" y="70"/>
                </a:lnTo>
                <a:lnTo>
                  <a:pt x="762" y="72"/>
                </a:lnTo>
                <a:lnTo>
                  <a:pt x="762" y="72"/>
                </a:lnTo>
                <a:lnTo>
                  <a:pt x="754" y="70"/>
                </a:lnTo>
                <a:lnTo>
                  <a:pt x="754" y="70"/>
                </a:lnTo>
                <a:lnTo>
                  <a:pt x="750" y="72"/>
                </a:lnTo>
                <a:lnTo>
                  <a:pt x="750" y="72"/>
                </a:lnTo>
                <a:lnTo>
                  <a:pt x="750" y="70"/>
                </a:lnTo>
                <a:lnTo>
                  <a:pt x="748" y="68"/>
                </a:lnTo>
                <a:lnTo>
                  <a:pt x="748" y="72"/>
                </a:lnTo>
                <a:lnTo>
                  <a:pt x="748" y="72"/>
                </a:lnTo>
                <a:lnTo>
                  <a:pt x="736" y="72"/>
                </a:lnTo>
                <a:lnTo>
                  <a:pt x="736" y="72"/>
                </a:lnTo>
                <a:lnTo>
                  <a:pt x="736" y="70"/>
                </a:lnTo>
                <a:lnTo>
                  <a:pt x="736" y="68"/>
                </a:lnTo>
                <a:lnTo>
                  <a:pt x="736" y="68"/>
                </a:lnTo>
                <a:lnTo>
                  <a:pt x="730" y="68"/>
                </a:lnTo>
                <a:lnTo>
                  <a:pt x="730" y="72"/>
                </a:lnTo>
                <a:lnTo>
                  <a:pt x="730" y="72"/>
                </a:lnTo>
                <a:lnTo>
                  <a:pt x="724" y="72"/>
                </a:lnTo>
                <a:lnTo>
                  <a:pt x="722" y="70"/>
                </a:lnTo>
                <a:lnTo>
                  <a:pt x="722" y="70"/>
                </a:lnTo>
                <a:lnTo>
                  <a:pt x="716" y="74"/>
                </a:lnTo>
                <a:lnTo>
                  <a:pt x="716" y="74"/>
                </a:lnTo>
                <a:lnTo>
                  <a:pt x="712" y="74"/>
                </a:lnTo>
                <a:lnTo>
                  <a:pt x="710" y="72"/>
                </a:lnTo>
                <a:lnTo>
                  <a:pt x="710" y="72"/>
                </a:lnTo>
                <a:lnTo>
                  <a:pt x="706" y="62"/>
                </a:lnTo>
                <a:lnTo>
                  <a:pt x="700" y="66"/>
                </a:lnTo>
                <a:lnTo>
                  <a:pt x="700" y="66"/>
                </a:lnTo>
                <a:lnTo>
                  <a:pt x="700" y="68"/>
                </a:lnTo>
                <a:lnTo>
                  <a:pt x="700" y="70"/>
                </a:lnTo>
                <a:lnTo>
                  <a:pt x="700" y="70"/>
                </a:lnTo>
                <a:lnTo>
                  <a:pt x="682" y="74"/>
                </a:lnTo>
                <a:lnTo>
                  <a:pt x="682" y="74"/>
                </a:lnTo>
                <a:close/>
                <a:moveTo>
                  <a:pt x="348" y="36"/>
                </a:moveTo>
                <a:lnTo>
                  <a:pt x="348" y="36"/>
                </a:lnTo>
                <a:lnTo>
                  <a:pt x="342" y="38"/>
                </a:lnTo>
                <a:lnTo>
                  <a:pt x="342" y="38"/>
                </a:lnTo>
                <a:lnTo>
                  <a:pt x="336" y="38"/>
                </a:lnTo>
                <a:lnTo>
                  <a:pt x="336" y="38"/>
                </a:lnTo>
                <a:lnTo>
                  <a:pt x="336" y="38"/>
                </a:lnTo>
                <a:lnTo>
                  <a:pt x="334" y="40"/>
                </a:lnTo>
                <a:lnTo>
                  <a:pt x="336" y="44"/>
                </a:lnTo>
                <a:lnTo>
                  <a:pt x="336" y="44"/>
                </a:lnTo>
                <a:lnTo>
                  <a:pt x="344" y="42"/>
                </a:lnTo>
                <a:lnTo>
                  <a:pt x="346" y="44"/>
                </a:lnTo>
                <a:lnTo>
                  <a:pt x="344" y="44"/>
                </a:lnTo>
                <a:lnTo>
                  <a:pt x="342" y="46"/>
                </a:lnTo>
                <a:lnTo>
                  <a:pt x="342" y="46"/>
                </a:lnTo>
                <a:lnTo>
                  <a:pt x="334" y="48"/>
                </a:lnTo>
                <a:lnTo>
                  <a:pt x="334" y="48"/>
                </a:lnTo>
                <a:lnTo>
                  <a:pt x="332" y="50"/>
                </a:lnTo>
                <a:lnTo>
                  <a:pt x="332" y="50"/>
                </a:lnTo>
                <a:lnTo>
                  <a:pt x="332" y="52"/>
                </a:lnTo>
                <a:lnTo>
                  <a:pt x="332" y="52"/>
                </a:lnTo>
                <a:lnTo>
                  <a:pt x="336" y="54"/>
                </a:lnTo>
                <a:lnTo>
                  <a:pt x="340" y="54"/>
                </a:lnTo>
                <a:lnTo>
                  <a:pt x="348" y="52"/>
                </a:lnTo>
                <a:lnTo>
                  <a:pt x="348" y="52"/>
                </a:lnTo>
                <a:lnTo>
                  <a:pt x="348" y="52"/>
                </a:lnTo>
                <a:lnTo>
                  <a:pt x="350" y="52"/>
                </a:lnTo>
                <a:lnTo>
                  <a:pt x="350" y="52"/>
                </a:lnTo>
                <a:lnTo>
                  <a:pt x="350" y="56"/>
                </a:lnTo>
                <a:lnTo>
                  <a:pt x="350" y="56"/>
                </a:lnTo>
                <a:lnTo>
                  <a:pt x="352" y="56"/>
                </a:lnTo>
                <a:lnTo>
                  <a:pt x="352" y="56"/>
                </a:lnTo>
                <a:lnTo>
                  <a:pt x="352" y="50"/>
                </a:lnTo>
                <a:lnTo>
                  <a:pt x="352" y="50"/>
                </a:lnTo>
                <a:lnTo>
                  <a:pt x="356" y="50"/>
                </a:lnTo>
                <a:lnTo>
                  <a:pt x="356" y="50"/>
                </a:lnTo>
                <a:lnTo>
                  <a:pt x="356" y="54"/>
                </a:lnTo>
                <a:lnTo>
                  <a:pt x="356" y="58"/>
                </a:lnTo>
                <a:lnTo>
                  <a:pt x="356" y="58"/>
                </a:lnTo>
                <a:lnTo>
                  <a:pt x="360" y="58"/>
                </a:lnTo>
                <a:lnTo>
                  <a:pt x="360" y="58"/>
                </a:lnTo>
                <a:lnTo>
                  <a:pt x="362" y="54"/>
                </a:lnTo>
                <a:lnTo>
                  <a:pt x="364" y="54"/>
                </a:lnTo>
                <a:lnTo>
                  <a:pt x="364" y="54"/>
                </a:lnTo>
                <a:lnTo>
                  <a:pt x="364" y="52"/>
                </a:lnTo>
                <a:lnTo>
                  <a:pt x="364" y="48"/>
                </a:lnTo>
                <a:lnTo>
                  <a:pt x="364" y="46"/>
                </a:lnTo>
                <a:lnTo>
                  <a:pt x="366" y="46"/>
                </a:lnTo>
                <a:lnTo>
                  <a:pt x="366" y="46"/>
                </a:lnTo>
                <a:lnTo>
                  <a:pt x="364" y="44"/>
                </a:lnTo>
                <a:lnTo>
                  <a:pt x="364" y="42"/>
                </a:lnTo>
                <a:lnTo>
                  <a:pt x="364" y="42"/>
                </a:lnTo>
                <a:lnTo>
                  <a:pt x="364" y="38"/>
                </a:lnTo>
                <a:lnTo>
                  <a:pt x="364" y="38"/>
                </a:lnTo>
                <a:lnTo>
                  <a:pt x="368" y="38"/>
                </a:lnTo>
                <a:lnTo>
                  <a:pt x="368" y="38"/>
                </a:lnTo>
                <a:lnTo>
                  <a:pt x="368" y="52"/>
                </a:lnTo>
                <a:lnTo>
                  <a:pt x="368" y="52"/>
                </a:lnTo>
                <a:lnTo>
                  <a:pt x="378" y="52"/>
                </a:lnTo>
                <a:lnTo>
                  <a:pt x="382" y="52"/>
                </a:lnTo>
                <a:lnTo>
                  <a:pt x="388" y="50"/>
                </a:lnTo>
                <a:lnTo>
                  <a:pt x="388" y="50"/>
                </a:lnTo>
                <a:lnTo>
                  <a:pt x="390" y="46"/>
                </a:lnTo>
                <a:lnTo>
                  <a:pt x="390" y="46"/>
                </a:lnTo>
                <a:lnTo>
                  <a:pt x="394" y="46"/>
                </a:lnTo>
                <a:lnTo>
                  <a:pt x="394" y="46"/>
                </a:lnTo>
                <a:lnTo>
                  <a:pt x="396" y="50"/>
                </a:lnTo>
                <a:lnTo>
                  <a:pt x="396" y="50"/>
                </a:lnTo>
                <a:lnTo>
                  <a:pt x="400" y="50"/>
                </a:lnTo>
                <a:lnTo>
                  <a:pt x="400" y="48"/>
                </a:lnTo>
                <a:lnTo>
                  <a:pt x="400" y="48"/>
                </a:lnTo>
                <a:lnTo>
                  <a:pt x="406" y="50"/>
                </a:lnTo>
                <a:lnTo>
                  <a:pt x="412" y="48"/>
                </a:lnTo>
                <a:lnTo>
                  <a:pt x="412" y="48"/>
                </a:lnTo>
                <a:lnTo>
                  <a:pt x="412" y="44"/>
                </a:lnTo>
                <a:lnTo>
                  <a:pt x="412" y="44"/>
                </a:lnTo>
                <a:lnTo>
                  <a:pt x="414" y="44"/>
                </a:lnTo>
                <a:lnTo>
                  <a:pt x="414" y="44"/>
                </a:lnTo>
                <a:lnTo>
                  <a:pt x="414" y="48"/>
                </a:lnTo>
                <a:lnTo>
                  <a:pt x="414" y="48"/>
                </a:lnTo>
                <a:lnTo>
                  <a:pt x="410" y="52"/>
                </a:lnTo>
                <a:lnTo>
                  <a:pt x="406" y="56"/>
                </a:lnTo>
                <a:lnTo>
                  <a:pt x="406" y="56"/>
                </a:lnTo>
                <a:lnTo>
                  <a:pt x="402" y="58"/>
                </a:lnTo>
                <a:lnTo>
                  <a:pt x="398" y="58"/>
                </a:lnTo>
                <a:lnTo>
                  <a:pt x="388" y="58"/>
                </a:lnTo>
                <a:lnTo>
                  <a:pt x="388" y="58"/>
                </a:lnTo>
                <a:lnTo>
                  <a:pt x="382" y="60"/>
                </a:lnTo>
                <a:lnTo>
                  <a:pt x="382" y="60"/>
                </a:lnTo>
                <a:lnTo>
                  <a:pt x="380" y="64"/>
                </a:lnTo>
                <a:lnTo>
                  <a:pt x="380" y="64"/>
                </a:lnTo>
                <a:lnTo>
                  <a:pt x="376" y="64"/>
                </a:lnTo>
                <a:lnTo>
                  <a:pt x="376" y="64"/>
                </a:lnTo>
                <a:lnTo>
                  <a:pt x="372" y="64"/>
                </a:lnTo>
                <a:lnTo>
                  <a:pt x="370" y="68"/>
                </a:lnTo>
                <a:lnTo>
                  <a:pt x="370" y="70"/>
                </a:lnTo>
                <a:lnTo>
                  <a:pt x="372" y="74"/>
                </a:lnTo>
                <a:lnTo>
                  <a:pt x="372" y="74"/>
                </a:lnTo>
                <a:lnTo>
                  <a:pt x="376" y="76"/>
                </a:lnTo>
                <a:lnTo>
                  <a:pt x="376" y="76"/>
                </a:lnTo>
                <a:lnTo>
                  <a:pt x="386" y="76"/>
                </a:lnTo>
                <a:lnTo>
                  <a:pt x="392" y="74"/>
                </a:lnTo>
                <a:lnTo>
                  <a:pt x="392" y="74"/>
                </a:lnTo>
                <a:lnTo>
                  <a:pt x="396" y="70"/>
                </a:lnTo>
                <a:lnTo>
                  <a:pt x="396" y="70"/>
                </a:lnTo>
                <a:lnTo>
                  <a:pt x="400" y="70"/>
                </a:lnTo>
                <a:lnTo>
                  <a:pt x="404" y="68"/>
                </a:lnTo>
                <a:lnTo>
                  <a:pt x="404" y="68"/>
                </a:lnTo>
                <a:lnTo>
                  <a:pt x="406" y="64"/>
                </a:lnTo>
                <a:lnTo>
                  <a:pt x="410" y="60"/>
                </a:lnTo>
                <a:lnTo>
                  <a:pt x="410" y="60"/>
                </a:lnTo>
                <a:lnTo>
                  <a:pt x="414" y="60"/>
                </a:lnTo>
                <a:lnTo>
                  <a:pt x="418" y="62"/>
                </a:lnTo>
                <a:lnTo>
                  <a:pt x="418" y="62"/>
                </a:lnTo>
                <a:lnTo>
                  <a:pt x="422" y="58"/>
                </a:lnTo>
                <a:lnTo>
                  <a:pt x="422" y="58"/>
                </a:lnTo>
                <a:lnTo>
                  <a:pt x="428" y="58"/>
                </a:lnTo>
                <a:lnTo>
                  <a:pt x="434" y="56"/>
                </a:lnTo>
                <a:lnTo>
                  <a:pt x="434" y="56"/>
                </a:lnTo>
                <a:lnTo>
                  <a:pt x="436" y="54"/>
                </a:lnTo>
                <a:lnTo>
                  <a:pt x="436" y="54"/>
                </a:lnTo>
                <a:lnTo>
                  <a:pt x="440" y="54"/>
                </a:lnTo>
                <a:lnTo>
                  <a:pt x="440" y="54"/>
                </a:lnTo>
                <a:lnTo>
                  <a:pt x="440" y="56"/>
                </a:lnTo>
                <a:lnTo>
                  <a:pt x="440" y="58"/>
                </a:lnTo>
                <a:lnTo>
                  <a:pt x="442" y="60"/>
                </a:lnTo>
                <a:lnTo>
                  <a:pt x="448" y="60"/>
                </a:lnTo>
                <a:lnTo>
                  <a:pt x="448" y="60"/>
                </a:lnTo>
                <a:lnTo>
                  <a:pt x="452" y="56"/>
                </a:lnTo>
                <a:lnTo>
                  <a:pt x="454" y="52"/>
                </a:lnTo>
                <a:lnTo>
                  <a:pt x="454" y="52"/>
                </a:lnTo>
                <a:lnTo>
                  <a:pt x="456" y="54"/>
                </a:lnTo>
                <a:lnTo>
                  <a:pt x="458" y="54"/>
                </a:lnTo>
                <a:lnTo>
                  <a:pt x="458" y="54"/>
                </a:lnTo>
                <a:lnTo>
                  <a:pt x="468" y="54"/>
                </a:lnTo>
                <a:lnTo>
                  <a:pt x="470" y="54"/>
                </a:lnTo>
                <a:lnTo>
                  <a:pt x="474" y="54"/>
                </a:lnTo>
                <a:lnTo>
                  <a:pt x="474" y="54"/>
                </a:lnTo>
                <a:lnTo>
                  <a:pt x="474" y="54"/>
                </a:lnTo>
                <a:lnTo>
                  <a:pt x="478" y="50"/>
                </a:lnTo>
                <a:lnTo>
                  <a:pt x="478" y="50"/>
                </a:lnTo>
                <a:lnTo>
                  <a:pt x="480" y="50"/>
                </a:lnTo>
                <a:lnTo>
                  <a:pt x="480" y="50"/>
                </a:lnTo>
                <a:lnTo>
                  <a:pt x="478" y="36"/>
                </a:lnTo>
                <a:lnTo>
                  <a:pt x="478" y="30"/>
                </a:lnTo>
                <a:lnTo>
                  <a:pt x="476" y="26"/>
                </a:lnTo>
                <a:lnTo>
                  <a:pt x="476" y="26"/>
                </a:lnTo>
                <a:lnTo>
                  <a:pt x="470" y="22"/>
                </a:lnTo>
                <a:lnTo>
                  <a:pt x="470" y="22"/>
                </a:lnTo>
                <a:lnTo>
                  <a:pt x="470" y="20"/>
                </a:lnTo>
                <a:lnTo>
                  <a:pt x="468" y="22"/>
                </a:lnTo>
                <a:lnTo>
                  <a:pt x="468" y="22"/>
                </a:lnTo>
                <a:lnTo>
                  <a:pt x="468" y="22"/>
                </a:lnTo>
                <a:lnTo>
                  <a:pt x="468" y="28"/>
                </a:lnTo>
                <a:lnTo>
                  <a:pt x="470" y="30"/>
                </a:lnTo>
                <a:lnTo>
                  <a:pt x="470" y="30"/>
                </a:lnTo>
                <a:lnTo>
                  <a:pt x="468" y="32"/>
                </a:lnTo>
                <a:lnTo>
                  <a:pt x="466" y="34"/>
                </a:lnTo>
                <a:lnTo>
                  <a:pt x="466" y="34"/>
                </a:lnTo>
                <a:lnTo>
                  <a:pt x="466" y="38"/>
                </a:lnTo>
                <a:lnTo>
                  <a:pt x="466" y="38"/>
                </a:lnTo>
                <a:lnTo>
                  <a:pt x="464" y="40"/>
                </a:lnTo>
                <a:lnTo>
                  <a:pt x="464" y="40"/>
                </a:lnTo>
                <a:lnTo>
                  <a:pt x="462" y="30"/>
                </a:lnTo>
                <a:lnTo>
                  <a:pt x="462" y="30"/>
                </a:lnTo>
                <a:lnTo>
                  <a:pt x="456" y="32"/>
                </a:lnTo>
                <a:lnTo>
                  <a:pt x="456" y="32"/>
                </a:lnTo>
                <a:lnTo>
                  <a:pt x="456" y="36"/>
                </a:lnTo>
                <a:lnTo>
                  <a:pt x="456" y="36"/>
                </a:lnTo>
                <a:lnTo>
                  <a:pt x="454" y="36"/>
                </a:lnTo>
                <a:lnTo>
                  <a:pt x="454" y="34"/>
                </a:lnTo>
                <a:lnTo>
                  <a:pt x="456" y="32"/>
                </a:lnTo>
                <a:lnTo>
                  <a:pt x="456" y="32"/>
                </a:lnTo>
                <a:lnTo>
                  <a:pt x="456" y="28"/>
                </a:lnTo>
                <a:lnTo>
                  <a:pt x="456" y="22"/>
                </a:lnTo>
                <a:lnTo>
                  <a:pt x="456" y="20"/>
                </a:lnTo>
                <a:lnTo>
                  <a:pt x="456" y="20"/>
                </a:lnTo>
                <a:lnTo>
                  <a:pt x="452" y="20"/>
                </a:lnTo>
                <a:lnTo>
                  <a:pt x="452" y="20"/>
                </a:lnTo>
                <a:lnTo>
                  <a:pt x="450" y="22"/>
                </a:lnTo>
                <a:lnTo>
                  <a:pt x="450" y="22"/>
                </a:lnTo>
                <a:lnTo>
                  <a:pt x="446" y="24"/>
                </a:lnTo>
                <a:lnTo>
                  <a:pt x="446" y="24"/>
                </a:lnTo>
                <a:lnTo>
                  <a:pt x="440" y="16"/>
                </a:lnTo>
                <a:lnTo>
                  <a:pt x="440" y="16"/>
                </a:lnTo>
                <a:lnTo>
                  <a:pt x="436" y="16"/>
                </a:lnTo>
                <a:lnTo>
                  <a:pt x="434" y="14"/>
                </a:lnTo>
                <a:lnTo>
                  <a:pt x="434" y="14"/>
                </a:lnTo>
                <a:lnTo>
                  <a:pt x="434" y="10"/>
                </a:lnTo>
                <a:lnTo>
                  <a:pt x="432" y="6"/>
                </a:lnTo>
                <a:lnTo>
                  <a:pt x="432" y="2"/>
                </a:lnTo>
                <a:lnTo>
                  <a:pt x="428" y="0"/>
                </a:lnTo>
                <a:lnTo>
                  <a:pt x="428" y="4"/>
                </a:lnTo>
                <a:lnTo>
                  <a:pt x="426" y="4"/>
                </a:lnTo>
                <a:lnTo>
                  <a:pt x="426" y="4"/>
                </a:lnTo>
                <a:lnTo>
                  <a:pt x="422" y="2"/>
                </a:lnTo>
                <a:lnTo>
                  <a:pt x="422" y="2"/>
                </a:lnTo>
                <a:lnTo>
                  <a:pt x="426" y="12"/>
                </a:lnTo>
                <a:lnTo>
                  <a:pt x="426" y="12"/>
                </a:lnTo>
                <a:lnTo>
                  <a:pt x="424" y="12"/>
                </a:lnTo>
                <a:lnTo>
                  <a:pt x="422" y="14"/>
                </a:lnTo>
                <a:lnTo>
                  <a:pt x="422" y="14"/>
                </a:lnTo>
                <a:lnTo>
                  <a:pt x="424" y="14"/>
                </a:lnTo>
                <a:lnTo>
                  <a:pt x="424" y="18"/>
                </a:lnTo>
                <a:lnTo>
                  <a:pt x="422" y="24"/>
                </a:lnTo>
                <a:lnTo>
                  <a:pt x="422" y="24"/>
                </a:lnTo>
                <a:lnTo>
                  <a:pt x="432" y="28"/>
                </a:lnTo>
                <a:lnTo>
                  <a:pt x="432" y="28"/>
                </a:lnTo>
                <a:lnTo>
                  <a:pt x="428" y="36"/>
                </a:lnTo>
                <a:lnTo>
                  <a:pt x="428" y="36"/>
                </a:lnTo>
                <a:lnTo>
                  <a:pt x="434" y="36"/>
                </a:lnTo>
                <a:lnTo>
                  <a:pt x="434" y="36"/>
                </a:lnTo>
                <a:lnTo>
                  <a:pt x="436" y="38"/>
                </a:lnTo>
                <a:lnTo>
                  <a:pt x="436" y="38"/>
                </a:lnTo>
                <a:lnTo>
                  <a:pt x="436" y="42"/>
                </a:lnTo>
                <a:lnTo>
                  <a:pt x="436" y="42"/>
                </a:lnTo>
                <a:lnTo>
                  <a:pt x="416" y="40"/>
                </a:lnTo>
                <a:lnTo>
                  <a:pt x="416" y="40"/>
                </a:lnTo>
                <a:lnTo>
                  <a:pt x="410" y="40"/>
                </a:lnTo>
                <a:lnTo>
                  <a:pt x="404" y="40"/>
                </a:lnTo>
                <a:lnTo>
                  <a:pt x="404" y="40"/>
                </a:lnTo>
                <a:lnTo>
                  <a:pt x="404" y="36"/>
                </a:lnTo>
                <a:lnTo>
                  <a:pt x="404" y="36"/>
                </a:lnTo>
                <a:lnTo>
                  <a:pt x="398" y="36"/>
                </a:lnTo>
                <a:lnTo>
                  <a:pt x="398" y="36"/>
                </a:lnTo>
                <a:lnTo>
                  <a:pt x="394" y="32"/>
                </a:lnTo>
                <a:lnTo>
                  <a:pt x="394" y="32"/>
                </a:lnTo>
                <a:lnTo>
                  <a:pt x="394" y="32"/>
                </a:lnTo>
                <a:lnTo>
                  <a:pt x="390" y="30"/>
                </a:lnTo>
                <a:lnTo>
                  <a:pt x="384" y="30"/>
                </a:lnTo>
                <a:lnTo>
                  <a:pt x="384" y="30"/>
                </a:lnTo>
                <a:lnTo>
                  <a:pt x="380" y="28"/>
                </a:lnTo>
                <a:lnTo>
                  <a:pt x="378" y="26"/>
                </a:lnTo>
                <a:lnTo>
                  <a:pt x="378" y="26"/>
                </a:lnTo>
                <a:lnTo>
                  <a:pt x="370" y="24"/>
                </a:lnTo>
                <a:lnTo>
                  <a:pt x="364" y="26"/>
                </a:lnTo>
                <a:lnTo>
                  <a:pt x="364" y="26"/>
                </a:lnTo>
                <a:lnTo>
                  <a:pt x="360" y="22"/>
                </a:lnTo>
                <a:lnTo>
                  <a:pt x="360" y="22"/>
                </a:lnTo>
                <a:lnTo>
                  <a:pt x="352" y="22"/>
                </a:lnTo>
                <a:lnTo>
                  <a:pt x="352" y="26"/>
                </a:lnTo>
                <a:lnTo>
                  <a:pt x="352" y="26"/>
                </a:lnTo>
                <a:lnTo>
                  <a:pt x="342" y="24"/>
                </a:lnTo>
                <a:lnTo>
                  <a:pt x="342" y="24"/>
                </a:lnTo>
                <a:lnTo>
                  <a:pt x="342" y="32"/>
                </a:lnTo>
                <a:lnTo>
                  <a:pt x="344" y="34"/>
                </a:lnTo>
                <a:lnTo>
                  <a:pt x="348" y="36"/>
                </a:lnTo>
                <a:lnTo>
                  <a:pt x="348" y="36"/>
                </a:lnTo>
                <a:close/>
                <a:moveTo>
                  <a:pt x="798" y="334"/>
                </a:moveTo>
                <a:lnTo>
                  <a:pt x="798" y="334"/>
                </a:lnTo>
                <a:lnTo>
                  <a:pt x="792" y="334"/>
                </a:lnTo>
                <a:lnTo>
                  <a:pt x="792" y="334"/>
                </a:lnTo>
                <a:lnTo>
                  <a:pt x="790" y="338"/>
                </a:lnTo>
                <a:lnTo>
                  <a:pt x="790" y="338"/>
                </a:lnTo>
                <a:lnTo>
                  <a:pt x="788" y="332"/>
                </a:lnTo>
                <a:lnTo>
                  <a:pt x="786" y="324"/>
                </a:lnTo>
                <a:lnTo>
                  <a:pt x="784" y="324"/>
                </a:lnTo>
                <a:lnTo>
                  <a:pt x="784" y="322"/>
                </a:lnTo>
                <a:lnTo>
                  <a:pt x="776" y="316"/>
                </a:lnTo>
                <a:lnTo>
                  <a:pt x="776" y="314"/>
                </a:lnTo>
                <a:lnTo>
                  <a:pt x="774" y="314"/>
                </a:lnTo>
                <a:lnTo>
                  <a:pt x="774" y="314"/>
                </a:lnTo>
                <a:lnTo>
                  <a:pt x="774" y="312"/>
                </a:lnTo>
                <a:lnTo>
                  <a:pt x="772" y="310"/>
                </a:lnTo>
                <a:lnTo>
                  <a:pt x="772" y="310"/>
                </a:lnTo>
                <a:lnTo>
                  <a:pt x="768" y="310"/>
                </a:lnTo>
                <a:lnTo>
                  <a:pt x="762" y="310"/>
                </a:lnTo>
                <a:lnTo>
                  <a:pt x="762" y="308"/>
                </a:lnTo>
                <a:lnTo>
                  <a:pt x="762" y="308"/>
                </a:lnTo>
                <a:lnTo>
                  <a:pt x="760" y="308"/>
                </a:lnTo>
                <a:lnTo>
                  <a:pt x="758" y="308"/>
                </a:lnTo>
                <a:lnTo>
                  <a:pt x="758" y="312"/>
                </a:lnTo>
                <a:lnTo>
                  <a:pt x="758" y="312"/>
                </a:lnTo>
                <a:lnTo>
                  <a:pt x="756" y="310"/>
                </a:lnTo>
                <a:lnTo>
                  <a:pt x="754" y="310"/>
                </a:lnTo>
                <a:lnTo>
                  <a:pt x="752" y="306"/>
                </a:lnTo>
                <a:lnTo>
                  <a:pt x="752" y="306"/>
                </a:lnTo>
                <a:lnTo>
                  <a:pt x="756" y="302"/>
                </a:lnTo>
                <a:lnTo>
                  <a:pt x="756" y="302"/>
                </a:lnTo>
                <a:lnTo>
                  <a:pt x="754" y="300"/>
                </a:lnTo>
                <a:lnTo>
                  <a:pt x="750" y="300"/>
                </a:lnTo>
                <a:lnTo>
                  <a:pt x="750" y="300"/>
                </a:lnTo>
                <a:lnTo>
                  <a:pt x="748" y="314"/>
                </a:lnTo>
                <a:lnTo>
                  <a:pt x="750" y="330"/>
                </a:lnTo>
                <a:lnTo>
                  <a:pt x="750" y="330"/>
                </a:lnTo>
                <a:lnTo>
                  <a:pt x="736" y="340"/>
                </a:lnTo>
                <a:lnTo>
                  <a:pt x="736" y="340"/>
                </a:lnTo>
                <a:lnTo>
                  <a:pt x="736" y="342"/>
                </a:lnTo>
                <a:lnTo>
                  <a:pt x="736" y="344"/>
                </a:lnTo>
                <a:lnTo>
                  <a:pt x="736" y="346"/>
                </a:lnTo>
                <a:lnTo>
                  <a:pt x="736" y="346"/>
                </a:lnTo>
                <a:lnTo>
                  <a:pt x="740" y="348"/>
                </a:lnTo>
                <a:lnTo>
                  <a:pt x="742" y="346"/>
                </a:lnTo>
                <a:lnTo>
                  <a:pt x="748" y="344"/>
                </a:lnTo>
                <a:lnTo>
                  <a:pt x="748" y="344"/>
                </a:lnTo>
                <a:lnTo>
                  <a:pt x="750" y="346"/>
                </a:lnTo>
                <a:lnTo>
                  <a:pt x="748" y="346"/>
                </a:lnTo>
                <a:lnTo>
                  <a:pt x="748" y="346"/>
                </a:lnTo>
                <a:lnTo>
                  <a:pt x="750" y="354"/>
                </a:lnTo>
                <a:lnTo>
                  <a:pt x="750" y="354"/>
                </a:lnTo>
                <a:lnTo>
                  <a:pt x="756" y="354"/>
                </a:lnTo>
                <a:lnTo>
                  <a:pt x="762" y="352"/>
                </a:lnTo>
                <a:lnTo>
                  <a:pt x="762" y="352"/>
                </a:lnTo>
                <a:lnTo>
                  <a:pt x="762" y="350"/>
                </a:lnTo>
                <a:lnTo>
                  <a:pt x="762" y="350"/>
                </a:lnTo>
                <a:lnTo>
                  <a:pt x="764" y="346"/>
                </a:lnTo>
                <a:lnTo>
                  <a:pt x="764" y="346"/>
                </a:lnTo>
                <a:lnTo>
                  <a:pt x="764" y="340"/>
                </a:lnTo>
                <a:lnTo>
                  <a:pt x="764" y="334"/>
                </a:lnTo>
                <a:lnTo>
                  <a:pt x="764" y="334"/>
                </a:lnTo>
                <a:lnTo>
                  <a:pt x="770" y="328"/>
                </a:lnTo>
                <a:lnTo>
                  <a:pt x="770" y="328"/>
                </a:lnTo>
                <a:lnTo>
                  <a:pt x="774" y="328"/>
                </a:lnTo>
                <a:lnTo>
                  <a:pt x="774" y="328"/>
                </a:lnTo>
                <a:lnTo>
                  <a:pt x="774" y="328"/>
                </a:lnTo>
                <a:lnTo>
                  <a:pt x="774" y="326"/>
                </a:lnTo>
                <a:lnTo>
                  <a:pt x="778" y="326"/>
                </a:lnTo>
                <a:lnTo>
                  <a:pt x="778" y="326"/>
                </a:lnTo>
                <a:lnTo>
                  <a:pt x="780" y="332"/>
                </a:lnTo>
                <a:lnTo>
                  <a:pt x="780" y="332"/>
                </a:lnTo>
                <a:lnTo>
                  <a:pt x="780" y="336"/>
                </a:lnTo>
                <a:lnTo>
                  <a:pt x="780" y="336"/>
                </a:lnTo>
                <a:lnTo>
                  <a:pt x="776" y="338"/>
                </a:lnTo>
                <a:lnTo>
                  <a:pt x="776" y="338"/>
                </a:lnTo>
                <a:lnTo>
                  <a:pt x="776" y="340"/>
                </a:lnTo>
                <a:lnTo>
                  <a:pt x="776" y="340"/>
                </a:lnTo>
                <a:lnTo>
                  <a:pt x="780" y="340"/>
                </a:lnTo>
                <a:lnTo>
                  <a:pt x="780" y="340"/>
                </a:lnTo>
                <a:lnTo>
                  <a:pt x="782" y="344"/>
                </a:lnTo>
                <a:lnTo>
                  <a:pt x="782" y="344"/>
                </a:lnTo>
                <a:lnTo>
                  <a:pt x="790" y="344"/>
                </a:lnTo>
                <a:lnTo>
                  <a:pt x="798" y="348"/>
                </a:lnTo>
                <a:lnTo>
                  <a:pt x="798" y="348"/>
                </a:lnTo>
                <a:lnTo>
                  <a:pt x="802" y="344"/>
                </a:lnTo>
                <a:lnTo>
                  <a:pt x="802" y="344"/>
                </a:lnTo>
                <a:lnTo>
                  <a:pt x="802" y="338"/>
                </a:lnTo>
                <a:lnTo>
                  <a:pt x="802" y="338"/>
                </a:lnTo>
                <a:lnTo>
                  <a:pt x="804" y="338"/>
                </a:lnTo>
                <a:lnTo>
                  <a:pt x="804" y="338"/>
                </a:lnTo>
                <a:lnTo>
                  <a:pt x="804" y="334"/>
                </a:lnTo>
                <a:lnTo>
                  <a:pt x="804" y="334"/>
                </a:lnTo>
                <a:lnTo>
                  <a:pt x="798" y="334"/>
                </a:lnTo>
                <a:lnTo>
                  <a:pt x="798" y="334"/>
                </a:lnTo>
                <a:close/>
                <a:moveTo>
                  <a:pt x="1082" y="270"/>
                </a:moveTo>
                <a:lnTo>
                  <a:pt x="1082" y="270"/>
                </a:lnTo>
                <a:lnTo>
                  <a:pt x="1080" y="270"/>
                </a:lnTo>
                <a:lnTo>
                  <a:pt x="1080" y="268"/>
                </a:lnTo>
                <a:lnTo>
                  <a:pt x="1080" y="268"/>
                </a:lnTo>
                <a:lnTo>
                  <a:pt x="1080" y="268"/>
                </a:lnTo>
                <a:lnTo>
                  <a:pt x="1076" y="268"/>
                </a:lnTo>
                <a:lnTo>
                  <a:pt x="1076" y="268"/>
                </a:lnTo>
                <a:lnTo>
                  <a:pt x="1078" y="270"/>
                </a:lnTo>
                <a:lnTo>
                  <a:pt x="1078" y="270"/>
                </a:lnTo>
                <a:lnTo>
                  <a:pt x="1078" y="272"/>
                </a:lnTo>
                <a:lnTo>
                  <a:pt x="1078" y="274"/>
                </a:lnTo>
                <a:lnTo>
                  <a:pt x="1078" y="274"/>
                </a:lnTo>
                <a:lnTo>
                  <a:pt x="1078" y="276"/>
                </a:lnTo>
                <a:lnTo>
                  <a:pt x="1078" y="276"/>
                </a:lnTo>
                <a:lnTo>
                  <a:pt x="1078" y="276"/>
                </a:lnTo>
                <a:lnTo>
                  <a:pt x="1078" y="278"/>
                </a:lnTo>
                <a:lnTo>
                  <a:pt x="1078" y="276"/>
                </a:lnTo>
                <a:lnTo>
                  <a:pt x="1078" y="276"/>
                </a:lnTo>
                <a:lnTo>
                  <a:pt x="1076" y="276"/>
                </a:lnTo>
                <a:lnTo>
                  <a:pt x="1072" y="276"/>
                </a:lnTo>
                <a:lnTo>
                  <a:pt x="1072" y="272"/>
                </a:lnTo>
                <a:lnTo>
                  <a:pt x="1072" y="272"/>
                </a:lnTo>
                <a:lnTo>
                  <a:pt x="1068" y="272"/>
                </a:lnTo>
                <a:lnTo>
                  <a:pt x="1068" y="272"/>
                </a:lnTo>
                <a:lnTo>
                  <a:pt x="1066" y="276"/>
                </a:lnTo>
                <a:lnTo>
                  <a:pt x="1066" y="276"/>
                </a:lnTo>
                <a:lnTo>
                  <a:pt x="1068" y="276"/>
                </a:lnTo>
                <a:lnTo>
                  <a:pt x="1068" y="276"/>
                </a:lnTo>
                <a:lnTo>
                  <a:pt x="1068" y="280"/>
                </a:lnTo>
                <a:lnTo>
                  <a:pt x="1068" y="280"/>
                </a:lnTo>
                <a:lnTo>
                  <a:pt x="1062" y="280"/>
                </a:lnTo>
                <a:lnTo>
                  <a:pt x="1062" y="280"/>
                </a:lnTo>
                <a:lnTo>
                  <a:pt x="1062" y="284"/>
                </a:lnTo>
                <a:lnTo>
                  <a:pt x="1062" y="284"/>
                </a:lnTo>
                <a:lnTo>
                  <a:pt x="1064" y="286"/>
                </a:lnTo>
                <a:lnTo>
                  <a:pt x="1064" y="288"/>
                </a:lnTo>
                <a:lnTo>
                  <a:pt x="1064" y="288"/>
                </a:lnTo>
                <a:lnTo>
                  <a:pt x="1060" y="288"/>
                </a:lnTo>
                <a:lnTo>
                  <a:pt x="1060" y="288"/>
                </a:lnTo>
                <a:lnTo>
                  <a:pt x="1060" y="288"/>
                </a:lnTo>
                <a:lnTo>
                  <a:pt x="1060" y="290"/>
                </a:lnTo>
                <a:lnTo>
                  <a:pt x="1060" y="290"/>
                </a:lnTo>
                <a:lnTo>
                  <a:pt x="1062" y="292"/>
                </a:lnTo>
                <a:lnTo>
                  <a:pt x="1064" y="292"/>
                </a:lnTo>
                <a:lnTo>
                  <a:pt x="1064" y="292"/>
                </a:lnTo>
                <a:lnTo>
                  <a:pt x="1064" y="294"/>
                </a:lnTo>
                <a:lnTo>
                  <a:pt x="1064" y="294"/>
                </a:lnTo>
                <a:lnTo>
                  <a:pt x="1058" y="294"/>
                </a:lnTo>
                <a:lnTo>
                  <a:pt x="1058" y="294"/>
                </a:lnTo>
                <a:lnTo>
                  <a:pt x="1058" y="294"/>
                </a:lnTo>
                <a:lnTo>
                  <a:pt x="1058" y="296"/>
                </a:lnTo>
                <a:lnTo>
                  <a:pt x="1054" y="296"/>
                </a:lnTo>
                <a:lnTo>
                  <a:pt x="1054" y="296"/>
                </a:lnTo>
                <a:lnTo>
                  <a:pt x="1054" y="294"/>
                </a:lnTo>
                <a:lnTo>
                  <a:pt x="1052" y="292"/>
                </a:lnTo>
                <a:lnTo>
                  <a:pt x="1052" y="292"/>
                </a:lnTo>
                <a:lnTo>
                  <a:pt x="1052" y="292"/>
                </a:lnTo>
                <a:lnTo>
                  <a:pt x="1052" y="294"/>
                </a:lnTo>
                <a:lnTo>
                  <a:pt x="1050" y="296"/>
                </a:lnTo>
                <a:lnTo>
                  <a:pt x="1050" y="296"/>
                </a:lnTo>
                <a:lnTo>
                  <a:pt x="1054" y="298"/>
                </a:lnTo>
                <a:lnTo>
                  <a:pt x="1054" y="298"/>
                </a:lnTo>
                <a:lnTo>
                  <a:pt x="1054" y="302"/>
                </a:lnTo>
                <a:lnTo>
                  <a:pt x="1054" y="302"/>
                </a:lnTo>
                <a:lnTo>
                  <a:pt x="1056" y="306"/>
                </a:lnTo>
                <a:lnTo>
                  <a:pt x="1056" y="308"/>
                </a:lnTo>
                <a:lnTo>
                  <a:pt x="1054" y="310"/>
                </a:lnTo>
                <a:lnTo>
                  <a:pt x="1054" y="310"/>
                </a:lnTo>
                <a:lnTo>
                  <a:pt x="1052" y="310"/>
                </a:lnTo>
                <a:lnTo>
                  <a:pt x="1052" y="310"/>
                </a:lnTo>
                <a:lnTo>
                  <a:pt x="1048" y="312"/>
                </a:lnTo>
                <a:lnTo>
                  <a:pt x="1048" y="310"/>
                </a:lnTo>
                <a:lnTo>
                  <a:pt x="1048" y="310"/>
                </a:lnTo>
                <a:lnTo>
                  <a:pt x="1046" y="310"/>
                </a:lnTo>
                <a:lnTo>
                  <a:pt x="1044" y="310"/>
                </a:lnTo>
                <a:lnTo>
                  <a:pt x="1044" y="310"/>
                </a:lnTo>
                <a:lnTo>
                  <a:pt x="1042" y="308"/>
                </a:lnTo>
                <a:lnTo>
                  <a:pt x="1042" y="308"/>
                </a:lnTo>
                <a:lnTo>
                  <a:pt x="1042" y="304"/>
                </a:lnTo>
                <a:lnTo>
                  <a:pt x="1042" y="304"/>
                </a:lnTo>
                <a:lnTo>
                  <a:pt x="1038" y="308"/>
                </a:lnTo>
                <a:lnTo>
                  <a:pt x="1038" y="308"/>
                </a:lnTo>
                <a:lnTo>
                  <a:pt x="1036" y="306"/>
                </a:lnTo>
                <a:lnTo>
                  <a:pt x="1038" y="304"/>
                </a:lnTo>
                <a:lnTo>
                  <a:pt x="1038" y="304"/>
                </a:lnTo>
                <a:lnTo>
                  <a:pt x="1040" y="300"/>
                </a:lnTo>
                <a:lnTo>
                  <a:pt x="1038" y="300"/>
                </a:lnTo>
                <a:lnTo>
                  <a:pt x="1030" y="302"/>
                </a:lnTo>
                <a:lnTo>
                  <a:pt x="1030" y="302"/>
                </a:lnTo>
                <a:lnTo>
                  <a:pt x="1030" y="300"/>
                </a:lnTo>
                <a:lnTo>
                  <a:pt x="1032" y="300"/>
                </a:lnTo>
                <a:lnTo>
                  <a:pt x="1032" y="300"/>
                </a:lnTo>
                <a:lnTo>
                  <a:pt x="1032" y="298"/>
                </a:lnTo>
                <a:lnTo>
                  <a:pt x="1034" y="294"/>
                </a:lnTo>
                <a:lnTo>
                  <a:pt x="1034" y="294"/>
                </a:lnTo>
                <a:lnTo>
                  <a:pt x="1032" y="294"/>
                </a:lnTo>
                <a:lnTo>
                  <a:pt x="1030" y="296"/>
                </a:lnTo>
                <a:lnTo>
                  <a:pt x="1030" y="296"/>
                </a:lnTo>
                <a:lnTo>
                  <a:pt x="1028" y="296"/>
                </a:lnTo>
                <a:lnTo>
                  <a:pt x="1028" y="292"/>
                </a:lnTo>
                <a:lnTo>
                  <a:pt x="1028" y="292"/>
                </a:lnTo>
                <a:lnTo>
                  <a:pt x="1022" y="292"/>
                </a:lnTo>
                <a:lnTo>
                  <a:pt x="1022" y="290"/>
                </a:lnTo>
                <a:lnTo>
                  <a:pt x="1022" y="290"/>
                </a:lnTo>
                <a:lnTo>
                  <a:pt x="1026" y="290"/>
                </a:lnTo>
                <a:lnTo>
                  <a:pt x="1026" y="290"/>
                </a:lnTo>
                <a:lnTo>
                  <a:pt x="1028" y="286"/>
                </a:lnTo>
                <a:lnTo>
                  <a:pt x="1028" y="286"/>
                </a:lnTo>
                <a:lnTo>
                  <a:pt x="1022" y="288"/>
                </a:lnTo>
                <a:lnTo>
                  <a:pt x="1016" y="288"/>
                </a:lnTo>
                <a:lnTo>
                  <a:pt x="1016" y="288"/>
                </a:lnTo>
                <a:lnTo>
                  <a:pt x="1012" y="286"/>
                </a:lnTo>
                <a:lnTo>
                  <a:pt x="1012" y="286"/>
                </a:lnTo>
                <a:lnTo>
                  <a:pt x="1010" y="286"/>
                </a:lnTo>
                <a:lnTo>
                  <a:pt x="1008" y="284"/>
                </a:lnTo>
                <a:lnTo>
                  <a:pt x="1008" y="284"/>
                </a:lnTo>
                <a:lnTo>
                  <a:pt x="1006" y="282"/>
                </a:lnTo>
                <a:lnTo>
                  <a:pt x="1006" y="278"/>
                </a:lnTo>
                <a:lnTo>
                  <a:pt x="1006" y="278"/>
                </a:lnTo>
                <a:lnTo>
                  <a:pt x="1002" y="276"/>
                </a:lnTo>
                <a:lnTo>
                  <a:pt x="1002" y="276"/>
                </a:lnTo>
                <a:lnTo>
                  <a:pt x="1004" y="274"/>
                </a:lnTo>
                <a:lnTo>
                  <a:pt x="1004" y="272"/>
                </a:lnTo>
                <a:lnTo>
                  <a:pt x="1004" y="272"/>
                </a:lnTo>
                <a:lnTo>
                  <a:pt x="1002" y="272"/>
                </a:lnTo>
                <a:lnTo>
                  <a:pt x="1000" y="272"/>
                </a:lnTo>
                <a:lnTo>
                  <a:pt x="998" y="270"/>
                </a:lnTo>
                <a:lnTo>
                  <a:pt x="998" y="270"/>
                </a:lnTo>
                <a:lnTo>
                  <a:pt x="996" y="270"/>
                </a:lnTo>
                <a:lnTo>
                  <a:pt x="996" y="270"/>
                </a:lnTo>
                <a:lnTo>
                  <a:pt x="998" y="272"/>
                </a:lnTo>
                <a:lnTo>
                  <a:pt x="998" y="272"/>
                </a:lnTo>
                <a:lnTo>
                  <a:pt x="998" y="278"/>
                </a:lnTo>
                <a:lnTo>
                  <a:pt x="998" y="280"/>
                </a:lnTo>
                <a:lnTo>
                  <a:pt x="996" y="280"/>
                </a:lnTo>
                <a:lnTo>
                  <a:pt x="996" y="280"/>
                </a:lnTo>
                <a:lnTo>
                  <a:pt x="994" y="274"/>
                </a:lnTo>
                <a:lnTo>
                  <a:pt x="994" y="274"/>
                </a:lnTo>
                <a:lnTo>
                  <a:pt x="990" y="274"/>
                </a:lnTo>
                <a:lnTo>
                  <a:pt x="990" y="274"/>
                </a:lnTo>
                <a:lnTo>
                  <a:pt x="992" y="278"/>
                </a:lnTo>
                <a:lnTo>
                  <a:pt x="994" y="284"/>
                </a:lnTo>
                <a:lnTo>
                  <a:pt x="996" y="284"/>
                </a:lnTo>
                <a:lnTo>
                  <a:pt x="996" y="284"/>
                </a:lnTo>
                <a:lnTo>
                  <a:pt x="996" y="284"/>
                </a:lnTo>
                <a:lnTo>
                  <a:pt x="996" y="286"/>
                </a:lnTo>
                <a:lnTo>
                  <a:pt x="996" y="286"/>
                </a:lnTo>
                <a:lnTo>
                  <a:pt x="996" y="288"/>
                </a:lnTo>
                <a:lnTo>
                  <a:pt x="996" y="288"/>
                </a:lnTo>
                <a:lnTo>
                  <a:pt x="992" y="288"/>
                </a:lnTo>
                <a:lnTo>
                  <a:pt x="990" y="286"/>
                </a:lnTo>
                <a:lnTo>
                  <a:pt x="990" y="286"/>
                </a:lnTo>
                <a:lnTo>
                  <a:pt x="988" y="286"/>
                </a:lnTo>
                <a:lnTo>
                  <a:pt x="986" y="286"/>
                </a:lnTo>
                <a:lnTo>
                  <a:pt x="986" y="286"/>
                </a:lnTo>
                <a:lnTo>
                  <a:pt x="990" y="294"/>
                </a:lnTo>
                <a:lnTo>
                  <a:pt x="992" y="296"/>
                </a:lnTo>
                <a:lnTo>
                  <a:pt x="998" y="296"/>
                </a:lnTo>
                <a:lnTo>
                  <a:pt x="998" y="296"/>
                </a:lnTo>
                <a:lnTo>
                  <a:pt x="998" y="302"/>
                </a:lnTo>
                <a:lnTo>
                  <a:pt x="1000" y="306"/>
                </a:lnTo>
                <a:lnTo>
                  <a:pt x="1000" y="306"/>
                </a:lnTo>
                <a:lnTo>
                  <a:pt x="1004" y="308"/>
                </a:lnTo>
                <a:lnTo>
                  <a:pt x="1004" y="308"/>
                </a:lnTo>
                <a:lnTo>
                  <a:pt x="1004" y="310"/>
                </a:lnTo>
                <a:lnTo>
                  <a:pt x="1006" y="312"/>
                </a:lnTo>
                <a:lnTo>
                  <a:pt x="1006" y="312"/>
                </a:lnTo>
                <a:lnTo>
                  <a:pt x="1008" y="312"/>
                </a:lnTo>
                <a:lnTo>
                  <a:pt x="1010" y="312"/>
                </a:lnTo>
                <a:lnTo>
                  <a:pt x="1010" y="312"/>
                </a:lnTo>
                <a:lnTo>
                  <a:pt x="1014" y="316"/>
                </a:lnTo>
                <a:lnTo>
                  <a:pt x="1014" y="316"/>
                </a:lnTo>
                <a:lnTo>
                  <a:pt x="1014" y="320"/>
                </a:lnTo>
                <a:lnTo>
                  <a:pt x="1014" y="320"/>
                </a:lnTo>
                <a:lnTo>
                  <a:pt x="1016" y="318"/>
                </a:lnTo>
                <a:lnTo>
                  <a:pt x="1020" y="318"/>
                </a:lnTo>
                <a:lnTo>
                  <a:pt x="1020" y="318"/>
                </a:lnTo>
                <a:lnTo>
                  <a:pt x="1020" y="320"/>
                </a:lnTo>
                <a:lnTo>
                  <a:pt x="1022" y="322"/>
                </a:lnTo>
                <a:lnTo>
                  <a:pt x="1022" y="322"/>
                </a:lnTo>
                <a:lnTo>
                  <a:pt x="1022" y="322"/>
                </a:lnTo>
                <a:lnTo>
                  <a:pt x="1024" y="322"/>
                </a:lnTo>
                <a:lnTo>
                  <a:pt x="1024" y="322"/>
                </a:lnTo>
                <a:lnTo>
                  <a:pt x="1022" y="320"/>
                </a:lnTo>
                <a:lnTo>
                  <a:pt x="1022" y="318"/>
                </a:lnTo>
                <a:lnTo>
                  <a:pt x="1022" y="318"/>
                </a:lnTo>
                <a:lnTo>
                  <a:pt x="1020" y="318"/>
                </a:lnTo>
                <a:lnTo>
                  <a:pt x="1022" y="318"/>
                </a:lnTo>
                <a:lnTo>
                  <a:pt x="1022" y="316"/>
                </a:lnTo>
                <a:lnTo>
                  <a:pt x="1022" y="316"/>
                </a:lnTo>
                <a:lnTo>
                  <a:pt x="1024" y="318"/>
                </a:lnTo>
                <a:lnTo>
                  <a:pt x="1026" y="318"/>
                </a:lnTo>
                <a:lnTo>
                  <a:pt x="1026" y="318"/>
                </a:lnTo>
                <a:lnTo>
                  <a:pt x="1030" y="328"/>
                </a:lnTo>
                <a:lnTo>
                  <a:pt x="1030" y="328"/>
                </a:lnTo>
                <a:lnTo>
                  <a:pt x="1030" y="330"/>
                </a:lnTo>
                <a:lnTo>
                  <a:pt x="1028" y="332"/>
                </a:lnTo>
                <a:lnTo>
                  <a:pt x="1028" y="332"/>
                </a:lnTo>
                <a:lnTo>
                  <a:pt x="1024" y="330"/>
                </a:lnTo>
                <a:lnTo>
                  <a:pt x="1024" y="330"/>
                </a:lnTo>
                <a:lnTo>
                  <a:pt x="1024" y="330"/>
                </a:lnTo>
                <a:lnTo>
                  <a:pt x="1024" y="332"/>
                </a:lnTo>
                <a:lnTo>
                  <a:pt x="1024" y="332"/>
                </a:lnTo>
                <a:lnTo>
                  <a:pt x="1026" y="338"/>
                </a:lnTo>
                <a:lnTo>
                  <a:pt x="1020" y="338"/>
                </a:lnTo>
                <a:lnTo>
                  <a:pt x="1020" y="338"/>
                </a:lnTo>
                <a:lnTo>
                  <a:pt x="1020" y="342"/>
                </a:lnTo>
                <a:lnTo>
                  <a:pt x="1020" y="342"/>
                </a:lnTo>
                <a:lnTo>
                  <a:pt x="1024" y="342"/>
                </a:lnTo>
                <a:lnTo>
                  <a:pt x="1024" y="342"/>
                </a:lnTo>
                <a:lnTo>
                  <a:pt x="1026" y="350"/>
                </a:lnTo>
                <a:lnTo>
                  <a:pt x="1026" y="350"/>
                </a:lnTo>
                <a:lnTo>
                  <a:pt x="1030" y="348"/>
                </a:lnTo>
                <a:lnTo>
                  <a:pt x="1030" y="350"/>
                </a:lnTo>
                <a:lnTo>
                  <a:pt x="1030" y="350"/>
                </a:lnTo>
                <a:lnTo>
                  <a:pt x="1026" y="352"/>
                </a:lnTo>
                <a:lnTo>
                  <a:pt x="1026" y="352"/>
                </a:lnTo>
                <a:lnTo>
                  <a:pt x="1022" y="346"/>
                </a:lnTo>
                <a:lnTo>
                  <a:pt x="1018" y="344"/>
                </a:lnTo>
                <a:lnTo>
                  <a:pt x="1018" y="344"/>
                </a:lnTo>
                <a:lnTo>
                  <a:pt x="1018" y="344"/>
                </a:lnTo>
                <a:lnTo>
                  <a:pt x="1016" y="346"/>
                </a:lnTo>
                <a:lnTo>
                  <a:pt x="1016" y="346"/>
                </a:lnTo>
                <a:lnTo>
                  <a:pt x="1016" y="342"/>
                </a:lnTo>
                <a:lnTo>
                  <a:pt x="1014" y="342"/>
                </a:lnTo>
                <a:lnTo>
                  <a:pt x="1014" y="342"/>
                </a:lnTo>
                <a:lnTo>
                  <a:pt x="1010" y="340"/>
                </a:lnTo>
                <a:lnTo>
                  <a:pt x="1004" y="342"/>
                </a:lnTo>
                <a:lnTo>
                  <a:pt x="1004" y="342"/>
                </a:lnTo>
                <a:lnTo>
                  <a:pt x="1002" y="342"/>
                </a:lnTo>
                <a:lnTo>
                  <a:pt x="1002" y="344"/>
                </a:lnTo>
                <a:lnTo>
                  <a:pt x="1002" y="344"/>
                </a:lnTo>
                <a:lnTo>
                  <a:pt x="998" y="340"/>
                </a:lnTo>
                <a:lnTo>
                  <a:pt x="994" y="338"/>
                </a:lnTo>
                <a:lnTo>
                  <a:pt x="992" y="338"/>
                </a:lnTo>
                <a:lnTo>
                  <a:pt x="992" y="338"/>
                </a:lnTo>
                <a:lnTo>
                  <a:pt x="992" y="342"/>
                </a:lnTo>
                <a:lnTo>
                  <a:pt x="992" y="342"/>
                </a:lnTo>
                <a:lnTo>
                  <a:pt x="988" y="342"/>
                </a:lnTo>
                <a:lnTo>
                  <a:pt x="984" y="338"/>
                </a:lnTo>
                <a:lnTo>
                  <a:pt x="980" y="336"/>
                </a:lnTo>
                <a:lnTo>
                  <a:pt x="974" y="336"/>
                </a:lnTo>
                <a:lnTo>
                  <a:pt x="974" y="336"/>
                </a:lnTo>
                <a:lnTo>
                  <a:pt x="972" y="340"/>
                </a:lnTo>
                <a:lnTo>
                  <a:pt x="972" y="340"/>
                </a:lnTo>
                <a:lnTo>
                  <a:pt x="972" y="338"/>
                </a:lnTo>
                <a:lnTo>
                  <a:pt x="972" y="340"/>
                </a:lnTo>
                <a:lnTo>
                  <a:pt x="972" y="342"/>
                </a:lnTo>
                <a:lnTo>
                  <a:pt x="972" y="342"/>
                </a:lnTo>
                <a:lnTo>
                  <a:pt x="980" y="348"/>
                </a:lnTo>
                <a:lnTo>
                  <a:pt x="990" y="354"/>
                </a:lnTo>
                <a:lnTo>
                  <a:pt x="992" y="354"/>
                </a:lnTo>
                <a:lnTo>
                  <a:pt x="992" y="354"/>
                </a:lnTo>
                <a:lnTo>
                  <a:pt x="992" y="356"/>
                </a:lnTo>
                <a:lnTo>
                  <a:pt x="992" y="356"/>
                </a:lnTo>
                <a:lnTo>
                  <a:pt x="994" y="356"/>
                </a:lnTo>
                <a:lnTo>
                  <a:pt x="1000" y="356"/>
                </a:lnTo>
                <a:lnTo>
                  <a:pt x="1000" y="356"/>
                </a:lnTo>
                <a:lnTo>
                  <a:pt x="1004" y="360"/>
                </a:lnTo>
                <a:lnTo>
                  <a:pt x="1006" y="360"/>
                </a:lnTo>
                <a:lnTo>
                  <a:pt x="1006" y="360"/>
                </a:lnTo>
                <a:lnTo>
                  <a:pt x="1006" y="366"/>
                </a:lnTo>
                <a:lnTo>
                  <a:pt x="1006" y="366"/>
                </a:lnTo>
                <a:lnTo>
                  <a:pt x="1012" y="366"/>
                </a:lnTo>
                <a:lnTo>
                  <a:pt x="1018" y="368"/>
                </a:lnTo>
                <a:lnTo>
                  <a:pt x="1018" y="368"/>
                </a:lnTo>
                <a:lnTo>
                  <a:pt x="1020" y="368"/>
                </a:lnTo>
                <a:lnTo>
                  <a:pt x="1020" y="370"/>
                </a:lnTo>
                <a:lnTo>
                  <a:pt x="1018" y="370"/>
                </a:lnTo>
                <a:lnTo>
                  <a:pt x="1018" y="372"/>
                </a:lnTo>
                <a:lnTo>
                  <a:pt x="1018" y="372"/>
                </a:lnTo>
                <a:lnTo>
                  <a:pt x="1018" y="376"/>
                </a:lnTo>
                <a:lnTo>
                  <a:pt x="1016" y="378"/>
                </a:lnTo>
                <a:lnTo>
                  <a:pt x="1016" y="378"/>
                </a:lnTo>
                <a:lnTo>
                  <a:pt x="1008" y="376"/>
                </a:lnTo>
                <a:lnTo>
                  <a:pt x="1008" y="376"/>
                </a:lnTo>
                <a:lnTo>
                  <a:pt x="1006" y="376"/>
                </a:lnTo>
                <a:lnTo>
                  <a:pt x="1006" y="376"/>
                </a:lnTo>
                <a:lnTo>
                  <a:pt x="1006" y="376"/>
                </a:lnTo>
                <a:lnTo>
                  <a:pt x="998" y="372"/>
                </a:lnTo>
                <a:lnTo>
                  <a:pt x="998" y="372"/>
                </a:lnTo>
                <a:lnTo>
                  <a:pt x="994" y="372"/>
                </a:lnTo>
                <a:lnTo>
                  <a:pt x="988" y="374"/>
                </a:lnTo>
                <a:lnTo>
                  <a:pt x="988" y="374"/>
                </a:lnTo>
                <a:lnTo>
                  <a:pt x="984" y="370"/>
                </a:lnTo>
                <a:lnTo>
                  <a:pt x="984" y="370"/>
                </a:lnTo>
                <a:lnTo>
                  <a:pt x="982" y="372"/>
                </a:lnTo>
                <a:lnTo>
                  <a:pt x="982" y="374"/>
                </a:lnTo>
                <a:lnTo>
                  <a:pt x="982" y="374"/>
                </a:lnTo>
                <a:lnTo>
                  <a:pt x="970" y="370"/>
                </a:lnTo>
                <a:lnTo>
                  <a:pt x="970" y="370"/>
                </a:lnTo>
                <a:lnTo>
                  <a:pt x="968" y="372"/>
                </a:lnTo>
                <a:lnTo>
                  <a:pt x="968" y="372"/>
                </a:lnTo>
                <a:lnTo>
                  <a:pt x="964" y="368"/>
                </a:lnTo>
                <a:lnTo>
                  <a:pt x="964" y="368"/>
                </a:lnTo>
                <a:lnTo>
                  <a:pt x="962" y="374"/>
                </a:lnTo>
                <a:lnTo>
                  <a:pt x="962" y="374"/>
                </a:lnTo>
                <a:lnTo>
                  <a:pt x="954" y="374"/>
                </a:lnTo>
                <a:lnTo>
                  <a:pt x="954" y="374"/>
                </a:lnTo>
                <a:lnTo>
                  <a:pt x="952" y="372"/>
                </a:lnTo>
                <a:lnTo>
                  <a:pt x="952" y="370"/>
                </a:lnTo>
                <a:lnTo>
                  <a:pt x="952" y="370"/>
                </a:lnTo>
                <a:lnTo>
                  <a:pt x="948" y="372"/>
                </a:lnTo>
                <a:lnTo>
                  <a:pt x="946" y="374"/>
                </a:lnTo>
                <a:lnTo>
                  <a:pt x="946" y="374"/>
                </a:lnTo>
                <a:lnTo>
                  <a:pt x="940" y="370"/>
                </a:lnTo>
                <a:lnTo>
                  <a:pt x="940" y="370"/>
                </a:lnTo>
                <a:lnTo>
                  <a:pt x="936" y="370"/>
                </a:lnTo>
                <a:lnTo>
                  <a:pt x="936" y="368"/>
                </a:lnTo>
                <a:lnTo>
                  <a:pt x="936" y="368"/>
                </a:lnTo>
                <a:lnTo>
                  <a:pt x="946" y="364"/>
                </a:lnTo>
                <a:lnTo>
                  <a:pt x="946" y="364"/>
                </a:lnTo>
                <a:lnTo>
                  <a:pt x="946" y="362"/>
                </a:lnTo>
                <a:lnTo>
                  <a:pt x="948" y="362"/>
                </a:lnTo>
                <a:lnTo>
                  <a:pt x="948" y="362"/>
                </a:lnTo>
                <a:lnTo>
                  <a:pt x="946" y="360"/>
                </a:lnTo>
                <a:lnTo>
                  <a:pt x="946" y="360"/>
                </a:lnTo>
                <a:lnTo>
                  <a:pt x="942" y="360"/>
                </a:lnTo>
                <a:lnTo>
                  <a:pt x="942" y="360"/>
                </a:lnTo>
                <a:lnTo>
                  <a:pt x="942" y="358"/>
                </a:lnTo>
                <a:lnTo>
                  <a:pt x="940" y="358"/>
                </a:lnTo>
                <a:lnTo>
                  <a:pt x="940" y="358"/>
                </a:lnTo>
                <a:lnTo>
                  <a:pt x="940" y="362"/>
                </a:lnTo>
                <a:lnTo>
                  <a:pt x="940" y="362"/>
                </a:lnTo>
                <a:lnTo>
                  <a:pt x="938" y="362"/>
                </a:lnTo>
                <a:lnTo>
                  <a:pt x="938" y="362"/>
                </a:lnTo>
                <a:lnTo>
                  <a:pt x="934" y="360"/>
                </a:lnTo>
                <a:lnTo>
                  <a:pt x="934" y="358"/>
                </a:lnTo>
                <a:lnTo>
                  <a:pt x="934" y="358"/>
                </a:lnTo>
                <a:lnTo>
                  <a:pt x="932" y="360"/>
                </a:lnTo>
                <a:lnTo>
                  <a:pt x="930" y="360"/>
                </a:lnTo>
                <a:lnTo>
                  <a:pt x="930" y="360"/>
                </a:lnTo>
                <a:lnTo>
                  <a:pt x="928" y="348"/>
                </a:lnTo>
                <a:lnTo>
                  <a:pt x="928" y="348"/>
                </a:lnTo>
                <a:lnTo>
                  <a:pt x="924" y="348"/>
                </a:lnTo>
                <a:lnTo>
                  <a:pt x="924" y="348"/>
                </a:lnTo>
                <a:lnTo>
                  <a:pt x="920" y="336"/>
                </a:lnTo>
                <a:lnTo>
                  <a:pt x="920" y="336"/>
                </a:lnTo>
                <a:lnTo>
                  <a:pt x="916" y="336"/>
                </a:lnTo>
                <a:lnTo>
                  <a:pt x="916" y="336"/>
                </a:lnTo>
                <a:lnTo>
                  <a:pt x="914" y="340"/>
                </a:lnTo>
                <a:lnTo>
                  <a:pt x="914" y="340"/>
                </a:lnTo>
                <a:lnTo>
                  <a:pt x="914" y="336"/>
                </a:lnTo>
                <a:lnTo>
                  <a:pt x="914" y="336"/>
                </a:lnTo>
                <a:lnTo>
                  <a:pt x="908" y="334"/>
                </a:lnTo>
                <a:lnTo>
                  <a:pt x="908" y="334"/>
                </a:lnTo>
                <a:lnTo>
                  <a:pt x="908" y="330"/>
                </a:lnTo>
                <a:lnTo>
                  <a:pt x="908" y="330"/>
                </a:lnTo>
                <a:lnTo>
                  <a:pt x="906" y="330"/>
                </a:lnTo>
                <a:lnTo>
                  <a:pt x="906" y="330"/>
                </a:lnTo>
                <a:lnTo>
                  <a:pt x="906" y="332"/>
                </a:lnTo>
                <a:lnTo>
                  <a:pt x="906" y="334"/>
                </a:lnTo>
                <a:lnTo>
                  <a:pt x="906" y="334"/>
                </a:lnTo>
                <a:lnTo>
                  <a:pt x="902" y="336"/>
                </a:lnTo>
                <a:lnTo>
                  <a:pt x="902" y="336"/>
                </a:lnTo>
                <a:lnTo>
                  <a:pt x="898" y="330"/>
                </a:lnTo>
                <a:lnTo>
                  <a:pt x="898" y="330"/>
                </a:lnTo>
                <a:lnTo>
                  <a:pt x="898" y="326"/>
                </a:lnTo>
                <a:lnTo>
                  <a:pt x="896" y="326"/>
                </a:lnTo>
                <a:lnTo>
                  <a:pt x="896" y="326"/>
                </a:lnTo>
                <a:lnTo>
                  <a:pt x="896" y="328"/>
                </a:lnTo>
                <a:lnTo>
                  <a:pt x="894" y="330"/>
                </a:lnTo>
                <a:lnTo>
                  <a:pt x="894" y="332"/>
                </a:lnTo>
                <a:lnTo>
                  <a:pt x="894" y="332"/>
                </a:lnTo>
                <a:lnTo>
                  <a:pt x="900" y="336"/>
                </a:lnTo>
                <a:lnTo>
                  <a:pt x="900" y="336"/>
                </a:lnTo>
                <a:lnTo>
                  <a:pt x="900" y="340"/>
                </a:lnTo>
                <a:lnTo>
                  <a:pt x="900" y="340"/>
                </a:lnTo>
                <a:lnTo>
                  <a:pt x="898" y="340"/>
                </a:lnTo>
                <a:lnTo>
                  <a:pt x="898" y="342"/>
                </a:lnTo>
                <a:lnTo>
                  <a:pt x="898" y="342"/>
                </a:lnTo>
                <a:lnTo>
                  <a:pt x="890" y="340"/>
                </a:lnTo>
                <a:lnTo>
                  <a:pt x="888" y="336"/>
                </a:lnTo>
                <a:lnTo>
                  <a:pt x="888" y="336"/>
                </a:lnTo>
                <a:lnTo>
                  <a:pt x="886" y="340"/>
                </a:lnTo>
                <a:lnTo>
                  <a:pt x="886" y="340"/>
                </a:lnTo>
                <a:lnTo>
                  <a:pt x="884" y="340"/>
                </a:lnTo>
                <a:lnTo>
                  <a:pt x="884" y="340"/>
                </a:lnTo>
                <a:lnTo>
                  <a:pt x="884" y="344"/>
                </a:lnTo>
                <a:lnTo>
                  <a:pt x="884" y="344"/>
                </a:lnTo>
                <a:lnTo>
                  <a:pt x="880" y="344"/>
                </a:lnTo>
                <a:lnTo>
                  <a:pt x="878" y="344"/>
                </a:lnTo>
                <a:lnTo>
                  <a:pt x="876" y="348"/>
                </a:lnTo>
                <a:lnTo>
                  <a:pt x="876" y="348"/>
                </a:lnTo>
                <a:lnTo>
                  <a:pt x="868" y="348"/>
                </a:lnTo>
                <a:lnTo>
                  <a:pt x="866" y="346"/>
                </a:lnTo>
                <a:lnTo>
                  <a:pt x="866" y="346"/>
                </a:lnTo>
                <a:lnTo>
                  <a:pt x="864" y="346"/>
                </a:lnTo>
                <a:lnTo>
                  <a:pt x="862" y="348"/>
                </a:lnTo>
                <a:lnTo>
                  <a:pt x="862" y="346"/>
                </a:lnTo>
                <a:lnTo>
                  <a:pt x="862" y="346"/>
                </a:lnTo>
                <a:lnTo>
                  <a:pt x="858" y="344"/>
                </a:lnTo>
                <a:lnTo>
                  <a:pt x="856" y="344"/>
                </a:lnTo>
                <a:lnTo>
                  <a:pt x="856" y="344"/>
                </a:lnTo>
                <a:lnTo>
                  <a:pt x="854" y="338"/>
                </a:lnTo>
                <a:lnTo>
                  <a:pt x="854" y="338"/>
                </a:lnTo>
                <a:lnTo>
                  <a:pt x="856" y="334"/>
                </a:lnTo>
                <a:lnTo>
                  <a:pt x="858" y="330"/>
                </a:lnTo>
                <a:lnTo>
                  <a:pt x="858" y="330"/>
                </a:lnTo>
                <a:lnTo>
                  <a:pt x="856" y="330"/>
                </a:lnTo>
                <a:lnTo>
                  <a:pt x="856" y="326"/>
                </a:lnTo>
                <a:lnTo>
                  <a:pt x="856" y="326"/>
                </a:lnTo>
                <a:lnTo>
                  <a:pt x="860" y="316"/>
                </a:lnTo>
                <a:lnTo>
                  <a:pt x="860" y="316"/>
                </a:lnTo>
                <a:lnTo>
                  <a:pt x="872" y="316"/>
                </a:lnTo>
                <a:lnTo>
                  <a:pt x="872" y="316"/>
                </a:lnTo>
                <a:lnTo>
                  <a:pt x="876" y="318"/>
                </a:lnTo>
                <a:lnTo>
                  <a:pt x="880" y="318"/>
                </a:lnTo>
                <a:lnTo>
                  <a:pt x="880" y="316"/>
                </a:lnTo>
                <a:lnTo>
                  <a:pt x="880" y="316"/>
                </a:lnTo>
                <a:lnTo>
                  <a:pt x="886" y="316"/>
                </a:lnTo>
                <a:lnTo>
                  <a:pt x="886" y="316"/>
                </a:lnTo>
                <a:lnTo>
                  <a:pt x="886" y="316"/>
                </a:lnTo>
                <a:lnTo>
                  <a:pt x="888" y="314"/>
                </a:lnTo>
                <a:lnTo>
                  <a:pt x="888" y="314"/>
                </a:lnTo>
                <a:lnTo>
                  <a:pt x="888" y="314"/>
                </a:lnTo>
                <a:lnTo>
                  <a:pt x="890" y="314"/>
                </a:lnTo>
                <a:lnTo>
                  <a:pt x="892" y="316"/>
                </a:lnTo>
                <a:lnTo>
                  <a:pt x="892" y="314"/>
                </a:lnTo>
                <a:lnTo>
                  <a:pt x="892" y="314"/>
                </a:lnTo>
                <a:lnTo>
                  <a:pt x="896" y="312"/>
                </a:lnTo>
                <a:lnTo>
                  <a:pt x="896" y="312"/>
                </a:lnTo>
                <a:lnTo>
                  <a:pt x="898" y="314"/>
                </a:lnTo>
                <a:lnTo>
                  <a:pt x="902" y="314"/>
                </a:lnTo>
                <a:lnTo>
                  <a:pt x="902" y="314"/>
                </a:lnTo>
                <a:lnTo>
                  <a:pt x="906" y="312"/>
                </a:lnTo>
                <a:lnTo>
                  <a:pt x="906" y="312"/>
                </a:lnTo>
                <a:lnTo>
                  <a:pt x="916" y="310"/>
                </a:lnTo>
                <a:lnTo>
                  <a:pt x="924" y="310"/>
                </a:lnTo>
                <a:lnTo>
                  <a:pt x="924" y="310"/>
                </a:lnTo>
                <a:lnTo>
                  <a:pt x="922" y="304"/>
                </a:lnTo>
                <a:lnTo>
                  <a:pt x="922" y="304"/>
                </a:lnTo>
                <a:lnTo>
                  <a:pt x="918" y="302"/>
                </a:lnTo>
                <a:lnTo>
                  <a:pt x="916" y="300"/>
                </a:lnTo>
                <a:lnTo>
                  <a:pt x="916" y="300"/>
                </a:lnTo>
                <a:lnTo>
                  <a:pt x="914" y="294"/>
                </a:lnTo>
                <a:lnTo>
                  <a:pt x="914" y="294"/>
                </a:lnTo>
                <a:lnTo>
                  <a:pt x="910" y="294"/>
                </a:lnTo>
                <a:lnTo>
                  <a:pt x="910" y="294"/>
                </a:lnTo>
                <a:lnTo>
                  <a:pt x="906" y="288"/>
                </a:lnTo>
                <a:lnTo>
                  <a:pt x="906" y="288"/>
                </a:lnTo>
                <a:lnTo>
                  <a:pt x="906" y="284"/>
                </a:lnTo>
                <a:lnTo>
                  <a:pt x="906" y="284"/>
                </a:lnTo>
                <a:lnTo>
                  <a:pt x="914" y="282"/>
                </a:lnTo>
                <a:lnTo>
                  <a:pt x="914" y="282"/>
                </a:lnTo>
                <a:lnTo>
                  <a:pt x="914" y="278"/>
                </a:lnTo>
                <a:lnTo>
                  <a:pt x="916" y="276"/>
                </a:lnTo>
                <a:lnTo>
                  <a:pt x="916" y="276"/>
                </a:lnTo>
                <a:lnTo>
                  <a:pt x="922" y="270"/>
                </a:lnTo>
                <a:lnTo>
                  <a:pt x="930" y="268"/>
                </a:lnTo>
                <a:lnTo>
                  <a:pt x="930" y="268"/>
                </a:lnTo>
                <a:lnTo>
                  <a:pt x="924" y="264"/>
                </a:lnTo>
                <a:lnTo>
                  <a:pt x="922" y="260"/>
                </a:lnTo>
                <a:lnTo>
                  <a:pt x="924" y="256"/>
                </a:lnTo>
                <a:lnTo>
                  <a:pt x="924" y="256"/>
                </a:lnTo>
                <a:lnTo>
                  <a:pt x="924" y="254"/>
                </a:lnTo>
                <a:lnTo>
                  <a:pt x="926" y="254"/>
                </a:lnTo>
                <a:lnTo>
                  <a:pt x="926" y="254"/>
                </a:lnTo>
                <a:lnTo>
                  <a:pt x="928" y="254"/>
                </a:lnTo>
                <a:lnTo>
                  <a:pt x="930" y="254"/>
                </a:lnTo>
                <a:lnTo>
                  <a:pt x="930" y="254"/>
                </a:lnTo>
                <a:lnTo>
                  <a:pt x="930" y="254"/>
                </a:lnTo>
                <a:lnTo>
                  <a:pt x="932" y="252"/>
                </a:lnTo>
                <a:lnTo>
                  <a:pt x="932" y="252"/>
                </a:lnTo>
                <a:lnTo>
                  <a:pt x="932" y="250"/>
                </a:lnTo>
                <a:lnTo>
                  <a:pt x="932" y="250"/>
                </a:lnTo>
                <a:lnTo>
                  <a:pt x="928" y="248"/>
                </a:lnTo>
                <a:lnTo>
                  <a:pt x="928" y="248"/>
                </a:lnTo>
                <a:lnTo>
                  <a:pt x="928" y="244"/>
                </a:lnTo>
                <a:lnTo>
                  <a:pt x="926" y="244"/>
                </a:lnTo>
                <a:lnTo>
                  <a:pt x="926" y="244"/>
                </a:lnTo>
                <a:lnTo>
                  <a:pt x="926" y="238"/>
                </a:lnTo>
                <a:lnTo>
                  <a:pt x="926" y="232"/>
                </a:lnTo>
                <a:lnTo>
                  <a:pt x="926" y="232"/>
                </a:lnTo>
                <a:lnTo>
                  <a:pt x="924" y="232"/>
                </a:lnTo>
                <a:lnTo>
                  <a:pt x="922" y="232"/>
                </a:lnTo>
                <a:lnTo>
                  <a:pt x="922" y="232"/>
                </a:lnTo>
                <a:lnTo>
                  <a:pt x="920" y="228"/>
                </a:lnTo>
                <a:lnTo>
                  <a:pt x="920" y="228"/>
                </a:lnTo>
                <a:lnTo>
                  <a:pt x="922" y="228"/>
                </a:lnTo>
                <a:lnTo>
                  <a:pt x="922" y="228"/>
                </a:lnTo>
                <a:lnTo>
                  <a:pt x="920" y="226"/>
                </a:lnTo>
                <a:lnTo>
                  <a:pt x="920" y="226"/>
                </a:lnTo>
                <a:lnTo>
                  <a:pt x="914" y="226"/>
                </a:lnTo>
                <a:lnTo>
                  <a:pt x="914" y="224"/>
                </a:lnTo>
                <a:lnTo>
                  <a:pt x="914" y="224"/>
                </a:lnTo>
                <a:lnTo>
                  <a:pt x="914" y="222"/>
                </a:lnTo>
                <a:lnTo>
                  <a:pt x="914" y="220"/>
                </a:lnTo>
                <a:lnTo>
                  <a:pt x="914" y="220"/>
                </a:lnTo>
                <a:lnTo>
                  <a:pt x="912" y="220"/>
                </a:lnTo>
                <a:lnTo>
                  <a:pt x="912" y="220"/>
                </a:lnTo>
                <a:lnTo>
                  <a:pt x="912" y="218"/>
                </a:lnTo>
                <a:lnTo>
                  <a:pt x="912" y="218"/>
                </a:lnTo>
                <a:lnTo>
                  <a:pt x="916" y="216"/>
                </a:lnTo>
                <a:lnTo>
                  <a:pt x="916" y="216"/>
                </a:lnTo>
                <a:lnTo>
                  <a:pt x="916" y="212"/>
                </a:lnTo>
                <a:lnTo>
                  <a:pt x="916" y="210"/>
                </a:lnTo>
                <a:lnTo>
                  <a:pt x="916" y="210"/>
                </a:lnTo>
                <a:lnTo>
                  <a:pt x="914" y="210"/>
                </a:lnTo>
                <a:lnTo>
                  <a:pt x="914" y="212"/>
                </a:lnTo>
                <a:lnTo>
                  <a:pt x="912" y="214"/>
                </a:lnTo>
                <a:lnTo>
                  <a:pt x="912" y="214"/>
                </a:lnTo>
                <a:lnTo>
                  <a:pt x="910" y="214"/>
                </a:lnTo>
                <a:lnTo>
                  <a:pt x="908" y="212"/>
                </a:lnTo>
                <a:lnTo>
                  <a:pt x="908" y="212"/>
                </a:lnTo>
                <a:lnTo>
                  <a:pt x="902" y="218"/>
                </a:lnTo>
                <a:lnTo>
                  <a:pt x="896" y="224"/>
                </a:lnTo>
                <a:lnTo>
                  <a:pt x="896" y="224"/>
                </a:lnTo>
                <a:lnTo>
                  <a:pt x="894" y="224"/>
                </a:lnTo>
                <a:lnTo>
                  <a:pt x="894" y="224"/>
                </a:lnTo>
                <a:lnTo>
                  <a:pt x="894" y="220"/>
                </a:lnTo>
                <a:lnTo>
                  <a:pt x="894" y="218"/>
                </a:lnTo>
                <a:lnTo>
                  <a:pt x="894" y="218"/>
                </a:lnTo>
                <a:lnTo>
                  <a:pt x="890" y="218"/>
                </a:lnTo>
                <a:lnTo>
                  <a:pt x="890" y="218"/>
                </a:lnTo>
                <a:lnTo>
                  <a:pt x="888" y="214"/>
                </a:lnTo>
                <a:lnTo>
                  <a:pt x="890" y="212"/>
                </a:lnTo>
                <a:lnTo>
                  <a:pt x="890" y="212"/>
                </a:lnTo>
                <a:lnTo>
                  <a:pt x="890" y="212"/>
                </a:lnTo>
                <a:lnTo>
                  <a:pt x="892" y="208"/>
                </a:lnTo>
                <a:lnTo>
                  <a:pt x="892" y="208"/>
                </a:lnTo>
                <a:lnTo>
                  <a:pt x="892" y="206"/>
                </a:lnTo>
                <a:lnTo>
                  <a:pt x="892" y="206"/>
                </a:lnTo>
                <a:lnTo>
                  <a:pt x="896" y="206"/>
                </a:lnTo>
                <a:lnTo>
                  <a:pt x="896" y="206"/>
                </a:lnTo>
                <a:lnTo>
                  <a:pt x="896" y="208"/>
                </a:lnTo>
                <a:lnTo>
                  <a:pt x="896" y="208"/>
                </a:lnTo>
                <a:lnTo>
                  <a:pt x="898" y="206"/>
                </a:lnTo>
                <a:lnTo>
                  <a:pt x="896" y="204"/>
                </a:lnTo>
                <a:lnTo>
                  <a:pt x="896" y="204"/>
                </a:lnTo>
                <a:lnTo>
                  <a:pt x="890" y="202"/>
                </a:lnTo>
                <a:lnTo>
                  <a:pt x="890" y="202"/>
                </a:lnTo>
                <a:lnTo>
                  <a:pt x="888" y="200"/>
                </a:lnTo>
                <a:lnTo>
                  <a:pt x="888" y="200"/>
                </a:lnTo>
                <a:lnTo>
                  <a:pt x="888" y="200"/>
                </a:lnTo>
                <a:lnTo>
                  <a:pt x="888" y="194"/>
                </a:lnTo>
                <a:lnTo>
                  <a:pt x="888" y="194"/>
                </a:lnTo>
                <a:lnTo>
                  <a:pt x="888" y="194"/>
                </a:lnTo>
                <a:lnTo>
                  <a:pt x="888" y="192"/>
                </a:lnTo>
                <a:lnTo>
                  <a:pt x="888" y="192"/>
                </a:lnTo>
                <a:lnTo>
                  <a:pt x="894" y="192"/>
                </a:lnTo>
                <a:lnTo>
                  <a:pt x="892" y="188"/>
                </a:lnTo>
                <a:lnTo>
                  <a:pt x="892" y="188"/>
                </a:lnTo>
                <a:lnTo>
                  <a:pt x="886" y="188"/>
                </a:lnTo>
                <a:lnTo>
                  <a:pt x="884" y="194"/>
                </a:lnTo>
                <a:lnTo>
                  <a:pt x="884" y="194"/>
                </a:lnTo>
                <a:lnTo>
                  <a:pt x="880" y="194"/>
                </a:lnTo>
                <a:lnTo>
                  <a:pt x="880" y="194"/>
                </a:lnTo>
                <a:lnTo>
                  <a:pt x="882" y="188"/>
                </a:lnTo>
                <a:lnTo>
                  <a:pt x="882" y="188"/>
                </a:lnTo>
                <a:lnTo>
                  <a:pt x="878" y="188"/>
                </a:lnTo>
                <a:lnTo>
                  <a:pt x="878" y="188"/>
                </a:lnTo>
                <a:lnTo>
                  <a:pt x="878" y="186"/>
                </a:lnTo>
                <a:lnTo>
                  <a:pt x="876" y="184"/>
                </a:lnTo>
                <a:lnTo>
                  <a:pt x="876" y="184"/>
                </a:lnTo>
                <a:lnTo>
                  <a:pt x="874" y="184"/>
                </a:lnTo>
                <a:lnTo>
                  <a:pt x="872" y="182"/>
                </a:lnTo>
                <a:lnTo>
                  <a:pt x="872" y="182"/>
                </a:lnTo>
                <a:lnTo>
                  <a:pt x="872" y="184"/>
                </a:lnTo>
                <a:lnTo>
                  <a:pt x="872" y="184"/>
                </a:lnTo>
                <a:lnTo>
                  <a:pt x="868" y="184"/>
                </a:lnTo>
                <a:lnTo>
                  <a:pt x="868" y="184"/>
                </a:lnTo>
                <a:lnTo>
                  <a:pt x="868" y="190"/>
                </a:lnTo>
                <a:lnTo>
                  <a:pt x="866" y="190"/>
                </a:lnTo>
                <a:lnTo>
                  <a:pt x="866" y="190"/>
                </a:lnTo>
                <a:lnTo>
                  <a:pt x="862" y="174"/>
                </a:lnTo>
                <a:lnTo>
                  <a:pt x="862" y="174"/>
                </a:lnTo>
                <a:lnTo>
                  <a:pt x="858" y="174"/>
                </a:lnTo>
                <a:lnTo>
                  <a:pt x="858" y="178"/>
                </a:lnTo>
                <a:lnTo>
                  <a:pt x="858" y="178"/>
                </a:lnTo>
                <a:lnTo>
                  <a:pt x="854" y="176"/>
                </a:lnTo>
                <a:lnTo>
                  <a:pt x="854" y="176"/>
                </a:lnTo>
                <a:lnTo>
                  <a:pt x="850" y="168"/>
                </a:lnTo>
                <a:lnTo>
                  <a:pt x="850" y="168"/>
                </a:lnTo>
                <a:lnTo>
                  <a:pt x="842" y="172"/>
                </a:lnTo>
                <a:lnTo>
                  <a:pt x="842" y="172"/>
                </a:lnTo>
                <a:lnTo>
                  <a:pt x="842" y="176"/>
                </a:lnTo>
                <a:lnTo>
                  <a:pt x="842" y="176"/>
                </a:lnTo>
                <a:lnTo>
                  <a:pt x="846" y="176"/>
                </a:lnTo>
                <a:lnTo>
                  <a:pt x="846" y="176"/>
                </a:lnTo>
                <a:lnTo>
                  <a:pt x="848" y="172"/>
                </a:lnTo>
                <a:lnTo>
                  <a:pt x="850" y="172"/>
                </a:lnTo>
                <a:lnTo>
                  <a:pt x="850" y="172"/>
                </a:lnTo>
                <a:lnTo>
                  <a:pt x="852" y="180"/>
                </a:lnTo>
                <a:lnTo>
                  <a:pt x="852" y="180"/>
                </a:lnTo>
                <a:lnTo>
                  <a:pt x="850" y="182"/>
                </a:lnTo>
                <a:lnTo>
                  <a:pt x="850" y="182"/>
                </a:lnTo>
                <a:lnTo>
                  <a:pt x="846" y="182"/>
                </a:lnTo>
                <a:lnTo>
                  <a:pt x="846" y="182"/>
                </a:lnTo>
                <a:lnTo>
                  <a:pt x="846" y="182"/>
                </a:lnTo>
                <a:lnTo>
                  <a:pt x="840" y="184"/>
                </a:lnTo>
                <a:lnTo>
                  <a:pt x="838" y="182"/>
                </a:lnTo>
                <a:lnTo>
                  <a:pt x="834" y="180"/>
                </a:lnTo>
                <a:lnTo>
                  <a:pt x="834" y="180"/>
                </a:lnTo>
                <a:lnTo>
                  <a:pt x="832" y="178"/>
                </a:lnTo>
                <a:lnTo>
                  <a:pt x="830" y="176"/>
                </a:lnTo>
                <a:lnTo>
                  <a:pt x="830" y="176"/>
                </a:lnTo>
                <a:lnTo>
                  <a:pt x="828" y="176"/>
                </a:lnTo>
                <a:lnTo>
                  <a:pt x="828" y="176"/>
                </a:lnTo>
                <a:lnTo>
                  <a:pt x="824" y="174"/>
                </a:lnTo>
                <a:lnTo>
                  <a:pt x="824" y="176"/>
                </a:lnTo>
                <a:lnTo>
                  <a:pt x="824" y="176"/>
                </a:lnTo>
                <a:lnTo>
                  <a:pt x="816" y="176"/>
                </a:lnTo>
                <a:lnTo>
                  <a:pt x="816" y="176"/>
                </a:lnTo>
                <a:lnTo>
                  <a:pt x="814" y="178"/>
                </a:lnTo>
                <a:lnTo>
                  <a:pt x="814" y="180"/>
                </a:lnTo>
                <a:lnTo>
                  <a:pt x="814" y="180"/>
                </a:lnTo>
                <a:lnTo>
                  <a:pt x="818" y="182"/>
                </a:lnTo>
                <a:lnTo>
                  <a:pt x="818" y="182"/>
                </a:lnTo>
                <a:lnTo>
                  <a:pt x="818" y="184"/>
                </a:lnTo>
                <a:lnTo>
                  <a:pt x="818" y="184"/>
                </a:lnTo>
                <a:lnTo>
                  <a:pt x="822" y="186"/>
                </a:lnTo>
                <a:lnTo>
                  <a:pt x="822" y="186"/>
                </a:lnTo>
                <a:lnTo>
                  <a:pt x="822" y="190"/>
                </a:lnTo>
                <a:lnTo>
                  <a:pt x="822" y="194"/>
                </a:lnTo>
                <a:lnTo>
                  <a:pt x="822" y="194"/>
                </a:lnTo>
                <a:lnTo>
                  <a:pt x="818" y="194"/>
                </a:lnTo>
                <a:lnTo>
                  <a:pt x="818" y="194"/>
                </a:lnTo>
                <a:lnTo>
                  <a:pt x="816" y="188"/>
                </a:lnTo>
                <a:lnTo>
                  <a:pt x="812" y="184"/>
                </a:lnTo>
                <a:lnTo>
                  <a:pt x="812" y="184"/>
                </a:lnTo>
                <a:lnTo>
                  <a:pt x="808" y="184"/>
                </a:lnTo>
                <a:lnTo>
                  <a:pt x="808" y="184"/>
                </a:lnTo>
                <a:lnTo>
                  <a:pt x="804" y="180"/>
                </a:lnTo>
                <a:lnTo>
                  <a:pt x="800" y="174"/>
                </a:lnTo>
                <a:lnTo>
                  <a:pt x="800" y="174"/>
                </a:lnTo>
                <a:lnTo>
                  <a:pt x="796" y="174"/>
                </a:lnTo>
                <a:lnTo>
                  <a:pt x="796" y="176"/>
                </a:lnTo>
                <a:lnTo>
                  <a:pt x="796" y="176"/>
                </a:lnTo>
                <a:lnTo>
                  <a:pt x="796" y="176"/>
                </a:lnTo>
                <a:lnTo>
                  <a:pt x="802" y="182"/>
                </a:lnTo>
                <a:lnTo>
                  <a:pt x="802" y="182"/>
                </a:lnTo>
                <a:lnTo>
                  <a:pt x="804" y="184"/>
                </a:lnTo>
                <a:lnTo>
                  <a:pt x="804" y="184"/>
                </a:lnTo>
                <a:lnTo>
                  <a:pt x="808" y="188"/>
                </a:lnTo>
                <a:lnTo>
                  <a:pt x="808" y="190"/>
                </a:lnTo>
                <a:lnTo>
                  <a:pt x="802" y="190"/>
                </a:lnTo>
                <a:lnTo>
                  <a:pt x="802" y="190"/>
                </a:lnTo>
                <a:lnTo>
                  <a:pt x="794" y="188"/>
                </a:lnTo>
                <a:lnTo>
                  <a:pt x="794" y="188"/>
                </a:lnTo>
                <a:lnTo>
                  <a:pt x="792" y="184"/>
                </a:lnTo>
                <a:lnTo>
                  <a:pt x="792" y="184"/>
                </a:lnTo>
                <a:lnTo>
                  <a:pt x="786" y="186"/>
                </a:lnTo>
                <a:lnTo>
                  <a:pt x="782" y="186"/>
                </a:lnTo>
                <a:lnTo>
                  <a:pt x="782" y="186"/>
                </a:lnTo>
                <a:lnTo>
                  <a:pt x="776" y="186"/>
                </a:lnTo>
                <a:lnTo>
                  <a:pt x="774" y="184"/>
                </a:lnTo>
                <a:lnTo>
                  <a:pt x="774" y="184"/>
                </a:lnTo>
                <a:lnTo>
                  <a:pt x="770" y="184"/>
                </a:lnTo>
                <a:lnTo>
                  <a:pt x="764" y="184"/>
                </a:lnTo>
                <a:lnTo>
                  <a:pt x="764" y="184"/>
                </a:lnTo>
                <a:lnTo>
                  <a:pt x="760" y="180"/>
                </a:lnTo>
                <a:lnTo>
                  <a:pt x="758" y="180"/>
                </a:lnTo>
                <a:lnTo>
                  <a:pt x="758" y="180"/>
                </a:lnTo>
                <a:lnTo>
                  <a:pt x="758" y="182"/>
                </a:lnTo>
                <a:lnTo>
                  <a:pt x="760" y="184"/>
                </a:lnTo>
                <a:lnTo>
                  <a:pt x="760" y="184"/>
                </a:lnTo>
                <a:lnTo>
                  <a:pt x="750" y="184"/>
                </a:lnTo>
                <a:lnTo>
                  <a:pt x="750" y="184"/>
                </a:lnTo>
                <a:lnTo>
                  <a:pt x="750" y="184"/>
                </a:lnTo>
                <a:lnTo>
                  <a:pt x="750" y="184"/>
                </a:lnTo>
                <a:lnTo>
                  <a:pt x="750" y="182"/>
                </a:lnTo>
                <a:lnTo>
                  <a:pt x="750" y="180"/>
                </a:lnTo>
                <a:lnTo>
                  <a:pt x="750" y="180"/>
                </a:lnTo>
                <a:lnTo>
                  <a:pt x="742" y="174"/>
                </a:lnTo>
                <a:lnTo>
                  <a:pt x="742" y="174"/>
                </a:lnTo>
                <a:lnTo>
                  <a:pt x="742" y="172"/>
                </a:lnTo>
                <a:lnTo>
                  <a:pt x="742" y="172"/>
                </a:lnTo>
                <a:lnTo>
                  <a:pt x="738" y="170"/>
                </a:lnTo>
                <a:lnTo>
                  <a:pt x="736" y="172"/>
                </a:lnTo>
                <a:lnTo>
                  <a:pt x="732" y="176"/>
                </a:lnTo>
                <a:lnTo>
                  <a:pt x="732" y="176"/>
                </a:lnTo>
                <a:lnTo>
                  <a:pt x="726" y="174"/>
                </a:lnTo>
                <a:lnTo>
                  <a:pt x="726" y="172"/>
                </a:lnTo>
                <a:lnTo>
                  <a:pt x="726" y="172"/>
                </a:lnTo>
                <a:lnTo>
                  <a:pt x="728" y="172"/>
                </a:lnTo>
                <a:lnTo>
                  <a:pt x="728" y="172"/>
                </a:lnTo>
                <a:lnTo>
                  <a:pt x="722" y="168"/>
                </a:lnTo>
                <a:lnTo>
                  <a:pt x="722" y="168"/>
                </a:lnTo>
                <a:lnTo>
                  <a:pt x="720" y="168"/>
                </a:lnTo>
                <a:lnTo>
                  <a:pt x="720" y="168"/>
                </a:lnTo>
                <a:lnTo>
                  <a:pt x="720" y="168"/>
                </a:lnTo>
                <a:lnTo>
                  <a:pt x="720" y="168"/>
                </a:lnTo>
                <a:lnTo>
                  <a:pt x="716" y="162"/>
                </a:lnTo>
                <a:lnTo>
                  <a:pt x="716" y="162"/>
                </a:lnTo>
                <a:lnTo>
                  <a:pt x="716" y="158"/>
                </a:lnTo>
                <a:lnTo>
                  <a:pt x="716" y="158"/>
                </a:lnTo>
                <a:lnTo>
                  <a:pt x="724" y="158"/>
                </a:lnTo>
                <a:lnTo>
                  <a:pt x="724" y="154"/>
                </a:lnTo>
                <a:lnTo>
                  <a:pt x="724" y="154"/>
                </a:lnTo>
                <a:lnTo>
                  <a:pt x="714" y="156"/>
                </a:lnTo>
                <a:lnTo>
                  <a:pt x="704" y="154"/>
                </a:lnTo>
                <a:lnTo>
                  <a:pt x="704" y="154"/>
                </a:lnTo>
                <a:lnTo>
                  <a:pt x="704" y="154"/>
                </a:lnTo>
                <a:lnTo>
                  <a:pt x="702" y="150"/>
                </a:lnTo>
                <a:lnTo>
                  <a:pt x="700" y="148"/>
                </a:lnTo>
                <a:lnTo>
                  <a:pt x="700" y="148"/>
                </a:lnTo>
                <a:lnTo>
                  <a:pt x="702" y="148"/>
                </a:lnTo>
                <a:lnTo>
                  <a:pt x="702" y="146"/>
                </a:lnTo>
                <a:lnTo>
                  <a:pt x="702" y="146"/>
                </a:lnTo>
                <a:lnTo>
                  <a:pt x="692" y="140"/>
                </a:lnTo>
                <a:lnTo>
                  <a:pt x="692" y="140"/>
                </a:lnTo>
                <a:lnTo>
                  <a:pt x="692" y="136"/>
                </a:lnTo>
                <a:lnTo>
                  <a:pt x="692" y="136"/>
                </a:lnTo>
                <a:lnTo>
                  <a:pt x="698" y="130"/>
                </a:lnTo>
                <a:lnTo>
                  <a:pt x="698" y="130"/>
                </a:lnTo>
                <a:lnTo>
                  <a:pt x="696" y="126"/>
                </a:lnTo>
                <a:lnTo>
                  <a:pt x="696" y="124"/>
                </a:lnTo>
                <a:lnTo>
                  <a:pt x="696" y="124"/>
                </a:lnTo>
                <a:lnTo>
                  <a:pt x="702" y="118"/>
                </a:lnTo>
                <a:lnTo>
                  <a:pt x="708" y="110"/>
                </a:lnTo>
                <a:lnTo>
                  <a:pt x="708" y="106"/>
                </a:lnTo>
                <a:lnTo>
                  <a:pt x="708" y="106"/>
                </a:lnTo>
                <a:lnTo>
                  <a:pt x="714" y="102"/>
                </a:lnTo>
                <a:lnTo>
                  <a:pt x="714" y="102"/>
                </a:lnTo>
                <a:lnTo>
                  <a:pt x="714" y="96"/>
                </a:lnTo>
                <a:lnTo>
                  <a:pt x="714" y="96"/>
                </a:lnTo>
                <a:lnTo>
                  <a:pt x="720" y="90"/>
                </a:lnTo>
                <a:lnTo>
                  <a:pt x="720" y="88"/>
                </a:lnTo>
                <a:lnTo>
                  <a:pt x="720" y="88"/>
                </a:lnTo>
                <a:lnTo>
                  <a:pt x="724" y="90"/>
                </a:lnTo>
                <a:lnTo>
                  <a:pt x="728" y="90"/>
                </a:lnTo>
                <a:lnTo>
                  <a:pt x="728" y="90"/>
                </a:lnTo>
                <a:lnTo>
                  <a:pt x="736" y="86"/>
                </a:lnTo>
                <a:lnTo>
                  <a:pt x="736" y="86"/>
                </a:lnTo>
                <a:lnTo>
                  <a:pt x="740" y="88"/>
                </a:lnTo>
                <a:lnTo>
                  <a:pt x="744" y="88"/>
                </a:lnTo>
                <a:lnTo>
                  <a:pt x="748" y="86"/>
                </a:lnTo>
                <a:lnTo>
                  <a:pt x="748" y="86"/>
                </a:lnTo>
                <a:lnTo>
                  <a:pt x="758" y="86"/>
                </a:lnTo>
                <a:lnTo>
                  <a:pt x="768" y="86"/>
                </a:lnTo>
                <a:lnTo>
                  <a:pt x="768" y="86"/>
                </a:lnTo>
                <a:lnTo>
                  <a:pt x="778" y="88"/>
                </a:lnTo>
                <a:lnTo>
                  <a:pt x="778" y="88"/>
                </a:lnTo>
                <a:lnTo>
                  <a:pt x="778" y="90"/>
                </a:lnTo>
                <a:lnTo>
                  <a:pt x="778" y="90"/>
                </a:lnTo>
                <a:lnTo>
                  <a:pt x="776" y="90"/>
                </a:lnTo>
                <a:lnTo>
                  <a:pt x="776" y="92"/>
                </a:lnTo>
                <a:lnTo>
                  <a:pt x="776" y="92"/>
                </a:lnTo>
                <a:lnTo>
                  <a:pt x="766" y="94"/>
                </a:lnTo>
                <a:lnTo>
                  <a:pt x="756" y="96"/>
                </a:lnTo>
                <a:lnTo>
                  <a:pt x="748" y="100"/>
                </a:lnTo>
                <a:lnTo>
                  <a:pt x="746" y="104"/>
                </a:lnTo>
                <a:lnTo>
                  <a:pt x="744" y="108"/>
                </a:lnTo>
                <a:lnTo>
                  <a:pt x="744" y="108"/>
                </a:lnTo>
                <a:lnTo>
                  <a:pt x="742" y="124"/>
                </a:lnTo>
                <a:lnTo>
                  <a:pt x="744" y="132"/>
                </a:lnTo>
                <a:lnTo>
                  <a:pt x="746" y="138"/>
                </a:lnTo>
                <a:lnTo>
                  <a:pt x="746" y="138"/>
                </a:lnTo>
                <a:lnTo>
                  <a:pt x="748" y="140"/>
                </a:lnTo>
                <a:lnTo>
                  <a:pt x="752" y="142"/>
                </a:lnTo>
                <a:lnTo>
                  <a:pt x="752" y="142"/>
                </a:lnTo>
                <a:lnTo>
                  <a:pt x="754" y="148"/>
                </a:lnTo>
                <a:lnTo>
                  <a:pt x="754" y="148"/>
                </a:lnTo>
                <a:lnTo>
                  <a:pt x="750" y="148"/>
                </a:lnTo>
                <a:lnTo>
                  <a:pt x="750" y="148"/>
                </a:lnTo>
                <a:lnTo>
                  <a:pt x="746" y="150"/>
                </a:lnTo>
                <a:lnTo>
                  <a:pt x="742" y="154"/>
                </a:lnTo>
                <a:lnTo>
                  <a:pt x="742" y="154"/>
                </a:lnTo>
                <a:lnTo>
                  <a:pt x="752" y="152"/>
                </a:lnTo>
                <a:lnTo>
                  <a:pt x="762" y="154"/>
                </a:lnTo>
                <a:lnTo>
                  <a:pt x="762" y="154"/>
                </a:lnTo>
                <a:lnTo>
                  <a:pt x="760" y="144"/>
                </a:lnTo>
                <a:lnTo>
                  <a:pt x="760" y="144"/>
                </a:lnTo>
                <a:lnTo>
                  <a:pt x="764" y="140"/>
                </a:lnTo>
                <a:lnTo>
                  <a:pt x="762" y="138"/>
                </a:lnTo>
                <a:lnTo>
                  <a:pt x="760" y="136"/>
                </a:lnTo>
                <a:lnTo>
                  <a:pt x="754" y="134"/>
                </a:lnTo>
                <a:lnTo>
                  <a:pt x="754" y="134"/>
                </a:lnTo>
                <a:lnTo>
                  <a:pt x="754" y="128"/>
                </a:lnTo>
                <a:lnTo>
                  <a:pt x="754" y="128"/>
                </a:lnTo>
                <a:lnTo>
                  <a:pt x="762" y="128"/>
                </a:lnTo>
                <a:lnTo>
                  <a:pt x="768" y="132"/>
                </a:lnTo>
                <a:lnTo>
                  <a:pt x="768" y="132"/>
                </a:lnTo>
                <a:lnTo>
                  <a:pt x="768" y="126"/>
                </a:lnTo>
                <a:lnTo>
                  <a:pt x="768" y="122"/>
                </a:lnTo>
                <a:lnTo>
                  <a:pt x="768" y="122"/>
                </a:lnTo>
                <a:lnTo>
                  <a:pt x="766" y="122"/>
                </a:lnTo>
                <a:lnTo>
                  <a:pt x="764" y="122"/>
                </a:lnTo>
                <a:lnTo>
                  <a:pt x="758" y="122"/>
                </a:lnTo>
                <a:lnTo>
                  <a:pt x="758" y="122"/>
                </a:lnTo>
                <a:lnTo>
                  <a:pt x="756" y="120"/>
                </a:lnTo>
                <a:lnTo>
                  <a:pt x="756" y="120"/>
                </a:lnTo>
                <a:lnTo>
                  <a:pt x="756" y="110"/>
                </a:lnTo>
                <a:lnTo>
                  <a:pt x="756" y="110"/>
                </a:lnTo>
                <a:lnTo>
                  <a:pt x="756" y="108"/>
                </a:lnTo>
                <a:lnTo>
                  <a:pt x="760" y="106"/>
                </a:lnTo>
                <a:lnTo>
                  <a:pt x="760" y="106"/>
                </a:lnTo>
                <a:lnTo>
                  <a:pt x="762" y="108"/>
                </a:lnTo>
                <a:lnTo>
                  <a:pt x="766" y="108"/>
                </a:lnTo>
                <a:lnTo>
                  <a:pt x="766" y="108"/>
                </a:lnTo>
                <a:lnTo>
                  <a:pt x="766" y="106"/>
                </a:lnTo>
                <a:lnTo>
                  <a:pt x="766" y="106"/>
                </a:lnTo>
                <a:lnTo>
                  <a:pt x="764" y="106"/>
                </a:lnTo>
                <a:lnTo>
                  <a:pt x="764" y="106"/>
                </a:lnTo>
                <a:lnTo>
                  <a:pt x="766" y="102"/>
                </a:lnTo>
                <a:lnTo>
                  <a:pt x="766" y="102"/>
                </a:lnTo>
                <a:lnTo>
                  <a:pt x="766" y="100"/>
                </a:lnTo>
                <a:lnTo>
                  <a:pt x="766" y="100"/>
                </a:lnTo>
                <a:lnTo>
                  <a:pt x="764" y="100"/>
                </a:lnTo>
                <a:lnTo>
                  <a:pt x="764" y="100"/>
                </a:lnTo>
                <a:lnTo>
                  <a:pt x="764" y="100"/>
                </a:lnTo>
                <a:lnTo>
                  <a:pt x="770" y="98"/>
                </a:lnTo>
                <a:lnTo>
                  <a:pt x="772" y="98"/>
                </a:lnTo>
                <a:lnTo>
                  <a:pt x="772" y="98"/>
                </a:lnTo>
                <a:lnTo>
                  <a:pt x="772" y="96"/>
                </a:lnTo>
                <a:lnTo>
                  <a:pt x="782" y="94"/>
                </a:lnTo>
                <a:lnTo>
                  <a:pt x="782" y="94"/>
                </a:lnTo>
                <a:lnTo>
                  <a:pt x="782" y="92"/>
                </a:lnTo>
                <a:lnTo>
                  <a:pt x="782" y="90"/>
                </a:lnTo>
                <a:lnTo>
                  <a:pt x="782" y="90"/>
                </a:lnTo>
                <a:lnTo>
                  <a:pt x="788" y="90"/>
                </a:lnTo>
                <a:lnTo>
                  <a:pt x="788" y="90"/>
                </a:lnTo>
                <a:lnTo>
                  <a:pt x="792" y="86"/>
                </a:lnTo>
                <a:lnTo>
                  <a:pt x="792" y="86"/>
                </a:lnTo>
                <a:lnTo>
                  <a:pt x="792" y="86"/>
                </a:lnTo>
                <a:lnTo>
                  <a:pt x="798" y="86"/>
                </a:lnTo>
                <a:lnTo>
                  <a:pt x="804" y="88"/>
                </a:lnTo>
                <a:lnTo>
                  <a:pt x="804" y="88"/>
                </a:lnTo>
                <a:lnTo>
                  <a:pt x="808" y="90"/>
                </a:lnTo>
                <a:lnTo>
                  <a:pt x="810" y="92"/>
                </a:lnTo>
                <a:lnTo>
                  <a:pt x="806" y="100"/>
                </a:lnTo>
                <a:lnTo>
                  <a:pt x="806" y="100"/>
                </a:lnTo>
                <a:lnTo>
                  <a:pt x="806" y="102"/>
                </a:lnTo>
                <a:lnTo>
                  <a:pt x="808" y="102"/>
                </a:lnTo>
                <a:lnTo>
                  <a:pt x="808" y="102"/>
                </a:lnTo>
                <a:lnTo>
                  <a:pt x="808" y="104"/>
                </a:lnTo>
                <a:lnTo>
                  <a:pt x="808" y="104"/>
                </a:lnTo>
                <a:lnTo>
                  <a:pt x="804" y="106"/>
                </a:lnTo>
                <a:lnTo>
                  <a:pt x="804" y="110"/>
                </a:lnTo>
                <a:lnTo>
                  <a:pt x="804" y="114"/>
                </a:lnTo>
                <a:lnTo>
                  <a:pt x="806" y="114"/>
                </a:lnTo>
                <a:lnTo>
                  <a:pt x="806" y="114"/>
                </a:lnTo>
                <a:lnTo>
                  <a:pt x="808" y="116"/>
                </a:lnTo>
                <a:lnTo>
                  <a:pt x="808" y="118"/>
                </a:lnTo>
                <a:lnTo>
                  <a:pt x="810" y="118"/>
                </a:lnTo>
                <a:lnTo>
                  <a:pt x="810" y="118"/>
                </a:lnTo>
                <a:lnTo>
                  <a:pt x="808" y="124"/>
                </a:lnTo>
                <a:lnTo>
                  <a:pt x="808" y="126"/>
                </a:lnTo>
                <a:lnTo>
                  <a:pt x="808" y="126"/>
                </a:lnTo>
                <a:lnTo>
                  <a:pt x="812" y="126"/>
                </a:lnTo>
                <a:lnTo>
                  <a:pt x="812" y="128"/>
                </a:lnTo>
                <a:lnTo>
                  <a:pt x="812" y="130"/>
                </a:lnTo>
                <a:lnTo>
                  <a:pt x="812" y="130"/>
                </a:lnTo>
                <a:lnTo>
                  <a:pt x="810" y="132"/>
                </a:lnTo>
                <a:lnTo>
                  <a:pt x="810" y="136"/>
                </a:lnTo>
                <a:lnTo>
                  <a:pt x="810" y="136"/>
                </a:lnTo>
                <a:lnTo>
                  <a:pt x="804" y="136"/>
                </a:lnTo>
                <a:lnTo>
                  <a:pt x="804" y="138"/>
                </a:lnTo>
                <a:lnTo>
                  <a:pt x="804" y="138"/>
                </a:lnTo>
                <a:lnTo>
                  <a:pt x="810" y="140"/>
                </a:lnTo>
                <a:lnTo>
                  <a:pt x="816" y="140"/>
                </a:lnTo>
                <a:lnTo>
                  <a:pt x="816" y="140"/>
                </a:lnTo>
                <a:lnTo>
                  <a:pt x="818" y="136"/>
                </a:lnTo>
                <a:lnTo>
                  <a:pt x="818" y="136"/>
                </a:lnTo>
                <a:lnTo>
                  <a:pt x="814" y="132"/>
                </a:lnTo>
                <a:lnTo>
                  <a:pt x="814" y="132"/>
                </a:lnTo>
                <a:lnTo>
                  <a:pt x="818" y="128"/>
                </a:lnTo>
                <a:lnTo>
                  <a:pt x="822" y="124"/>
                </a:lnTo>
                <a:lnTo>
                  <a:pt x="824" y="122"/>
                </a:lnTo>
                <a:lnTo>
                  <a:pt x="824" y="122"/>
                </a:lnTo>
                <a:lnTo>
                  <a:pt x="826" y="124"/>
                </a:lnTo>
                <a:lnTo>
                  <a:pt x="828" y="124"/>
                </a:lnTo>
                <a:lnTo>
                  <a:pt x="828" y="126"/>
                </a:lnTo>
                <a:lnTo>
                  <a:pt x="826" y="126"/>
                </a:lnTo>
                <a:lnTo>
                  <a:pt x="828" y="130"/>
                </a:lnTo>
                <a:lnTo>
                  <a:pt x="828" y="130"/>
                </a:lnTo>
                <a:lnTo>
                  <a:pt x="836" y="126"/>
                </a:lnTo>
                <a:lnTo>
                  <a:pt x="838" y="128"/>
                </a:lnTo>
                <a:lnTo>
                  <a:pt x="836" y="136"/>
                </a:lnTo>
                <a:lnTo>
                  <a:pt x="836" y="136"/>
                </a:lnTo>
                <a:lnTo>
                  <a:pt x="836" y="138"/>
                </a:lnTo>
                <a:lnTo>
                  <a:pt x="836" y="138"/>
                </a:lnTo>
                <a:lnTo>
                  <a:pt x="836" y="140"/>
                </a:lnTo>
                <a:lnTo>
                  <a:pt x="836" y="140"/>
                </a:lnTo>
                <a:lnTo>
                  <a:pt x="836" y="140"/>
                </a:lnTo>
                <a:lnTo>
                  <a:pt x="836" y="140"/>
                </a:lnTo>
                <a:lnTo>
                  <a:pt x="838" y="140"/>
                </a:lnTo>
                <a:lnTo>
                  <a:pt x="838" y="140"/>
                </a:lnTo>
                <a:lnTo>
                  <a:pt x="840" y="140"/>
                </a:lnTo>
                <a:lnTo>
                  <a:pt x="840" y="140"/>
                </a:lnTo>
                <a:lnTo>
                  <a:pt x="840" y="138"/>
                </a:lnTo>
                <a:lnTo>
                  <a:pt x="838" y="138"/>
                </a:lnTo>
                <a:lnTo>
                  <a:pt x="838" y="138"/>
                </a:lnTo>
                <a:lnTo>
                  <a:pt x="838" y="136"/>
                </a:lnTo>
                <a:lnTo>
                  <a:pt x="838" y="134"/>
                </a:lnTo>
                <a:lnTo>
                  <a:pt x="838" y="136"/>
                </a:lnTo>
                <a:lnTo>
                  <a:pt x="838" y="136"/>
                </a:lnTo>
                <a:lnTo>
                  <a:pt x="840" y="132"/>
                </a:lnTo>
                <a:lnTo>
                  <a:pt x="840" y="132"/>
                </a:lnTo>
                <a:lnTo>
                  <a:pt x="844" y="132"/>
                </a:lnTo>
                <a:lnTo>
                  <a:pt x="844" y="132"/>
                </a:lnTo>
                <a:lnTo>
                  <a:pt x="844" y="130"/>
                </a:lnTo>
                <a:lnTo>
                  <a:pt x="842" y="128"/>
                </a:lnTo>
                <a:lnTo>
                  <a:pt x="842" y="124"/>
                </a:lnTo>
                <a:lnTo>
                  <a:pt x="842" y="124"/>
                </a:lnTo>
                <a:lnTo>
                  <a:pt x="848" y="124"/>
                </a:lnTo>
                <a:lnTo>
                  <a:pt x="848" y="124"/>
                </a:lnTo>
                <a:lnTo>
                  <a:pt x="850" y="126"/>
                </a:lnTo>
                <a:lnTo>
                  <a:pt x="854" y="128"/>
                </a:lnTo>
                <a:lnTo>
                  <a:pt x="854" y="128"/>
                </a:lnTo>
                <a:lnTo>
                  <a:pt x="858" y="128"/>
                </a:lnTo>
                <a:lnTo>
                  <a:pt x="858" y="128"/>
                </a:lnTo>
                <a:lnTo>
                  <a:pt x="860" y="128"/>
                </a:lnTo>
                <a:lnTo>
                  <a:pt x="860" y="130"/>
                </a:lnTo>
                <a:lnTo>
                  <a:pt x="860" y="130"/>
                </a:lnTo>
                <a:lnTo>
                  <a:pt x="862" y="128"/>
                </a:lnTo>
                <a:lnTo>
                  <a:pt x="862" y="128"/>
                </a:lnTo>
                <a:lnTo>
                  <a:pt x="858" y="126"/>
                </a:lnTo>
                <a:lnTo>
                  <a:pt x="850" y="122"/>
                </a:lnTo>
                <a:lnTo>
                  <a:pt x="850" y="122"/>
                </a:lnTo>
                <a:lnTo>
                  <a:pt x="846" y="120"/>
                </a:lnTo>
                <a:lnTo>
                  <a:pt x="844" y="116"/>
                </a:lnTo>
                <a:lnTo>
                  <a:pt x="846" y="114"/>
                </a:lnTo>
                <a:lnTo>
                  <a:pt x="852" y="112"/>
                </a:lnTo>
                <a:lnTo>
                  <a:pt x="852" y="112"/>
                </a:lnTo>
                <a:lnTo>
                  <a:pt x="858" y="112"/>
                </a:lnTo>
                <a:lnTo>
                  <a:pt x="864" y="112"/>
                </a:lnTo>
                <a:lnTo>
                  <a:pt x="864" y="112"/>
                </a:lnTo>
                <a:lnTo>
                  <a:pt x="866" y="116"/>
                </a:lnTo>
                <a:lnTo>
                  <a:pt x="866" y="116"/>
                </a:lnTo>
                <a:lnTo>
                  <a:pt x="876" y="118"/>
                </a:lnTo>
                <a:lnTo>
                  <a:pt x="876" y="118"/>
                </a:lnTo>
                <a:lnTo>
                  <a:pt x="880" y="120"/>
                </a:lnTo>
                <a:lnTo>
                  <a:pt x="884" y="122"/>
                </a:lnTo>
                <a:lnTo>
                  <a:pt x="884" y="122"/>
                </a:lnTo>
                <a:lnTo>
                  <a:pt x="888" y="120"/>
                </a:lnTo>
                <a:lnTo>
                  <a:pt x="892" y="118"/>
                </a:lnTo>
                <a:lnTo>
                  <a:pt x="892" y="118"/>
                </a:lnTo>
                <a:lnTo>
                  <a:pt x="896" y="120"/>
                </a:lnTo>
                <a:lnTo>
                  <a:pt x="896" y="120"/>
                </a:lnTo>
                <a:lnTo>
                  <a:pt x="904" y="118"/>
                </a:lnTo>
                <a:lnTo>
                  <a:pt x="904" y="118"/>
                </a:lnTo>
                <a:lnTo>
                  <a:pt x="908" y="124"/>
                </a:lnTo>
                <a:lnTo>
                  <a:pt x="908" y="124"/>
                </a:lnTo>
                <a:lnTo>
                  <a:pt x="908" y="124"/>
                </a:lnTo>
                <a:lnTo>
                  <a:pt x="908" y="130"/>
                </a:lnTo>
                <a:lnTo>
                  <a:pt x="908" y="130"/>
                </a:lnTo>
                <a:lnTo>
                  <a:pt x="904" y="130"/>
                </a:lnTo>
                <a:lnTo>
                  <a:pt x="904" y="130"/>
                </a:lnTo>
                <a:lnTo>
                  <a:pt x="910" y="130"/>
                </a:lnTo>
                <a:lnTo>
                  <a:pt x="912" y="132"/>
                </a:lnTo>
                <a:lnTo>
                  <a:pt x="914" y="142"/>
                </a:lnTo>
                <a:lnTo>
                  <a:pt x="914" y="142"/>
                </a:lnTo>
                <a:lnTo>
                  <a:pt x="906" y="144"/>
                </a:lnTo>
                <a:lnTo>
                  <a:pt x="906" y="144"/>
                </a:lnTo>
                <a:lnTo>
                  <a:pt x="906" y="146"/>
                </a:lnTo>
                <a:lnTo>
                  <a:pt x="906" y="148"/>
                </a:lnTo>
                <a:lnTo>
                  <a:pt x="906" y="148"/>
                </a:lnTo>
                <a:lnTo>
                  <a:pt x="910" y="148"/>
                </a:lnTo>
                <a:lnTo>
                  <a:pt x="910" y="148"/>
                </a:lnTo>
                <a:lnTo>
                  <a:pt x="910" y="150"/>
                </a:lnTo>
                <a:lnTo>
                  <a:pt x="910" y="150"/>
                </a:lnTo>
                <a:lnTo>
                  <a:pt x="910" y="150"/>
                </a:lnTo>
                <a:lnTo>
                  <a:pt x="910" y="150"/>
                </a:lnTo>
                <a:lnTo>
                  <a:pt x="908" y="152"/>
                </a:lnTo>
                <a:lnTo>
                  <a:pt x="908" y="152"/>
                </a:lnTo>
                <a:lnTo>
                  <a:pt x="910" y="154"/>
                </a:lnTo>
                <a:lnTo>
                  <a:pt x="910" y="154"/>
                </a:lnTo>
                <a:lnTo>
                  <a:pt x="914" y="154"/>
                </a:lnTo>
                <a:lnTo>
                  <a:pt x="914" y="154"/>
                </a:lnTo>
                <a:lnTo>
                  <a:pt x="916" y="148"/>
                </a:lnTo>
                <a:lnTo>
                  <a:pt x="916" y="148"/>
                </a:lnTo>
                <a:lnTo>
                  <a:pt x="918" y="144"/>
                </a:lnTo>
                <a:lnTo>
                  <a:pt x="920" y="146"/>
                </a:lnTo>
                <a:lnTo>
                  <a:pt x="922" y="156"/>
                </a:lnTo>
                <a:lnTo>
                  <a:pt x="922" y="156"/>
                </a:lnTo>
                <a:lnTo>
                  <a:pt x="924" y="152"/>
                </a:lnTo>
                <a:lnTo>
                  <a:pt x="924" y="152"/>
                </a:lnTo>
                <a:lnTo>
                  <a:pt x="926" y="154"/>
                </a:lnTo>
                <a:lnTo>
                  <a:pt x="928" y="154"/>
                </a:lnTo>
                <a:lnTo>
                  <a:pt x="928" y="154"/>
                </a:lnTo>
                <a:lnTo>
                  <a:pt x="928" y="156"/>
                </a:lnTo>
                <a:lnTo>
                  <a:pt x="928" y="156"/>
                </a:lnTo>
                <a:lnTo>
                  <a:pt x="930" y="156"/>
                </a:lnTo>
                <a:lnTo>
                  <a:pt x="930" y="156"/>
                </a:lnTo>
                <a:lnTo>
                  <a:pt x="930" y="150"/>
                </a:lnTo>
                <a:lnTo>
                  <a:pt x="930" y="146"/>
                </a:lnTo>
                <a:lnTo>
                  <a:pt x="934" y="146"/>
                </a:lnTo>
                <a:lnTo>
                  <a:pt x="934" y="146"/>
                </a:lnTo>
                <a:lnTo>
                  <a:pt x="936" y="146"/>
                </a:lnTo>
                <a:lnTo>
                  <a:pt x="936" y="146"/>
                </a:lnTo>
                <a:lnTo>
                  <a:pt x="936" y="146"/>
                </a:lnTo>
                <a:lnTo>
                  <a:pt x="938" y="150"/>
                </a:lnTo>
                <a:lnTo>
                  <a:pt x="940" y="152"/>
                </a:lnTo>
                <a:lnTo>
                  <a:pt x="940" y="152"/>
                </a:lnTo>
                <a:lnTo>
                  <a:pt x="946" y="154"/>
                </a:lnTo>
                <a:lnTo>
                  <a:pt x="946" y="154"/>
                </a:lnTo>
                <a:lnTo>
                  <a:pt x="946" y="154"/>
                </a:lnTo>
                <a:lnTo>
                  <a:pt x="948" y="154"/>
                </a:lnTo>
                <a:lnTo>
                  <a:pt x="948" y="156"/>
                </a:lnTo>
                <a:lnTo>
                  <a:pt x="948" y="156"/>
                </a:lnTo>
                <a:lnTo>
                  <a:pt x="942" y="158"/>
                </a:lnTo>
                <a:lnTo>
                  <a:pt x="942" y="158"/>
                </a:lnTo>
                <a:lnTo>
                  <a:pt x="940" y="162"/>
                </a:lnTo>
                <a:lnTo>
                  <a:pt x="946" y="162"/>
                </a:lnTo>
                <a:lnTo>
                  <a:pt x="946" y="162"/>
                </a:lnTo>
                <a:lnTo>
                  <a:pt x="948" y="160"/>
                </a:lnTo>
                <a:lnTo>
                  <a:pt x="950" y="160"/>
                </a:lnTo>
                <a:lnTo>
                  <a:pt x="950" y="160"/>
                </a:lnTo>
                <a:lnTo>
                  <a:pt x="948" y="156"/>
                </a:lnTo>
                <a:lnTo>
                  <a:pt x="950" y="156"/>
                </a:lnTo>
                <a:lnTo>
                  <a:pt x="950" y="156"/>
                </a:lnTo>
                <a:lnTo>
                  <a:pt x="950" y="156"/>
                </a:lnTo>
                <a:lnTo>
                  <a:pt x="952" y="156"/>
                </a:lnTo>
                <a:lnTo>
                  <a:pt x="952" y="156"/>
                </a:lnTo>
                <a:lnTo>
                  <a:pt x="950" y="158"/>
                </a:lnTo>
                <a:lnTo>
                  <a:pt x="950" y="158"/>
                </a:lnTo>
                <a:lnTo>
                  <a:pt x="954" y="158"/>
                </a:lnTo>
                <a:lnTo>
                  <a:pt x="954" y="158"/>
                </a:lnTo>
                <a:lnTo>
                  <a:pt x="956" y="156"/>
                </a:lnTo>
                <a:lnTo>
                  <a:pt x="958" y="162"/>
                </a:lnTo>
                <a:lnTo>
                  <a:pt x="958" y="162"/>
                </a:lnTo>
                <a:lnTo>
                  <a:pt x="954" y="164"/>
                </a:lnTo>
                <a:lnTo>
                  <a:pt x="954" y="164"/>
                </a:lnTo>
                <a:lnTo>
                  <a:pt x="952" y="164"/>
                </a:lnTo>
                <a:lnTo>
                  <a:pt x="952" y="164"/>
                </a:lnTo>
                <a:lnTo>
                  <a:pt x="952" y="170"/>
                </a:lnTo>
                <a:lnTo>
                  <a:pt x="954" y="170"/>
                </a:lnTo>
                <a:lnTo>
                  <a:pt x="954" y="168"/>
                </a:lnTo>
                <a:lnTo>
                  <a:pt x="954" y="168"/>
                </a:lnTo>
                <a:lnTo>
                  <a:pt x="954" y="164"/>
                </a:lnTo>
                <a:lnTo>
                  <a:pt x="958" y="164"/>
                </a:lnTo>
                <a:lnTo>
                  <a:pt x="964" y="164"/>
                </a:lnTo>
                <a:lnTo>
                  <a:pt x="964" y="164"/>
                </a:lnTo>
                <a:lnTo>
                  <a:pt x="962" y="168"/>
                </a:lnTo>
                <a:lnTo>
                  <a:pt x="962" y="168"/>
                </a:lnTo>
                <a:lnTo>
                  <a:pt x="960" y="168"/>
                </a:lnTo>
                <a:lnTo>
                  <a:pt x="960" y="168"/>
                </a:lnTo>
                <a:lnTo>
                  <a:pt x="962" y="168"/>
                </a:lnTo>
                <a:lnTo>
                  <a:pt x="962" y="168"/>
                </a:lnTo>
                <a:lnTo>
                  <a:pt x="966" y="164"/>
                </a:lnTo>
                <a:lnTo>
                  <a:pt x="966" y="164"/>
                </a:lnTo>
                <a:lnTo>
                  <a:pt x="972" y="164"/>
                </a:lnTo>
                <a:lnTo>
                  <a:pt x="972" y="164"/>
                </a:lnTo>
                <a:lnTo>
                  <a:pt x="974" y="170"/>
                </a:lnTo>
                <a:lnTo>
                  <a:pt x="974" y="170"/>
                </a:lnTo>
                <a:lnTo>
                  <a:pt x="978" y="170"/>
                </a:lnTo>
                <a:lnTo>
                  <a:pt x="982" y="170"/>
                </a:lnTo>
                <a:lnTo>
                  <a:pt x="982" y="170"/>
                </a:lnTo>
                <a:lnTo>
                  <a:pt x="982" y="174"/>
                </a:lnTo>
                <a:lnTo>
                  <a:pt x="982" y="174"/>
                </a:lnTo>
                <a:lnTo>
                  <a:pt x="976" y="172"/>
                </a:lnTo>
                <a:lnTo>
                  <a:pt x="976" y="172"/>
                </a:lnTo>
                <a:lnTo>
                  <a:pt x="976" y="176"/>
                </a:lnTo>
                <a:lnTo>
                  <a:pt x="976" y="176"/>
                </a:lnTo>
                <a:lnTo>
                  <a:pt x="972" y="176"/>
                </a:lnTo>
                <a:lnTo>
                  <a:pt x="972" y="176"/>
                </a:lnTo>
                <a:lnTo>
                  <a:pt x="970" y="178"/>
                </a:lnTo>
                <a:lnTo>
                  <a:pt x="970" y="178"/>
                </a:lnTo>
                <a:lnTo>
                  <a:pt x="976" y="178"/>
                </a:lnTo>
                <a:lnTo>
                  <a:pt x="976" y="178"/>
                </a:lnTo>
                <a:lnTo>
                  <a:pt x="978" y="180"/>
                </a:lnTo>
                <a:lnTo>
                  <a:pt x="978" y="182"/>
                </a:lnTo>
                <a:lnTo>
                  <a:pt x="978" y="182"/>
                </a:lnTo>
                <a:lnTo>
                  <a:pt x="980" y="182"/>
                </a:lnTo>
                <a:lnTo>
                  <a:pt x="980" y="182"/>
                </a:lnTo>
                <a:lnTo>
                  <a:pt x="986" y="176"/>
                </a:lnTo>
                <a:lnTo>
                  <a:pt x="986" y="176"/>
                </a:lnTo>
                <a:lnTo>
                  <a:pt x="986" y="174"/>
                </a:lnTo>
                <a:lnTo>
                  <a:pt x="986" y="174"/>
                </a:lnTo>
                <a:lnTo>
                  <a:pt x="988" y="174"/>
                </a:lnTo>
                <a:lnTo>
                  <a:pt x="988" y="174"/>
                </a:lnTo>
                <a:lnTo>
                  <a:pt x="990" y="178"/>
                </a:lnTo>
                <a:lnTo>
                  <a:pt x="990" y="178"/>
                </a:lnTo>
                <a:lnTo>
                  <a:pt x="994" y="180"/>
                </a:lnTo>
                <a:lnTo>
                  <a:pt x="994" y="180"/>
                </a:lnTo>
                <a:lnTo>
                  <a:pt x="994" y="184"/>
                </a:lnTo>
                <a:lnTo>
                  <a:pt x="994" y="188"/>
                </a:lnTo>
                <a:lnTo>
                  <a:pt x="994" y="188"/>
                </a:lnTo>
                <a:lnTo>
                  <a:pt x="988" y="188"/>
                </a:lnTo>
                <a:lnTo>
                  <a:pt x="988" y="188"/>
                </a:lnTo>
                <a:lnTo>
                  <a:pt x="986" y="192"/>
                </a:lnTo>
                <a:lnTo>
                  <a:pt x="986" y="192"/>
                </a:lnTo>
                <a:lnTo>
                  <a:pt x="982" y="192"/>
                </a:lnTo>
                <a:lnTo>
                  <a:pt x="978" y="192"/>
                </a:lnTo>
                <a:lnTo>
                  <a:pt x="978" y="192"/>
                </a:lnTo>
                <a:lnTo>
                  <a:pt x="984" y="196"/>
                </a:lnTo>
                <a:lnTo>
                  <a:pt x="984" y="198"/>
                </a:lnTo>
                <a:lnTo>
                  <a:pt x="984" y="198"/>
                </a:lnTo>
                <a:lnTo>
                  <a:pt x="990" y="198"/>
                </a:lnTo>
                <a:lnTo>
                  <a:pt x="990" y="198"/>
                </a:lnTo>
                <a:lnTo>
                  <a:pt x="998" y="202"/>
                </a:lnTo>
                <a:lnTo>
                  <a:pt x="1000" y="204"/>
                </a:lnTo>
                <a:lnTo>
                  <a:pt x="1000" y="204"/>
                </a:lnTo>
                <a:lnTo>
                  <a:pt x="998" y="206"/>
                </a:lnTo>
                <a:lnTo>
                  <a:pt x="998" y="206"/>
                </a:lnTo>
                <a:lnTo>
                  <a:pt x="988" y="206"/>
                </a:lnTo>
                <a:lnTo>
                  <a:pt x="986" y="204"/>
                </a:lnTo>
                <a:lnTo>
                  <a:pt x="986" y="204"/>
                </a:lnTo>
                <a:lnTo>
                  <a:pt x="984" y="204"/>
                </a:lnTo>
                <a:lnTo>
                  <a:pt x="986" y="204"/>
                </a:lnTo>
                <a:lnTo>
                  <a:pt x="986" y="208"/>
                </a:lnTo>
                <a:lnTo>
                  <a:pt x="986" y="208"/>
                </a:lnTo>
                <a:lnTo>
                  <a:pt x="992" y="212"/>
                </a:lnTo>
                <a:lnTo>
                  <a:pt x="992" y="214"/>
                </a:lnTo>
                <a:lnTo>
                  <a:pt x="992" y="214"/>
                </a:lnTo>
                <a:lnTo>
                  <a:pt x="988" y="214"/>
                </a:lnTo>
                <a:lnTo>
                  <a:pt x="988" y="214"/>
                </a:lnTo>
                <a:lnTo>
                  <a:pt x="988" y="218"/>
                </a:lnTo>
                <a:lnTo>
                  <a:pt x="988" y="218"/>
                </a:lnTo>
                <a:lnTo>
                  <a:pt x="978" y="218"/>
                </a:lnTo>
                <a:lnTo>
                  <a:pt x="978" y="220"/>
                </a:lnTo>
                <a:lnTo>
                  <a:pt x="978" y="220"/>
                </a:lnTo>
                <a:lnTo>
                  <a:pt x="980" y="220"/>
                </a:lnTo>
                <a:lnTo>
                  <a:pt x="984" y="222"/>
                </a:lnTo>
                <a:lnTo>
                  <a:pt x="984" y="222"/>
                </a:lnTo>
                <a:lnTo>
                  <a:pt x="982" y="224"/>
                </a:lnTo>
                <a:lnTo>
                  <a:pt x="982" y="224"/>
                </a:lnTo>
                <a:lnTo>
                  <a:pt x="984" y="224"/>
                </a:lnTo>
                <a:lnTo>
                  <a:pt x="984" y="224"/>
                </a:lnTo>
                <a:lnTo>
                  <a:pt x="990" y="226"/>
                </a:lnTo>
                <a:lnTo>
                  <a:pt x="994" y="226"/>
                </a:lnTo>
                <a:lnTo>
                  <a:pt x="994" y="226"/>
                </a:lnTo>
                <a:lnTo>
                  <a:pt x="994" y="232"/>
                </a:lnTo>
                <a:lnTo>
                  <a:pt x="994" y="232"/>
                </a:lnTo>
                <a:lnTo>
                  <a:pt x="996" y="230"/>
                </a:lnTo>
                <a:lnTo>
                  <a:pt x="996" y="228"/>
                </a:lnTo>
                <a:lnTo>
                  <a:pt x="996" y="228"/>
                </a:lnTo>
                <a:lnTo>
                  <a:pt x="1002" y="230"/>
                </a:lnTo>
                <a:lnTo>
                  <a:pt x="998" y="236"/>
                </a:lnTo>
                <a:lnTo>
                  <a:pt x="998" y="236"/>
                </a:lnTo>
                <a:lnTo>
                  <a:pt x="1004" y="234"/>
                </a:lnTo>
                <a:lnTo>
                  <a:pt x="1004" y="234"/>
                </a:lnTo>
                <a:lnTo>
                  <a:pt x="1004" y="238"/>
                </a:lnTo>
                <a:lnTo>
                  <a:pt x="1004" y="238"/>
                </a:lnTo>
                <a:lnTo>
                  <a:pt x="1006" y="238"/>
                </a:lnTo>
                <a:lnTo>
                  <a:pt x="1006" y="238"/>
                </a:lnTo>
                <a:lnTo>
                  <a:pt x="1006" y="240"/>
                </a:lnTo>
                <a:lnTo>
                  <a:pt x="1006" y="240"/>
                </a:lnTo>
                <a:lnTo>
                  <a:pt x="1008" y="240"/>
                </a:lnTo>
                <a:lnTo>
                  <a:pt x="1008" y="238"/>
                </a:lnTo>
                <a:lnTo>
                  <a:pt x="1008" y="238"/>
                </a:lnTo>
                <a:lnTo>
                  <a:pt x="1010" y="238"/>
                </a:lnTo>
                <a:lnTo>
                  <a:pt x="1010" y="238"/>
                </a:lnTo>
                <a:lnTo>
                  <a:pt x="1010" y="240"/>
                </a:lnTo>
                <a:lnTo>
                  <a:pt x="1010" y="240"/>
                </a:lnTo>
                <a:lnTo>
                  <a:pt x="1008" y="248"/>
                </a:lnTo>
                <a:lnTo>
                  <a:pt x="1008" y="248"/>
                </a:lnTo>
                <a:lnTo>
                  <a:pt x="1010" y="248"/>
                </a:lnTo>
                <a:lnTo>
                  <a:pt x="1010" y="248"/>
                </a:lnTo>
                <a:lnTo>
                  <a:pt x="1012" y="242"/>
                </a:lnTo>
                <a:lnTo>
                  <a:pt x="1014" y="242"/>
                </a:lnTo>
                <a:lnTo>
                  <a:pt x="1014" y="242"/>
                </a:lnTo>
                <a:lnTo>
                  <a:pt x="1016" y="246"/>
                </a:lnTo>
                <a:lnTo>
                  <a:pt x="1016" y="246"/>
                </a:lnTo>
                <a:lnTo>
                  <a:pt x="1018" y="244"/>
                </a:lnTo>
                <a:lnTo>
                  <a:pt x="1018" y="242"/>
                </a:lnTo>
                <a:lnTo>
                  <a:pt x="1018" y="242"/>
                </a:lnTo>
                <a:lnTo>
                  <a:pt x="1018" y="242"/>
                </a:lnTo>
                <a:lnTo>
                  <a:pt x="1020" y="240"/>
                </a:lnTo>
                <a:lnTo>
                  <a:pt x="1020" y="240"/>
                </a:lnTo>
                <a:lnTo>
                  <a:pt x="1022" y="240"/>
                </a:lnTo>
                <a:lnTo>
                  <a:pt x="1022" y="240"/>
                </a:lnTo>
                <a:lnTo>
                  <a:pt x="1022" y="246"/>
                </a:lnTo>
                <a:lnTo>
                  <a:pt x="1022" y="246"/>
                </a:lnTo>
                <a:lnTo>
                  <a:pt x="1024" y="244"/>
                </a:lnTo>
                <a:lnTo>
                  <a:pt x="1024" y="244"/>
                </a:lnTo>
                <a:lnTo>
                  <a:pt x="1024" y="240"/>
                </a:lnTo>
                <a:lnTo>
                  <a:pt x="1024" y="240"/>
                </a:lnTo>
                <a:lnTo>
                  <a:pt x="1028" y="236"/>
                </a:lnTo>
                <a:lnTo>
                  <a:pt x="1028" y="236"/>
                </a:lnTo>
                <a:lnTo>
                  <a:pt x="1030" y="236"/>
                </a:lnTo>
                <a:lnTo>
                  <a:pt x="1030" y="238"/>
                </a:lnTo>
                <a:lnTo>
                  <a:pt x="1030" y="238"/>
                </a:lnTo>
                <a:lnTo>
                  <a:pt x="1028" y="248"/>
                </a:lnTo>
                <a:lnTo>
                  <a:pt x="1028" y="248"/>
                </a:lnTo>
                <a:lnTo>
                  <a:pt x="1032" y="248"/>
                </a:lnTo>
                <a:lnTo>
                  <a:pt x="1032" y="248"/>
                </a:lnTo>
                <a:lnTo>
                  <a:pt x="1032" y="242"/>
                </a:lnTo>
                <a:lnTo>
                  <a:pt x="1032" y="242"/>
                </a:lnTo>
                <a:lnTo>
                  <a:pt x="1036" y="244"/>
                </a:lnTo>
                <a:lnTo>
                  <a:pt x="1040" y="246"/>
                </a:lnTo>
                <a:lnTo>
                  <a:pt x="1040" y="246"/>
                </a:lnTo>
                <a:lnTo>
                  <a:pt x="1040" y="250"/>
                </a:lnTo>
                <a:lnTo>
                  <a:pt x="1040" y="250"/>
                </a:lnTo>
                <a:lnTo>
                  <a:pt x="1042" y="252"/>
                </a:lnTo>
                <a:lnTo>
                  <a:pt x="1042" y="252"/>
                </a:lnTo>
                <a:lnTo>
                  <a:pt x="1036" y="254"/>
                </a:lnTo>
                <a:lnTo>
                  <a:pt x="1038" y="256"/>
                </a:lnTo>
                <a:lnTo>
                  <a:pt x="1038" y="256"/>
                </a:lnTo>
                <a:lnTo>
                  <a:pt x="1042" y="256"/>
                </a:lnTo>
                <a:lnTo>
                  <a:pt x="1042" y="258"/>
                </a:lnTo>
                <a:lnTo>
                  <a:pt x="1042" y="258"/>
                </a:lnTo>
                <a:lnTo>
                  <a:pt x="1048" y="258"/>
                </a:lnTo>
                <a:lnTo>
                  <a:pt x="1054" y="260"/>
                </a:lnTo>
                <a:lnTo>
                  <a:pt x="1054" y="260"/>
                </a:lnTo>
                <a:lnTo>
                  <a:pt x="1054" y="254"/>
                </a:lnTo>
                <a:lnTo>
                  <a:pt x="1054" y="254"/>
                </a:lnTo>
                <a:lnTo>
                  <a:pt x="1054" y="252"/>
                </a:lnTo>
                <a:lnTo>
                  <a:pt x="1054" y="252"/>
                </a:lnTo>
                <a:lnTo>
                  <a:pt x="1058" y="254"/>
                </a:lnTo>
                <a:lnTo>
                  <a:pt x="1058" y="254"/>
                </a:lnTo>
                <a:lnTo>
                  <a:pt x="1058" y="254"/>
                </a:lnTo>
                <a:lnTo>
                  <a:pt x="1060" y="254"/>
                </a:lnTo>
                <a:lnTo>
                  <a:pt x="1060" y="254"/>
                </a:lnTo>
                <a:lnTo>
                  <a:pt x="1060" y="254"/>
                </a:lnTo>
                <a:lnTo>
                  <a:pt x="1056" y="258"/>
                </a:lnTo>
                <a:lnTo>
                  <a:pt x="1056" y="258"/>
                </a:lnTo>
                <a:lnTo>
                  <a:pt x="1056" y="266"/>
                </a:lnTo>
                <a:lnTo>
                  <a:pt x="1056" y="266"/>
                </a:lnTo>
                <a:lnTo>
                  <a:pt x="1060" y="266"/>
                </a:lnTo>
                <a:lnTo>
                  <a:pt x="1060" y="266"/>
                </a:lnTo>
                <a:lnTo>
                  <a:pt x="1060" y="260"/>
                </a:lnTo>
                <a:lnTo>
                  <a:pt x="1060" y="260"/>
                </a:lnTo>
                <a:lnTo>
                  <a:pt x="1060" y="260"/>
                </a:lnTo>
                <a:lnTo>
                  <a:pt x="1062" y="258"/>
                </a:lnTo>
                <a:lnTo>
                  <a:pt x="1062" y="258"/>
                </a:lnTo>
                <a:lnTo>
                  <a:pt x="1062" y="258"/>
                </a:lnTo>
                <a:lnTo>
                  <a:pt x="1064" y="258"/>
                </a:lnTo>
                <a:lnTo>
                  <a:pt x="1064" y="260"/>
                </a:lnTo>
                <a:lnTo>
                  <a:pt x="1064" y="260"/>
                </a:lnTo>
                <a:lnTo>
                  <a:pt x="1068" y="258"/>
                </a:lnTo>
                <a:lnTo>
                  <a:pt x="1068" y="258"/>
                </a:lnTo>
                <a:lnTo>
                  <a:pt x="1070" y="260"/>
                </a:lnTo>
                <a:lnTo>
                  <a:pt x="1070" y="260"/>
                </a:lnTo>
                <a:lnTo>
                  <a:pt x="1070" y="260"/>
                </a:lnTo>
                <a:lnTo>
                  <a:pt x="1070" y="256"/>
                </a:lnTo>
                <a:lnTo>
                  <a:pt x="1070" y="252"/>
                </a:lnTo>
                <a:lnTo>
                  <a:pt x="1070" y="252"/>
                </a:lnTo>
                <a:lnTo>
                  <a:pt x="1070" y="252"/>
                </a:lnTo>
                <a:lnTo>
                  <a:pt x="1072" y="254"/>
                </a:lnTo>
                <a:lnTo>
                  <a:pt x="1072" y="254"/>
                </a:lnTo>
                <a:lnTo>
                  <a:pt x="1072" y="254"/>
                </a:lnTo>
                <a:lnTo>
                  <a:pt x="1078" y="256"/>
                </a:lnTo>
                <a:lnTo>
                  <a:pt x="1078" y="256"/>
                </a:lnTo>
                <a:lnTo>
                  <a:pt x="1080" y="262"/>
                </a:lnTo>
                <a:lnTo>
                  <a:pt x="1082" y="264"/>
                </a:lnTo>
                <a:lnTo>
                  <a:pt x="1082" y="266"/>
                </a:lnTo>
                <a:lnTo>
                  <a:pt x="1082" y="266"/>
                </a:lnTo>
                <a:lnTo>
                  <a:pt x="1082" y="268"/>
                </a:lnTo>
                <a:lnTo>
                  <a:pt x="1082" y="270"/>
                </a:lnTo>
                <a:lnTo>
                  <a:pt x="1082" y="270"/>
                </a:lnTo>
                <a:close/>
                <a:moveTo>
                  <a:pt x="1074" y="730"/>
                </a:moveTo>
                <a:lnTo>
                  <a:pt x="1074" y="730"/>
                </a:lnTo>
                <a:lnTo>
                  <a:pt x="1072" y="730"/>
                </a:lnTo>
                <a:lnTo>
                  <a:pt x="1072" y="730"/>
                </a:lnTo>
                <a:lnTo>
                  <a:pt x="1068" y="738"/>
                </a:lnTo>
                <a:lnTo>
                  <a:pt x="1064" y="742"/>
                </a:lnTo>
                <a:lnTo>
                  <a:pt x="1056" y="744"/>
                </a:lnTo>
                <a:lnTo>
                  <a:pt x="1048" y="746"/>
                </a:lnTo>
                <a:lnTo>
                  <a:pt x="1048" y="746"/>
                </a:lnTo>
                <a:lnTo>
                  <a:pt x="1046" y="748"/>
                </a:lnTo>
                <a:lnTo>
                  <a:pt x="1046" y="748"/>
                </a:lnTo>
                <a:lnTo>
                  <a:pt x="1046" y="750"/>
                </a:lnTo>
                <a:lnTo>
                  <a:pt x="1046" y="754"/>
                </a:lnTo>
                <a:lnTo>
                  <a:pt x="1046" y="754"/>
                </a:lnTo>
                <a:lnTo>
                  <a:pt x="1040" y="748"/>
                </a:lnTo>
                <a:lnTo>
                  <a:pt x="1040" y="748"/>
                </a:lnTo>
                <a:lnTo>
                  <a:pt x="1040" y="750"/>
                </a:lnTo>
                <a:lnTo>
                  <a:pt x="1040" y="752"/>
                </a:lnTo>
                <a:lnTo>
                  <a:pt x="1040" y="752"/>
                </a:lnTo>
                <a:lnTo>
                  <a:pt x="1038" y="752"/>
                </a:lnTo>
                <a:lnTo>
                  <a:pt x="1036" y="750"/>
                </a:lnTo>
                <a:lnTo>
                  <a:pt x="1036" y="750"/>
                </a:lnTo>
                <a:lnTo>
                  <a:pt x="1036" y="754"/>
                </a:lnTo>
                <a:lnTo>
                  <a:pt x="1036" y="760"/>
                </a:lnTo>
                <a:lnTo>
                  <a:pt x="1036" y="760"/>
                </a:lnTo>
                <a:lnTo>
                  <a:pt x="1036" y="760"/>
                </a:lnTo>
                <a:lnTo>
                  <a:pt x="1036" y="762"/>
                </a:lnTo>
                <a:lnTo>
                  <a:pt x="1034" y="762"/>
                </a:lnTo>
                <a:lnTo>
                  <a:pt x="1034" y="762"/>
                </a:lnTo>
                <a:lnTo>
                  <a:pt x="1036" y="760"/>
                </a:lnTo>
                <a:lnTo>
                  <a:pt x="1034" y="760"/>
                </a:lnTo>
                <a:lnTo>
                  <a:pt x="1032" y="760"/>
                </a:lnTo>
                <a:lnTo>
                  <a:pt x="1032" y="760"/>
                </a:lnTo>
                <a:lnTo>
                  <a:pt x="1030" y="764"/>
                </a:lnTo>
                <a:lnTo>
                  <a:pt x="1030" y="764"/>
                </a:lnTo>
                <a:lnTo>
                  <a:pt x="1026" y="768"/>
                </a:lnTo>
                <a:lnTo>
                  <a:pt x="1026" y="768"/>
                </a:lnTo>
                <a:lnTo>
                  <a:pt x="1024" y="766"/>
                </a:lnTo>
                <a:lnTo>
                  <a:pt x="1026" y="764"/>
                </a:lnTo>
                <a:lnTo>
                  <a:pt x="1024" y="764"/>
                </a:lnTo>
                <a:lnTo>
                  <a:pt x="1024" y="764"/>
                </a:lnTo>
                <a:lnTo>
                  <a:pt x="1022" y="768"/>
                </a:lnTo>
                <a:lnTo>
                  <a:pt x="1022" y="768"/>
                </a:lnTo>
                <a:lnTo>
                  <a:pt x="1020" y="766"/>
                </a:lnTo>
                <a:lnTo>
                  <a:pt x="1020" y="766"/>
                </a:lnTo>
                <a:lnTo>
                  <a:pt x="1018" y="764"/>
                </a:lnTo>
                <a:lnTo>
                  <a:pt x="1018" y="764"/>
                </a:lnTo>
                <a:lnTo>
                  <a:pt x="1014" y="762"/>
                </a:lnTo>
                <a:lnTo>
                  <a:pt x="1014" y="762"/>
                </a:lnTo>
                <a:lnTo>
                  <a:pt x="1010" y="762"/>
                </a:lnTo>
                <a:lnTo>
                  <a:pt x="1010" y="762"/>
                </a:lnTo>
                <a:lnTo>
                  <a:pt x="1008" y="754"/>
                </a:lnTo>
                <a:lnTo>
                  <a:pt x="1012" y="750"/>
                </a:lnTo>
                <a:lnTo>
                  <a:pt x="1012" y="750"/>
                </a:lnTo>
                <a:lnTo>
                  <a:pt x="1014" y="746"/>
                </a:lnTo>
                <a:lnTo>
                  <a:pt x="1014" y="746"/>
                </a:lnTo>
                <a:lnTo>
                  <a:pt x="1018" y="744"/>
                </a:lnTo>
                <a:lnTo>
                  <a:pt x="1020" y="744"/>
                </a:lnTo>
                <a:lnTo>
                  <a:pt x="1020" y="744"/>
                </a:lnTo>
                <a:lnTo>
                  <a:pt x="1020" y="742"/>
                </a:lnTo>
                <a:lnTo>
                  <a:pt x="1022" y="738"/>
                </a:lnTo>
                <a:lnTo>
                  <a:pt x="1022" y="738"/>
                </a:lnTo>
                <a:lnTo>
                  <a:pt x="1026" y="736"/>
                </a:lnTo>
                <a:lnTo>
                  <a:pt x="1032" y="734"/>
                </a:lnTo>
                <a:lnTo>
                  <a:pt x="1034" y="734"/>
                </a:lnTo>
                <a:lnTo>
                  <a:pt x="1034" y="734"/>
                </a:lnTo>
                <a:lnTo>
                  <a:pt x="1034" y="736"/>
                </a:lnTo>
                <a:lnTo>
                  <a:pt x="1034" y="736"/>
                </a:lnTo>
                <a:lnTo>
                  <a:pt x="1038" y="738"/>
                </a:lnTo>
                <a:lnTo>
                  <a:pt x="1038" y="738"/>
                </a:lnTo>
                <a:lnTo>
                  <a:pt x="1044" y="730"/>
                </a:lnTo>
                <a:lnTo>
                  <a:pt x="1044" y="730"/>
                </a:lnTo>
                <a:lnTo>
                  <a:pt x="1048" y="730"/>
                </a:lnTo>
                <a:lnTo>
                  <a:pt x="1048" y="730"/>
                </a:lnTo>
                <a:lnTo>
                  <a:pt x="1038" y="728"/>
                </a:lnTo>
                <a:lnTo>
                  <a:pt x="1034" y="728"/>
                </a:lnTo>
                <a:lnTo>
                  <a:pt x="1028" y="730"/>
                </a:lnTo>
                <a:lnTo>
                  <a:pt x="1028" y="730"/>
                </a:lnTo>
                <a:lnTo>
                  <a:pt x="1028" y="732"/>
                </a:lnTo>
                <a:lnTo>
                  <a:pt x="1028" y="732"/>
                </a:lnTo>
                <a:lnTo>
                  <a:pt x="1028" y="728"/>
                </a:lnTo>
                <a:lnTo>
                  <a:pt x="1028" y="728"/>
                </a:lnTo>
                <a:lnTo>
                  <a:pt x="1030" y="724"/>
                </a:lnTo>
                <a:lnTo>
                  <a:pt x="1030" y="724"/>
                </a:lnTo>
                <a:lnTo>
                  <a:pt x="1030" y="724"/>
                </a:lnTo>
                <a:lnTo>
                  <a:pt x="1030" y="722"/>
                </a:lnTo>
                <a:lnTo>
                  <a:pt x="1030" y="722"/>
                </a:lnTo>
                <a:lnTo>
                  <a:pt x="1032" y="720"/>
                </a:lnTo>
                <a:lnTo>
                  <a:pt x="1032" y="720"/>
                </a:lnTo>
                <a:lnTo>
                  <a:pt x="1032" y="718"/>
                </a:lnTo>
                <a:lnTo>
                  <a:pt x="1032" y="718"/>
                </a:lnTo>
                <a:lnTo>
                  <a:pt x="1030" y="718"/>
                </a:lnTo>
                <a:lnTo>
                  <a:pt x="1028" y="718"/>
                </a:lnTo>
                <a:lnTo>
                  <a:pt x="1028" y="718"/>
                </a:lnTo>
                <a:lnTo>
                  <a:pt x="1026" y="716"/>
                </a:lnTo>
                <a:lnTo>
                  <a:pt x="1026" y="716"/>
                </a:lnTo>
                <a:lnTo>
                  <a:pt x="1026" y="722"/>
                </a:lnTo>
                <a:lnTo>
                  <a:pt x="1026" y="722"/>
                </a:lnTo>
                <a:lnTo>
                  <a:pt x="1026" y="722"/>
                </a:lnTo>
                <a:lnTo>
                  <a:pt x="1026" y="726"/>
                </a:lnTo>
                <a:lnTo>
                  <a:pt x="1024" y="726"/>
                </a:lnTo>
                <a:lnTo>
                  <a:pt x="1024" y="726"/>
                </a:lnTo>
                <a:lnTo>
                  <a:pt x="1022" y="728"/>
                </a:lnTo>
                <a:lnTo>
                  <a:pt x="1020" y="730"/>
                </a:lnTo>
                <a:lnTo>
                  <a:pt x="1018" y="734"/>
                </a:lnTo>
                <a:lnTo>
                  <a:pt x="1014" y="734"/>
                </a:lnTo>
                <a:lnTo>
                  <a:pt x="1014" y="734"/>
                </a:lnTo>
                <a:lnTo>
                  <a:pt x="1014" y="730"/>
                </a:lnTo>
                <a:lnTo>
                  <a:pt x="1014" y="730"/>
                </a:lnTo>
                <a:lnTo>
                  <a:pt x="1014" y="728"/>
                </a:lnTo>
                <a:lnTo>
                  <a:pt x="1014" y="726"/>
                </a:lnTo>
                <a:lnTo>
                  <a:pt x="1014" y="726"/>
                </a:lnTo>
                <a:lnTo>
                  <a:pt x="1012" y="726"/>
                </a:lnTo>
                <a:lnTo>
                  <a:pt x="1012" y="726"/>
                </a:lnTo>
                <a:lnTo>
                  <a:pt x="1012" y="730"/>
                </a:lnTo>
                <a:lnTo>
                  <a:pt x="1012" y="730"/>
                </a:lnTo>
                <a:lnTo>
                  <a:pt x="1008" y="730"/>
                </a:lnTo>
                <a:lnTo>
                  <a:pt x="1008" y="732"/>
                </a:lnTo>
                <a:lnTo>
                  <a:pt x="1008" y="732"/>
                </a:lnTo>
                <a:lnTo>
                  <a:pt x="1012" y="734"/>
                </a:lnTo>
                <a:lnTo>
                  <a:pt x="1012" y="734"/>
                </a:lnTo>
                <a:lnTo>
                  <a:pt x="1012" y="734"/>
                </a:lnTo>
                <a:lnTo>
                  <a:pt x="1012" y="736"/>
                </a:lnTo>
                <a:lnTo>
                  <a:pt x="1008" y="736"/>
                </a:lnTo>
                <a:lnTo>
                  <a:pt x="1008" y="736"/>
                </a:lnTo>
                <a:lnTo>
                  <a:pt x="1008" y="738"/>
                </a:lnTo>
                <a:lnTo>
                  <a:pt x="1006" y="738"/>
                </a:lnTo>
                <a:lnTo>
                  <a:pt x="1006" y="738"/>
                </a:lnTo>
                <a:lnTo>
                  <a:pt x="1002" y="736"/>
                </a:lnTo>
                <a:lnTo>
                  <a:pt x="1000" y="734"/>
                </a:lnTo>
                <a:lnTo>
                  <a:pt x="1000" y="734"/>
                </a:lnTo>
                <a:lnTo>
                  <a:pt x="996" y="734"/>
                </a:lnTo>
                <a:lnTo>
                  <a:pt x="996" y="734"/>
                </a:lnTo>
                <a:lnTo>
                  <a:pt x="994" y="734"/>
                </a:lnTo>
                <a:lnTo>
                  <a:pt x="994" y="734"/>
                </a:lnTo>
                <a:lnTo>
                  <a:pt x="994" y="732"/>
                </a:lnTo>
                <a:lnTo>
                  <a:pt x="992" y="730"/>
                </a:lnTo>
                <a:lnTo>
                  <a:pt x="994" y="726"/>
                </a:lnTo>
                <a:lnTo>
                  <a:pt x="994" y="726"/>
                </a:lnTo>
                <a:lnTo>
                  <a:pt x="992" y="724"/>
                </a:lnTo>
                <a:lnTo>
                  <a:pt x="990" y="724"/>
                </a:lnTo>
                <a:lnTo>
                  <a:pt x="988" y="724"/>
                </a:lnTo>
                <a:lnTo>
                  <a:pt x="988" y="724"/>
                </a:lnTo>
                <a:lnTo>
                  <a:pt x="988" y="718"/>
                </a:lnTo>
                <a:lnTo>
                  <a:pt x="988" y="704"/>
                </a:lnTo>
                <a:lnTo>
                  <a:pt x="988" y="704"/>
                </a:lnTo>
                <a:lnTo>
                  <a:pt x="988" y="700"/>
                </a:lnTo>
                <a:lnTo>
                  <a:pt x="986" y="698"/>
                </a:lnTo>
                <a:lnTo>
                  <a:pt x="980" y="694"/>
                </a:lnTo>
                <a:lnTo>
                  <a:pt x="980" y="694"/>
                </a:lnTo>
                <a:lnTo>
                  <a:pt x="976" y="694"/>
                </a:lnTo>
                <a:lnTo>
                  <a:pt x="974" y="698"/>
                </a:lnTo>
                <a:lnTo>
                  <a:pt x="972" y="700"/>
                </a:lnTo>
                <a:lnTo>
                  <a:pt x="972" y="698"/>
                </a:lnTo>
                <a:lnTo>
                  <a:pt x="972" y="698"/>
                </a:lnTo>
                <a:lnTo>
                  <a:pt x="970" y="694"/>
                </a:lnTo>
                <a:lnTo>
                  <a:pt x="968" y="694"/>
                </a:lnTo>
                <a:lnTo>
                  <a:pt x="966" y="696"/>
                </a:lnTo>
                <a:lnTo>
                  <a:pt x="964" y="704"/>
                </a:lnTo>
                <a:lnTo>
                  <a:pt x="964" y="704"/>
                </a:lnTo>
                <a:lnTo>
                  <a:pt x="960" y="708"/>
                </a:lnTo>
                <a:lnTo>
                  <a:pt x="960" y="714"/>
                </a:lnTo>
                <a:lnTo>
                  <a:pt x="960" y="714"/>
                </a:lnTo>
                <a:lnTo>
                  <a:pt x="958" y="716"/>
                </a:lnTo>
                <a:lnTo>
                  <a:pt x="954" y="720"/>
                </a:lnTo>
                <a:lnTo>
                  <a:pt x="948" y="726"/>
                </a:lnTo>
                <a:lnTo>
                  <a:pt x="948" y="726"/>
                </a:lnTo>
                <a:lnTo>
                  <a:pt x="944" y="728"/>
                </a:lnTo>
                <a:lnTo>
                  <a:pt x="944" y="730"/>
                </a:lnTo>
                <a:lnTo>
                  <a:pt x="944" y="730"/>
                </a:lnTo>
                <a:lnTo>
                  <a:pt x="926" y="734"/>
                </a:lnTo>
                <a:lnTo>
                  <a:pt x="904" y="736"/>
                </a:lnTo>
                <a:lnTo>
                  <a:pt x="904" y="736"/>
                </a:lnTo>
                <a:lnTo>
                  <a:pt x="902" y="734"/>
                </a:lnTo>
                <a:lnTo>
                  <a:pt x="902" y="734"/>
                </a:lnTo>
                <a:lnTo>
                  <a:pt x="904" y="732"/>
                </a:lnTo>
                <a:lnTo>
                  <a:pt x="904" y="732"/>
                </a:lnTo>
                <a:lnTo>
                  <a:pt x="904" y="732"/>
                </a:lnTo>
                <a:lnTo>
                  <a:pt x="904" y="732"/>
                </a:lnTo>
                <a:lnTo>
                  <a:pt x="900" y="734"/>
                </a:lnTo>
                <a:lnTo>
                  <a:pt x="900" y="734"/>
                </a:lnTo>
                <a:lnTo>
                  <a:pt x="890" y="740"/>
                </a:lnTo>
                <a:lnTo>
                  <a:pt x="890" y="740"/>
                </a:lnTo>
                <a:lnTo>
                  <a:pt x="880" y="746"/>
                </a:lnTo>
                <a:lnTo>
                  <a:pt x="878" y="748"/>
                </a:lnTo>
                <a:lnTo>
                  <a:pt x="878" y="748"/>
                </a:lnTo>
                <a:lnTo>
                  <a:pt x="878" y="750"/>
                </a:lnTo>
                <a:lnTo>
                  <a:pt x="878" y="750"/>
                </a:lnTo>
                <a:lnTo>
                  <a:pt x="872" y="754"/>
                </a:lnTo>
                <a:lnTo>
                  <a:pt x="872" y="754"/>
                </a:lnTo>
                <a:lnTo>
                  <a:pt x="866" y="752"/>
                </a:lnTo>
                <a:lnTo>
                  <a:pt x="862" y="752"/>
                </a:lnTo>
                <a:lnTo>
                  <a:pt x="862" y="752"/>
                </a:lnTo>
                <a:lnTo>
                  <a:pt x="854" y="752"/>
                </a:lnTo>
                <a:lnTo>
                  <a:pt x="854" y="752"/>
                </a:lnTo>
                <a:lnTo>
                  <a:pt x="854" y="754"/>
                </a:lnTo>
                <a:lnTo>
                  <a:pt x="854" y="754"/>
                </a:lnTo>
                <a:lnTo>
                  <a:pt x="856" y="754"/>
                </a:lnTo>
                <a:lnTo>
                  <a:pt x="860" y="756"/>
                </a:lnTo>
                <a:lnTo>
                  <a:pt x="860" y="756"/>
                </a:lnTo>
                <a:lnTo>
                  <a:pt x="860" y="758"/>
                </a:lnTo>
                <a:lnTo>
                  <a:pt x="860" y="758"/>
                </a:lnTo>
                <a:lnTo>
                  <a:pt x="860" y="758"/>
                </a:lnTo>
                <a:lnTo>
                  <a:pt x="864" y="758"/>
                </a:lnTo>
                <a:lnTo>
                  <a:pt x="864" y="758"/>
                </a:lnTo>
                <a:lnTo>
                  <a:pt x="866" y="758"/>
                </a:lnTo>
                <a:lnTo>
                  <a:pt x="866" y="758"/>
                </a:lnTo>
                <a:lnTo>
                  <a:pt x="866" y="758"/>
                </a:lnTo>
                <a:lnTo>
                  <a:pt x="864" y="760"/>
                </a:lnTo>
                <a:lnTo>
                  <a:pt x="862" y="762"/>
                </a:lnTo>
                <a:lnTo>
                  <a:pt x="862" y="762"/>
                </a:lnTo>
                <a:lnTo>
                  <a:pt x="858" y="762"/>
                </a:lnTo>
                <a:lnTo>
                  <a:pt x="858" y="762"/>
                </a:lnTo>
                <a:lnTo>
                  <a:pt x="856" y="760"/>
                </a:lnTo>
                <a:lnTo>
                  <a:pt x="856" y="760"/>
                </a:lnTo>
                <a:lnTo>
                  <a:pt x="848" y="758"/>
                </a:lnTo>
                <a:lnTo>
                  <a:pt x="840" y="760"/>
                </a:lnTo>
                <a:lnTo>
                  <a:pt x="834" y="764"/>
                </a:lnTo>
                <a:lnTo>
                  <a:pt x="828" y="766"/>
                </a:lnTo>
                <a:lnTo>
                  <a:pt x="828" y="768"/>
                </a:lnTo>
                <a:lnTo>
                  <a:pt x="828" y="768"/>
                </a:lnTo>
                <a:lnTo>
                  <a:pt x="832" y="768"/>
                </a:lnTo>
                <a:lnTo>
                  <a:pt x="832" y="768"/>
                </a:lnTo>
                <a:lnTo>
                  <a:pt x="834" y="770"/>
                </a:lnTo>
                <a:lnTo>
                  <a:pt x="834" y="772"/>
                </a:lnTo>
                <a:lnTo>
                  <a:pt x="832" y="774"/>
                </a:lnTo>
                <a:lnTo>
                  <a:pt x="832" y="774"/>
                </a:lnTo>
                <a:lnTo>
                  <a:pt x="826" y="774"/>
                </a:lnTo>
                <a:lnTo>
                  <a:pt x="822" y="774"/>
                </a:lnTo>
                <a:lnTo>
                  <a:pt x="820" y="776"/>
                </a:lnTo>
                <a:lnTo>
                  <a:pt x="820" y="776"/>
                </a:lnTo>
                <a:lnTo>
                  <a:pt x="818" y="780"/>
                </a:lnTo>
                <a:lnTo>
                  <a:pt x="818" y="780"/>
                </a:lnTo>
                <a:lnTo>
                  <a:pt x="812" y="780"/>
                </a:lnTo>
                <a:lnTo>
                  <a:pt x="808" y="780"/>
                </a:lnTo>
                <a:lnTo>
                  <a:pt x="808" y="780"/>
                </a:lnTo>
                <a:lnTo>
                  <a:pt x="804" y="784"/>
                </a:lnTo>
                <a:lnTo>
                  <a:pt x="804" y="784"/>
                </a:lnTo>
                <a:lnTo>
                  <a:pt x="800" y="786"/>
                </a:lnTo>
                <a:lnTo>
                  <a:pt x="800" y="786"/>
                </a:lnTo>
                <a:lnTo>
                  <a:pt x="796" y="790"/>
                </a:lnTo>
                <a:lnTo>
                  <a:pt x="796" y="790"/>
                </a:lnTo>
                <a:lnTo>
                  <a:pt x="792" y="792"/>
                </a:lnTo>
                <a:lnTo>
                  <a:pt x="786" y="792"/>
                </a:lnTo>
                <a:lnTo>
                  <a:pt x="786" y="792"/>
                </a:lnTo>
                <a:lnTo>
                  <a:pt x="786" y="788"/>
                </a:lnTo>
                <a:lnTo>
                  <a:pt x="786" y="788"/>
                </a:lnTo>
                <a:lnTo>
                  <a:pt x="788" y="786"/>
                </a:lnTo>
                <a:lnTo>
                  <a:pt x="790" y="782"/>
                </a:lnTo>
                <a:lnTo>
                  <a:pt x="790" y="782"/>
                </a:lnTo>
                <a:lnTo>
                  <a:pt x="792" y="772"/>
                </a:lnTo>
                <a:lnTo>
                  <a:pt x="792" y="772"/>
                </a:lnTo>
                <a:lnTo>
                  <a:pt x="798" y="770"/>
                </a:lnTo>
                <a:lnTo>
                  <a:pt x="798" y="770"/>
                </a:lnTo>
                <a:lnTo>
                  <a:pt x="800" y="766"/>
                </a:lnTo>
                <a:lnTo>
                  <a:pt x="800" y="766"/>
                </a:lnTo>
                <a:lnTo>
                  <a:pt x="800" y="758"/>
                </a:lnTo>
                <a:lnTo>
                  <a:pt x="800" y="754"/>
                </a:lnTo>
                <a:lnTo>
                  <a:pt x="800" y="750"/>
                </a:lnTo>
                <a:lnTo>
                  <a:pt x="800" y="750"/>
                </a:lnTo>
                <a:lnTo>
                  <a:pt x="808" y="740"/>
                </a:lnTo>
                <a:lnTo>
                  <a:pt x="808" y="740"/>
                </a:lnTo>
                <a:lnTo>
                  <a:pt x="812" y="742"/>
                </a:lnTo>
                <a:lnTo>
                  <a:pt x="812" y="742"/>
                </a:lnTo>
                <a:lnTo>
                  <a:pt x="812" y="746"/>
                </a:lnTo>
                <a:lnTo>
                  <a:pt x="812" y="746"/>
                </a:lnTo>
                <a:lnTo>
                  <a:pt x="816" y="746"/>
                </a:lnTo>
                <a:lnTo>
                  <a:pt x="820" y="746"/>
                </a:lnTo>
                <a:lnTo>
                  <a:pt x="820" y="746"/>
                </a:lnTo>
                <a:lnTo>
                  <a:pt x="820" y="748"/>
                </a:lnTo>
                <a:lnTo>
                  <a:pt x="822" y="750"/>
                </a:lnTo>
                <a:lnTo>
                  <a:pt x="822" y="750"/>
                </a:lnTo>
                <a:lnTo>
                  <a:pt x="826" y="750"/>
                </a:lnTo>
                <a:lnTo>
                  <a:pt x="826" y="750"/>
                </a:lnTo>
                <a:lnTo>
                  <a:pt x="826" y="748"/>
                </a:lnTo>
                <a:lnTo>
                  <a:pt x="826" y="746"/>
                </a:lnTo>
                <a:lnTo>
                  <a:pt x="826" y="746"/>
                </a:lnTo>
                <a:lnTo>
                  <a:pt x="826" y="746"/>
                </a:lnTo>
                <a:lnTo>
                  <a:pt x="826" y="744"/>
                </a:lnTo>
                <a:lnTo>
                  <a:pt x="826" y="744"/>
                </a:lnTo>
                <a:lnTo>
                  <a:pt x="824" y="744"/>
                </a:lnTo>
                <a:lnTo>
                  <a:pt x="824" y="744"/>
                </a:lnTo>
                <a:lnTo>
                  <a:pt x="830" y="744"/>
                </a:lnTo>
                <a:lnTo>
                  <a:pt x="830" y="744"/>
                </a:lnTo>
                <a:lnTo>
                  <a:pt x="832" y="740"/>
                </a:lnTo>
                <a:lnTo>
                  <a:pt x="832" y="740"/>
                </a:lnTo>
                <a:lnTo>
                  <a:pt x="830" y="738"/>
                </a:lnTo>
                <a:lnTo>
                  <a:pt x="830" y="738"/>
                </a:lnTo>
                <a:lnTo>
                  <a:pt x="826" y="734"/>
                </a:lnTo>
                <a:lnTo>
                  <a:pt x="826" y="724"/>
                </a:lnTo>
                <a:lnTo>
                  <a:pt x="826" y="724"/>
                </a:lnTo>
                <a:lnTo>
                  <a:pt x="820" y="724"/>
                </a:lnTo>
                <a:lnTo>
                  <a:pt x="820" y="722"/>
                </a:lnTo>
                <a:lnTo>
                  <a:pt x="820" y="722"/>
                </a:lnTo>
                <a:lnTo>
                  <a:pt x="818" y="720"/>
                </a:lnTo>
                <a:lnTo>
                  <a:pt x="814" y="718"/>
                </a:lnTo>
                <a:lnTo>
                  <a:pt x="814" y="716"/>
                </a:lnTo>
                <a:lnTo>
                  <a:pt x="814" y="716"/>
                </a:lnTo>
                <a:lnTo>
                  <a:pt x="812" y="716"/>
                </a:lnTo>
                <a:lnTo>
                  <a:pt x="808" y="718"/>
                </a:lnTo>
                <a:lnTo>
                  <a:pt x="806" y="718"/>
                </a:lnTo>
                <a:lnTo>
                  <a:pt x="802" y="718"/>
                </a:lnTo>
                <a:lnTo>
                  <a:pt x="802" y="718"/>
                </a:lnTo>
                <a:lnTo>
                  <a:pt x="800" y="716"/>
                </a:lnTo>
                <a:lnTo>
                  <a:pt x="800" y="716"/>
                </a:lnTo>
                <a:lnTo>
                  <a:pt x="796" y="716"/>
                </a:lnTo>
                <a:lnTo>
                  <a:pt x="792" y="716"/>
                </a:lnTo>
                <a:lnTo>
                  <a:pt x="790" y="714"/>
                </a:lnTo>
                <a:lnTo>
                  <a:pt x="790" y="714"/>
                </a:lnTo>
                <a:lnTo>
                  <a:pt x="780" y="712"/>
                </a:lnTo>
                <a:lnTo>
                  <a:pt x="780" y="712"/>
                </a:lnTo>
                <a:lnTo>
                  <a:pt x="780" y="712"/>
                </a:lnTo>
                <a:lnTo>
                  <a:pt x="778" y="714"/>
                </a:lnTo>
                <a:lnTo>
                  <a:pt x="778" y="714"/>
                </a:lnTo>
                <a:lnTo>
                  <a:pt x="774" y="710"/>
                </a:lnTo>
                <a:lnTo>
                  <a:pt x="770" y="706"/>
                </a:lnTo>
                <a:lnTo>
                  <a:pt x="770" y="706"/>
                </a:lnTo>
                <a:lnTo>
                  <a:pt x="764" y="706"/>
                </a:lnTo>
                <a:lnTo>
                  <a:pt x="764" y="706"/>
                </a:lnTo>
                <a:lnTo>
                  <a:pt x="762" y="692"/>
                </a:lnTo>
                <a:lnTo>
                  <a:pt x="762" y="692"/>
                </a:lnTo>
                <a:lnTo>
                  <a:pt x="764" y="690"/>
                </a:lnTo>
                <a:lnTo>
                  <a:pt x="764" y="690"/>
                </a:lnTo>
                <a:lnTo>
                  <a:pt x="758" y="686"/>
                </a:lnTo>
                <a:lnTo>
                  <a:pt x="758" y="680"/>
                </a:lnTo>
                <a:lnTo>
                  <a:pt x="758" y="680"/>
                </a:lnTo>
                <a:lnTo>
                  <a:pt x="756" y="678"/>
                </a:lnTo>
                <a:lnTo>
                  <a:pt x="756" y="678"/>
                </a:lnTo>
                <a:lnTo>
                  <a:pt x="754" y="678"/>
                </a:lnTo>
                <a:lnTo>
                  <a:pt x="750" y="678"/>
                </a:lnTo>
                <a:lnTo>
                  <a:pt x="750" y="678"/>
                </a:lnTo>
                <a:lnTo>
                  <a:pt x="744" y="676"/>
                </a:lnTo>
                <a:lnTo>
                  <a:pt x="740" y="670"/>
                </a:lnTo>
                <a:lnTo>
                  <a:pt x="736" y="658"/>
                </a:lnTo>
                <a:lnTo>
                  <a:pt x="736" y="658"/>
                </a:lnTo>
                <a:lnTo>
                  <a:pt x="734" y="658"/>
                </a:lnTo>
                <a:lnTo>
                  <a:pt x="732" y="660"/>
                </a:lnTo>
                <a:lnTo>
                  <a:pt x="732" y="660"/>
                </a:lnTo>
                <a:lnTo>
                  <a:pt x="732" y="660"/>
                </a:lnTo>
                <a:lnTo>
                  <a:pt x="730" y="658"/>
                </a:lnTo>
                <a:lnTo>
                  <a:pt x="728" y="656"/>
                </a:lnTo>
                <a:lnTo>
                  <a:pt x="728" y="656"/>
                </a:lnTo>
                <a:lnTo>
                  <a:pt x="726" y="658"/>
                </a:lnTo>
                <a:lnTo>
                  <a:pt x="724" y="658"/>
                </a:lnTo>
                <a:lnTo>
                  <a:pt x="724" y="658"/>
                </a:lnTo>
                <a:lnTo>
                  <a:pt x="720" y="658"/>
                </a:lnTo>
                <a:lnTo>
                  <a:pt x="718" y="656"/>
                </a:lnTo>
                <a:lnTo>
                  <a:pt x="716" y="658"/>
                </a:lnTo>
                <a:lnTo>
                  <a:pt x="716" y="658"/>
                </a:lnTo>
                <a:lnTo>
                  <a:pt x="716" y="662"/>
                </a:lnTo>
                <a:lnTo>
                  <a:pt x="716" y="664"/>
                </a:lnTo>
                <a:lnTo>
                  <a:pt x="716" y="664"/>
                </a:lnTo>
                <a:lnTo>
                  <a:pt x="714" y="664"/>
                </a:lnTo>
                <a:lnTo>
                  <a:pt x="714" y="664"/>
                </a:lnTo>
                <a:lnTo>
                  <a:pt x="714" y="662"/>
                </a:lnTo>
                <a:lnTo>
                  <a:pt x="714" y="660"/>
                </a:lnTo>
                <a:lnTo>
                  <a:pt x="712" y="660"/>
                </a:lnTo>
                <a:lnTo>
                  <a:pt x="712" y="660"/>
                </a:lnTo>
                <a:lnTo>
                  <a:pt x="712" y="662"/>
                </a:lnTo>
                <a:lnTo>
                  <a:pt x="712" y="664"/>
                </a:lnTo>
                <a:lnTo>
                  <a:pt x="710" y="664"/>
                </a:lnTo>
                <a:lnTo>
                  <a:pt x="710" y="664"/>
                </a:lnTo>
                <a:lnTo>
                  <a:pt x="708" y="668"/>
                </a:lnTo>
                <a:lnTo>
                  <a:pt x="708" y="668"/>
                </a:lnTo>
                <a:lnTo>
                  <a:pt x="702" y="666"/>
                </a:lnTo>
                <a:lnTo>
                  <a:pt x="702" y="666"/>
                </a:lnTo>
                <a:lnTo>
                  <a:pt x="700" y="674"/>
                </a:lnTo>
                <a:lnTo>
                  <a:pt x="696" y="676"/>
                </a:lnTo>
                <a:lnTo>
                  <a:pt x="696" y="676"/>
                </a:lnTo>
                <a:lnTo>
                  <a:pt x="694" y="676"/>
                </a:lnTo>
                <a:lnTo>
                  <a:pt x="690" y="674"/>
                </a:lnTo>
                <a:lnTo>
                  <a:pt x="690" y="674"/>
                </a:lnTo>
                <a:lnTo>
                  <a:pt x="688" y="672"/>
                </a:lnTo>
                <a:lnTo>
                  <a:pt x="686" y="672"/>
                </a:lnTo>
                <a:lnTo>
                  <a:pt x="682" y="672"/>
                </a:lnTo>
                <a:lnTo>
                  <a:pt x="682" y="672"/>
                </a:lnTo>
                <a:lnTo>
                  <a:pt x="674" y="672"/>
                </a:lnTo>
                <a:lnTo>
                  <a:pt x="674" y="672"/>
                </a:lnTo>
                <a:lnTo>
                  <a:pt x="670" y="672"/>
                </a:lnTo>
                <a:lnTo>
                  <a:pt x="666" y="672"/>
                </a:lnTo>
                <a:lnTo>
                  <a:pt x="666" y="672"/>
                </a:lnTo>
                <a:lnTo>
                  <a:pt x="662" y="668"/>
                </a:lnTo>
                <a:lnTo>
                  <a:pt x="656" y="666"/>
                </a:lnTo>
                <a:lnTo>
                  <a:pt x="656" y="666"/>
                </a:lnTo>
                <a:lnTo>
                  <a:pt x="652" y="666"/>
                </a:lnTo>
                <a:lnTo>
                  <a:pt x="650" y="666"/>
                </a:lnTo>
                <a:lnTo>
                  <a:pt x="650" y="668"/>
                </a:lnTo>
                <a:lnTo>
                  <a:pt x="650" y="668"/>
                </a:lnTo>
                <a:lnTo>
                  <a:pt x="648" y="670"/>
                </a:lnTo>
                <a:lnTo>
                  <a:pt x="646" y="670"/>
                </a:lnTo>
                <a:lnTo>
                  <a:pt x="640" y="666"/>
                </a:lnTo>
                <a:lnTo>
                  <a:pt x="640" y="666"/>
                </a:lnTo>
                <a:lnTo>
                  <a:pt x="636" y="666"/>
                </a:lnTo>
                <a:lnTo>
                  <a:pt x="634" y="666"/>
                </a:lnTo>
                <a:lnTo>
                  <a:pt x="634" y="666"/>
                </a:lnTo>
                <a:lnTo>
                  <a:pt x="632" y="660"/>
                </a:lnTo>
                <a:lnTo>
                  <a:pt x="630" y="654"/>
                </a:lnTo>
                <a:lnTo>
                  <a:pt x="628" y="652"/>
                </a:lnTo>
                <a:lnTo>
                  <a:pt x="628" y="652"/>
                </a:lnTo>
                <a:lnTo>
                  <a:pt x="626" y="654"/>
                </a:lnTo>
                <a:lnTo>
                  <a:pt x="626" y="656"/>
                </a:lnTo>
                <a:lnTo>
                  <a:pt x="624" y="660"/>
                </a:lnTo>
                <a:lnTo>
                  <a:pt x="256" y="654"/>
                </a:lnTo>
                <a:lnTo>
                  <a:pt x="256" y="654"/>
                </a:lnTo>
                <a:lnTo>
                  <a:pt x="254" y="652"/>
                </a:lnTo>
                <a:lnTo>
                  <a:pt x="252" y="650"/>
                </a:lnTo>
                <a:lnTo>
                  <a:pt x="252" y="650"/>
                </a:lnTo>
                <a:lnTo>
                  <a:pt x="252" y="646"/>
                </a:lnTo>
                <a:lnTo>
                  <a:pt x="252" y="646"/>
                </a:lnTo>
                <a:lnTo>
                  <a:pt x="248" y="646"/>
                </a:lnTo>
                <a:lnTo>
                  <a:pt x="248" y="644"/>
                </a:lnTo>
                <a:lnTo>
                  <a:pt x="248" y="644"/>
                </a:lnTo>
                <a:lnTo>
                  <a:pt x="244" y="642"/>
                </a:lnTo>
                <a:lnTo>
                  <a:pt x="244" y="642"/>
                </a:lnTo>
                <a:lnTo>
                  <a:pt x="244" y="640"/>
                </a:lnTo>
                <a:lnTo>
                  <a:pt x="244" y="638"/>
                </a:lnTo>
                <a:lnTo>
                  <a:pt x="246" y="638"/>
                </a:lnTo>
                <a:lnTo>
                  <a:pt x="246" y="638"/>
                </a:lnTo>
                <a:lnTo>
                  <a:pt x="244" y="636"/>
                </a:lnTo>
                <a:lnTo>
                  <a:pt x="244" y="636"/>
                </a:lnTo>
                <a:lnTo>
                  <a:pt x="242" y="636"/>
                </a:lnTo>
                <a:lnTo>
                  <a:pt x="242" y="636"/>
                </a:lnTo>
                <a:lnTo>
                  <a:pt x="240" y="638"/>
                </a:lnTo>
                <a:lnTo>
                  <a:pt x="238" y="640"/>
                </a:lnTo>
                <a:lnTo>
                  <a:pt x="238" y="640"/>
                </a:lnTo>
                <a:lnTo>
                  <a:pt x="236" y="640"/>
                </a:lnTo>
                <a:lnTo>
                  <a:pt x="236" y="638"/>
                </a:lnTo>
                <a:lnTo>
                  <a:pt x="236" y="636"/>
                </a:lnTo>
                <a:lnTo>
                  <a:pt x="236" y="632"/>
                </a:lnTo>
                <a:lnTo>
                  <a:pt x="236" y="630"/>
                </a:lnTo>
                <a:lnTo>
                  <a:pt x="236" y="630"/>
                </a:lnTo>
                <a:lnTo>
                  <a:pt x="230" y="630"/>
                </a:lnTo>
                <a:lnTo>
                  <a:pt x="224" y="628"/>
                </a:lnTo>
                <a:lnTo>
                  <a:pt x="224" y="628"/>
                </a:lnTo>
                <a:lnTo>
                  <a:pt x="224" y="628"/>
                </a:lnTo>
                <a:lnTo>
                  <a:pt x="224" y="626"/>
                </a:lnTo>
                <a:lnTo>
                  <a:pt x="224" y="626"/>
                </a:lnTo>
                <a:lnTo>
                  <a:pt x="220" y="624"/>
                </a:lnTo>
                <a:lnTo>
                  <a:pt x="220" y="624"/>
                </a:lnTo>
                <a:lnTo>
                  <a:pt x="220" y="620"/>
                </a:lnTo>
                <a:lnTo>
                  <a:pt x="220" y="620"/>
                </a:lnTo>
                <a:lnTo>
                  <a:pt x="216" y="622"/>
                </a:lnTo>
                <a:lnTo>
                  <a:pt x="216" y="622"/>
                </a:lnTo>
                <a:lnTo>
                  <a:pt x="210" y="624"/>
                </a:lnTo>
                <a:lnTo>
                  <a:pt x="202" y="624"/>
                </a:lnTo>
                <a:lnTo>
                  <a:pt x="202" y="624"/>
                </a:lnTo>
                <a:lnTo>
                  <a:pt x="200" y="624"/>
                </a:lnTo>
                <a:lnTo>
                  <a:pt x="200" y="622"/>
                </a:lnTo>
                <a:lnTo>
                  <a:pt x="200" y="622"/>
                </a:lnTo>
                <a:lnTo>
                  <a:pt x="202" y="618"/>
                </a:lnTo>
                <a:lnTo>
                  <a:pt x="200" y="618"/>
                </a:lnTo>
                <a:lnTo>
                  <a:pt x="198" y="616"/>
                </a:lnTo>
                <a:lnTo>
                  <a:pt x="198" y="616"/>
                </a:lnTo>
                <a:lnTo>
                  <a:pt x="190" y="618"/>
                </a:lnTo>
                <a:lnTo>
                  <a:pt x="184" y="620"/>
                </a:lnTo>
                <a:lnTo>
                  <a:pt x="184" y="620"/>
                </a:lnTo>
                <a:lnTo>
                  <a:pt x="198" y="626"/>
                </a:lnTo>
                <a:lnTo>
                  <a:pt x="198" y="626"/>
                </a:lnTo>
                <a:lnTo>
                  <a:pt x="204" y="626"/>
                </a:lnTo>
                <a:lnTo>
                  <a:pt x="210" y="626"/>
                </a:lnTo>
                <a:lnTo>
                  <a:pt x="210" y="626"/>
                </a:lnTo>
                <a:lnTo>
                  <a:pt x="214" y="628"/>
                </a:lnTo>
                <a:lnTo>
                  <a:pt x="214" y="628"/>
                </a:lnTo>
                <a:lnTo>
                  <a:pt x="216" y="628"/>
                </a:lnTo>
                <a:lnTo>
                  <a:pt x="218" y="628"/>
                </a:lnTo>
                <a:lnTo>
                  <a:pt x="216" y="630"/>
                </a:lnTo>
                <a:lnTo>
                  <a:pt x="216" y="630"/>
                </a:lnTo>
                <a:lnTo>
                  <a:pt x="216" y="630"/>
                </a:lnTo>
                <a:lnTo>
                  <a:pt x="216" y="630"/>
                </a:lnTo>
                <a:lnTo>
                  <a:pt x="218" y="634"/>
                </a:lnTo>
                <a:lnTo>
                  <a:pt x="218" y="634"/>
                </a:lnTo>
                <a:lnTo>
                  <a:pt x="222" y="634"/>
                </a:lnTo>
                <a:lnTo>
                  <a:pt x="222" y="634"/>
                </a:lnTo>
                <a:lnTo>
                  <a:pt x="222" y="640"/>
                </a:lnTo>
                <a:lnTo>
                  <a:pt x="222" y="640"/>
                </a:lnTo>
                <a:lnTo>
                  <a:pt x="226" y="642"/>
                </a:lnTo>
                <a:lnTo>
                  <a:pt x="232" y="644"/>
                </a:lnTo>
                <a:lnTo>
                  <a:pt x="232" y="644"/>
                </a:lnTo>
                <a:lnTo>
                  <a:pt x="238" y="646"/>
                </a:lnTo>
                <a:lnTo>
                  <a:pt x="244" y="652"/>
                </a:lnTo>
                <a:lnTo>
                  <a:pt x="244" y="652"/>
                </a:lnTo>
                <a:lnTo>
                  <a:pt x="244" y="654"/>
                </a:lnTo>
                <a:lnTo>
                  <a:pt x="244" y="654"/>
                </a:lnTo>
                <a:lnTo>
                  <a:pt x="248" y="658"/>
                </a:lnTo>
                <a:lnTo>
                  <a:pt x="248" y="658"/>
                </a:lnTo>
                <a:lnTo>
                  <a:pt x="252" y="660"/>
                </a:lnTo>
                <a:lnTo>
                  <a:pt x="252" y="660"/>
                </a:lnTo>
                <a:lnTo>
                  <a:pt x="252" y="666"/>
                </a:lnTo>
                <a:lnTo>
                  <a:pt x="252" y="666"/>
                </a:lnTo>
                <a:lnTo>
                  <a:pt x="244" y="664"/>
                </a:lnTo>
                <a:lnTo>
                  <a:pt x="232" y="664"/>
                </a:lnTo>
                <a:lnTo>
                  <a:pt x="232" y="664"/>
                </a:lnTo>
                <a:lnTo>
                  <a:pt x="232" y="662"/>
                </a:lnTo>
                <a:lnTo>
                  <a:pt x="232" y="662"/>
                </a:lnTo>
                <a:lnTo>
                  <a:pt x="228" y="662"/>
                </a:lnTo>
                <a:lnTo>
                  <a:pt x="228" y="662"/>
                </a:lnTo>
                <a:lnTo>
                  <a:pt x="224" y="660"/>
                </a:lnTo>
                <a:lnTo>
                  <a:pt x="222" y="658"/>
                </a:lnTo>
                <a:lnTo>
                  <a:pt x="222" y="652"/>
                </a:lnTo>
                <a:lnTo>
                  <a:pt x="222" y="652"/>
                </a:lnTo>
                <a:lnTo>
                  <a:pt x="212" y="650"/>
                </a:lnTo>
                <a:lnTo>
                  <a:pt x="212" y="650"/>
                </a:lnTo>
                <a:lnTo>
                  <a:pt x="214" y="646"/>
                </a:lnTo>
                <a:lnTo>
                  <a:pt x="214" y="646"/>
                </a:lnTo>
                <a:lnTo>
                  <a:pt x="210" y="646"/>
                </a:lnTo>
                <a:lnTo>
                  <a:pt x="210" y="646"/>
                </a:lnTo>
                <a:lnTo>
                  <a:pt x="210" y="644"/>
                </a:lnTo>
                <a:lnTo>
                  <a:pt x="210" y="644"/>
                </a:lnTo>
                <a:lnTo>
                  <a:pt x="200" y="644"/>
                </a:lnTo>
                <a:lnTo>
                  <a:pt x="200" y="644"/>
                </a:lnTo>
                <a:lnTo>
                  <a:pt x="202" y="636"/>
                </a:lnTo>
                <a:lnTo>
                  <a:pt x="202" y="636"/>
                </a:lnTo>
                <a:lnTo>
                  <a:pt x="188" y="636"/>
                </a:lnTo>
                <a:lnTo>
                  <a:pt x="188" y="632"/>
                </a:lnTo>
                <a:lnTo>
                  <a:pt x="188" y="632"/>
                </a:lnTo>
                <a:lnTo>
                  <a:pt x="184" y="636"/>
                </a:lnTo>
                <a:lnTo>
                  <a:pt x="184" y="636"/>
                </a:lnTo>
                <a:lnTo>
                  <a:pt x="182" y="636"/>
                </a:lnTo>
                <a:lnTo>
                  <a:pt x="180" y="634"/>
                </a:lnTo>
                <a:lnTo>
                  <a:pt x="180" y="634"/>
                </a:lnTo>
                <a:lnTo>
                  <a:pt x="180" y="626"/>
                </a:lnTo>
                <a:lnTo>
                  <a:pt x="176" y="624"/>
                </a:lnTo>
                <a:lnTo>
                  <a:pt x="176" y="624"/>
                </a:lnTo>
                <a:lnTo>
                  <a:pt x="178" y="618"/>
                </a:lnTo>
                <a:lnTo>
                  <a:pt x="178" y="618"/>
                </a:lnTo>
                <a:lnTo>
                  <a:pt x="184" y="620"/>
                </a:lnTo>
                <a:lnTo>
                  <a:pt x="184" y="620"/>
                </a:lnTo>
                <a:lnTo>
                  <a:pt x="184" y="614"/>
                </a:lnTo>
                <a:lnTo>
                  <a:pt x="184" y="612"/>
                </a:lnTo>
                <a:lnTo>
                  <a:pt x="184" y="610"/>
                </a:lnTo>
                <a:lnTo>
                  <a:pt x="184" y="610"/>
                </a:lnTo>
                <a:lnTo>
                  <a:pt x="188" y="610"/>
                </a:lnTo>
                <a:lnTo>
                  <a:pt x="188" y="610"/>
                </a:lnTo>
                <a:lnTo>
                  <a:pt x="188" y="608"/>
                </a:lnTo>
                <a:lnTo>
                  <a:pt x="186" y="608"/>
                </a:lnTo>
                <a:lnTo>
                  <a:pt x="186" y="608"/>
                </a:lnTo>
                <a:lnTo>
                  <a:pt x="186" y="608"/>
                </a:lnTo>
                <a:lnTo>
                  <a:pt x="186" y="608"/>
                </a:lnTo>
                <a:lnTo>
                  <a:pt x="190" y="606"/>
                </a:lnTo>
                <a:lnTo>
                  <a:pt x="190" y="606"/>
                </a:lnTo>
                <a:lnTo>
                  <a:pt x="186" y="604"/>
                </a:lnTo>
                <a:lnTo>
                  <a:pt x="186" y="604"/>
                </a:lnTo>
                <a:lnTo>
                  <a:pt x="186" y="598"/>
                </a:lnTo>
                <a:lnTo>
                  <a:pt x="186" y="598"/>
                </a:lnTo>
                <a:lnTo>
                  <a:pt x="188" y="598"/>
                </a:lnTo>
                <a:lnTo>
                  <a:pt x="188" y="596"/>
                </a:lnTo>
                <a:lnTo>
                  <a:pt x="188" y="596"/>
                </a:lnTo>
                <a:lnTo>
                  <a:pt x="184" y="596"/>
                </a:lnTo>
                <a:lnTo>
                  <a:pt x="186" y="592"/>
                </a:lnTo>
                <a:lnTo>
                  <a:pt x="186" y="592"/>
                </a:lnTo>
                <a:lnTo>
                  <a:pt x="182" y="592"/>
                </a:lnTo>
                <a:lnTo>
                  <a:pt x="180" y="590"/>
                </a:lnTo>
                <a:lnTo>
                  <a:pt x="180" y="590"/>
                </a:lnTo>
                <a:lnTo>
                  <a:pt x="178" y="586"/>
                </a:lnTo>
                <a:lnTo>
                  <a:pt x="178" y="582"/>
                </a:lnTo>
                <a:lnTo>
                  <a:pt x="178" y="582"/>
                </a:lnTo>
                <a:lnTo>
                  <a:pt x="176" y="584"/>
                </a:lnTo>
                <a:lnTo>
                  <a:pt x="176" y="584"/>
                </a:lnTo>
                <a:lnTo>
                  <a:pt x="176" y="584"/>
                </a:lnTo>
                <a:lnTo>
                  <a:pt x="172" y="584"/>
                </a:lnTo>
                <a:lnTo>
                  <a:pt x="172" y="584"/>
                </a:lnTo>
                <a:lnTo>
                  <a:pt x="172" y="584"/>
                </a:lnTo>
                <a:lnTo>
                  <a:pt x="172" y="586"/>
                </a:lnTo>
                <a:lnTo>
                  <a:pt x="170" y="588"/>
                </a:lnTo>
                <a:lnTo>
                  <a:pt x="170" y="582"/>
                </a:lnTo>
                <a:lnTo>
                  <a:pt x="170" y="582"/>
                </a:lnTo>
                <a:lnTo>
                  <a:pt x="166" y="580"/>
                </a:lnTo>
                <a:lnTo>
                  <a:pt x="166" y="580"/>
                </a:lnTo>
                <a:lnTo>
                  <a:pt x="168" y="576"/>
                </a:lnTo>
                <a:lnTo>
                  <a:pt x="168" y="576"/>
                </a:lnTo>
                <a:lnTo>
                  <a:pt x="170" y="576"/>
                </a:lnTo>
                <a:lnTo>
                  <a:pt x="170" y="576"/>
                </a:lnTo>
                <a:lnTo>
                  <a:pt x="170" y="568"/>
                </a:lnTo>
                <a:lnTo>
                  <a:pt x="170" y="568"/>
                </a:lnTo>
                <a:lnTo>
                  <a:pt x="172" y="566"/>
                </a:lnTo>
                <a:lnTo>
                  <a:pt x="172" y="566"/>
                </a:lnTo>
                <a:lnTo>
                  <a:pt x="170" y="566"/>
                </a:lnTo>
                <a:lnTo>
                  <a:pt x="168" y="566"/>
                </a:lnTo>
                <a:lnTo>
                  <a:pt x="164" y="570"/>
                </a:lnTo>
                <a:lnTo>
                  <a:pt x="164" y="570"/>
                </a:lnTo>
                <a:lnTo>
                  <a:pt x="166" y="570"/>
                </a:lnTo>
                <a:lnTo>
                  <a:pt x="166" y="572"/>
                </a:lnTo>
                <a:lnTo>
                  <a:pt x="166" y="572"/>
                </a:lnTo>
                <a:lnTo>
                  <a:pt x="164" y="572"/>
                </a:lnTo>
                <a:lnTo>
                  <a:pt x="162" y="574"/>
                </a:lnTo>
                <a:lnTo>
                  <a:pt x="158" y="568"/>
                </a:lnTo>
                <a:lnTo>
                  <a:pt x="158" y="568"/>
                </a:lnTo>
                <a:lnTo>
                  <a:pt x="154" y="562"/>
                </a:lnTo>
                <a:lnTo>
                  <a:pt x="154" y="560"/>
                </a:lnTo>
                <a:lnTo>
                  <a:pt x="158" y="560"/>
                </a:lnTo>
                <a:lnTo>
                  <a:pt x="158" y="558"/>
                </a:lnTo>
                <a:lnTo>
                  <a:pt x="158" y="558"/>
                </a:lnTo>
                <a:lnTo>
                  <a:pt x="154" y="556"/>
                </a:lnTo>
                <a:lnTo>
                  <a:pt x="154" y="556"/>
                </a:lnTo>
                <a:lnTo>
                  <a:pt x="154" y="554"/>
                </a:lnTo>
                <a:lnTo>
                  <a:pt x="154" y="554"/>
                </a:lnTo>
                <a:lnTo>
                  <a:pt x="154" y="552"/>
                </a:lnTo>
                <a:lnTo>
                  <a:pt x="154" y="552"/>
                </a:lnTo>
                <a:lnTo>
                  <a:pt x="154" y="552"/>
                </a:lnTo>
                <a:lnTo>
                  <a:pt x="152" y="550"/>
                </a:lnTo>
                <a:lnTo>
                  <a:pt x="150" y="548"/>
                </a:lnTo>
                <a:lnTo>
                  <a:pt x="150" y="548"/>
                </a:lnTo>
                <a:lnTo>
                  <a:pt x="154" y="540"/>
                </a:lnTo>
                <a:lnTo>
                  <a:pt x="156" y="538"/>
                </a:lnTo>
                <a:lnTo>
                  <a:pt x="158" y="534"/>
                </a:lnTo>
                <a:lnTo>
                  <a:pt x="158" y="534"/>
                </a:lnTo>
                <a:lnTo>
                  <a:pt x="162" y="534"/>
                </a:lnTo>
                <a:lnTo>
                  <a:pt x="162" y="534"/>
                </a:lnTo>
                <a:lnTo>
                  <a:pt x="162" y="530"/>
                </a:lnTo>
                <a:lnTo>
                  <a:pt x="162" y="530"/>
                </a:lnTo>
                <a:lnTo>
                  <a:pt x="160" y="530"/>
                </a:lnTo>
                <a:lnTo>
                  <a:pt x="158" y="530"/>
                </a:lnTo>
                <a:lnTo>
                  <a:pt x="158" y="530"/>
                </a:lnTo>
                <a:lnTo>
                  <a:pt x="162" y="526"/>
                </a:lnTo>
                <a:lnTo>
                  <a:pt x="162" y="526"/>
                </a:lnTo>
                <a:lnTo>
                  <a:pt x="162" y="522"/>
                </a:lnTo>
                <a:lnTo>
                  <a:pt x="162" y="520"/>
                </a:lnTo>
                <a:lnTo>
                  <a:pt x="162" y="520"/>
                </a:lnTo>
                <a:lnTo>
                  <a:pt x="162" y="518"/>
                </a:lnTo>
                <a:lnTo>
                  <a:pt x="162" y="516"/>
                </a:lnTo>
                <a:lnTo>
                  <a:pt x="164" y="514"/>
                </a:lnTo>
                <a:lnTo>
                  <a:pt x="164" y="512"/>
                </a:lnTo>
                <a:lnTo>
                  <a:pt x="164" y="512"/>
                </a:lnTo>
                <a:lnTo>
                  <a:pt x="162" y="512"/>
                </a:lnTo>
                <a:lnTo>
                  <a:pt x="162" y="510"/>
                </a:lnTo>
                <a:lnTo>
                  <a:pt x="160" y="506"/>
                </a:lnTo>
                <a:lnTo>
                  <a:pt x="160" y="504"/>
                </a:lnTo>
                <a:lnTo>
                  <a:pt x="160" y="504"/>
                </a:lnTo>
                <a:lnTo>
                  <a:pt x="156" y="504"/>
                </a:lnTo>
                <a:lnTo>
                  <a:pt x="154" y="500"/>
                </a:lnTo>
                <a:lnTo>
                  <a:pt x="154" y="500"/>
                </a:lnTo>
                <a:lnTo>
                  <a:pt x="152" y="494"/>
                </a:lnTo>
                <a:lnTo>
                  <a:pt x="150" y="488"/>
                </a:lnTo>
                <a:lnTo>
                  <a:pt x="150" y="488"/>
                </a:lnTo>
                <a:lnTo>
                  <a:pt x="150" y="486"/>
                </a:lnTo>
                <a:lnTo>
                  <a:pt x="148" y="488"/>
                </a:lnTo>
                <a:lnTo>
                  <a:pt x="146" y="488"/>
                </a:lnTo>
                <a:lnTo>
                  <a:pt x="142" y="488"/>
                </a:lnTo>
                <a:lnTo>
                  <a:pt x="142" y="488"/>
                </a:lnTo>
                <a:lnTo>
                  <a:pt x="138" y="486"/>
                </a:lnTo>
                <a:lnTo>
                  <a:pt x="136" y="482"/>
                </a:lnTo>
                <a:lnTo>
                  <a:pt x="134" y="480"/>
                </a:lnTo>
                <a:lnTo>
                  <a:pt x="132" y="478"/>
                </a:lnTo>
                <a:lnTo>
                  <a:pt x="132" y="478"/>
                </a:lnTo>
                <a:lnTo>
                  <a:pt x="128" y="474"/>
                </a:lnTo>
                <a:lnTo>
                  <a:pt x="126" y="472"/>
                </a:lnTo>
                <a:lnTo>
                  <a:pt x="124" y="464"/>
                </a:lnTo>
                <a:lnTo>
                  <a:pt x="124" y="464"/>
                </a:lnTo>
                <a:lnTo>
                  <a:pt x="108" y="446"/>
                </a:lnTo>
                <a:lnTo>
                  <a:pt x="108" y="446"/>
                </a:lnTo>
                <a:lnTo>
                  <a:pt x="102" y="438"/>
                </a:lnTo>
                <a:lnTo>
                  <a:pt x="100" y="436"/>
                </a:lnTo>
                <a:lnTo>
                  <a:pt x="96" y="434"/>
                </a:lnTo>
                <a:lnTo>
                  <a:pt x="96" y="434"/>
                </a:lnTo>
                <a:lnTo>
                  <a:pt x="92" y="434"/>
                </a:lnTo>
                <a:lnTo>
                  <a:pt x="90" y="432"/>
                </a:lnTo>
                <a:lnTo>
                  <a:pt x="90" y="426"/>
                </a:lnTo>
                <a:lnTo>
                  <a:pt x="90" y="426"/>
                </a:lnTo>
                <a:lnTo>
                  <a:pt x="88" y="424"/>
                </a:lnTo>
                <a:lnTo>
                  <a:pt x="86" y="424"/>
                </a:lnTo>
                <a:lnTo>
                  <a:pt x="84" y="422"/>
                </a:lnTo>
                <a:lnTo>
                  <a:pt x="80" y="420"/>
                </a:lnTo>
                <a:lnTo>
                  <a:pt x="80" y="420"/>
                </a:lnTo>
                <a:lnTo>
                  <a:pt x="78" y="418"/>
                </a:lnTo>
                <a:lnTo>
                  <a:pt x="76" y="418"/>
                </a:lnTo>
                <a:lnTo>
                  <a:pt x="70" y="420"/>
                </a:lnTo>
                <a:lnTo>
                  <a:pt x="70" y="420"/>
                </a:lnTo>
                <a:lnTo>
                  <a:pt x="68" y="420"/>
                </a:lnTo>
                <a:lnTo>
                  <a:pt x="68" y="422"/>
                </a:lnTo>
                <a:lnTo>
                  <a:pt x="70" y="424"/>
                </a:lnTo>
                <a:lnTo>
                  <a:pt x="70" y="428"/>
                </a:lnTo>
                <a:lnTo>
                  <a:pt x="70" y="428"/>
                </a:lnTo>
                <a:lnTo>
                  <a:pt x="68" y="430"/>
                </a:lnTo>
                <a:lnTo>
                  <a:pt x="64" y="430"/>
                </a:lnTo>
                <a:lnTo>
                  <a:pt x="58" y="434"/>
                </a:lnTo>
                <a:lnTo>
                  <a:pt x="58" y="434"/>
                </a:lnTo>
                <a:lnTo>
                  <a:pt x="54" y="438"/>
                </a:lnTo>
                <a:lnTo>
                  <a:pt x="52" y="436"/>
                </a:lnTo>
                <a:lnTo>
                  <a:pt x="52" y="434"/>
                </a:lnTo>
                <a:lnTo>
                  <a:pt x="52" y="430"/>
                </a:lnTo>
                <a:lnTo>
                  <a:pt x="52" y="430"/>
                </a:lnTo>
                <a:lnTo>
                  <a:pt x="48" y="426"/>
                </a:lnTo>
                <a:lnTo>
                  <a:pt x="44" y="424"/>
                </a:lnTo>
                <a:lnTo>
                  <a:pt x="40" y="420"/>
                </a:lnTo>
                <a:lnTo>
                  <a:pt x="36" y="416"/>
                </a:lnTo>
                <a:lnTo>
                  <a:pt x="36" y="416"/>
                </a:lnTo>
                <a:lnTo>
                  <a:pt x="32" y="408"/>
                </a:lnTo>
                <a:lnTo>
                  <a:pt x="32" y="408"/>
                </a:lnTo>
                <a:lnTo>
                  <a:pt x="32" y="400"/>
                </a:lnTo>
                <a:lnTo>
                  <a:pt x="32" y="398"/>
                </a:lnTo>
                <a:lnTo>
                  <a:pt x="30" y="398"/>
                </a:lnTo>
                <a:lnTo>
                  <a:pt x="26" y="402"/>
                </a:lnTo>
                <a:lnTo>
                  <a:pt x="26" y="402"/>
                </a:lnTo>
                <a:lnTo>
                  <a:pt x="24" y="404"/>
                </a:lnTo>
                <a:lnTo>
                  <a:pt x="22" y="402"/>
                </a:lnTo>
                <a:lnTo>
                  <a:pt x="18" y="400"/>
                </a:lnTo>
                <a:lnTo>
                  <a:pt x="18" y="400"/>
                </a:lnTo>
                <a:lnTo>
                  <a:pt x="14" y="400"/>
                </a:lnTo>
                <a:lnTo>
                  <a:pt x="10" y="400"/>
                </a:lnTo>
                <a:lnTo>
                  <a:pt x="6" y="402"/>
                </a:lnTo>
                <a:lnTo>
                  <a:pt x="0" y="186"/>
                </a:lnTo>
                <a:lnTo>
                  <a:pt x="0" y="186"/>
                </a:lnTo>
                <a:lnTo>
                  <a:pt x="10" y="188"/>
                </a:lnTo>
                <a:lnTo>
                  <a:pt x="12" y="190"/>
                </a:lnTo>
                <a:lnTo>
                  <a:pt x="12" y="190"/>
                </a:lnTo>
                <a:lnTo>
                  <a:pt x="20" y="190"/>
                </a:lnTo>
                <a:lnTo>
                  <a:pt x="28" y="188"/>
                </a:lnTo>
                <a:lnTo>
                  <a:pt x="28" y="188"/>
                </a:lnTo>
                <a:lnTo>
                  <a:pt x="32" y="192"/>
                </a:lnTo>
                <a:lnTo>
                  <a:pt x="36" y="196"/>
                </a:lnTo>
                <a:lnTo>
                  <a:pt x="36" y="196"/>
                </a:lnTo>
                <a:lnTo>
                  <a:pt x="40" y="196"/>
                </a:lnTo>
                <a:lnTo>
                  <a:pt x="40" y="196"/>
                </a:lnTo>
                <a:lnTo>
                  <a:pt x="44" y="200"/>
                </a:lnTo>
                <a:lnTo>
                  <a:pt x="44" y="200"/>
                </a:lnTo>
                <a:lnTo>
                  <a:pt x="50" y="200"/>
                </a:lnTo>
                <a:lnTo>
                  <a:pt x="50" y="200"/>
                </a:lnTo>
                <a:lnTo>
                  <a:pt x="52" y="202"/>
                </a:lnTo>
                <a:lnTo>
                  <a:pt x="56" y="206"/>
                </a:lnTo>
                <a:lnTo>
                  <a:pt x="56" y="206"/>
                </a:lnTo>
                <a:lnTo>
                  <a:pt x="60" y="206"/>
                </a:lnTo>
                <a:lnTo>
                  <a:pt x="60" y="206"/>
                </a:lnTo>
                <a:lnTo>
                  <a:pt x="74" y="212"/>
                </a:lnTo>
                <a:lnTo>
                  <a:pt x="74" y="212"/>
                </a:lnTo>
                <a:lnTo>
                  <a:pt x="78" y="216"/>
                </a:lnTo>
                <a:lnTo>
                  <a:pt x="80" y="222"/>
                </a:lnTo>
                <a:lnTo>
                  <a:pt x="82" y="222"/>
                </a:lnTo>
                <a:lnTo>
                  <a:pt x="82" y="222"/>
                </a:lnTo>
                <a:lnTo>
                  <a:pt x="82" y="216"/>
                </a:lnTo>
                <a:lnTo>
                  <a:pt x="82" y="214"/>
                </a:lnTo>
                <a:lnTo>
                  <a:pt x="78" y="212"/>
                </a:lnTo>
                <a:lnTo>
                  <a:pt x="74" y="210"/>
                </a:lnTo>
                <a:lnTo>
                  <a:pt x="74" y="210"/>
                </a:lnTo>
                <a:lnTo>
                  <a:pt x="74" y="204"/>
                </a:lnTo>
                <a:lnTo>
                  <a:pt x="82" y="204"/>
                </a:lnTo>
                <a:lnTo>
                  <a:pt x="82" y="204"/>
                </a:lnTo>
                <a:lnTo>
                  <a:pt x="82" y="206"/>
                </a:lnTo>
                <a:lnTo>
                  <a:pt x="82" y="208"/>
                </a:lnTo>
                <a:lnTo>
                  <a:pt x="82" y="208"/>
                </a:lnTo>
                <a:lnTo>
                  <a:pt x="86" y="208"/>
                </a:lnTo>
                <a:lnTo>
                  <a:pt x="86" y="208"/>
                </a:lnTo>
                <a:lnTo>
                  <a:pt x="86" y="202"/>
                </a:lnTo>
                <a:lnTo>
                  <a:pt x="86" y="202"/>
                </a:lnTo>
                <a:lnTo>
                  <a:pt x="88" y="202"/>
                </a:lnTo>
                <a:lnTo>
                  <a:pt x="92" y="202"/>
                </a:lnTo>
                <a:lnTo>
                  <a:pt x="92" y="202"/>
                </a:lnTo>
                <a:lnTo>
                  <a:pt x="92" y="200"/>
                </a:lnTo>
                <a:lnTo>
                  <a:pt x="92" y="200"/>
                </a:lnTo>
                <a:lnTo>
                  <a:pt x="94" y="198"/>
                </a:lnTo>
                <a:lnTo>
                  <a:pt x="94" y="198"/>
                </a:lnTo>
                <a:lnTo>
                  <a:pt x="94" y="190"/>
                </a:lnTo>
                <a:lnTo>
                  <a:pt x="94" y="190"/>
                </a:lnTo>
                <a:lnTo>
                  <a:pt x="94" y="192"/>
                </a:lnTo>
                <a:lnTo>
                  <a:pt x="96" y="192"/>
                </a:lnTo>
                <a:lnTo>
                  <a:pt x="96" y="192"/>
                </a:lnTo>
                <a:lnTo>
                  <a:pt x="102" y="196"/>
                </a:lnTo>
                <a:lnTo>
                  <a:pt x="102" y="196"/>
                </a:lnTo>
                <a:lnTo>
                  <a:pt x="102" y="200"/>
                </a:lnTo>
                <a:lnTo>
                  <a:pt x="102" y="200"/>
                </a:lnTo>
                <a:lnTo>
                  <a:pt x="112" y="198"/>
                </a:lnTo>
                <a:lnTo>
                  <a:pt x="112" y="198"/>
                </a:lnTo>
                <a:lnTo>
                  <a:pt x="112" y="194"/>
                </a:lnTo>
                <a:lnTo>
                  <a:pt x="114" y="190"/>
                </a:lnTo>
                <a:lnTo>
                  <a:pt x="114" y="190"/>
                </a:lnTo>
                <a:lnTo>
                  <a:pt x="116" y="190"/>
                </a:lnTo>
                <a:lnTo>
                  <a:pt x="118" y="190"/>
                </a:lnTo>
                <a:lnTo>
                  <a:pt x="120" y="188"/>
                </a:lnTo>
                <a:lnTo>
                  <a:pt x="120" y="188"/>
                </a:lnTo>
                <a:lnTo>
                  <a:pt x="126" y="188"/>
                </a:lnTo>
                <a:lnTo>
                  <a:pt x="126" y="188"/>
                </a:lnTo>
                <a:lnTo>
                  <a:pt x="128" y="186"/>
                </a:lnTo>
                <a:lnTo>
                  <a:pt x="128" y="186"/>
                </a:lnTo>
                <a:lnTo>
                  <a:pt x="132" y="186"/>
                </a:lnTo>
                <a:lnTo>
                  <a:pt x="138" y="188"/>
                </a:lnTo>
                <a:lnTo>
                  <a:pt x="138" y="188"/>
                </a:lnTo>
                <a:lnTo>
                  <a:pt x="142" y="176"/>
                </a:lnTo>
                <a:lnTo>
                  <a:pt x="142" y="176"/>
                </a:lnTo>
                <a:lnTo>
                  <a:pt x="158" y="176"/>
                </a:lnTo>
                <a:lnTo>
                  <a:pt x="158" y="176"/>
                </a:lnTo>
                <a:lnTo>
                  <a:pt x="158" y="182"/>
                </a:lnTo>
                <a:lnTo>
                  <a:pt x="152" y="184"/>
                </a:lnTo>
                <a:lnTo>
                  <a:pt x="152" y="184"/>
                </a:lnTo>
                <a:lnTo>
                  <a:pt x="148" y="192"/>
                </a:lnTo>
                <a:lnTo>
                  <a:pt x="148" y="192"/>
                </a:lnTo>
                <a:lnTo>
                  <a:pt x="144" y="192"/>
                </a:lnTo>
                <a:lnTo>
                  <a:pt x="142" y="192"/>
                </a:lnTo>
                <a:lnTo>
                  <a:pt x="142" y="192"/>
                </a:lnTo>
                <a:lnTo>
                  <a:pt x="124" y="196"/>
                </a:lnTo>
                <a:lnTo>
                  <a:pt x="124" y="196"/>
                </a:lnTo>
                <a:lnTo>
                  <a:pt x="124" y="204"/>
                </a:lnTo>
                <a:lnTo>
                  <a:pt x="124" y="204"/>
                </a:lnTo>
                <a:lnTo>
                  <a:pt x="120" y="204"/>
                </a:lnTo>
                <a:lnTo>
                  <a:pt x="116" y="206"/>
                </a:lnTo>
                <a:lnTo>
                  <a:pt x="116" y="206"/>
                </a:lnTo>
                <a:lnTo>
                  <a:pt x="118" y="212"/>
                </a:lnTo>
                <a:lnTo>
                  <a:pt x="118" y="212"/>
                </a:lnTo>
                <a:lnTo>
                  <a:pt x="114" y="216"/>
                </a:lnTo>
                <a:lnTo>
                  <a:pt x="112" y="222"/>
                </a:lnTo>
                <a:lnTo>
                  <a:pt x="112" y="222"/>
                </a:lnTo>
                <a:lnTo>
                  <a:pt x="120" y="220"/>
                </a:lnTo>
                <a:lnTo>
                  <a:pt x="120" y="220"/>
                </a:lnTo>
                <a:lnTo>
                  <a:pt x="120" y="218"/>
                </a:lnTo>
                <a:lnTo>
                  <a:pt x="120" y="214"/>
                </a:lnTo>
                <a:lnTo>
                  <a:pt x="120" y="214"/>
                </a:lnTo>
                <a:lnTo>
                  <a:pt x="124" y="212"/>
                </a:lnTo>
                <a:lnTo>
                  <a:pt x="124" y="212"/>
                </a:lnTo>
                <a:lnTo>
                  <a:pt x="124" y="208"/>
                </a:lnTo>
                <a:lnTo>
                  <a:pt x="126" y="208"/>
                </a:lnTo>
                <a:lnTo>
                  <a:pt x="126" y="208"/>
                </a:lnTo>
                <a:lnTo>
                  <a:pt x="126" y="208"/>
                </a:lnTo>
                <a:lnTo>
                  <a:pt x="126" y="208"/>
                </a:lnTo>
                <a:lnTo>
                  <a:pt x="128" y="208"/>
                </a:lnTo>
                <a:lnTo>
                  <a:pt x="128" y="208"/>
                </a:lnTo>
                <a:lnTo>
                  <a:pt x="128" y="206"/>
                </a:lnTo>
                <a:lnTo>
                  <a:pt x="128" y="206"/>
                </a:lnTo>
                <a:lnTo>
                  <a:pt x="132" y="206"/>
                </a:lnTo>
                <a:lnTo>
                  <a:pt x="132" y="206"/>
                </a:lnTo>
                <a:lnTo>
                  <a:pt x="132" y="204"/>
                </a:lnTo>
                <a:lnTo>
                  <a:pt x="132" y="204"/>
                </a:lnTo>
                <a:lnTo>
                  <a:pt x="132" y="204"/>
                </a:lnTo>
                <a:lnTo>
                  <a:pt x="132" y="202"/>
                </a:lnTo>
                <a:lnTo>
                  <a:pt x="132" y="202"/>
                </a:lnTo>
                <a:lnTo>
                  <a:pt x="132" y="202"/>
                </a:lnTo>
                <a:lnTo>
                  <a:pt x="134" y="200"/>
                </a:lnTo>
                <a:lnTo>
                  <a:pt x="134" y="200"/>
                </a:lnTo>
                <a:lnTo>
                  <a:pt x="136" y="200"/>
                </a:lnTo>
                <a:lnTo>
                  <a:pt x="136" y="200"/>
                </a:lnTo>
                <a:lnTo>
                  <a:pt x="138" y="204"/>
                </a:lnTo>
                <a:lnTo>
                  <a:pt x="138" y="204"/>
                </a:lnTo>
                <a:lnTo>
                  <a:pt x="148" y="200"/>
                </a:lnTo>
                <a:lnTo>
                  <a:pt x="148" y="200"/>
                </a:lnTo>
                <a:lnTo>
                  <a:pt x="148" y="198"/>
                </a:lnTo>
                <a:lnTo>
                  <a:pt x="148" y="196"/>
                </a:lnTo>
                <a:lnTo>
                  <a:pt x="150" y="192"/>
                </a:lnTo>
                <a:lnTo>
                  <a:pt x="150" y="192"/>
                </a:lnTo>
                <a:lnTo>
                  <a:pt x="154" y="190"/>
                </a:lnTo>
                <a:lnTo>
                  <a:pt x="158" y="188"/>
                </a:lnTo>
                <a:lnTo>
                  <a:pt x="168" y="186"/>
                </a:lnTo>
                <a:lnTo>
                  <a:pt x="168" y="186"/>
                </a:lnTo>
                <a:lnTo>
                  <a:pt x="174" y="180"/>
                </a:lnTo>
                <a:lnTo>
                  <a:pt x="176" y="172"/>
                </a:lnTo>
                <a:lnTo>
                  <a:pt x="176" y="172"/>
                </a:lnTo>
                <a:lnTo>
                  <a:pt x="176" y="170"/>
                </a:lnTo>
                <a:lnTo>
                  <a:pt x="174" y="170"/>
                </a:lnTo>
                <a:lnTo>
                  <a:pt x="174" y="170"/>
                </a:lnTo>
                <a:lnTo>
                  <a:pt x="174" y="166"/>
                </a:lnTo>
                <a:lnTo>
                  <a:pt x="174" y="162"/>
                </a:lnTo>
                <a:lnTo>
                  <a:pt x="178" y="158"/>
                </a:lnTo>
                <a:lnTo>
                  <a:pt x="178" y="158"/>
                </a:lnTo>
                <a:lnTo>
                  <a:pt x="182" y="162"/>
                </a:lnTo>
                <a:lnTo>
                  <a:pt x="186" y="166"/>
                </a:lnTo>
                <a:lnTo>
                  <a:pt x="186" y="166"/>
                </a:lnTo>
                <a:lnTo>
                  <a:pt x="190" y="172"/>
                </a:lnTo>
                <a:lnTo>
                  <a:pt x="200" y="180"/>
                </a:lnTo>
                <a:lnTo>
                  <a:pt x="200" y="180"/>
                </a:lnTo>
                <a:lnTo>
                  <a:pt x="204" y="180"/>
                </a:lnTo>
                <a:lnTo>
                  <a:pt x="206" y="182"/>
                </a:lnTo>
                <a:lnTo>
                  <a:pt x="206" y="182"/>
                </a:lnTo>
                <a:lnTo>
                  <a:pt x="208" y="184"/>
                </a:lnTo>
                <a:lnTo>
                  <a:pt x="208" y="188"/>
                </a:lnTo>
                <a:lnTo>
                  <a:pt x="208" y="188"/>
                </a:lnTo>
                <a:lnTo>
                  <a:pt x="210" y="186"/>
                </a:lnTo>
                <a:lnTo>
                  <a:pt x="210" y="186"/>
                </a:lnTo>
                <a:lnTo>
                  <a:pt x="212" y="190"/>
                </a:lnTo>
                <a:lnTo>
                  <a:pt x="212" y="190"/>
                </a:lnTo>
                <a:lnTo>
                  <a:pt x="222" y="198"/>
                </a:lnTo>
                <a:lnTo>
                  <a:pt x="230" y="206"/>
                </a:lnTo>
                <a:lnTo>
                  <a:pt x="230" y="206"/>
                </a:lnTo>
                <a:lnTo>
                  <a:pt x="234" y="206"/>
                </a:lnTo>
                <a:lnTo>
                  <a:pt x="234" y="206"/>
                </a:lnTo>
                <a:lnTo>
                  <a:pt x="232" y="204"/>
                </a:lnTo>
                <a:lnTo>
                  <a:pt x="232" y="202"/>
                </a:lnTo>
                <a:lnTo>
                  <a:pt x="232" y="202"/>
                </a:lnTo>
                <a:lnTo>
                  <a:pt x="236" y="200"/>
                </a:lnTo>
                <a:lnTo>
                  <a:pt x="236" y="200"/>
                </a:lnTo>
                <a:lnTo>
                  <a:pt x="234" y="194"/>
                </a:lnTo>
                <a:lnTo>
                  <a:pt x="234" y="192"/>
                </a:lnTo>
                <a:lnTo>
                  <a:pt x="236" y="192"/>
                </a:lnTo>
                <a:lnTo>
                  <a:pt x="236" y="192"/>
                </a:lnTo>
                <a:lnTo>
                  <a:pt x="234" y="190"/>
                </a:lnTo>
                <a:lnTo>
                  <a:pt x="234" y="188"/>
                </a:lnTo>
                <a:lnTo>
                  <a:pt x="238" y="184"/>
                </a:lnTo>
                <a:lnTo>
                  <a:pt x="238" y="184"/>
                </a:lnTo>
                <a:lnTo>
                  <a:pt x="242" y="184"/>
                </a:lnTo>
                <a:lnTo>
                  <a:pt x="242" y="184"/>
                </a:lnTo>
                <a:lnTo>
                  <a:pt x="240" y="186"/>
                </a:lnTo>
                <a:lnTo>
                  <a:pt x="238" y="188"/>
                </a:lnTo>
                <a:lnTo>
                  <a:pt x="238" y="188"/>
                </a:lnTo>
                <a:lnTo>
                  <a:pt x="244" y="204"/>
                </a:lnTo>
                <a:lnTo>
                  <a:pt x="244" y="204"/>
                </a:lnTo>
                <a:lnTo>
                  <a:pt x="254" y="198"/>
                </a:lnTo>
                <a:lnTo>
                  <a:pt x="254" y="198"/>
                </a:lnTo>
                <a:lnTo>
                  <a:pt x="254" y="192"/>
                </a:lnTo>
                <a:lnTo>
                  <a:pt x="254" y="192"/>
                </a:lnTo>
                <a:lnTo>
                  <a:pt x="260" y="192"/>
                </a:lnTo>
                <a:lnTo>
                  <a:pt x="268" y="192"/>
                </a:lnTo>
                <a:lnTo>
                  <a:pt x="268" y="192"/>
                </a:lnTo>
                <a:lnTo>
                  <a:pt x="274" y="196"/>
                </a:lnTo>
                <a:lnTo>
                  <a:pt x="280" y="198"/>
                </a:lnTo>
                <a:lnTo>
                  <a:pt x="280" y="198"/>
                </a:lnTo>
                <a:lnTo>
                  <a:pt x="284" y="198"/>
                </a:lnTo>
                <a:lnTo>
                  <a:pt x="284" y="198"/>
                </a:lnTo>
                <a:lnTo>
                  <a:pt x="286" y="202"/>
                </a:lnTo>
                <a:lnTo>
                  <a:pt x="286" y="202"/>
                </a:lnTo>
                <a:lnTo>
                  <a:pt x="298" y="208"/>
                </a:lnTo>
                <a:lnTo>
                  <a:pt x="310" y="210"/>
                </a:lnTo>
                <a:lnTo>
                  <a:pt x="310" y="214"/>
                </a:lnTo>
                <a:lnTo>
                  <a:pt x="310" y="214"/>
                </a:lnTo>
                <a:lnTo>
                  <a:pt x="316" y="214"/>
                </a:lnTo>
                <a:lnTo>
                  <a:pt x="322" y="214"/>
                </a:lnTo>
                <a:lnTo>
                  <a:pt x="322" y="214"/>
                </a:lnTo>
                <a:lnTo>
                  <a:pt x="328" y="220"/>
                </a:lnTo>
                <a:lnTo>
                  <a:pt x="328" y="220"/>
                </a:lnTo>
                <a:lnTo>
                  <a:pt x="332" y="220"/>
                </a:lnTo>
                <a:lnTo>
                  <a:pt x="336" y="220"/>
                </a:lnTo>
                <a:lnTo>
                  <a:pt x="338" y="222"/>
                </a:lnTo>
                <a:lnTo>
                  <a:pt x="338" y="222"/>
                </a:lnTo>
                <a:lnTo>
                  <a:pt x="344" y="224"/>
                </a:lnTo>
                <a:lnTo>
                  <a:pt x="344" y="224"/>
                </a:lnTo>
                <a:lnTo>
                  <a:pt x="346" y="224"/>
                </a:lnTo>
                <a:lnTo>
                  <a:pt x="346" y="222"/>
                </a:lnTo>
                <a:lnTo>
                  <a:pt x="344" y="220"/>
                </a:lnTo>
                <a:lnTo>
                  <a:pt x="344" y="220"/>
                </a:lnTo>
                <a:lnTo>
                  <a:pt x="342" y="220"/>
                </a:lnTo>
                <a:lnTo>
                  <a:pt x="342" y="218"/>
                </a:lnTo>
                <a:lnTo>
                  <a:pt x="342" y="218"/>
                </a:lnTo>
                <a:lnTo>
                  <a:pt x="348" y="218"/>
                </a:lnTo>
                <a:lnTo>
                  <a:pt x="348" y="218"/>
                </a:lnTo>
                <a:lnTo>
                  <a:pt x="350" y="216"/>
                </a:lnTo>
                <a:lnTo>
                  <a:pt x="352" y="216"/>
                </a:lnTo>
                <a:lnTo>
                  <a:pt x="352" y="216"/>
                </a:lnTo>
                <a:lnTo>
                  <a:pt x="354" y="220"/>
                </a:lnTo>
                <a:lnTo>
                  <a:pt x="354" y="220"/>
                </a:lnTo>
                <a:lnTo>
                  <a:pt x="356" y="220"/>
                </a:lnTo>
                <a:lnTo>
                  <a:pt x="358" y="220"/>
                </a:lnTo>
                <a:lnTo>
                  <a:pt x="366" y="224"/>
                </a:lnTo>
                <a:lnTo>
                  <a:pt x="366" y="224"/>
                </a:lnTo>
                <a:lnTo>
                  <a:pt x="366" y="228"/>
                </a:lnTo>
                <a:lnTo>
                  <a:pt x="368" y="230"/>
                </a:lnTo>
                <a:lnTo>
                  <a:pt x="370" y="232"/>
                </a:lnTo>
                <a:lnTo>
                  <a:pt x="368" y="234"/>
                </a:lnTo>
                <a:lnTo>
                  <a:pt x="368" y="234"/>
                </a:lnTo>
                <a:lnTo>
                  <a:pt x="358" y="234"/>
                </a:lnTo>
                <a:lnTo>
                  <a:pt x="358" y="234"/>
                </a:lnTo>
                <a:lnTo>
                  <a:pt x="358" y="238"/>
                </a:lnTo>
                <a:lnTo>
                  <a:pt x="358" y="238"/>
                </a:lnTo>
                <a:lnTo>
                  <a:pt x="356" y="240"/>
                </a:lnTo>
                <a:lnTo>
                  <a:pt x="354" y="248"/>
                </a:lnTo>
                <a:lnTo>
                  <a:pt x="354" y="248"/>
                </a:lnTo>
                <a:lnTo>
                  <a:pt x="368" y="250"/>
                </a:lnTo>
                <a:lnTo>
                  <a:pt x="384" y="248"/>
                </a:lnTo>
                <a:lnTo>
                  <a:pt x="386" y="246"/>
                </a:lnTo>
                <a:lnTo>
                  <a:pt x="386" y="246"/>
                </a:lnTo>
                <a:lnTo>
                  <a:pt x="388" y="248"/>
                </a:lnTo>
                <a:lnTo>
                  <a:pt x="390" y="248"/>
                </a:lnTo>
                <a:lnTo>
                  <a:pt x="390" y="248"/>
                </a:lnTo>
                <a:lnTo>
                  <a:pt x="396" y="244"/>
                </a:lnTo>
                <a:lnTo>
                  <a:pt x="396" y="244"/>
                </a:lnTo>
                <a:lnTo>
                  <a:pt x="404" y="244"/>
                </a:lnTo>
                <a:lnTo>
                  <a:pt x="404" y="244"/>
                </a:lnTo>
                <a:lnTo>
                  <a:pt x="408" y="240"/>
                </a:lnTo>
                <a:lnTo>
                  <a:pt x="408" y="240"/>
                </a:lnTo>
                <a:lnTo>
                  <a:pt x="414" y="238"/>
                </a:lnTo>
                <a:lnTo>
                  <a:pt x="414" y="238"/>
                </a:lnTo>
                <a:lnTo>
                  <a:pt x="416" y="244"/>
                </a:lnTo>
                <a:lnTo>
                  <a:pt x="422" y="246"/>
                </a:lnTo>
                <a:lnTo>
                  <a:pt x="422" y="246"/>
                </a:lnTo>
                <a:lnTo>
                  <a:pt x="426" y="246"/>
                </a:lnTo>
                <a:lnTo>
                  <a:pt x="426" y="246"/>
                </a:lnTo>
                <a:lnTo>
                  <a:pt x="428" y="252"/>
                </a:lnTo>
                <a:lnTo>
                  <a:pt x="428" y="252"/>
                </a:lnTo>
                <a:lnTo>
                  <a:pt x="428" y="254"/>
                </a:lnTo>
                <a:lnTo>
                  <a:pt x="428" y="254"/>
                </a:lnTo>
                <a:lnTo>
                  <a:pt x="426" y="254"/>
                </a:lnTo>
                <a:lnTo>
                  <a:pt x="426" y="254"/>
                </a:lnTo>
                <a:lnTo>
                  <a:pt x="428" y="260"/>
                </a:lnTo>
                <a:lnTo>
                  <a:pt x="430" y="260"/>
                </a:lnTo>
                <a:lnTo>
                  <a:pt x="430" y="260"/>
                </a:lnTo>
                <a:lnTo>
                  <a:pt x="434" y="250"/>
                </a:lnTo>
                <a:lnTo>
                  <a:pt x="434" y="250"/>
                </a:lnTo>
                <a:lnTo>
                  <a:pt x="436" y="264"/>
                </a:lnTo>
                <a:lnTo>
                  <a:pt x="438" y="270"/>
                </a:lnTo>
                <a:lnTo>
                  <a:pt x="442" y="274"/>
                </a:lnTo>
                <a:lnTo>
                  <a:pt x="442" y="274"/>
                </a:lnTo>
                <a:lnTo>
                  <a:pt x="444" y="268"/>
                </a:lnTo>
                <a:lnTo>
                  <a:pt x="444" y="268"/>
                </a:lnTo>
                <a:lnTo>
                  <a:pt x="448" y="268"/>
                </a:lnTo>
                <a:lnTo>
                  <a:pt x="448" y="268"/>
                </a:lnTo>
                <a:lnTo>
                  <a:pt x="448" y="266"/>
                </a:lnTo>
                <a:lnTo>
                  <a:pt x="448" y="266"/>
                </a:lnTo>
                <a:lnTo>
                  <a:pt x="446" y="264"/>
                </a:lnTo>
                <a:lnTo>
                  <a:pt x="442" y="262"/>
                </a:lnTo>
                <a:lnTo>
                  <a:pt x="442" y="262"/>
                </a:lnTo>
                <a:lnTo>
                  <a:pt x="444" y="260"/>
                </a:lnTo>
                <a:lnTo>
                  <a:pt x="444" y="256"/>
                </a:lnTo>
                <a:lnTo>
                  <a:pt x="444" y="256"/>
                </a:lnTo>
                <a:lnTo>
                  <a:pt x="444" y="256"/>
                </a:lnTo>
                <a:lnTo>
                  <a:pt x="440" y="248"/>
                </a:lnTo>
                <a:lnTo>
                  <a:pt x="440" y="248"/>
                </a:lnTo>
                <a:lnTo>
                  <a:pt x="444" y="246"/>
                </a:lnTo>
                <a:lnTo>
                  <a:pt x="444" y="246"/>
                </a:lnTo>
                <a:lnTo>
                  <a:pt x="444" y="242"/>
                </a:lnTo>
                <a:lnTo>
                  <a:pt x="444" y="242"/>
                </a:lnTo>
                <a:lnTo>
                  <a:pt x="448" y="242"/>
                </a:lnTo>
                <a:lnTo>
                  <a:pt x="448" y="242"/>
                </a:lnTo>
                <a:lnTo>
                  <a:pt x="450" y="240"/>
                </a:lnTo>
                <a:lnTo>
                  <a:pt x="452" y="238"/>
                </a:lnTo>
                <a:lnTo>
                  <a:pt x="452" y="238"/>
                </a:lnTo>
                <a:lnTo>
                  <a:pt x="454" y="238"/>
                </a:lnTo>
                <a:lnTo>
                  <a:pt x="458" y="238"/>
                </a:lnTo>
                <a:lnTo>
                  <a:pt x="458" y="236"/>
                </a:lnTo>
                <a:lnTo>
                  <a:pt x="458" y="236"/>
                </a:lnTo>
                <a:lnTo>
                  <a:pt x="462" y="232"/>
                </a:lnTo>
                <a:lnTo>
                  <a:pt x="462" y="232"/>
                </a:lnTo>
                <a:lnTo>
                  <a:pt x="468" y="232"/>
                </a:lnTo>
                <a:lnTo>
                  <a:pt x="468" y="232"/>
                </a:lnTo>
                <a:lnTo>
                  <a:pt x="468" y="230"/>
                </a:lnTo>
                <a:lnTo>
                  <a:pt x="470" y="228"/>
                </a:lnTo>
                <a:lnTo>
                  <a:pt x="470" y="228"/>
                </a:lnTo>
                <a:lnTo>
                  <a:pt x="474" y="228"/>
                </a:lnTo>
                <a:lnTo>
                  <a:pt x="476" y="226"/>
                </a:lnTo>
                <a:lnTo>
                  <a:pt x="474" y="224"/>
                </a:lnTo>
                <a:lnTo>
                  <a:pt x="474" y="224"/>
                </a:lnTo>
                <a:lnTo>
                  <a:pt x="470" y="222"/>
                </a:lnTo>
                <a:lnTo>
                  <a:pt x="470" y="222"/>
                </a:lnTo>
                <a:lnTo>
                  <a:pt x="468" y="222"/>
                </a:lnTo>
                <a:lnTo>
                  <a:pt x="466" y="222"/>
                </a:lnTo>
                <a:lnTo>
                  <a:pt x="466" y="224"/>
                </a:lnTo>
                <a:lnTo>
                  <a:pt x="468" y="224"/>
                </a:lnTo>
                <a:lnTo>
                  <a:pt x="468" y="224"/>
                </a:lnTo>
                <a:lnTo>
                  <a:pt x="468" y="228"/>
                </a:lnTo>
                <a:lnTo>
                  <a:pt x="468" y="228"/>
                </a:lnTo>
                <a:lnTo>
                  <a:pt x="458" y="228"/>
                </a:lnTo>
                <a:lnTo>
                  <a:pt x="452" y="234"/>
                </a:lnTo>
                <a:lnTo>
                  <a:pt x="452" y="234"/>
                </a:lnTo>
                <a:lnTo>
                  <a:pt x="446" y="232"/>
                </a:lnTo>
                <a:lnTo>
                  <a:pt x="446" y="232"/>
                </a:lnTo>
                <a:lnTo>
                  <a:pt x="444" y="232"/>
                </a:lnTo>
                <a:lnTo>
                  <a:pt x="444" y="232"/>
                </a:lnTo>
                <a:lnTo>
                  <a:pt x="444" y="234"/>
                </a:lnTo>
                <a:lnTo>
                  <a:pt x="444" y="234"/>
                </a:lnTo>
                <a:lnTo>
                  <a:pt x="446" y="234"/>
                </a:lnTo>
                <a:lnTo>
                  <a:pt x="446" y="234"/>
                </a:lnTo>
                <a:lnTo>
                  <a:pt x="444" y="238"/>
                </a:lnTo>
                <a:lnTo>
                  <a:pt x="444" y="238"/>
                </a:lnTo>
                <a:lnTo>
                  <a:pt x="442" y="236"/>
                </a:lnTo>
                <a:lnTo>
                  <a:pt x="442" y="236"/>
                </a:lnTo>
                <a:lnTo>
                  <a:pt x="440" y="236"/>
                </a:lnTo>
                <a:lnTo>
                  <a:pt x="438" y="238"/>
                </a:lnTo>
                <a:lnTo>
                  <a:pt x="438" y="238"/>
                </a:lnTo>
                <a:lnTo>
                  <a:pt x="436" y="236"/>
                </a:lnTo>
                <a:lnTo>
                  <a:pt x="436" y="236"/>
                </a:lnTo>
                <a:lnTo>
                  <a:pt x="436" y="236"/>
                </a:lnTo>
                <a:lnTo>
                  <a:pt x="436" y="232"/>
                </a:lnTo>
                <a:lnTo>
                  <a:pt x="436" y="232"/>
                </a:lnTo>
                <a:lnTo>
                  <a:pt x="440" y="232"/>
                </a:lnTo>
                <a:lnTo>
                  <a:pt x="440" y="232"/>
                </a:lnTo>
                <a:lnTo>
                  <a:pt x="442" y="224"/>
                </a:lnTo>
                <a:lnTo>
                  <a:pt x="442" y="218"/>
                </a:lnTo>
                <a:lnTo>
                  <a:pt x="442" y="218"/>
                </a:lnTo>
                <a:lnTo>
                  <a:pt x="454" y="220"/>
                </a:lnTo>
                <a:lnTo>
                  <a:pt x="454" y="220"/>
                </a:lnTo>
                <a:lnTo>
                  <a:pt x="458" y="216"/>
                </a:lnTo>
                <a:lnTo>
                  <a:pt x="458" y="216"/>
                </a:lnTo>
                <a:lnTo>
                  <a:pt x="462" y="218"/>
                </a:lnTo>
                <a:lnTo>
                  <a:pt x="462" y="218"/>
                </a:lnTo>
                <a:lnTo>
                  <a:pt x="470" y="216"/>
                </a:lnTo>
                <a:lnTo>
                  <a:pt x="474" y="216"/>
                </a:lnTo>
                <a:lnTo>
                  <a:pt x="478" y="218"/>
                </a:lnTo>
                <a:lnTo>
                  <a:pt x="478" y="218"/>
                </a:lnTo>
                <a:lnTo>
                  <a:pt x="482" y="222"/>
                </a:lnTo>
                <a:lnTo>
                  <a:pt x="482" y="226"/>
                </a:lnTo>
                <a:lnTo>
                  <a:pt x="484" y="234"/>
                </a:lnTo>
                <a:lnTo>
                  <a:pt x="484" y="234"/>
                </a:lnTo>
                <a:lnTo>
                  <a:pt x="486" y="236"/>
                </a:lnTo>
                <a:lnTo>
                  <a:pt x="490" y="236"/>
                </a:lnTo>
                <a:lnTo>
                  <a:pt x="494" y="232"/>
                </a:lnTo>
                <a:lnTo>
                  <a:pt x="494" y="232"/>
                </a:lnTo>
                <a:lnTo>
                  <a:pt x="498" y="236"/>
                </a:lnTo>
                <a:lnTo>
                  <a:pt x="494" y="240"/>
                </a:lnTo>
                <a:lnTo>
                  <a:pt x="494" y="240"/>
                </a:lnTo>
                <a:lnTo>
                  <a:pt x="500" y="240"/>
                </a:lnTo>
                <a:lnTo>
                  <a:pt x="506" y="240"/>
                </a:lnTo>
                <a:lnTo>
                  <a:pt x="506" y="240"/>
                </a:lnTo>
                <a:lnTo>
                  <a:pt x="506" y="238"/>
                </a:lnTo>
                <a:lnTo>
                  <a:pt x="508" y="236"/>
                </a:lnTo>
                <a:lnTo>
                  <a:pt x="508" y="238"/>
                </a:lnTo>
                <a:lnTo>
                  <a:pt x="508" y="238"/>
                </a:lnTo>
                <a:lnTo>
                  <a:pt x="510" y="238"/>
                </a:lnTo>
                <a:lnTo>
                  <a:pt x="512" y="238"/>
                </a:lnTo>
                <a:lnTo>
                  <a:pt x="512" y="238"/>
                </a:lnTo>
                <a:lnTo>
                  <a:pt x="512" y="240"/>
                </a:lnTo>
                <a:lnTo>
                  <a:pt x="512" y="242"/>
                </a:lnTo>
                <a:lnTo>
                  <a:pt x="512" y="242"/>
                </a:lnTo>
                <a:lnTo>
                  <a:pt x="516" y="242"/>
                </a:lnTo>
                <a:lnTo>
                  <a:pt x="516" y="242"/>
                </a:lnTo>
                <a:lnTo>
                  <a:pt x="516" y="242"/>
                </a:lnTo>
                <a:lnTo>
                  <a:pt x="516" y="244"/>
                </a:lnTo>
                <a:lnTo>
                  <a:pt x="516" y="244"/>
                </a:lnTo>
                <a:lnTo>
                  <a:pt x="520" y="244"/>
                </a:lnTo>
                <a:lnTo>
                  <a:pt x="524" y="244"/>
                </a:lnTo>
                <a:lnTo>
                  <a:pt x="524" y="248"/>
                </a:lnTo>
                <a:lnTo>
                  <a:pt x="524" y="248"/>
                </a:lnTo>
                <a:lnTo>
                  <a:pt x="528" y="248"/>
                </a:lnTo>
                <a:lnTo>
                  <a:pt x="528" y="248"/>
                </a:lnTo>
                <a:lnTo>
                  <a:pt x="528" y="246"/>
                </a:lnTo>
                <a:lnTo>
                  <a:pt x="530" y="246"/>
                </a:lnTo>
                <a:lnTo>
                  <a:pt x="530" y="246"/>
                </a:lnTo>
                <a:lnTo>
                  <a:pt x="532" y="250"/>
                </a:lnTo>
                <a:lnTo>
                  <a:pt x="534" y="250"/>
                </a:lnTo>
                <a:lnTo>
                  <a:pt x="534" y="250"/>
                </a:lnTo>
                <a:lnTo>
                  <a:pt x="542" y="246"/>
                </a:lnTo>
                <a:lnTo>
                  <a:pt x="546" y="244"/>
                </a:lnTo>
                <a:lnTo>
                  <a:pt x="562" y="246"/>
                </a:lnTo>
                <a:lnTo>
                  <a:pt x="562" y="246"/>
                </a:lnTo>
                <a:lnTo>
                  <a:pt x="566" y="248"/>
                </a:lnTo>
                <a:lnTo>
                  <a:pt x="570" y="248"/>
                </a:lnTo>
                <a:lnTo>
                  <a:pt x="570" y="248"/>
                </a:lnTo>
                <a:lnTo>
                  <a:pt x="572" y="246"/>
                </a:lnTo>
                <a:lnTo>
                  <a:pt x="574" y="244"/>
                </a:lnTo>
                <a:lnTo>
                  <a:pt x="574" y="244"/>
                </a:lnTo>
                <a:lnTo>
                  <a:pt x="576" y="244"/>
                </a:lnTo>
                <a:lnTo>
                  <a:pt x="578" y="246"/>
                </a:lnTo>
                <a:lnTo>
                  <a:pt x="578" y="246"/>
                </a:lnTo>
                <a:lnTo>
                  <a:pt x="578" y="244"/>
                </a:lnTo>
                <a:lnTo>
                  <a:pt x="578" y="244"/>
                </a:lnTo>
                <a:lnTo>
                  <a:pt x="578" y="244"/>
                </a:lnTo>
                <a:lnTo>
                  <a:pt x="576" y="242"/>
                </a:lnTo>
                <a:lnTo>
                  <a:pt x="576" y="238"/>
                </a:lnTo>
                <a:lnTo>
                  <a:pt x="576" y="230"/>
                </a:lnTo>
                <a:lnTo>
                  <a:pt x="576" y="230"/>
                </a:lnTo>
                <a:lnTo>
                  <a:pt x="578" y="232"/>
                </a:lnTo>
                <a:lnTo>
                  <a:pt x="578" y="232"/>
                </a:lnTo>
                <a:lnTo>
                  <a:pt x="578" y="228"/>
                </a:lnTo>
                <a:lnTo>
                  <a:pt x="578" y="226"/>
                </a:lnTo>
                <a:lnTo>
                  <a:pt x="578" y="226"/>
                </a:lnTo>
                <a:lnTo>
                  <a:pt x="582" y="228"/>
                </a:lnTo>
                <a:lnTo>
                  <a:pt x="586" y="232"/>
                </a:lnTo>
                <a:lnTo>
                  <a:pt x="586" y="232"/>
                </a:lnTo>
                <a:lnTo>
                  <a:pt x="588" y="232"/>
                </a:lnTo>
                <a:lnTo>
                  <a:pt x="588" y="234"/>
                </a:lnTo>
                <a:lnTo>
                  <a:pt x="588" y="234"/>
                </a:lnTo>
                <a:lnTo>
                  <a:pt x="592" y="236"/>
                </a:lnTo>
                <a:lnTo>
                  <a:pt x="592" y="236"/>
                </a:lnTo>
                <a:lnTo>
                  <a:pt x="592" y="236"/>
                </a:lnTo>
                <a:lnTo>
                  <a:pt x="592" y="236"/>
                </a:lnTo>
                <a:lnTo>
                  <a:pt x="596" y="238"/>
                </a:lnTo>
                <a:lnTo>
                  <a:pt x="596" y="236"/>
                </a:lnTo>
                <a:lnTo>
                  <a:pt x="596" y="236"/>
                </a:lnTo>
                <a:lnTo>
                  <a:pt x="598" y="232"/>
                </a:lnTo>
                <a:lnTo>
                  <a:pt x="600" y="238"/>
                </a:lnTo>
                <a:lnTo>
                  <a:pt x="600" y="238"/>
                </a:lnTo>
                <a:lnTo>
                  <a:pt x="598" y="238"/>
                </a:lnTo>
                <a:lnTo>
                  <a:pt x="600" y="240"/>
                </a:lnTo>
                <a:lnTo>
                  <a:pt x="600" y="240"/>
                </a:lnTo>
                <a:lnTo>
                  <a:pt x="600" y="238"/>
                </a:lnTo>
                <a:lnTo>
                  <a:pt x="602" y="238"/>
                </a:lnTo>
                <a:lnTo>
                  <a:pt x="602" y="238"/>
                </a:lnTo>
                <a:lnTo>
                  <a:pt x="600" y="246"/>
                </a:lnTo>
                <a:lnTo>
                  <a:pt x="598" y="254"/>
                </a:lnTo>
                <a:lnTo>
                  <a:pt x="598" y="254"/>
                </a:lnTo>
                <a:lnTo>
                  <a:pt x="600" y="258"/>
                </a:lnTo>
                <a:lnTo>
                  <a:pt x="604" y="260"/>
                </a:lnTo>
                <a:lnTo>
                  <a:pt x="604" y="260"/>
                </a:lnTo>
                <a:lnTo>
                  <a:pt x="608" y="260"/>
                </a:lnTo>
                <a:lnTo>
                  <a:pt x="608" y="260"/>
                </a:lnTo>
                <a:lnTo>
                  <a:pt x="608" y="262"/>
                </a:lnTo>
                <a:lnTo>
                  <a:pt x="608" y="262"/>
                </a:lnTo>
                <a:lnTo>
                  <a:pt x="608" y="262"/>
                </a:lnTo>
                <a:lnTo>
                  <a:pt x="612" y="266"/>
                </a:lnTo>
                <a:lnTo>
                  <a:pt x="618" y="268"/>
                </a:lnTo>
                <a:lnTo>
                  <a:pt x="618" y="266"/>
                </a:lnTo>
                <a:lnTo>
                  <a:pt x="620" y="266"/>
                </a:lnTo>
                <a:lnTo>
                  <a:pt x="620" y="264"/>
                </a:lnTo>
                <a:lnTo>
                  <a:pt x="620" y="264"/>
                </a:lnTo>
                <a:lnTo>
                  <a:pt x="614" y="262"/>
                </a:lnTo>
                <a:lnTo>
                  <a:pt x="614" y="262"/>
                </a:lnTo>
                <a:lnTo>
                  <a:pt x="616" y="256"/>
                </a:lnTo>
                <a:lnTo>
                  <a:pt x="616" y="256"/>
                </a:lnTo>
                <a:lnTo>
                  <a:pt x="614" y="256"/>
                </a:lnTo>
                <a:lnTo>
                  <a:pt x="610" y="254"/>
                </a:lnTo>
                <a:lnTo>
                  <a:pt x="610" y="252"/>
                </a:lnTo>
                <a:lnTo>
                  <a:pt x="610" y="252"/>
                </a:lnTo>
                <a:lnTo>
                  <a:pt x="614" y="250"/>
                </a:lnTo>
                <a:lnTo>
                  <a:pt x="614" y="250"/>
                </a:lnTo>
                <a:lnTo>
                  <a:pt x="614" y="246"/>
                </a:lnTo>
                <a:lnTo>
                  <a:pt x="614" y="246"/>
                </a:lnTo>
                <a:lnTo>
                  <a:pt x="618" y="244"/>
                </a:lnTo>
                <a:lnTo>
                  <a:pt x="618" y="244"/>
                </a:lnTo>
                <a:lnTo>
                  <a:pt x="618" y="244"/>
                </a:lnTo>
                <a:lnTo>
                  <a:pt x="616" y="244"/>
                </a:lnTo>
                <a:lnTo>
                  <a:pt x="616" y="242"/>
                </a:lnTo>
                <a:lnTo>
                  <a:pt x="616" y="242"/>
                </a:lnTo>
                <a:lnTo>
                  <a:pt x="622" y="242"/>
                </a:lnTo>
                <a:lnTo>
                  <a:pt x="622" y="242"/>
                </a:lnTo>
                <a:lnTo>
                  <a:pt x="624" y="240"/>
                </a:lnTo>
                <a:lnTo>
                  <a:pt x="626" y="236"/>
                </a:lnTo>
                <a:lnTo>
                  <a:pt x="628" y="234"/>
                </a:lnTo>
                <a:lnTo>
                  <a:pt x="630" y="232"/>
                </a:lnTo>
                <a:lnTo>
                  <a:pt x="630" y="232"/>
                </a:lnTo>
                <a:lnTo>
                  <a:pt x="634" y="232"/>
                </a:lnTo>
                <a:lnTo>
                  <a:pt x="634" y="232"/>
                </a:lnTo>
                <a:lnTo>
                  <a:pt x="644" y="226"/>
                </a:lnTo>
                <a:lnTo>
                  <a:pt x="644" y="226"/>
                </a:lnTo>
                <a:lnTo>
                  <a:pt x="644" y="224"/>
                </a:lnTo>
                <a:lnTo>
                  <a:pt x="644" y="224"/>
                </a:lnTo>
                <a:lnTo>
                  <a:pt x="644" y="220"/>
                </a:lnTo>
                <a:lnTo>
                  <a:pt x="644" y="220"/>
                </a:lnTo>
                <a:lnTo>
                  <a:pt x="638" y="224"/>
                </a:lnTo>
                <a:lnTo>
                  <a:pt x="638" y="224"/>
                </a:lnTo>
                <a:lnTo>
                  <a:pt x="634" y="224"/>
                </a:lnTo>
                <a:lnTo>
                  <a:pt x="632" y="222"/>
                </a:lnTo>
                <a:lnTo>
                  <a:pt x="632" y="218"/>
                </a:lnTo>
                <a:lnTo>
                  <a:pt x="634" y="216"/>
                </a:lnTo>
                <a:lnTo>
                  <a:pt x="634" y="216"/>
                </a:lnTo>
                <a:lnTo>
                  <a:pt x="632" y="212"/>
                </a:lnTo>
                <a:lnTo>
                  <a:pt x="632" y="212"/>
                </a:lnTo>
                <a:lnTo>
                  <a:pt x="632" y="210"/>
                </a:lnTo>
                <a:lnTo>
                  <a:pt x="632" y="210"/>
                </a:lnTo>
                <a:lnTo>
                  <a:pt x="636" y="206"/>
                </a:lnTo>
                <a:lnTo>
                  <a:pt x="636" y="206"/>
                </a:lnTo>
                <a:lnTo>
                  <a:pt x="648" y="208"/>
                </a:lnTo>
                <a:lnTo>
                  <a:pt x="648" y="208"/>
                </a:lnTo>
                <a:lnTo>
                  <a:pt x="646" y="204"/>
                </a:lnTo>
                <a:lnTo>
                  <a:pt x="646" y="200"/>
                </a:lnTo>
                <a:lnTo>
                  <a:pt x="646" y="200"/>
                </a:lnTo>
                <a:lnTo>
                  <a:pt x="650" y="196"/>
                </a:lnTo>
                <a:lnTo>
                  <a:pt x="650" y="196"/>
                </a:lnTo>
                <a:lnTo>
                  <a:pt x="656" y="196"/>
                </a:lnTo>
                <a:lnTo>
                  <a:pt x="656" y="196"/>
                </a:lnTo>
                <a:lnTo>
                  <a:pt x="656" y="194"/>
                </a:lnTo>
                <a:lnTo>
                  <a:pt x="656" y="194"/>
                </a:lnTo>
                <a:lnTo>
                  <a:pt x="654" y="194"/>
                </a:lnTo>
                <a:lnTo>
                  <a:pt x="652" y="192"/>
                </a:lnTo>
                <a:lnTo>
                  <a:pt x="652" y="192"/>
                </a:lnTo>
                <a:lnTo>
                  <a:pt x="646" y="196"/>
                </a:lnTo>
                <a:lnTo>
                  <a:pt x="642" y="200"/>
                </a:lnTo>
                <a:lnTo>
                  <a:pt x="642" y="200"/>
                </a:lnTo>
                <a:lnTo>
                  <a:pt x="634" y="202"/>
                </a:lnTo>
                <a:lnTo>
                  <a:pt x="634" y="202"/>
                </a:lnTo>
                <a:lnTo>
                  <a:pt x="630" y="194"/>
                </a:lnTo>
                <a:lnTo>
                  <a:pt x="626" y="190"/>
                </a:lnTo>
                <a:lnTo>
                  <a:pt x="620" y="188"/>
                </a:lnTo>
                <a:lnTo>
                  <a:pt x="618" y="188"/>
                </a:lnTo>
                <a:lnTo>
                  <a:pt x="618" y="188"/>
                </a:lnTo>
                <a:lnTo>
                  <a:pt x="618" y="194"/>
                </a:lnTo>
                <a:lnTo>
                  <a:pt x="618" y="194"/>
                </a:lnTo>
                <a:lnTo>
                  <a:pt x="620" y="194"/>
                </a:lnTo>
                <a:lnTo>
                  <a:pt x="618" y="196"/>
                </a:lnTo>
                <a:lnTo>
                  <a:pt x="616" y="198"/>
                </a:lnTo>
                <a:lnTo>
                  <a:pt x="616" y="198"/>
                </a:lnTo>
                <a:lnTo>
                  <a:pt x="616" y="196"/>
                </a:lnTo>
                <a:lnTo>
                  <a:pt x="614" y="194"/>
                </a:lnTo>
                <a:lnTo>
                  <a:pt x="614" y="194"/>
                </a:lnTo>
                <a:lnTo>
                  <a:pt x="614" y="196"/>
                </a:lnTo>
                <a:lnTo>
                  <a:pt x="614" y="196"/>
                </a:lnTo>
                <a:lnTo>
                  <a:pt x="612" y="196"/>
                </a:lnTo>
                <a:lnTo>
                  <a:pt x="612" y="196"/>
                </a:lnTo>
                <a:lnTo>
                  <a:pt x="612" y="190"/>
                </a:lnTo>
                <a:lnTo>
                  <a:pt x="612" y="190"/>
                </a:lnTo>
                <a:lnTo>
                  <a:pt x="614" y="188"/>
                </a:lnTo>
                <a:lnTo>
                  <a:pt x="614" y="188"/>
                </a:lnTo>
                <a:lnTo>
                  <a:pt x="614" y="188"/>
                </a:lnTo>
                <a:lnTo>
                  <a:pt x="614" y="186"/>
                </a:lnTo>
                <a:lnTo>
                  <a:pt x="614" y="186"/>
                </a:lnTo>
                <a:lnTo>
                  <a:pt x="610" y="186"/>
                </a:lnTo>
                <a:lnTo>
                  <a:pt x="606" y="182"/>
                </a:lnTo>
                <a:lnTo>
                  <a:pt x="606" y="178"/>
                </a:lnTo>
                <a:lnTo>
                  <a:pt x="606" y="178"/>
                </a:lnTo>
                <a:lnTo>
                  <a:pt x="604" y="178"/>
                </a:lnTo>
                <a:lnTo>
                  <a:pt x="604" y="178"/>
                </a:lnTo>
                <a:lnTo>
                  <a:pt x="604" y="174"/>
                </a:lnTo>
                <a:lnTo>
                  <a:pt x="604" y="174"/>
                </a:lnTo>
                <a:lnTo>
                  <a:pt x="612" y="174"/>
                </a:lnTo>
                <a:lnTo>
                  <a:pt x="612" y="174"/>
                </a:lnTo>
                <a:lnTo>
                  <a:pt x="610" y="170"/>
                </a:lnTo>
                <a:lnTo>
                  <a:pt x="608" y="164"/>
                </a:lnTo>
                <a:lnTo>
                  <a:pt x="610" y="162"/>
                </a:lnTo>
                <a:lnTo>
                  <a:pt x="610" y="162"/>
                </a:lnTo>
                <a:lnTo>
                  <a:pt x="610" y="160"/>
                </a:lnTo>
                <a:lnTo>
                  <a:pt x="608" y="160"/>
                </a:lnTo>
                <a:lnTo>
                  <a:pt x="608" y="160"/>
                </a:lnTo>
                <a:lnTo>
                  <a:pt x="608" y="160"/>
                </a:lnTo>
                <a:lnTo>
                  <a:pt x="610" y="156"/>
                </a:lnTo>
                <a:lnTo>
                  <a:pt x="610" y="156"/>
                </a:lnTo>
                <a:lnTo>
                  <a:pt x="612" y="154"/>
                </a:lnTo>
                <a:lnTo>
                  <a:pt x="612" y="154"/>
                </a:lnTo>
                <a:lnTo>
                  <a:pt x="612" y="150"/>
                </a:lnTo>
                <a:lnTo>
                  <a:pt x="612" y="150"/>
                </a:lnTo>
                <a:lnTo>
                  <a:pt x="616" y="150"/>
                </a:lnTo>
                <a:lnTo>
                  <a:pt x="616" y="150"/>
                </a:lnTo>
                <a:lnTo>
                  <a:pt x="620" y="154"/>
                </a:lnTo>
                <a:lnTo>
                  <a:pt x="620" y="154"/>
                </a:lnTo>
                <a:lnTo>
                  <a:pt x="622" y="154"/>
                </a:lnTo>
                <a:lnTo>
                  <a:pt x="622" y="154"/>
                </a:lnTo>
                <a:lnTo>
                  <a:pt x="616" y="146"/>
                </a:lnTo>
                <a:lnTo>
                  <a:pt x="616" y="146"/>
                </a:lnTo>
                <a:lnTo>
                  <a:pt x="618" y="142"/>
                </a:lnTo>
                <a:lnTo>
                  <a:pt x="618" y="142"/>
                </a:lnTo>
                <a:lnTo>
                  <a:pt x="624" y="140"/>
                </a:lnTo>
                <a:lnTo>
                  <a:pt x="624" y="140"/>
                </a:lnTo>
                <a:lnTo>
                  <a:pt x="624" y="140"/>
                </a:lnTo>
                <a:lnTo>
                  <a:pt x="624" y="138"/>
                </a:lnTo>
                <a:lnTo>
                  <a:pt x="624" y="138"/>
                </a:lnTo>
                <a:lnTo>
                  <a:pt x="624" y="136"/>
                </a:lnTo>
                <a:lnTo>
                  <a:pt x="624" y="132"/>
                </a:lnTo>
                <a:lnTo>
                  <a:pt x="624" y="124"/>
                </a:lnTo>
                <a:lnTo>
                  <a:pt x="624" y="124"/>
                </a:lnTo>
                <a:lnTo>
                  <a:pt x="620" y="120"/>
                </a:lnTo>
                <a:lnTo>
                  <a:pt x="620" y="120"/>
                </a:lnTo>
                <a:lnTo>
                  <a:pt x="620" y="118"/>
                </a:lnTo>
                <a:lnTo>
                  <a:pt x="622" y="118"/>
                </a:lnTo>
                <a:lnTo>
                  <a:pt x="622" y="118"/>
                </a:lnTo>
                <a:lnTo>
                  <a:pt x="622" y="112"/>
                </a:lnTo>
                <a:lnTo>
                  <a:pt x="620" y="112"/>
                </a:lnTo>
                <a:lnTo>
                  <a:pt x="620" y="112"/>
                </a:lnTo>
                <a:lnTo>
                  <a:pt x="620" y="104"/>
                </a:lnTo>
                <a:lnTo>
                  <a:pt x="620" y="104"/>
                </a:lnTo>
                <a:lnTo>
                  <a:pt x="616" y="100"/>
                </a:lnTo>
                <a:lnTo>
                  <a:pt x="616" y="100"/>
                </a:lnTo>
                <a:lnTo>
                  <a:pt x="618" y="96"/>
                </a:lnTo>
                <a:lnTo>
                  <a:pt x="616" y="96"/>
                </a:lnTo>
                <a:lnTo>
                  <a:pt x="616" y="96"/>
                </a:lnTo>
                <a:lnTo>
                  <a:pt x="616" y="90"/>
                </a:lnTo>
                <a:lnTo>
                  <a:pt x="616" y="90"/>
                </a:lnTo>
                <a:lnTo>
                  <a:pt x="620" y="90"/>
                </a:lnTo>
                <a:lnTo>
                  <a:pt x="618" y="82"/>
                </a:lnTo>
                <a:lnTo>
                  <a:pt x="618" y="82"/>
                </a:lnTo>
                <a:lnTo>
                  <a:pt x="632" y="82"/>
                </a:lnTo>
                <a:lnTo>
                  <a:pt x="632" y="82"/>
                </a:lnTo>
                <a:lnTo>
                  <a:pt x="632" y="84"/>
                </a:lnTo>
                <a:lnTo>
                  <a:pt x="634" y="84"/>
                </a:lnTo>
                <a:lnTo>
                  <a:pt x="634" y="84"/>
                </a:lnTo>
                <a:lnTo>
                  <a:pt x="640" y="76"/>
                </a:lnTo>
                <a:lnTo>
                  <a:pt x="640" y="76"/>
                </a:lnTo>
                <a:lnTo>
                  <a:pt x="652" y="78"/>
                </a:lnTo>
                <a:lnTo>
                  <a:pt x="662" y="82"/>
                </a:lnTo>
                <a:lnTo>
                  <a:pt x="662" y="82"/>
                </a:lnTo>
                <a:lnTo>
                  <a:pt x="664" y="86"/>
                </a:lnTo>
                <a:lnTo>
                  <a:pt x="664" y="86"/>
                </a:lnTo>
                <a:lnTo>
                  <a:pt x="666" y="84"/>
                </a:lnTo>
                <a:lnTo>
                  <a:pt x="666" y="82"/>
                </a:lnTo>
                <a:lnTo>
                  <a:pt x="666" y="82"/>
                </a:lnTo>
                <a:lnTo>
                  <a:pt x="678" y="84"/>
                </a:lnTo>
                <a:lnTo>
                  <a:pt x="688" y="86"/>
                </a:lnTo>
                <a:lnTo>
                  <a:pt x="688" y="86"/>
                </a:lnTo>
                <a:lnTo>
                  <a:pt x="688" y="90"/>
                </a:lnTo>
                <a:lnTo>
                  <a:pt x="686" y="96"/>
                </a:lnTo>
                <a:lnTo>
                  <a:pt x="686" y="96"/>
                </a:lnTo>
                <a:lnTo>
                  <a:pt x="684" y="96"/>
                </a:lnTo>
                <a:lnTo>
                  <a:pt x="684" y="96"/>
                </a:lnTo>
                <a:lnTo>
                  <a:pt x="684" y="102"/>
                </a:lnTo>
                <a:lnTo>
                  <a:pt x="684" y="102"/>
                </a:lnTo>
                <a:lnTo>
                  <a:pt x="682" y="102"/>
                </a:lnTo>
                <a:lnTo>
                  <a:pt x="680" y="104"/>
                </a:lnTo>
                <a:lnTo>
                  <a:pt x="680" y="104"/>
                </a:lnTo>
                <a:lnTo>
                  <a:pt x="676" y="108"/>
                </a:lnTo>
                <a:lnTo>
                  <a:pt x="674" y="112"/>
                </a:lnTo>
                <a:lnTo>
                  <a:pt x="674" y="112"/>
                </a:lnTo>
                <a:lnTo>
                  <a:pt x="662" y="114"/>
                </a:lnTo>
                <a:lnTo>
                  <a:pt x="652" y="116"/>
                </a:lnTo>
                <a:lnTo>
                  <a:pt x="652" y="116"/>
                </a:lnTo>
                <a:lnTo>
                  <a:pt x="644" y="116"/>
                </a:lnTo>
                <a:lnTo>
                  <a:pt x="638" y="116"/>
                </a:lnTo>
                <a:lnTo>
                  <a:pt x="638" y="116"/>
                </a:lnTo>
                <a:lnTo>
                  <a:pt x="638" y="116"/>
                </a:lnTo>
                <a:lnTo>
                  <a:pt x="636" y="118"/>
                </a:lnTo>
                <a:lnTo>
                  <a:pt x="636" y="118"/>
                </a:lnTo>
                <a:lnTo>
                  <a:pt x="636" y="118"/>
                </a:lnTo>
                <a:lnTo>
                  <a:pt x="636" y="118"/>
                </a:lnTo>
                <a:lnTo>
                  <a:pt x="634" y="118"/>
                </a:lnTo>
                <a:lnTo>
                  <a:pt x="634" y="118"/>
                </a:lnTo>
                <a:lnTo>
                  <a:pt x="634" y="120"/>
                </a:lnTo>
                <a:lnTo>
                  <a:pt x="634" y="122"/>
                </a:lnTo>
                <a:lnTo>
                  <a:pt x="634" y="122"/>
                </a:lnTo>
                <a:lnTo>
                  <a:pt x="640" y="126"/>
                </a:lnTo>
                <a:lnTo>
                  <a:pt x="640" y="126"/>
                </a:lnTo>
                <a:lnTo>
                  <a:pt x="640" y="128"/>
                </a:lnTo>
                <a:lnTo>
                  <a:pt x="640" y="130"/>
                </a:lnTo>
                <a:lnTo>
                  <a:pt x="640" y="130"/>
                </a:lnTo>
                <a:lnTo>
                  <a:pt x="634" y="132"/>
                </a:lnTo>
                <a:lnTo>
                  <a:pt x="634" y="132"/>
                </a:lnTo>
                <a:lnTo>
                  <a:pt x="632" y="136"/>
                </a:lnTo>
                <a:lnTo>
                  <a:pt x="632" y="136"/>
                </a:lnTo>
                <a:lnTo>
                  <a:pt x="634" y="136"/>
                </a:lnTo>
                <a:lnTo>
                  <a:pt x="634" y="136"/>
                </a:lnTo>
                <a:lnTo>
                  <a:pt x="634" y="138"/>
                </a:lnTo>
                <a:lnTo>
                  <a:pt x="634" y="138"/>
                </a:lnTo>
                <a:lnTo>
                  <a:pt x="634" y="138"/>
                </a:lnTo>
                <a:lnTo>
                  <a:pt x="630" y="138"/>
                </a:lnTo>
                <a:lnTo>
                  <a:pt x="630" y="138"/>
                </a:lnTo>
                <a:lnTo>
                  <a:pt x="630" y="142"/>
                </a:lnTo>
                <a:lnTo>
                  <a:pt x="630" y="142"/>
                </a:lnTo>
                <a:lnTo>
                  <a:pt x="632" y="142"/>
                </a:lnTo>
                <a:lnTo>
                  <a:pt x="634" y="142"/>
                </a:lnTo>
                <a:lnTo>
                  <a:pt x="634" y="142"/>
                </a:lnTo>
                <a:lnTo>
                  <a:pt x="634" y="144"/>
                </a:lnTo>
                <a:lnTo>
                  <a:pt x="634" y="146"/>
                </a:lnTo>
                <a:lnTo>
                  <a:pt x="634" y="146"/>
                </a:lnTo>
                <a:lnTo>
                  <a:pt x="636" y="144"/>
                </a:lnTo>
                <a:lnTo>
                  <a:pt x="644" y="150"/>
                </a:lnTo>
                <a:lnTo>
                  <a:pt x="644" y="152"/>
                </a:lnTo>
                <a:lnTo>
                  <a:pt x="644" y="152"/>
                </a:lnTo>
                <a:lnTo>
                  <a:pt x="648" y="152"/>
                </a:lnTo>
                <a:lnTo>
                  <a:pt x="648" y="152"/>
                </a:lnTo>
                <a:lnTo>
                  <a:pt x="652" y="156"/>
                </a:lnTo>
                <a:lnTo>
                  <a:pt x="652" y="158"/>
                </a:lnTo>
                <a:lnTo>
                  <a:pt x="652" y="158"/>
                </a:lnTo>
                <a:lnTo>
                  <a:pt x="656" y="158"/>
                </a:lnTo>
                <a:lnTo>
                  <a:pt x="658" y="158"/>
                </a:lnTo>
                <a:lnTo>
                  <a:pt x="658" y="158"/>
                </a:lnTo>
                <a:lnTo>
                  <a:pt x="662" y="162"/>
                </a:lnTo>
                <a:lnTo>
                  <a:pt x="664" y="166"/>
                </a:lnTo>
                <a:lnTo>
                  <a:pt x="664" y="166"/>
                </a:lnTo>
                <a:lnTo>
                  <a:pt x="668" y="166"/>
                </a:lnTo>
                <a:lnTo>
                  <a:pt x="670" y="166"/>
                </a:lnTo>
                <a:lnTo>
                  <a:pt x="674" y="172"/>
                </a:lnTo>
                <a:lnTo>
                  <a:pt x="674" y="172"/>
                </a:lnTo>
                <a:lnTo>
                  <a:pt x="678" y="170"/>
                </a:lnTo>
                <a:lnTo>
                  <a:pt x="678" y="178"/>
                </a:lnTo>
                <a:lnTo>
                  <a:pt x="678" y="178"/>
                </a:lnTo>
                <a:lnTo>
                  <a:pt x="670" y="178"/>
                </a:lnTo>
                <a:lnTo>
                  <a:pt x="668" y="176"/>
                </a:lnTo>
                <a:lnTo>
                  <a:pt x="668" y="176"/>
                </a:lnTo>
                <a:lnTo>
                  <a:pt x="666" y="174"/>
                </a:lnTo>
                <a:lnTo>
                  <a:pt x="666" y="174"/>
                </a:lnTo>
                <a:lnTo>
                  <a:pt x="664" y="184"/>
                </a:lnTo>
                <a:lnTo>
                  <a:pt x="664" y="184"/>
                </a:lnTo>
                <a:lnTo>
                  <a:pt x="668" y="182"/>
                </a:lnTo>
                <a:lnTo>
                  <a:pt x="668" y="182"/>
                </a:lnTo>
                <a:lnTo>
                  <a:pt x="668" y="182"/>
                </a:lnTo>
                <a:lnTo>
                  <a:pt x="670" y="180"/>
                </a:lnTo>
                <a:lnTo>
                  <a:pt x="672" y="180"/>
                </a:lnTo>
                <a:lnTo>
                  <a:pt x="672" y="180"/>
                </a:lnTo>
                <a:lnTo>
                  <a:pt x="670" y="186"/>
                </a:lnTo>
                <a:lnTo>
                  <a:pt x="670" y="186"/>
                </a:lnTo>
                <a:lnTo>
                  <a:pt x="666" y="190"/>
                </a:lnTo>
                <a:lnTo>
                  <a:pt x="666" y="190"/>
                </a:lnTo>
                <a:lnTo>
                  <a:pt x="662" y="190"/>
                </a:lnTo>
                <a:lnTo>
                  <a:pt x="662" y="190"/>
                </a:lnTo>
                <a:lnTo>
                  <a:pt x="660" y="194"/>
                </a:lnTo>
                <a:lnTo>
                  <a:pt x="660" y="194"/>
                </a:lnTo>
                <a:lnTo>
                  <a:pt x="660" y="194"/>
                </a:lnTo>
                <a:lnTo>
                  <a:pt x="662" y="198"/>
                </a:lnTo>
                <a:lnTo>
                  <a:pt x="662" y="198"/>
                </a:lnTo>
                <a:lnTo>
                  <a:pt x="666" y="198"/>
                </a:lnTo>
                <a:lnTo>
                  <a:pt x="666" y="198"/>
                </a:lnTo>
                <a:lnTo>
                  <a:pt x="668" y="202"/>
                </a:lnTo>
                <a:lnTo>
                  <a:pt x="668" y="202"/>
                </a:lnTo>
                <a:lnTo>
                  <a:pt x="676" y="204"/>
                </a:lnTo>
                <a:lnTo>
                  <a:pt x="682" y="204"/>
                </a:lnTo>
                <a:lnTo>
                  <a:pt x="682" y="204"/>
                </a:lnTo>
                <a:lnTo>
                  <a:pt x="684" y="210"/>
                </a:lnTo>
                <a:lnTo>
                  <a:pt x="684" y="210"/>
                </a:lnTo>
                <a:lnTo>
                  <a:pt x="686" y="214"/>
                </a:lnTo>
                <a:lnTo>
                  <a:pt x="688" y="218"/>
                </a:lnTo>
                <a:lnTo>
                  <a:pt x="686" y="218"/>
                </a:lnTo>
                <a:lnTo>
                  <a:pt x="686" y="218"/>
                </a:lnTo>
                <a:lnTo>
                  <a:pt x="688" y="222"/>
                </a:lnTo>
                <a:lnTo>
                  <a:pt x="688" y="222"/>
                </a:lnTo>
                <a:lnTo>
                  <a:pt x="692" y="230"/>
                </a:lnTo>
                <a:lnTo>
                  <a:pt x="692" y="230"/>
                </a:lnTo>
                <a:lnTo>
                  <a:pt x="690" y="234"/>
                </a:lnTo>
                <a:lnTo>
                  <a:pt x="690" y="236"/>
                </a:lnTo>
                <a:lnTo>
                  <a:pt x="690" y="236"/>
                </a:lnTo>
                <a:lnTo>
                  <a:pt x="696" y="236"/>
                </a:lnTo>
                <a:lnTo>
                  <a:pt x="696" y="230"/>
                </a:lnTo>
                <a:lnTo>
                  <a:pt x="700" y="228"/>
                </a:lnTo>
                <a:lnTo>
                  <a:pt x="700" y="228"/>
                </a:lnTo>
                <a:lnTo>
                  <a:pt x="700" y="226"/>
                </a:lnTo>
                <a:lnTo>
                  <a:pt x="702" y="226"/>
                </a:lnTo>
                <a:lnTo>
                  <a:pt x="702" y="226"/>
                </a:lnTo>
                <a:lnTo>
                  <a:pt x="704" y="222"/>
                </a:lnTo>
                <a:lnTo>
                  <a:pt x="702" y="220"/>
                </a:lnTo>
                <a:lnTo>
                  <a:pt x="702" y="218"/>
                </a:lnTo>
                <a:lnTo>
                  <a:pt x="702" y="218"/>
                </a:lnTo>
                <a:lnTo>
                  <a:pt x="704" y="208"/>
                </a:lnTo>
                <a:lnTo>
                  <a:pt x="704" y="208"/>
                </a:lnTo>
                <a:lnTo>
                  <a:pt x="710" y="206"/>
                </a:lnTo>
                <a:lnTo>
                  <a:pt x="716" y="204"/>
                </a:lnTo>
                <a:lnTo>
                  <a:pt x="716" y="204"/>
                </a:lnTo>
                <a:lnTo>
                  <a:pt x="722" y="214"/>
                </a:lnTo>
                <a:lnTo>
                  <a:pt x="722" y="214"/>
                </a:lnTo>
                <a:lnTo>
                  <a:pt x="722" y="218"/>
                </a:lnTo>
                <a:lnTo>
                  <a:pt x="720" y="220"/>
                </a:lnTo>
                <a:lnTo>
                  <a:pt x="720" y="220"/>
                </a:lnTo>
                <a:lnTo>
                  <a:pt x="718" y="224"/>
                </a:lnTo>
                <a:lnTo>
                  <a:pt x="718" y="224"/>
                </a:lnTo>
                <a:lnTo>
                  <a:pt x="718" y="230"/>
                </a:lnTo>
                <a:lnTo>
                  <a:pt x="718" y="234"/>
                </a:lnTo>
                <a:lnTo>
                  <a:pt x="716" y="234"/>
                </a:lnTo>
                <a:lnTo>
                  <a:pt x="716" y="234"/>
                </a:lnTo>
                <a:lnTo>
                  <a:pt x="714" y="236"/>
                </a:lnTo>
                <a:lnTo>
                  <a:pt x="712" y="238"/>
                </a:lnTo>
                <a:lnTo>
                  <a:pt x="712" y="238"/>
                </a:lnTo>
                <a:lnTo>
                  <a:pt x="714" y="244"/>
                </a:lnTo>
                <a:lnTo>
                  <a:pt x="718" y="250"/>
                </a:lnTo>
                <a:lnTo>
                  <a:pt x="718" y="250"/>
                </a:lnTo>
                <a:lnTo>
                  <a:pt x="722" y="252"/>
                </a:lnTo>
                <a:lnTo>
                  <a:pt x="722" y="252"/>
                </a:lnTo>
                <a:lnTo>
                  <a:pt x="728" y="262"/>
                </a:lnTo>
                <a:lnTo>
                  <a:pt x="728" y="262"/>
                </a:lnTo>
                <a:lnTo>
                  <a:pt x="732" y="262"/>
                </a:lnTo>
                <a:lnTo>
                  <a:pt x="732" y="262"/>
                </a:lnTo>
                <a:lnTo>
                  <a:pt x="734" y="264"/>
                </a:lnTo>
                <a:lnTo>
                  <a:pt x="736" y="264"/>
                </a:lnTo>
                <a:lnTo>
                  <a:pt x="736" y="264"/>
                </a:lnTo>
                <a:lnTo>
                  <a:pt x="736" y="264"/>
                </a:lnTo>
                <a:lnTo>
                  <a:pt x="736" y="260"/>
                </a:lnTo>
                <a:lnTo>
                  <a:pt x="736" y="260"/>
                </a:lnTo>
                <a:lnTo>
                  <a:pt x="746" y="256"/>
                </a:lnTo>
                <a:lnTo>
                  <a:pt x="746" y="256"/>
                </a:lnTo>
                <a:lnTo>
                  <a:pt x="744" y="254"/>
                </a:lnTo>
                <a:lnTo>
                  <a:pt x="744" y="254"/>
                </a:lnTo>
                <a:lnTo>
                  <a:pt x="744" y="250"/>
                </a:lnTo>
                <a:lnTo>
                  <a:pt x="746" y="248"/>
                </a:lnTo>
                <a:lnTo>
                  <a:pt x="750" y="242"/>
                </a:lnTo>
                <a:lnTo>
                  <a:pt x="750" y="242"/>
                </a:lnTo>
                <a:lnTo>
                  <a:pt x="750" y="238"/>
                </a:lnTo>
                <a:lnTo>
                  <a:pt x="750" y="238"/>
                </a:lnTo>
                <a:lnTo>
                  <a:pt x="754" y="238"/>
                </a:lnTo>
                <a:lnTo>
                  <a:pt x="754" y="238"/>
                </a:lnTo>
                <a:lnTo>
                  <a:pt x="754" y="236"/>
                </a:lnTo>
                <a:lnTo>
                  <a:pt x="752" y="234"/>
                </a:lnTo>
                <a:lnTo>
                  <a:pt x="752" y="234"/>
                </a:lnTo>
                <a:lnTo>
                  <a:pt x="754" y="232"/>
                </a:lnTo>
                <a:lnTo>
                  <a:pt x="754" y="232"/>
                </a:lnTo>
                <a:lnTo>
                  <a:pt x="756" y="222"/>
                </a:lnTo>
                <a:lnTo>
                  <a:pt x="756" y="222"/>
                </a:lnTo>
                <a:lnTo>
                  <a:pt x="764" y="222"/>
                </a:lnTo>
                <a:lnTo>
                  <a:pt x="764" y="222"/>
                </a:lnTo>
                <a:lnTo>
                  <a:pt x="764" y="220"/>
                </a:lnTo>
                <a:lnTo>
                  <a:pt x="764" y="220"/>
                </a:lnTo>
                <a:lnTo>
                  <a:pt x="764" y="220"/>
                </a:lnTo>
                <a:lnTo>
                  <a:pt x="764" y="218"/>
                </a:lnTo>
                <a:lnTo>
                  <a:pt x="764" y="218"/>
                </a:lnTo>
                <a:lnTo>
                  <a:pt x="766" y="218"/>
                </a:lnTo>
                <a:lnTo>
                  <a:pt x="766" y="218"/>
                </a:lnTo>
                <a:lnTo>
                  <a:pt x="764" y="216"/>
                </a:lnTo>
                <a:lnTo>
                  <a:pt x="764" y="216"/>
                </a:lnTo>
                <a:lnTo>
                  <a:pt x="764" y="214"/>
                </a:lnTo>
                <a:lnTo>
                  <a:pt x="766" y="212"/>
                </a:lnTo>
                <a:lnTo>
                  <a:pt x="766" y="212"/>
                </a:lnTo>
                <a:lnTo>
                  <a:pt x="764" y="208"/>
                </a:lnTo>
                <a:lnTo>
                  <a:pt x="760" y="208"/>
                </a:lnTo>
                <a:lnTo>
                  <a:pt x="760" y="208"/>
                </a:lnTo>
                <a:lnTo>
                  <a:pt x="760" y="200"/>
                </a:lnTo>
                <a:lnTo>
                  <a:pt x="760" y="192"/>
                </a:lnTo>
                <a:lnTo>
                  <a:pt x="760" y="192"/>
                </a:lnTo>
                <a:lnTo>
                  <a:pt x="756" y="190"/>
                </a:lnTo>
                <a:lnTo>
                  <a:pt x="756" y="190"/>
                </a:lnTo>
                <a:lnTo>
                  <a:pt x="766" y="190"/>
                </a:lnTo>
                <a:lnTo>
                  <a:pt x="776" y="192"/>
                </a:lnTo>
                <a:lnTo>
                  <a:pt x="776" y="192"/>
                </a:lnTo>
                <a:lnTo>
                  <a:pt x="780" y="196"/>
                </a:lnTo>
                <a:lnTo>
                  <a:pt x="780" y="196"/>
                </a:lnTo>
                <a:lnTo>
                  <a:pt x="780" y="194"/>
                </a:lnTo>
                <a:lnTo>
                  <a:pt x="782" y="192"/>
                </a:lnTo>
                <a:lnTo>
                  <a:pt x="782" y="192"/>
                </a:lnTo>
                <a:lnTo>
                  <a:pt x="792" y="192"/>
                </a:lnTo>
                <a:lnTo>
                  <a:pt x="792" y="192"/>
                </a:lnTo>
                <a:lnTo>
                  <a:pt x="792" y="194"/>
                </a:lnTo>
                <a:lnTo>
                  <a:pt x="790" y="196"/>
                </a:lnTo>
                <a:lnTo>
                  <a:pt x="790" y="196"/>
                </a:lnTo>
                <a:lnTo>
                  <a:pt x="796" y="200"/>
                </a:lnTo>
                <a:lnTo>
                  <a:pt x="796" y="200"/>
                </a:lnTo>
                <a:lnTo>
                  <a:pt x="794" y="200"/>
                </a:lnTo>
                <a:lnTo>
                  <a:pt x="794" y="202"/>
                </a:lnTo>
                <a:lnTo>
                  <a:pt x="796" y="208"/>
                </a:lnTo>
                <a:lnTo>
                  <a:pt x="796" y="208"/>
                </a:lnTo>
                <a:lnTo>
                  <a:pt x="802" y="206"/>
                </a:lnTo>
                <a:lnTo>
                  <a:pt x="808" y="206"/>
                </a:lnTo>
                <a:lnTo>
                  <a:pt x="808" y="206"/>
                </a:lnTo>
                <a:lnTo>
                  <a:pt x="810" y="206"/>
                </a:lnTo>
                <a:lnTo>
                  <a:pt x="810" y="208"/>
                </a:lnTo>
                <a:lnTo>
                  <a:pt x="808" y="212"/>
                </a:lnTo>
                <a:lnTo>
                  <a:pt x="802" y="220"/>
                </a:lnTo>
                <a:lnTo>
                  <a:pt x="802" y="220"/>
                </a:lnTo>
                <a:lnTo>
                  <a:pt x="802" y="222"/>
                </a:lnTo>
                <a:lnTo>
                  <a:pt x="802" y="222"/>
                </a:lnTo>
                <a:lnTo>
                  <a:pt x="802" y="222"/>
                </a:lnTo>
                <a:lnTo>
                  <a:pt x="808" y="222"/>
                </a:lnTo>
                <a:lnTo>
                  <a:pt x="806" y="228"/>
                </a:lnTo>
                <a:lnTo>
                  <a:pt x="806" y="228"/>
                </a:lnTo>
                <a:lnTo>
                  <a:pt x="804" y="228"/>
                </a:lnTo>
                <a:lnTo>
                  <a:pt x="800" y="230"/>
                </a:lnTo>
                <a:lnTo>
                  <a:pt x="800" y="230"/>
                </a:lnTo>
                <a:lnTo>
                  <a:pt x="800" y="232"/>
                </a:lnTo>
                <a:lnTo>
                  <a:pt x="800" y="234"/>
                </a:lnTo>
                <a:lnTo>
                  <a:pt x="800" y="236"/>
                </a:lnTo>
                <a:lnTo>
                  <a:pt x="800" y="238"/>
                </a:lnTo>
                <a:lnTo>
                  <a:pt x="800" y="238"/>
                </a:lnTo>
                <a:lnTo>
                  <a:pt x="806" y="248"/>
                </a:lnTo>
                <a:lnTo>
                  <a:pt x="806" y="248"/>
                </a:lnTo>
                <a:lnTo>
                  <a:pt x="808" y="250"/>
                </a:lnTo>
                <a:lnTo>
                  <a:pt x="810" y="250"/>
                </a:lnTo>
                <a:lnTo>
                  <a:pt x="812" y="250"/>
                </a:lnTo>
                <a:lnTo>
                  <a:pt x="814" y="252"/>
                </a:lnTo>
                <a:lnTo>
                  <a:pt x="816" y="254"/>
                </a:lnTo>
                <a:lnTo>
                  <a:pt x="816" y="254"/>
                </a:lnTo>
                <a:lnTo>
                  <a:pt x="816" y="258"/>
                </a:lnTo>
                <a:lnTo>
                  <a:pt x="814" y="264"/>
                </a:lnTo>
                <a:lnTo>
                  <a:pt x="810" y="268"/>
                </a:lnTo>
                <a:lnTo>
                  <a:pt x="810" y="268"/>
                </a:lnTo>
                <a:lnTo>
                  <a:pt x="806" y="268"/>
                </a:lnTo>
                <a:lnTo>
                  <a:pt x="802" y="268"/>
                </a:lnTo>
                <a:lnTo>
                  <a:pt x="802" y="268"/>
                </a:lnTo>
                <a:lnTo>
                  <a:pt x="794" y="274"/>
                </a:lnTo>
                <a:lnTo>
                  <a:pt x="794" y="274"/>
                </a:lnTo>
                <a:lnTo>
                  <a:pt x="790" y="274"/>
                </a:lnTo>
                <a:lnTo>
                  <a:pt x="788" y="276"/>
                </a:lnTo>
                <a:lnTo>
                  <a:pt x="788" y="276"/>
                </a:lnTo>
                <a:lnTo>
                  <a:pt x="788" y="276"/>
                </a:lnTo>
                <a:lnTo>
                  <a:pt x="784" y="282"/>
                </a:lnTo>
                <a:lnTo>
                  <a:pt x="780" y="286"/>
                </a:lnTo>
                <a:lnTo>
                  <a:pt x="778" y="286"/>
                </a:lnTo>
                <a:lnTo>
                  <a:pt x="778" y="286"/>
                </a:lnTo>
                <a:lnTo>
                  <a:pt x="776" y="282"/>
                </a:lnTo>
                <a:lnTo>
                  <a:pt x="776" y="282"/>
                </a:lnTo>
                <a:lnTo>
                  <a:pt x="774" y="282"/>
                </a:lnTo>
                <a:lnTo>
                  <a:pt x="770" y="280"/>
                </a:lnTo>
                <a:lnTo>
                  <a:pt x="770" y="280"/>
                </a:lnTo>
                <a:lnTo>
                  <a:pt x="770" y="278"/>
                </a:lnTo>
                <a:lnTo>
                  <a:pt x="768" y="274"/>
                </a:lnTo>
                <a:lnTo>
                  <a:pt x="768" y="274"/>
                </a:lnTo>
                <a:lnTo>
                  <a:pt x="768" y="274"/>
                </a:lnTo>
                <a:lnTo>
                  <a:pt x="766" y="276"/>
                </a:lnTo>
                <a:lnTo>
                  <a:pt x="766" y="276"/>
                </a:lnTo>
                <a:lnTo>
                  <a:pt x="764" y="272"/>
                </a:lnTo>
                <a:lnTo>
                  <a:pt x="764" y="272"/>
                </a:lnTo>
                <a:lnTo>
                  <a:pt x="762" y="272"/>
                </a:lnTo>
                <a:lnTo>
                  <a:pt x="762" y="272"/>
                </a:lnTo>
                <a:lnTo>
                  <a:pt x="762" y="274"/>
                </a:lnTo>
                <a:lnTo>
                  <a:pt x="762" y="274"/>
                </a:lnTo>
                <a:lnTo>
                  <a:pt x="758" y="276"/>
                </a:lnTo>
                <a:lnTo>
                  <a:pt x="758" y="276"/>
                </a:lnTo>
                <a:lnTo>
                  <a:pt x="760" y="276"/>
                </a:lnTo>
                <a:lnTo>
                  <a:pt x="762" y="276"/>
                </a:lnTo>
                <a:lnTo>
                  <a:pt x="762" y="276"/>
                </a:lnTo>
                <a:lnTo>
                  <a:pt x="764" y="278"/>
                </a:lnTo>
                <a:lnTo>
                  <a:pt x="764" y="280"/>
                </a:lnTo>
                <a:lnTo>
                  <a:pt x="764" y="280"/>
                </a:lnTo>
                <a:lnTo>
                  <a:pt x="766" y="282"/>
                </a:lnTo>
                <a:lnTo>
                  <a:pt x="766" y="282"/>
                </a:lnTo>
                <a:lnTo>
                  <a:pt x="768" y="282"/>
                </a:lnTo>
                <a:lnTo>
                  <a:pt x="770" y="284"/>
                </a:lnTo>
                <a:lnTo>
                  <a:pt x="770" y="286"/>
                </a:lnTo>
                <a:lnTo>
                  <a:pt x="770" y="286"/>
                </a:lnTo>
                <a:lnTo>
                  <a:pt x="772" y="286"/>
                </a:lnTo>
                <a:lnTo>
                  <a:pt x="772" y="286"/>
                </a:lnTo>
                <a:lnTo>
                  <a:pt x="774" y="288"/>
                </a:lnTo>
                <a:lnTo>
                  <a:pt x="774" y="288"/>
                </a:lnTo>
                <a:lnTo>
                  <a:pt x="766" y="290"/>
                </a:lnTo>
                <a:lnTo>
                  <a:pt x="766" y="292"/>
                </a:lnTo>
                <a:lnTo>
                  <a:pt x="766" y="292"/>
                </a:lnTo>
                <a:lnTo>
                  <a:pt x="760" y="290"/>
                </a:lnTo>
                <a:lnTo>
                  <a:pt x="760" y="290"/>
                </a:lnTo>
                <a:lnTo>
                  <a:pt x="750" y="282"/>
                </a:lnTo>
                <a:lnTo>
                  <a:pt x="750" y="282"/>
                </a:lnTo>
                <a:lnTo>
                  <a:pt x="738" y="284"/>
                </a:lnTo>
                <a:lnTo>
                  <a:pt x="738" y="284"/>
                </a:lnTo>
                <a:lnTo>
                  <a:pt x="744" y="290"/>
                </a:lnTo>
                <a:lnTo>
                  <a:pt x="744" y="290"/>
                </a:lnTo>
                <a:lnTo>
                  <a:pt x="744" y="294"/>
                </a:lnTo>
                <a:lnTo>
                  <a:pt x="742" y="296"/>
                </a:lnTo>
                <a:lnTo>
                  <a:pt x="738" y="302"/>
                </a:lnTo>
                <a:lnTo>
                  <a:pt x="738" y="302"/>
                </a:lnTo>
                <a:lnTo>
                  <a:pt x="738" y="304"/>
                </a:lnTo>
                <a:lnTo>
                  <a:pt x="738" y="306"/>
                </a:lnTo>
                <a:lnTo>
                  <a:pt x="738" y="306"/>
                </a:lnTo>
                <a:lnTo>
                  <a:pt x="734" y="308"/>
                </a:lnTo>
                <a:lnTo>
                  <a:pt x="734" y="308"/>
                </a:lnTo>
                <a:lnTo>
                  <a:pt x="724" y="298"/>
                </a:lnTo>
                <a:lnTo>
                  <a:pt x="724" y="298"/>
                </a:lnTo>
                <a:lnTo>
                  <a:pt x="722" y="298"/>
                </a:lnTo>
                <a:lnTo>
                  <a:pt x="720" y="300"/>
                </a:lnTo>
                <a:lnTo>
                  <a:pt x="720" y="300"/>
                </a:lnTo>
                <a:lnTo>
                  <a:pt x="714" y="296"/>
                </a:lnTo>
                <a:lnTo>
                  <a:pt x="714" y="296"/>
                </a:lnTo>
                <a:lnTo>
                  <a:pt x="712" y="296"/>
                </a:lnTo>
                <a:lnTo>
                  <a:pt x="710" y="298"/>
                </a:lnTo>
                <a:lnTo>
                  <a:pt x="710" y="298"/>
                </a:lnTo>
                <a:lnTo>
                  <a:pt x="706" y="298"/>
                </a:lnTo>
                <a:lnTo>
                  <a:pt x="704" y="296"/>
                </a:lnTo>
                <a:lnTo>
                  <a:pt x="700" y="294"/>
                </a:lnTo>
                <a:lnTo>
                  <a:pt x="700" y="294"/>
                </a:lnTo>
                <a:lnTo>
                  <a:pt x="698" y="300"/>
                </a:lnTo>
                <a:lnTo>
                  <a:pt x="698" y="300"/>
                </a:lnTo>
                <a:lnTo>
                  <a:pt x="700" y="300"/>
                </a:lnTo>
                <a:lnTo>
                  <a:pt x="700" y="302"/>
                </a:lnTo>
                <a:lnTo>
                  <a:pt x="700" y="302"/>
                </a:lnTo>
                <a:lnTo>
                  <a:pt x="694" y="304"/>
                </a:lnTo>
                <a:lnTo>
                  <a:pt x="694" y="304"/>
                </a:lnTo>
                <a:lnTo>
                  <a:pt x="688" y="304"/>
                </a:lnTo>
                <a:lnTo>
                  <a:pt x="688" y="304"/>
                </a:lnTo>
                <a:lnTo>
                  <a:pt x="686" y="306"/>
                </a:lnTo>
                <a:lnTo>
                  <a:pt x="686" y="306"/>
                </a:lnTo>
                <a:lnTo>
                  <a:pt x="700" y="306"/>
                </a:lnTo>
                <a:lnTo>
                  <a:pt x="716" y="306"/>
                </a:lnTo>
                <a:lnTo>
                  <a:pt x="716" y="306"/>
                </a:lnTo>
                <a:lnTo>
                  <a:pt x="724" y="308"/>
                </a:lnTo>
                <a:lnTo>
                  <a:pt x="732" y="310"/>
                </a:lnTo>
                <a:lnTo>
                  <a:pt x="732" y="310"/>
                </a:lnTo>
                <a:lnTo>
                  <a:pt x="730" y="312"/>
                </a:lnTo>
                <a:lnTo>
                  <a:pt x="728" y="316"/>
                </a:lnTo>
                <a:lnTo>
                  <a:pt x="728" y="324"/>
                </a:lnTo>
                <a:lnTo>
                  <a:pt x="728" y="324"/>
                </a:lnTo>
                <a:lnTo>
                  <a:pt x="722" y="328"/>
                </a:lnTo>
                <a:lnTo>
                  <a:pt x="722" y="328"/>
                </a:lnTo>
                <a:lnTo>
                  <a:pt x="718" y="330"/>
                </a:lnTo>
                <a:lnTo>
                  <a:pt x="716" y="330"/>
                </a:lnTo>
                <a:lnTo>
                  <a:pt x="714" y="334"/>
                </a:lnTo>
                <a:lnTo>
                  <a:pt x="714" y="334"/>
                </a:lnTo>
                <a:lnTo>
                  <a:pt x="714" y="332"/>
                </a:lnTo>
                <a:lnTo>
                  <a:pt x="712" y="332"/>
                </a:lnTo>
                <a:lnTo>
                  <a:pt x="712" y="330"/>
                </a:lnTo>
                <a:lnTo>
                  <a:pt x="712" y="330"/>
                </a:lnTo>
                <a:lnTo>
                  <a:pt x="700" y="326"/>
                </a:lnTo>
                <a:lnTo>
                  <a:pt x="700" y="326"/>
                </a:lnTo>
                <a:lnTo>
                  <a:pt x="698" y="328"/>
                </a:lnTo>
                <a:lnTo>
                  <a:pt x="698" y="330"/>
                </a:lnTo>
                <a:lnTo>
                  <a:pt x="698" y="330"/>
                </a:lnTo>
                <a:lnTo>
                  <a:pt x="692" y="330"/>
                </a:lnTo>
                <a:lnTo>
                  <a:pt x="692" y="330"/>
                </a:lnTo>
                <a:lnTo>
                  <a:pt x="690" y="336"/>
                </a:lnTo>
                <a:lnTo>
                  <a:pt x="690" y="338"/>
                </a:lnTo>
                <a:lnTo>
                  <a:pt x="692" y="340"/>
                </a:lnTo>
                <a:lnTo>
                  <a:pt x="692" y="340"/>
                </a:lnTo>
                <a:lnTo>
                  <a:pt x="692" y="342"/>
                </a:lnTo>
                <a:lnTo>
                  <a:pt x="692" y="344"/>
                </a:lnTo>
                <a:lnTo>
                  <a:pt x="690" y="344"/>
                </a:lnTo>
                <a:lnTo>
                  <a:pt x="688" y="346"/>
                </a:lnTo>
                <a:lnTo>
                  <a:pt x="688" y="346"/>
                </a:lnTo>
                <a:lnTo>
                  <a:pt x="682" y="346"/>
                </a:lnTo>
                <a:lnTo>
                  <a:pt x="682" y="346"/>
                </a:lnTo>
                <a:lnTo>
                  <a:pt x="682" y="352"/>
                </a:lnTo>
                <a:lnTo>
                  <a:pt x="682" y="352"/>
                </a:lnTo>
                <a:lnTo>
                  <a:pt x="686" y="352"/>
                </a:lnTo>
                <a:lnTo>
                  <a:pt x="686" y="352"/>
                </a:lnTo>
                <a:lnTo>
                  <a:pt x="686" y="358"/>
                </a:lnTo>
                <a:lnTo>
                  <a:pt x="686" y="358"/>
                </a:lnTo>
                <a:lnTo>
                  <a:pt x="686" y="360"/>
                </a:lnTo>
                <a:lnTo>
                  <a:pt x="686" y="360"/>
                </a:lnTo>
                <a:lnTo>
                  <a:pt x="684" y="362"/>
                </a:lnTo>
                <a:lnTo>
                  <a:pt x="684" y="362"/>
                </a:lnTo>
                <a:lnTo>
                  <a:pt x="676" y="364"/>
                </a:lnTo>
                <a:lnTo>
                  <a:pt x="666" y="362"/>
                </a:lnTo>
                <a:lnTo>
                  <a:pt x="666" y="366"/>
                </a:lnTo>
                <a:lnTo>
                  <a:pt x="666" y="366"/>
                </a:lnTo>
                <a:lnTo>
                  <a:pt x="670" y="366"/>
                </a:lnTo>
                <a:lnTo>
                  <a:pt x="670" y="366"/>
                </a:lnTo>
                <a:lnTo>
                  <a:pt x="668" y="370"/>
                </a:lnTo>
                <a:lnTo>
                  <a:pt x="668" y="370"/>
                </a:lnTo>
                <a:lnTo>
                  <a:pt x="662" y="370"/>
                </a:lnTo>
                <a:lnTo>
                  <a:pt x="662" y="370"/>
                </a:lnTo>
                <a:lnTo>
                  <a:pt x="664" y="372"/>
                </a:lnTo>
                <a:lnTo>
                  <a:pt x="664" y="372"/>
                </a:lnTo>
                <a:lnTo>
                  <a:pt x="666" y="372"/>
                </a:lnTo>
                <a:lnTo>
                  <a:pt x="666" y="374"/>
                </a:lnTo>
                <a:lnTo>
                  <a:pt x="666" y="374"/>
                </a:lnTo>
                <a:lnTo>
                  <a:pt x="660" y="374"/>
                </a:lnTo>
                <a:lnTo>
                  <a:pt x="660" y="374"/>
                </a:lnTo>
                <a:lnTo>
                  <a:pt x="662" y="372"/>
                </a:lnTo>
                <a:lnTo>
                  <a:pt x="660" y="372"/>
                </a:lnTo>
                <a:lnTo>
                  <a:pt x="658" y="372"/>
                </a:lnTo>
                <a:lnTo>
                  <a:pt x="658" y="372"/>
                </a:lnTo>
                <a:lnTo>
                  <a:pt x="658" y="376"/>
                </a:lnTo>
                <a:lnTo>
                  <a:pt x="658" y="376"/>
                </a:lnTo>
                <a:lnTo>
                  <a:pt x="654" y="376"/>
                </a:lnTo>
                <a:lnTo>
                  <a:pt x="654" y="376"/>
                </a:lnTo>
                <a:lnTo>
                  <a:pt x="654" y="386"/>
                </a:lnTo>
                <a:lnTo>
                  <a:pt x="654" y="386"/>
                </a:lnTo>
                <a:lnTo>
                  <a:pt x="646" y="386"/>
                </a:lnTo>
                <a:lnTo>
                  <a:pt x="646" y="386"/>
                </a:lnTo>
                <a:lnTo>
                  <a:pt x="646" y="390"/>
                </a:lnTo>
                <a:lnTo>
                  <a:pt x="646" y="390"/>
                </a:lnTo>
                <a:lnTo>
                  <a:pt x="642" y="394"/>
                </a:lnTo>
                <a:lnTo>
                  <a:pt x="636" y="398"/>
                </a:lnTo>
                <a:lnTo>
                  <a:pt x="636" y="398"/>
                </a:lnTo>
                <a:lnTo>
                  <a:pt x="638" y="402"/>
                </a:lnTo>
                <a:lnTo>
                  <a:pt x="640" y="406"/>
                </a:lnTo>
                <a:lnTo>
                  <a:pt x="640" y="406"/>
                </a:lnTo>
                <a:lnTo>
                  <a:pt x="630" y="406"/>
                </a:lnTo>
                <a:lnTo>
                  <a:pt x="630" y="406"/>
                </a:lnTo>
                <a:lnTo>
                  <a:pt x="628" y="408"/>
                </a:lnTo>
                <a:lnTo>
                  <a:pt x="628" y="408"/>
                </a:lnTo>
                <a:lnTo>
                  <a:pt x="632" y="410"/>
                </a:lnTo>
                <a:lnTo>
                  <a:pt x="632" y="410"/>
                </a:lnTo>
                <a:lnTo>
                  <a:pt x="632" y="414"/>
                </a:lnTo>
                <a:lnTo>
                  <a:pt x="632" y="414"/>
                </a:lnTo>
                <a:lnTo>
                  <a:pt x="626" y="420"/>
                </a:lnTo>
                <a:lnTo>
                  <a:pt x="626" y="420"/>
                </a:lnTo>
                <a:lnTo>
                  <a:pt x="626" y="424"/>
                </a:lnTo>
                <a:lnTo>
                  <a:pt x="626" y="428"/>
                </a:lnTo>
                <a:lnTo>
                  <a:pt x="626" y="428"/>
                </a:lnTo>
                <a:lnTo>
                  <a:pt x="622" y="430"/>
                </a:lnTo>
                <a:lnTo>
                  <a:pt x="622" y="430"/>
                </a:lnTo>
                <a:lnTo>
                  <a:pt x="626" y="436"/>
                </a:lnTo>
                <a:lnTo>
                  <a:pt x="626" y="436"/>
                </a:lnTo>
                <a:lnTo>
                  <a:pt x="628" y="440"/>
                </a:lnTo>
                <a:lnTo>
                  <a:pt x="628" y="446"/>
                </a:lnTo>
                <a:lnTo>
                  <a:pt x="628" y="446"/>
                </a:lnTo>
                <a:lnTo>
                  <a:pt x="630" y="448"/>
                </a:lnTo>
                <a:lnTo>
                  <a:pt x="636" y="448"/>
                </a:lnTo>
                <a:lnTo>
                  <a:pt x="648" y="448"/>
                </a:lnTo>
                <a:lnTo>
                  <a:pt x="648" y="448"/>
                </a:lnTo>
                <a:lnTo>
                  <a:pt x="654" y="456"/>
                </a:lnTo>
                <a:lnTo>
                  <a:pt x="654" y="456"/>
                </a:lnTo>
                <a:lnTo>
                  <a:pt x="654" y="460"/>
                </a:lnTo>
                <a:lnTo>
                  <a:pt x="654" y="460"/>
                </a:lnTo>
                <a:lnTo>
                  <a:pt x="656" y="462"/>
                </a:lnTo>
                <a:lnTo>
                  <a:pt x="656" y="462"/>
                </a:lnTo>
                <a:lnTo>
                  <a:pt x="656" y="468"/>
                </a:lnTo>
                <a:lnTo>
                  <a:pt x="656" y="468"/>
                </a:lnTo>
                <a:lnTo>
                  <a:pt x="660" y="474"/>
                </a:lnTo>
                <a:lnTo>
                  <a:pt x="660" y="474"/>
                </a:lnTo>
                <a:lnTo>
                  <a:pt x="662" y="480"/>
                </a:lnTo>
                <a:lnTo>
                  <a:pt x="662" y="486"/>
                </a:lnTo>
                <a:lnTo>
                  <a:pt x="662" y="486"/>
                </a:lnTo>
                <a:lnTo>
                  <a:pt x="672" y="482"/>
                </a:lnTo>
                <a:lnTo>
                  <a:pt x="678" y="480"/>
                </a:lnTo>
                <a:lnTo>
                  <a:pt x="682" y="480"/>
                </a:lnTo>
                <a:lnTo>
                  <a:pt x="682" y="480"/>
                </a:lnTo>
                <a:lnTo>
                  <a:pt x="690" y="486"/>
                </a:lnTo>
                <a:lnTo>
                  <a:pt x="690" y="486"/>
                </a:lnTo>
                <a:lnTo>
                  <a:pt x="694" y="486"/>
                </a:lnTo>
                <a:lnTo>
                  <a:pt x="694" y="486"/>
                </a:lnTo>
                <a:lnTo>
                  <a:pt x="698" y="490"/>
                </a:lnTo>
                <a:lnTo>
                  <a:pt x="702" y="492"/>
                </a:lnTo>
                <a:lnTo>
                  <a:pt x="702" y="492"/>
                </a:lnTo>
                <a:lnTo>
                  <a:pt x="708" y="492"/>
                </a:lnTo>
                <a:lnTo>
                  <a:pt x="708" y="492"/>
                </a:lnTo>
                <a:lnTo>
                  <a:pt x="710" y="494"/>
                </a:lnTo>
                <a:lnTo>
                  <a:pt x="712" y="496"/>
                </a:lnTo>
                <a:lnTo>
                  <a:pt x="712" y="496"/>
                </a:lnTo>
                <a:lnTo>
                  <a:pt x="716" y="498"/>
                </a:lnTo>
                <a:lnTo>
                  <a:pt x="720" y="498"/>
                </a:lnTo>
                <a:lnTo>
                  <a:pt x="720" y="498"/>
                </a:lnTo>
                <a:lnTo>
                  <a:pt x="720" y="500"/>
                </a:lnTo>
                <a:lnTo>
                  <a:pt x="720" y="500"/>
                </a:lnTo>
                <a:lnTo>
                  <a:pt x="722" y="504"/>
                </a:lnTo>
                <a:lnTo>
                  <a:pt x="724" y="506"/>
                </a:lnTo>
                <a:lnTo>
                  <a:pt x="724" y="506"/>
                </a:lnTo>
                <a:lnTo>
                  <a:pt x="724" y="512"/>
                </a:lnTo>
                <a:lnTo>
                  <a:pt x="724" y="512"/>
                </a:lnTo>
                <a:lnTo>
                  <a:pt x="728" y="512"/>
                </a:lnTo>
                <a:lnTo>
                  <a:pt x="732" y="512"/>
                </a:lnTo>
                <a:lnTo>
                  <a:pt x="732" y="512"/>
                </a:lnTo>
                <a:lnTo>
                  <a:pt x="734" y="516"/>
                </a:lnTo>
                <a:lnTo>
                  <a:pt x="738" y="518"/>
                </a:lnTo>
                <a:lnTo>
                  <a:pt x="738" y="518"/>
                </a:lnTo>
                <a:lnTo>
                  <a:pt x="742" y="518"/>
                </a:lnTo>
                <a:lnTo>
                  <a:pt x="748" y="518"/>
                </a:lnTo>
                <a:lnTo>
                  <a:pt x="748" y="518"/>
                </a:lnTo>
                <a:lnTo>
                  <a:pt x="750" y="522"/>
                </a:lnTo>
                <a:lnTo>
                  <a:pt x="750" y="522"/>
                </a:lnTo>
                <a:lnTo>
                  <a:pt x="752" y="524"/>
                </a:lnTo>
                <a:lnTo>
                  <a:pt x="756" y="524"/>
                </a:lnTo>
                <a:lnTo>
                  <a:pt x="756" y="526"/>
                </a:lnTo>
                <a:lnTo>
                  <a:pt x="756" y="526"/>
                </a:lnTo>
                <a:lnTo>
                  <a:pt x="762" y="528"/>
                </a:lnTo>
                <a:lnTo>
                  <a:pt x="762" y="528"/>
                </a:lnTo>
                <a:lnTo>
                  <a:pt x="766" y="530"/>
                </a:lnTo>
                <a:lnTo>
                  <a:pt x="770" y="528"/>
                </a:lnTo>
                <a:lnTo>
                  <a:pt x="778" y="528"/>
                </a:lnTo>
                <a:lnTo>
                  <a:pt x="778" y="528"/>
                </a:lnTo>
                <a:lnTo>
                  <a:pt x="782" y="530"/>
                </a:lnTo>
                <a:lnTo>
                  <a:pt x="782" y="530"/>
                </a:lnTo>
                <a:lnTo>
                  <a:pt x="784" y="530"/>
                </a:lnTo>
                <a:lnTo>
                  <a:pt x="788" y="530"/>
                </a:lnTo>
                <a:lnTo>
                  <a:pt x="788" y="530"/>
                </a:lnTo>
                <a:lnTo>
                  <a:pt x="798" y="534"/>
                </a:lnTo>
                <a:lnTo>
                  <a:pt x="798" y="534"/>
                </a:lnTo>
                <a:lnTo>
                  <a:pt x="798" y="544"/>
                </a:lnTo>
                <a:lnTo>
                  <a:pt x="798" y="544"/>
                </a:lnTo>
                <a:lnTo>
                  <a:pt x="796" y="548"/>
                </a:lnTo>
                <a:lnTo>
                  <a:pt x="794" y="552"/>
                </a:lnTo>
                <a:lnTo>
                  <a:pt x="794" y="552"/>
                </a:lnTo>
                <a:lnTo>
                  <a:pt x="798" y="556"/>
                </a:lnTo>
                <a:lnTo>
                  <a:pt x="798" y="556"/>
                </a:lnTo>
                <a:lnTo>
                  <a:pt x="798" y="568"/>
                </a:lnTo>
                <a:lnTo>
                  <a:pt x="796" y="580"/>
                </a:lnTo>
                <a:lnTo>
                  <a:pt x="796" y="580"/>
                </a:lnTo>
                <a:lnTo>
                  <a:pt x="800" y="580"/>
                </a:lnTo>
                <a:lnTo>
                  <a:pt x="800" y="580"/>
                </a:lnTo>
                <a:lnTo>
                  <a:pt x="804" y="584"/>
                </a:lnTo>
                <a:lnTo>
                  <a:pt x="806" y="590"/>
                </a:lnTo>
                <a:lnTo>
                  <a:pt x="806" y="590"/>
                </a:lnTo>
                <a:lnTo>
                  <a:pt x="804" y="592"/>
                </a:lnTo>
                <a:lnTo>
                  <a:pt x="804" y="594"/>
                </a:lnTo>
                <a:lnTo>
                  <a:pt x="804" y="594"/>
                </a:lnTo>
                <a:lnTo>
                  <a:pt x="814" y="600"/>
                </a:lnTo>
                <a:lnTo>
                  <a:pt x="814" y="600"/>
                </a:lnTo>
                <a:lnTo>
                  <a:pt x="816" y="604"/>
                </a:lnTo>
                <a:lnTo>
                  <a:pt x="818" y="608"/>
                </a:lnTo>
                <a:lnTo>
                  <a:pt x="818" y="608"/>
                </a:lnTo>
                <a:lnTo>
                  <a:pt x="818" y="608"/>
                </a:lnTo>
                <a:lnTo>
                  <a:pt x="818" y="610"/>
                </a:lnTo>
                <a:lnTo>
                  <a:pt x="818" y="610"/>
                </a:lnTo>
                <a:lnTo>
                  <a:pt x="830" y="610"/>
                </a:lnTo>
                <a:lnTo>
                  <a:pt x="830" y="610"/>
                </a:lnTo>
                <a:lnTo>
                  <a:pt x="830" y="608"/>
                </a:lnTo>
                <a:lnTo>
                  <a:pt x="832" y="608"/>
                </a:lnTo>
                <a:lnTo>
                  <a:pt x="832" y="608"/>
                </a:lnTo>
                <a:lnTo>
                  <a:pt x="834" y="604"/>
                </a:lnTo>
                <a:lnTo>
                  <a:pt x="834" y="604"/>
                </a:lnTo>
                <a:lnTo>
                  <a:pt x="836" y="604"/>
                </a:lnTo>
                <a:lnTo>
                  <a:pt x="840" y="604"/>
                </a:lnTo>
                <a:lnTo>
                  <a:pt x="840" y="602"/>
                </a:lnTo>
                <a:lnTo>
                  <a:pt x="840" y="602"/>
                </a:lnTo>
                <a:lnTo>
                  <a:pt x="838" y="598"/>
                </a:lnTo>
                <a:lnTo>
                  <a:pt x="844" y="588"/>
                </a:lnTo>
                <a:lnTo>
                  <a:pt x="844" y="588"/>
                </a:lnTo>
                <a:lnTo>
                  <a:pt x="846" y="588"/>
                </a:lnTo>
                <a:lnTo>
                  <a:pt x="844" y="588"/>
                </a:lnTo>
                <a:lnTo>
                  <a:pt x="842" y="588"/>
                </a:lnTo>
                <a:lnTo>
                  <a:pt x="842" y="588"/>
                </a:lnTo>
                <a:lnTo>
                  <a:pt x="842" y="586"/>
                </a:lnTo>
                <a:lnTo>
                  <a:pt x="842" y="584"/>
                </a:lnTo>
                <a:lnTo>
                  <a:pt x="842" y="582"/>
                </a:lnTo>
                <a:lnTo>
                  <a:pt x="842" y="580"/>
                </a:lnTo>
                <a:lnTo>
                  <a:pt x="842" y="580"/>
                </a:lnTo>
                <a:lnTo>
                  <a:pt x="840" y="580"/>
                </a:lnTo>
                <a:lnTo>
                  <a:pt x="840" y="580"/>
                </a:lnTo>
                <a:lnTo>
                  <a:pt x="840" y="568"/>
                </a:lnTo>
                <a:lnTo>
                  <a:pt x="840" y="564"/>
                </a:lnTo>
                <a:lnTo>
                  <a:pt x="840" y="558"/>
                </a:lnTo>
                <a:lnTo>
                  <a:pt x="834" y="554"/>
                </a:lnTo>
                <a:lnTo>
                  <a:pt x="834" y="554"/>
                </a:lnTo>
                <a:lnTo>
                  <a:pt x="834" y="548"/>
                </a:lnTo>
                <a:lnTo>
                  <a:pt x="834" y="542"/>
                </a:lnTo>
                <a:lnTo>
                  <a:pt x="834" y="540"/>
                </a:lnTo>
                <a:lnTo>
                  <a:pt x="834" y="540"/>
                </a:lnTo>
                <a:lnTo>
                  <a:pt x="838" y="538"/>
                </a:lnTo>
                <a:lnTo>
                  <a:pt x="842" y="538"/>
                </a:lnTo>
                <a:lnTo>
                  <a:pt x="842" y="538"/>
                </a:lnTo>
                <a:lnTo>
                  <a:pt x="846" y="534"/>
                </a:lnTo>
                <a:lnTo>
                  <a:pt x="846" y="534"/>
                </a:lnTo>
                <a:lnTo>
                  <a:pt x="848" y="534"/>
                </a:lnTo>
                <a:lnTo>
                  <a:pt x="850" y="532"/>
                </a:lnTo>
                <a:lnTo>
                  <a:pt x="850" y="532"/>
                </a:lnTo>
                <a:lnTo>
                  <a:pt x="852" y="530"/>
                </a:lnTo>
                <a:lnTo>
                  <a:pt x="852" y="530"/>
                </a:lnTo>
                <a:lnTo>
                  <a:pt x="854" y="528"/>
                </a:lnTo>
                <a:lnTo>
                  <a:pt x="858" y="524"/>
                </a:lnTo>
                <a:lnTo>
                  <a:pt x="858" y="524"/>
                </a:lnTo>
                <a:lnTo>
                  <a:pt x="860" y="520"/>
                </a:lnTo>
                <a:lnTo>
                  <a:pt x="860" y="520"/>
                </a:lnTo>
                <a:lnTo>
                  <a:pt x="864" y="516"/>
                </a:lnTo>
                <a:lnTo>
                  <a:pt x="866" y="514"/>
                </a:lnTo>
                <a:lnTo>
                  <a:pt x="866" y="514"/>
                </a:lnTo>
                <a:lnTo>
                  <a:pt x="868" y="510"/>
                </a:lnTo>
                <a:lnTo>
                  <a:pt x="868" y="510"/>
                </a:lnTo>
                <a:lnTo>
                  <a:pt x="874" y="508"/>
                </a:lnTo>
                <a:lnTo>
                  <a:pt x="874" y="508"/>
                </a:lnTo>
                <a:lnTo>
                  <a:pt x="872" y="500"/>
                </a:lnTo>
                <a:lnTo>
                  <a:pt x="872" y="502"/>
                </a:lnTo>
                <a:lnTo>
                  <a:pt x="870" y="506"/>
                </a:lnTo>
                <a:lnTo>
                  <a:pt x="868" y="506"/>
                </a:lnTo>
                <a:lnTo>
                  <a:pt x="868" y="506"/>
                </a:lnTo>
                <a:lnTo>
                  <a:pt x="870" y="496"/>
                </a:lnTo>
                <a:lnTo>
                  <a:pt x="872" y="488"/>
                </a:lnTo>
                <a:lnTo>
                  <a:pt x="872" y="488"/>
                </a:lnTo>
                <a:lnTo>
                  <a:pt x="870" y="486"/>
                </a:lnTo>
                <a:lnTo>
                  <a:pt x="866" y="484"/>
                </a:lnTo>
                <a:lnTo>
                  <a:pt x="866" y="484"/>
                </a:lnTo>
                <a:lnTo>
                  <a:pt x="864" y="478"/>
                </a:lnTo>
                <a:lnTo>
                  <a:pt x="864" y="472"/>
                </a:lnTo>
                <a:lnTo>
                  <a:pt x="864" y="472"/>
                </a:lnTo>
                <a:lnTo>
                  <a:pt x="860" y="470"/>
                </a:lnTo>
                <a:lnTo>
                  <a:pt x="860" y="470"/>
                </a:lnTo>
                <a:lnTo>
                  <a:pt x="860" y="464"/>
                </a:lnTo>
                <a:lnTo>
                  <a:pt x="860" y="464"/>
                </a:lnTo>
                <a:lnTo>
                  <a:pt x="858" y="462"/>
                </a:lnTo>
                <a:lnTo>
                  <a:pt x="858" y="462"/>
                </a:lnTo>
                <a:lnTo>
                  <a:pt x="856" y="458"/>
                </a:lnTo>
                <a:lnTo>
                  <a:pt x="856" y="458"/>
                </a:lnTo>
                <a:lnTo>
                  <a:pt x="854" y="458"/>
                </a:lnTo>
                <a:lnTo>
                  <a:pt x="852" y="456"/>
                </a:lnTo>
                <a:lnTo>
                  <a:pt x="852" y="456"/>
                </a:lnTo>
                <a:lnTo>
                  <a:pt x="850" y="454"/>
                </a:lnTo>
                <a:lnTo>
                  <a:pt x="848" y="452"/>
                </a:lnTo>
                <a:lnTo>
                  <a:pt x="848" y="452"/>
                </a:lnTo>
                <a:lnTo>
                  <a:pt x="846" y="450"/>
                </a:lnTo>
                <a:lnTo>
                  <a:pt x="842" y="450"/>
                </a:lnTo>
                <a:lnTo>
                  <a:pt x="842" y="450"/>
                </a:lnTo>
                <a:lnTo>
                  <a:pt x="842" y="448"/>
                </a:lnTo>
                <a:lnTo>
                  <a:pt x="840" y="448"/>
                </a:lnTo>
                <a:lnTo>
                  <a:pt x="840" y="448"/>
                </a:lnTo>
                <a:lnTo>
                  <a:pt x="842" y="442"/>
                </a:lnTo>
                <a:lnTo>
                  <a:pt x="846" y="438"/>
                </a:lnTo>
                <a:lnTo>
                  <a:pt x="848" y="436"/>
                </a:lnTo>
                <a:lnTo>
                  <a:pt x="854" y="436"/>
                </a:lnTo>
                <a:lnTo>
                  <a:pt x="854" y="436"/>
                </a:lnTo>
                <a:lnTo>
                  <a:pt x="854" y="430"/>
                </a:lnTo>
                <a:lnTo>
                  <a:pt x="854" y="430"/>
                </a:lnTo>
                <a:lnTo>
                  <a:pt x="854" y="430"/>
                </a:lnTo>
                <a:lnTo>
                  <a:pt x="854" y="428"/>
                </a:lnTo>
                <a:lnTo>
                  <a:pt x="854" y="426"/>
                </a:lnTo>
                <a:lnTo>
                  <a:pt x="858" y="428"/>
                </a:lnTo>
                <a:lnTo>
                  <a:pt x="858" y="428"/>
                </a:lnTo>
                <a:lnTo>
                  <a:pt x="858" y="426"/>
                </a:lnTo>
                <a:lnTo>
                  <a:pt x="858" y="424"/>
                </a:lnTo>
                <a:lnTo>
                  <a:pt x="860" y="424"/>
                </a:lnTo>
                <a:lnTo>
                  <a:pt x="860" y="424"/>
                </a:lnTo>
                <a:lnTo>
                  <a:pt x="860" y="420"/>
                </a:lnTo>
                <a:lnTo>
                  <a:pt x="860" y="420"/>
                </a:lnTo>
                <a:lnTo>
                  <a:pt x="856" y="418"/>
                </a:lnTo>
                <a:lnTo>
                  <a:pt x="856" y="418"/>
                </a:lnTo>
                <a:lnTo>
                  <a:pt x="858" y="416"/>
                </a:lnTo>
                <a:lnTo>
                  <a:pt x="858" y="416"/>
                </a:lnTo>
                <a:lnTo>
                  <a:pt x="856" y="410"/>
                </a:lnTo>
                <a:lnTo>
                  <a:pt x="854" y="406"/>
                </a:lnTo>
                <a:lnTo>
                  <a:pt x="854" y="406"/>
                </a:lnTo>
                <a:lnTo>
                  <a:pt x="858" y="402"/>
                </a:lnTo>
                <a:lnTo>
                  <a:pt x="858" y="402"/>
                </a:lnTo>
                <a:lnTo>
                  <a:pt x="854" y="402"/>
                </a:lnTo>
                <a:lnTo>
                  <a:pt x="854" y="402"/>
                </a:lnTo>
                <a:lnTo>
                  <a:pt x="852" y="398"/>
                </a:lnTo>
                <a:lnTo>
                  <a:pt x="852" y="398"/>
                </a:lnTo>
                <a:lnTo>
                  <a:pt x="858" y="388"/>
                </a:lnTo>
                <a:lnTo>
                  <a:pt x="858" y="388"/>
                </a:lnTo>
                <a:lnTo>
                  <a:pt x="858" y="384"/>
                </a:lnTo>
                <a:lnTo>
                  <a:pt x="860" y="384"/>
                </a:lnTo>
                <a:lnTo>
                  <a:pt x="860" y="384"/>
                </a:lnTo>
                <a:lnTo>
                  <a:pt x="860" y="380"/>
                </a:lnTo>
                <a:lnTo>
                  <a:pt x="860" y="380"/>
                </a:lnTo>
                <a:lnTo>
                  <a:pt x="856" y="380"/>
                </a:lnTo>
                <a:lnTo>
                  <a:pt x="856" y="380"/>
                </a:lnTo>
                <a:lnTo>
                  <a:pt x="854" y="376"/>
                </a:lnTo>
                <a:lnTo>
                  <a:pt x="854" y="376"/>
                </a:lnTo>
                <a:lnTo>
                  <a:pt x="854" y="374"/>
                </a:lnTo>
                <a:lnTo>
                  <a:pt x="854" y="372"/>
                </a:lnTo>
                <a:lnTo>
                  <a:pt x="854" y="372"/>
                </a:lnTo>
                <a:lnTo>
                  <a:pt x="858" y="372"/>
                </a:lnTo>
                <a:lnTo>
                  <a:pt x="858" y="372"/>
                </a:lnTo>
                <a:lnTo>
                  <a:pt x="862" y="370"/>
                </a:lnTo>
                <a:lnTo>
                  <a:pt x="866" y="370"/>
                </a:lnTo>
                <a:lnTo>
                  <a:pt x="870" y="372"/>
                </a:lnTo>
                <a:lnTo>
                  <a:pt x="870" y="372"/>
                </a:lnTo>
                <a:lnTo>
                  <a:pt x="874" y="370"/>
                </a:lnTo>
                <a:lnTo>
                  <a:pt x="874" y="370"/>
                </a:lnTo>
                <a:lnTo>
                  <a:pt x="878" y="374"/>
                </a:lnTo>
                <a:lnTo>
                  <a:pt x="878" y="374"/>
                </a:lnTo>
                <a:lnTo>
                  <a:pt x="884" y="372"/>
                </a:lnTo>
                <a:lnTo>
                  <a:pt x="890" y="372"/>
                </a:lnTo>
                <a:lnTo>
                  <a:pt x="890" y="372"/>
                </a:lnTo>
                <a:lnTo>
                  <a:pt x="894" y="374"/>
                </a:lnTo>
                <a:lnTo>
                  <a:pt x="900" y="374"/>
                </a:lnTo>
                <a:lnTo>
                  <a:pt x="900" y="374"/>
                </a:lnTo>
                <a:lnTo>
                  <a:pt x="906" y="370"/>
                </a:lnTo>
                <a:lnTo>
                  <a:pt x="914" y="364"/>
                </a:lnTo>
                <a:lnTo>
                  <a:pt x="914" y="368"/>
                </a:lnTo>
                <a:lnTo>
                  <a:pt x="914" y="368"/>
                </a:lnTo>
                <a:lnTo>
                  <a:pt x="918" y="368"/>
                </a:lnTo>
                <a:lnTo>
                  <a:pt x="922" y="370"/>
                </a:lnTo>
                <a:lnTo>
                  <a:pt x="922" y="370"/>
                </a:lnTo>
                <a:lnTo>
                  <a:pt x="926" y="374"/>
                </a:lnTo>
                <a:lnTo>
                  <a:pt x="926" y="374"/>
                </a:lnTo>
                <a:lnTo>
                  <a:pt x="928" y="374"/>
                </a:lnTo>
                <a:lnTo>
                  <a:pt x="928" y="374"/>
                </a:lnTo>
                <a:lnTo>
                  <a:pt x="928" y="374"/>
                </a:lnTo>
                <a:lnTo>
                  <a:pt x="928" y="378"/>
                </a:lnTo>
                <a:lnTo>
                  <a:pt x="928" y="378"/>
                </a:lnTo>
                <a:lnTo>
                  <a:pt x="932" y="380"/>
                </a:lnTo>
                <a:lnTo>
                  <a:pt x="934" y="380"/>
                </a:lnTo>
                <a:lnTo>
                  <a:pt x="934" y="380"/>
                </a:lnTo>
                <a:lnTo>
                  <a:pt x="936" y="386"/>
                </a:lnTo>
                <a:lnTo>
                  <a:pt x="936" y="386"/>
                </a:lnTo>
                <a:lnTo>
                  <a:pt x="938" y="386"/>
                </a:lnTo>
                <a:lnTo>
                  <a:pt x="938" y="386"/>
                </a:lnTo>
                <a:lnTo>
                  <a:pt x="940" y="392"/>
                </a:lnTo>
                <a:lnTo>
                  <a:pt x="940" y="392"/>
                </a:lnTo>
                <a:lnTo>
                  <a:pt x="960" y="392"/>
                </a:lnTo>
                <a:lnTo>
                  <a:pt x="960" y="394"/>
                </a:lnTo>
                <a:lnTo>
                  <a:pt x="960" y="394"/>
                </a:lnTo>
                <a:lnTo>
                  <a:pt x="956" y="398"/>
                </a:lnTo>
                <a:lnTo>
                  <a:pt x="956" y="398"/>
                </a:lnTo>
                <a:lnTo>
                  <a:pt x="964" y="400"/>
                </a:lnTo>
                <a:lnTo>
                  <a:pt x="964" y="400"/>
                </a:lnTo>
                <a:lnTo>
                  <a:pt x="966" y="402"/>
                </a:lnTo>
                <a:lnTo>
                  <a:pt x="966" y="402"/>
                </a:lnTo>
                <a:lnTo>
                  <a:pt x="968" y="398"/>
                </a:lnTo>
                <a:lnTo>
                  <a:pt x="968" y="398"/>
                </a:lnTo>
                <a:lnTo>
                  <a:pt x="972" y="398"/>
                </a:lnTo>
                <a:lnTo>
                  <a:pt x="972" y="398"/>
                </a:lnTo>
                <a:lnTo>
                  <a:pt x="966" y="406"/>
                </a:lnTo>
                <a:lnTo>
                  <a:pt x="966" y="410"/>
                </a:lnTo>
                <a:lnTo>
                  <a:pt x="966" y="412"/>
                </a:lnTo>
                <a:lnTo>
                  <a:pt x="968" y="412"/>
                </a:lnTo>
                <a:lnTo>
                  <a:pt x="968" y="412"/>
                </a:lnTo>
                <a:lnTo>
                  <a:pt x="968" y="414"/>
                </a:lnTo>
                <a:lnTo>
                  <a:pt x="968" y="414"/>
                </a:lnTo>
                <a:lnTo>
                  <a:pt x="962" y="416"/>
                </a:lnTo>
                <a:lnTo>
                  <a:pt x="962" y="416"/>
                </a:lnTo>
                <a:lnTo>
                  <a:pt x="962" y="418"/>
                </a:lnTo>
                <a:lnTo>
                  <a:pt x="962" y="422"/>
                </a:lnTo>
                <a:lnTo>
                  <a:pt x="962" y="422"/>
                </a:lnTo>
                <a:lnTo>
                  <a:pt x="966" y="424"/>
                </a:lnTo>
                <a:lnTo>
                  <a:pt x="966" y="424"/>
                </a:lnTo>
                <a:lnTo>
                  <a:pt x="966" y="428"/>
                </a:lnTo>
                <a:lnTo>
                  <a:pt x="966" y="432"/>
                </a:lnTo>
                <a:lnTo>
                  <a:pt x="966" y="432"/>
                </a:lnTo>
                <a:lnTo>
                  <a:pt x="964" y="434"/>
                </a:lnTo>
                <a:lnTo>
                  <a:pt x="964" y="434"/>
                </a:lnTo>
                <a:lnTo>
                  <a:pt x="964" y="436"/>
                </a:lnTo>
                <a:lnTo>
                  <a:pt x="964" y="438"/>
                </a:lnTo>
                <a:lnTo>
                  <a:pt x="964" y="438"/>
                </a:lnTo>
                <a:lnTo>
                  <a:pt x="970" y="442"/>
                </a:lnTo>
                <a:lnTo>
                  <a:pt x="970" y="442"/>
                </a:lnTo>
                <a:lnTo>
                  <a:pt x="972" y="442"/>
                </a:lnTo>
                <a:lnTo>
                  <a:pt x="974" y="442"/>
                </a:lnTo>
                <a:lnTo>
                  <a:pt x="974" y="444"/>
                </a:lnTo>
                <a:lnTo>
                  <a:pt x="974" y="444"/>
                </a:lnTo>
                <a:lnTo>
                  <a:pt x="984" y="444"/>
                </a:lnTo>
                <a:lnTo>
                  <a:pt x="984" y="444"/>
                </a:lnTo>
                <a:lnTo>
                  <a:pt x="986" y="454"/>
                </a:lnTo>
                <a:lnTo>
                  <a:pt x="986" y="454"/>
                </a:lnTo>
                <a:lnTo>
                  <a:pt x="990" y="452"/>
                </a:lnTo>
                <a:lnTo>
                  <a:pt x="990" y="450"/>
                </a:lnTo>
                <a:lnTo>
                  <a:pt x="990" y="450"/>
                </a:lnTo>
                <a:lnTo>
                  <a:pt x="992" y="450"/>
                </a:lnTo>
                <a:lnTo>
                  <a:pt x="992" y="450"/>
                </a:lnTo>
                <a:lnTo>
                  <a:pt x="992" y="454"/>
                </a:lnTo>
                <a:lnTo>
                  <a:pt x="994" y="454"/>
                </a:lnTo>
                <a:lnTo>
                  <a:pt x="994" y="454"/>
                </a:lnTo>
                <a:lnTo>
                  <a:pt x="998" y="460"/>
                </a:lnTo>
                <a:lnTo>
                  <a:pt x="998" y="460"/>
                </a:lnTo>
                <a:lnTo>
                  <a:pt x="1000" y="458"/>
                </a:lnTo>
                <a:lnTo>
                  <a:pt x="1000" y="458"/>
                </a:lnTo>
                <a:lnTo>
                  <a:pt x="1004" y="458"/>
                </a:lnTo>
                <a:lnTo>
                  <a:pt x="1004" y="458"/>
                </a:lnTo>
                <a:lnTo>
                  <a:pt x="1006" y="456"/>
                </a:lnTo>
                <a:lnTo>
                  <a:pt x="1008" y="454"/>
                </a:lnTo>
                <a:lnTo>
                  <a:pt x="1010" y="448"/>
                </a:lnTo>
                <a:lnTo>
                  <a:pt x="1010" y="448"/>
                </a:lnTo>
                <a:lnTo>
                  <a:pt x="1012" y="448"/>
                </a:lnTo>
                <a:lnTo>
                  <a:pt x="1014" y="450"/>
                </a:lnTo>
                <a:lnTo>
                  <a:pt x="1014" y="450"/>
                </a:lnTo>
                <a:lnTo>
                  <a:pt x="1014" y="444"/>
                </a:lnTo>
                <a:lnTo>
                  <a:pt x="1014" y="444"/>
                </a:lnTo>
                <a:lnTo>
                  <a:pt x="1018" y="440"/>
                </a:lnTo>
                <a:lnTo>
                  <a:pt x="1022" y="436"/>
                </a:lnTo>
                <a:lnTo>
                  <a:pt x="1024" y="434"/>
                </a:lnTo>
                <a:lnTo>
                  <a:pt x="1024" y="434"/>
                </a:lnTo>
                <a:lnTo>
                  <a:pt x="1022" y="432"/>
                </a:lnTo>
                <a:lnTo>
                  <a:pt x="1022" y="430"/>
                </a:lnTo>
                <a:lnTo>
                  <a:pt x="1022" y="428"/>
                </a:lnTo>
                <a:lnTo>
                  <a:pt x="1022" y="428"/>
                </a:lnTo>
                <a:lnTo>
                  <a:pt x="1026" y="426"/>
                </a:lnTo>
                <a:lnTo>
                  <a:pt x="1026" y="426"/>
                </a:lnTo>
                <a:lnTo>
                  <a:pt x="1026" y="424"/>
                </a:lnTo>
                <a:lnTo>
                  <a:pt x="1026" y="420"/>
                </a:lnTo>
                <a:lnTo>
                  <a:pt x="1026" y="420"/>
                </a:lnTo>
                <a:lnTo>
                  <a:pt x="1026" y="420"/>
                </a:lnTo>
                <a:lnTo>
                  <a:pt x="1028" y="420"/>
                </a:lnTo>
                <a:lnTo>
                  <a:pt x="1028" y="420"/>
                </a:lnTo>
                <a:lnTo>
                  <a:pt x="1030" y="412"/>
                </a:lnTo>
                <a:lnTo>
                  <a:pt x="1030" y="412"/>
                </a:lnTo>
                <a:lnTo>
                  <a:pt x="1036" y="412"/>
                </a:lnTo>
                <a:lnTo>
                  <a:pt x="1036" y="412"/>
                </a:lnTo>
                <a:lnTo>
                  <a:pt x="1036" y="422"/>
                </a:lnTo>
                <a:lnTo>
                  <a:pt x="1036" y="422"/>
                </a:lnTo>
                <a:lnTo>
                  <a:pt x="1038" y="422"/>
                </a:lnTo>
                <a:lnTo>
                  <a:pt x="1038" y="422"/>
                </a:lnTo>
                <a:lnTo>
                  <a:pt x="1038" y="426"/>
                </a:lnTo>
                <a:lnTo>
                  <a:pt x="1036" y="428"/>
                </a:lnTo>
                <a:lnTo>
                  <a:pt x="1036" y="428"/>
                </a:lnTo>
                <a:lnTo>
                  <a:pt x="1038" y="434"/>
                </a:lnTo>
                <a:lnTo>
                  <a:pt x="1038" y="440"/>
                </a:lnTo>
                <a:lnTo>
                  <a:pt x="1040" y="440"/>
                </a:lnTo>
                <a:lnTo>
                  <a:pt x="1040" y="440"/>
                </a:lnTo>
                <a:lnTo>
                  <a:pt x="1040" y="444"/>
                </a:lnTo>
                <a:lnTo>
                  <a:pt x="1040" y="444"/>
                </a:lnTo>
                <a:lnTo>
                  <a:pt x="1044" y="442"/>
                </a:lnTo>
                <a:lnTo>
                  <a:pt x="1044" y="442"/>
                </a:lnTo>
                <a:lnTo>
                  <a:pt x="1046" y="442"/>
                </a:lnTo>
                <a:lnTo>
                  <a:pt x="1048" y="442"/>
                </a:lnTo>
                <a:lnTo>
                  <a:pt x="1048" y="442"/>
                </a:lnTo>
                <a:lnTo>
                  <a:pt x="1048" y="446"/>
                </a:lnTo>
                <a:lnTo>
                  <a:pt x="1048" y="446"/>
                </a:lnTo>
                <a:lnTo>
                  <a:pt x="1052" y="446"/>
                </a:lnTo>
                <a:lnTo>
                  <a:pt x="1052" y="448"/>
                </a:lnTo>
                <a:lnTo>
                  <a:pt x="1052" y="448"/>
                </a:lnTo>
                <a:lnTo>
                  <a:pt x="1050" y="448"/>
                </a:lnTo>
                <a:lnTo>
                  <a:pt x="1048" y="450"/>
                </a:lnTo>
                <a:lnTo>
                  <a:pt x="1048" y="450"/>
                </a:lnTo>
                <a:lnTo>
                  <a:pt x="1054" y="452"/>
                </a:lnTo>
                <a:lnTo>
                  <a:pt x="1054" y="454"/>
                </a:lnTo>
                <a:lnTo>
                  <a:pt x="1052" y="456"/>
                </a:lnTo>
                <a:lnTo>
                  <a:pt x="1052" y="456"/>
                </a:lnTo>
                <a:lnTo>
                  <a:pt x="1046" y="458"/>
                </a:lnTo>
                <a:lnTo>
                  <a:pt x="1046" y="458"/>
                </a:lnTo>
                <a:lnTo>
                  <a:pt x="1046" y="460"/>
                </a:lnTo>
                <a:lnTo>
                  <a:pt x="1046" y="460"/>
                </a:lnTo>
                <a:lnTo>
                  <a:pt x="1058" y="460"/>
                </a:lnTo>
                <a:lnTo>
                  <a:pt x="1058" y="460"/>
                </a:lnTo>
                <a:lnTo>
                  <a:pt x="1060" y="462"/>
                </a:lnTo>
                <a:lnTo>
                  <a:pt x="1060" y="462"/>
                </a:lnTo>
                <a:lnTo>
                  <a:pt x="1056" y="468"/>
                </a:lnTo>
                <a:lnTo>
                  <a:pt x="1056" y="468"/>
                </a:lnTo>
                <a:lnTo>
                  <a:pt x="1058" y="468"/>
                </a:lnTo>
                <a:lnTo>
                  <a:pt x="1058" y="468"/>
                </a:lnTo>
                <a:lnTo>
                  <a:pt x="1060" y="470"/>
                </a:lnTo>
                <a:lnTo>
                  <a:pt x="1058" y="472"/>
                </a:lnTo>
                <a:lnTo>
                  <a:pt x="1058" y="472"/>
                </a:lnTo>
                <a:lnTo>
                  <a:pt x="1062" y="472"/>
                </a:lnTo>
                <a:lnTo>
                  <a:pt x="1062" y="472"/>
                </a:lnTo>
                <a:lnTo>
                  <a:pt x="1064" y="476"/>
                </a:lnTo>
                <a:lnTo>
                  <a:pt x="1064" y="476"/>
                </a:lnTo>
                <a:lnTo>
                  <a:pt x="1068" y="476"/>
                </a:lnTo>
                <a:lnTo>
                  <a:pt x="1068" y="476"/>
                </a:lnTo>
                <a:lnTo>
                  <a:pt x="1066" y="482"/>
                </a:lnTo>
                <a:lnTo>
                  <a:pt x="1062" y="486"/>
                </a:lnTo>
                <a:lnTo>
                  <a:pt x="1062" y="486"/>
                </a:lnTo>
                <a:lnTo>
                  <a:pt x="1068" y="486"/>
                </a:lnTo>
                <a:lnTo>
                  <a:pt x="1068" y="486"/>
                </a:lnTo>
                <a:lnTo>
                  <a:pt x="1068" y="488"/>
                </a:lnTo>
                <a:lnTo>
                  <a:pt x="1070" y="490"/>
                </a:lnTo>
                <a:lnTo>
                  <a:pt x="1070" y="490"/>
                </a:lnTo>
                <a:lnTo>
                  <a:pt x="1074" y="490"/>
                </a:lnTo>
                <a:lnTo>
                  <a:pt x="1074" y="490"/>
                </a:lnTo>
                <a:lnTo>
                  <a:pt x="1076" y="494"/>
                </a:lnTo>
                <a:lnTo>
                  <a:pt x="1076" y="496"/>
                </a:lnTo>
                <a:lnTo>
                  <a:pt x="1076" y="496"/>
                </a:lnTo>
                <a:lnTo>
                  <a:pt x="1076" y="496"/>
                </a:lnTo>
                <a:lnTo>
                  <a:pt x="1076" y="498"/>
                </a:lnTo>
                <a:lnTo>
                  <a:pt x="1076" y="498"/>
                </a:lnTo>
                <a:lnTo>
                  <a:pt x="1074" y="498"/>
                </a:lnTo>
                <a:lnTo>
                  <a:pt x="1074" y="496"/>
                </a:lnTo>
                <a:lnTo>
                  <a:pt x="1074" y="496"/>
                </a:lnTo>
                <a:lnTo>
                  <a:pt x="1072" y="498"/>
                </a:lnTo>
                <a:lnTo>
                  <a:pt x="1072" y="498"/>
                </a:lnTo>
                <a:lnTo>
                  <a:pt x="1072" y="498"/>
                </a:lnTo>
                <a:lnTo>
                  <a:pt x="1066" y="498"/>
                </a:lnTo>
                <a:lnTo>
                  <a:pt x="1062" y="498"/>
                </a:lnTo>
                <a:lnTo>
                  <a:pt x="1062" y="500"/>
                </a:lnTo>
                <a:lnTo>
                  <a:pt x="1062" y="500"/>
                </a:lnTo>
                <a:lnTo>
                  <a:pt x="1066" y="502"/>
                </a:lnTo>
                <a:lnTo>
                  <a:pt x="1066" y="502"/>
                </a:lnTo>
                <a:lnTo>
                  <a:pt x="1064" y="508"/>
                </a:lnTo>
                <a:lnTo>
                  <a:pt x="1064" y="508"/>
                </a:lnTo>
                <a:lnTo>
                  <a:pt x="1068" y="506"/>
                </a:lnTo>
                <a:lnTo>
                  <a:pt x="1070" y="506"/>
                </a:lnTo>
                <a:lnTo>
                  <a:pt x="1070" y="510"/>
                </a:lnTo>
                <a:lnTo>
                  <a:pt x="1070" y="510"/>
                </a:lnTo>
                <a:lnTo>
                  <a:pt x="1068" y="510"/>
                </a:lnTo>
                <a:lnTo>
                  <a:pt x="1068" y="510"/>
                </a:lnTo>
                <a:lnTo>
                  <a:pt x="1068" y="510"/>
                </a:lnTo>
                <a:lnTo>
                  <a:pt x="1072" y="510"/>
                </a:lnTo>
                <a:lnTo>
                  <a:pt x="1072" y="510"/>
                </a:lnTo>
                <a:lnTo>
                  <a:pt x="1072" y="518"/>
                </a:lnTo>
                <a:lnTo>
                  <a:pt x="1072" y="518"/>
                </a:lnTo>
                <a:lnTo>
                  <a:pt x="1078" y="518"/>
                </a:lnTo>
                <a:lnTo>
                  <a:pt x="1082" y="518"/>
                </a:lnTo>
                <a:lnTo>
                  <a:pt x="1082" y="518"/>
                </a:lnTo>
                <a:lnTo>
                  <a:pt x="1086" y="522"/>
                </a:lnTo>
                <a:lnTo>
                  <a:pt x="1086" y="522"/>
                </a:lnTo>
                <a:lnTo>
                  <a:pt x="1088" y="522"/>
                </a:lnTo>
                <a:lnTo>
                  <a:pt x="1088" y="522"/>
                </a:lnTo>
                <a:lnTo>
                  <a:pt x="1088" y="528"/>
                </a:lnTo>
                <a:lnTo>
                  <a:pt x="1088" y="528"/>
                </a:lnTo>
                <a:lnTo>
                  <a:pt x="1088" y="530"/>
                </a:lnTo>
                <a:lnTo>
                  <a:pt x="1088" y="534"/>
                </a:lnTo>
                <a:lnTo>
                  <a:pt x="1088" y="534"/>
                </a:lnTo>
                <a:lnTo>
                  <a:pt x="1100" y="534"/>
                </a:lnTo>
                <a:lnTo>
                  <a:pt x="1100" y="534"/>
                </a:lnTo>
                <a:lnTo>
                  <a:pt x="1100" y="538"/>
                </a:lnTo>
                <a:lnTo>
                  <a:pt x="1100" y="538"/>
                </a:lnTo>
                <a:lnTo>
                  <a:pt x="1104" y="534"/>
                </a:lnTo>
                <a:lnTo>
                  <a:pt x="1104" y="534"/>
                </a:lnTo>
                <a:lnTo>
                  <a:pt x="1104" y="536"/>
                </a:lnTo>
                <a:lnTo>
                  <a:pt x="1106" y="536"/>
                </a:lnTo>
                <a:lnTo>
                  <a:pt x="1106" y="536"/>
                </a:lnTo>
                <a:lnTo>
                  <a:pt x="1106" y="534"/>
                </a:lnTo>
                <a:lnTo>
                  <a:pt x="1108" y="534"/>
                </a:lnTo>
                <a:lnTo>
                  <a:pt x="1108" y="534"/>
                </a:lnTo>
                <a:lnTo>
                  <a:pt x="1108" y="540"/>
                </a:lnTo>
                <a:lnTo>
                  <a:pt x="1110" y="540"/>
                </a:lnTo>
                <a:lnTo>
                  <a:pt x="1110" y="540"/>
                </a:lnTo>
                <a:lnTo>
                  <a:pt x="1114" y="544"/>
                </a:lnTo>
                <a:lnTo>
                  <a:pt x="1118" y="546"/>
                </a:lnTo>
                <a:lnTo>
                  <a:pt x="1118" y="546"/>
                </a:lnTo>
                <a:lnTo>
                  <a:pt x="1120" y="542"/>
                </a:lnTo>
                <a:lnTo>
                  <a:pt x="1120" y="542"/>
                </a:lnTo>
                <a:lnTo>
                  <a:pt x="1122" y="540"/>
                </a:lnTo>
                <a:lnTo>
                  <a:pt x="1122" y="540"/>
                </a:lnTo>
                <a:lnTo>
                  <a:pt x="1124" y="546"/>
                </a:lnTo>
                <a:lnTo>
                  <a:pt x="1124" y="546"/>
                </a:lnTo>
                <a:lnTo>
                  <a:pt x="1126" y="548"/>
                </a:lnTo>
                <a:lnTo>
                  <a:pt x="1126" y="548"/>
                </a:lnTo>
                <a:lnTo>
                  <a:pt x="1130" y="546"/>
                </a:lnTo>
                <a:lnTo>
                  <a:pt x="1130" y="546"/>
                </a:lnTo>
                <a:lnTo>
                  <a:pt x="1126" y="550"/>
                </a:lnTo>
                <a:lnTo>
                  <a:pt x="1124" y="554"/>
                </a:lnTo>
                <a:lnTo>
                  <a:pt x="1124" y="554"/>
                </a:lnTo>
                <a:lnTo>
                  <a:pt x="1120" y="554"/>
                </a:lnTo>
                <a:lnTo>
                  <a:pt x="1118" y="556"/>
                </a:lnTo>
                <a:lnTo>
                  <a:pt x="1118" y="556"/>
                </a:lnTo>
                <a:lnTo>
                  <a:pt x="1114" y="556"/>
                </a:lnTo>
                <a:lnTo>
                  <a:pt x="1112" y="556"/>
                </a:lnTo>
                <a:lnTo>
                  <a:pt x="1112" y="556"/>
                </a:lnTo>
                <a:lnTo>
                  <a:pt x="1110" y="560"/>
                </a:lnTo>
                <a:lnTo>
                  <a:pt x="1110" y="560"/>
                </a:lnTo>
                <a:lnTo>
                  <a:pt x="1106" y="560"/>
                </a:lnTo>
                <a:lnTo>
                  <a:pt x="1106" y="560"/>
                </a:lnTo>
                <a:lnTo>
                  <a:pt x="1098" y="566"/>
                </a:lnTo>
                <a:lnTo>
                  <a:pt x="1098" y="566"/>
                </a:lnTo>
                <a:lnTo>
                  <a:pt x="1088" y="566"/>
                </a:lnTo>
                <a:lnTo>
                  <a:pt x="1088" y="566"/>
                </a:lnTo>
                <a:lnTo>
                  <a:pt x="1090" y="576"/>
                </a:lnTo>
                <a:lnTo>
                  <a:pt x="1090" y="576"/>
                </a:lnTo>
                <a:lnTo>
                  <a:pt x="1094" y="576"/>
                </a:lnTo>
                <a:lnTo>
                  <a:pt x="1094" y="576"/>
                </a:lnTo>
                <a:lnTo>
                  <a:pt x="1094" y="572"/>
                </a:lnTo>
                <a:lnTo>
                  <a:pt x="1096" y="570"/>
                </a:lnTo>
                <a:lnTo>
                  <a:pt x="1096" y="570"/>
                </a:lnTo>
                <a:lnTo>
                  <a:pt x="1098" y="570"/>
                </a:lnTo>
                <a:lnTo>
                  <a:pt x="1102" y="568"/>
                </a:lnTo>
                <a:lnTo>
                  <a:pt x="1102" y="568"/>
                </a:lnTo>
                <a:lnTo>
                  <a:pt x="1108" y="564"/>
                </a:lnTo>
                <a:lnTo>
                  <a:pt x="1114" y="560"/>
                </a:lnTo>
                <a:lnTo>
                  <a:pt x="1114" y="560"/>
                </a:lnTo>
                <a:lnTo>
                  <a:pt x="1118" y="560"/>
                </a:lnTo>
                <a:lnTo>
                  <a:pt x="1122" y="560"/>
                </a:lnTo>
                <a:lnTo>
                  <a:pt x="1122" y="556"/>
                </a:lnTo>
                <a:lnTo>
                  <a:pt x="1122" y="556"/>
                </a:lnTo>
                <a:lnTo>
                  <a:pt x="1126" y="556"/>
                </a:lnTo>
                <a:lnTo>
                  <a:pt x="1132" y="556"/>
                </a:lnTo>
                <a:lnTo>
                  <a:pt x="1132" y="556"/>
                </a:lnTo>
                <a:lnTo>
                  <a:pt x="1134" y="560"/>
                </a:lnTo>
                <a:lnTo>
                  <a:pt x="1134" y="560"/>
                </a:lnTo>
                <a:lnTo>
                  <a:pt x="1142" y="564"/>
                </a:lnTo>
                <a:lnTo>
                  <a:pt x="1142" y="564"/>
                </a:lnTo>
                <a:lnTo>
                  <a:pt x="1142" y="568"/>
                </a:lnTo>
                <a:lnTo>
                  <a:pt x="1144" y="568"/>
                </a:lnTo>
                <a:lnTo>
                  <a:pt x="1144" y="568"/>
                </a:lnTo>
                <a:lnTo>
                  <a:pt x="1144" y="566"/>
                </a:lnTo>
                <a:lnTo>
                  <a:pt x="1144" y="566"/>
                </a:lnTo>
                <a:lnTo>
                  <a:pt x="1148" y="564"/>
                </a:lnTo>
                <a:lnTo>
                  <a:pt x="1148" y="564"/>
                </a:lnTo>
                <a:lnTo>
                  <a:pt x="1148" y="566"/>
                </a:lnTo>
                <a:lnTo>
                  <a:pt x="1150" y="566"/>
                </a:lnTo>
                <a:lnTo>
                  <a:pt x="1150" y="566"/>
                </a:lnTo>
                <a:lnTo>
                  <a:pt x="1150" y="572"/>
                </a:lnTo>
                <a:lnTo>
                  <a:pt x="1150" y="574"/>
                </a:lnTo>
                <a:lnTo>
                  <a:pt x="1148" y="576"/>
                </a:lnTo>
                <a:lnTo>
                  <a:pt x="1148" y="578"/>
                </a:lnTo>
                <a:lnTo>
                  <a:pt x="1148" y="578"/>
                </a:lnTo>
                <a:lnTo>
                  <a:pt x="1150" y="578"/>
                </a:lnTo>
                <a:lnTo>
                  <a:pt x="1148" y="578"/>
                </a:lnTo>
                <a:lnTo>
                  <a:pt x="1148" y="578"/>
                </a:lnTo>
                <a:lnTo>
                  <a:pt x="1150" y="582"/>
                </a:lnTo>
                <a:lnTo>
                  <a:pt x="1148" y="588"/>
                </a:lnTo>
                <a:lnTo>
                  <a:pt x="1146" y="588"/>
                </a:lnTo>
                <a:lnTo>
                  <a:pt x="1146" y="590"/>
                </a:lnTo>
                <a:lnTo>
                  <a:pt x="1146" y="590"/>
                </a:lnTo>
                <a:lnTo>
                  <a:pt x="1144" y="590"/>
                </a:lnTo>
                <a:lnTo>
                  <a:pt x="1144" y="590"/>
                </a:lnTo>
                <a:lnTo>
                  <a:pt x="1142" y="594"/>
                </a:lnTo>
                <a:lnTo>
                  <a:pt x="1142" y="594"/>
                </a:lnTo>
                <a:lnTo>
                  <a:pt x="1138" y="594"/>
                </a:lnTo>
                <a:lnTo>
                  <a:pt x="1134" y="598"/>
                </a:lnTo>
                <a:lnTo>
                  <a:pt x="1134" y="598"/>
                </a:lnTo>
                <a:lnTo>
                  <a:pt x="1132" y="598"/>
                </a:lnTo>
                <a:lnTo>
                  <a:pt x="1130" y="598"/>
                </a:lnTo>
                <a:lnTo>
                  <a:pt x="1130" y="598"/>
                </a:lnTo>
                <a:lnTo>
                  <a:pt x="1126" y="598"/>
                </a:lnTo>
                <a:lnTo>
                  <a:pt x="1124" y="600"/>
                </a:lnTo>
                <a:lnTo>
                  <a:pt x="1122" y="602"/>
                </a:lnTo>
                <a:lnTo>
                  <a:pt x="1118" y="600"/>
                </a:lnTo>
                <a:lnTo>
                  <a:pt x="1118" y="600"/>
                </a:lnTo>
                <a:lnTo>
                  <a:pt x="1118" y="600"/>
                </a:lnTo>
                <a:lnTo>
                  <a:pt x="1116" y="600"/>
                </a:lnTo>
                <a:lnTo>
                  <a:pt x="1116" y="600"/>
                </a:lnTo>
                <a:lnTo>
                  <a:pt x="1116" y="602"/>
                </a:lnTo>
                <a:lnTo>
                  <a:pt x="1116" y="602"/>
                </a:lnTo>
                <a:lnTo>
                  <a:pt x="1112" y="604"/>
                </a:lnTo>
                <a:lnTo>
                  <a:pt x="1112" y="604"/>
                </a:lnTo>
                <a:lnTo>
                  <a:pt x="1112" y="608"/>
                </a:lnTo>
                <a:lnTo>
                  <a:pt x="1112" y="608"/>
                </a:lnTo>
                <a:lnTo>
                  <a:pt x="1108" y="612"/>
                </a:lnTo>
                <a:lnTo>
                  <a:pt x="1108" y="612"/>
                </a:lnTo>
                <a:lnTo>
                  <a:pt x="1108" y="614"/>
                </a:lnTo>
                <a:lnTo>
                  <a:pt x="1108" y="616"/>
                </a:lnTo>
                <a:lnTo>
                  <a:pt x="1108" y="616"/>
                </a:lnTo>
                <a:lnTo>
                  <a:pt x="1106" y="618"/>
                </a:lnTo>
                <a:lnTo>
                  <a:pt x="1104" y="620"/>
                </a:lnTo>
                <a:lnTo>
                  <a:pt x="1100" y="620"/>
                </a:lnTo>
                <a:lnTo>
                  <a:pt x="1100" y="620"/>
                </a:lnTo>
                <a:lnTo>
                  <a:pt x="1100" y="624"/>
                </a:lnTo>
                <a:lnTo>
                  <a:pt x="1100" y="624"/>
                </a:lnTo>
                <a:lnTo>
                  <a:pt x="1098" y="626"/>
                </a:lnTo>
                <a:lnTo>
                  <a:pt x="1098" y="626"/>
                </a:lnTo>
                <a:lnTo>
                  <a:pt x="1090" y="626"/>
                </a:lnTo>
                <a:lnTo>
                  <a:pt x="1090" y="626"/>
                </a:lnTo>
                <a:lnTo>
                  <a:pt x="1088" y="630"/>
                </a:lnTo>
                <a:lnTo>
                  <a:pt x="1088" y="630"/>
                </a:lnTo>
                <a:lnTo>
                  <a:pt x="1086" y="630"/>
                </a:lnTo>
                <a:lnTo>
                  <a:pt x="1084" y="630"/>
                </a:lnTo>
                <a:lnTo>
                  <a:pt x="1082" y="628"/>
                </a:lnTo>
                <a:lnTo>
                  <a:pt x="1082" y="628"/>
                </a:lnTo>
                <a:lnTo>
                  <a:pt x="1078" y="628"/>
                </a:lnTo>
                <a:lnTo>
                  <a:pt x="1078" y="628"/>
                </a:lnTo>
                <a:lnTo>
                  <a:pt x="1078" y="630"/>
                </a:lnTo>
                <a:lnTo>
                  <a:pt x="1078" y="630"/>
                </a:lnTo>
                <a:lnTo>
                  <a:pt x="1078" y="632"/>
                </a:lnTo>
                <a:lnTo>
                  <a:pt x="1076" y="632"/>
                </a:lnTo>
                <a:lnTo>
                  <a:pt x="1076" y="630"/>
                </a:lnTo>
                <a:lnTo>
                  <a:pt x="1076" y="630"/>
                </a:lnTo>
                <a:lnTo>
                  <a:pt x="1072" y="632"/>
                </a:lnTo>
                <a:lnTo>
                  <a:pt x="1072" y="632"/>
                </a:lnTo>
                <a:lnTo>
                  <a:pt x="1070" y="626"/>
                </a:lnTo>
                <a:lnTo>
                  <a:pt x="1070" y="626"/>
                </a:lnTo>
                <a:lnTo>
                  <a:pt x="1064" y="628"/>
                </a:lnTo>
                <a:lnTo>
                  <a:pt x="1060" y="628"/>
                </a:lnTo>
                <a:lnTo>
                  <a:pt x="1058" y="628"/>
                </a:lnTo>
                <a:lnTo>
                  <a:pt x="1052" y="626"/>
                </a:lnTo>
                <a:lnTo>
                  <a:pt x="1052" y="626"/>
                </a:lnTo>
                <a:lnTo>
                  <a:pt x="1050" y="630"/>
                </a:lnTo>
                <a:lnTo>
                  <a:pt x="1050" y="630"/>
                </a:lnTo>
                <a:lnTo>
                  <a:pt x="1046" y="630"/>
                </a:lnTo>
                <a:lnTo>
                  <a:pt x="1042" y="628"/>
                </a:lnTo>
                <a:lnTo>
                  <a:pt x="1042" y="628"/>
                </a:lnTo>
                <a:lnTo>
                  <a:pt x="1040" y="630"/>
                </a:lnTo>
                <a:lnTo>
                  <a:pt x="1036" y="630"/>
                </a:lnTo>
                <a:lnTo>
                  <a:pt x="1036" y="630"/>
                </a:lnTo>
                <a:lnTo>
                  <a:pt x="1034" y="630"/>
                </a:lnTo>
                <a:lnTo>
                  <a:pt x="1032" y="628"/>
                </a:lnTo>
                <a:lnTo>
                  <a:pt x="1032" y="628"/>
                </a:lnTo>
                <a:lnTo>
                  <a:pt x="1030" y="630"/>
                </a:lnTo>
                <a:lnTo>
                  <a:pt x="1030" y="630"/>
                </a:lnTo>
                <a:lnTo>
                  <a:pt x="1020" y="630"/>
                </a:lnTo>
                <a:lnTo>
                  <a:pt x="1020" y="630"/>
                </a:lnTo>
                <a:lnTo>
                  <a:pt x="1020" y="630"/>
                </a:lnTo>
                <a:lnTo>
                  <a:pt x="1006" y="628"/>
                </a:lnTo>
                <a:lnTo>
                  <a:pt x="1006" y="630"/>
                </a:lnTo>
                <a:lnTo>
                  <a:pt x="1006" y="630"/>
                </a:lnTo>
                <a:lnTo>
                  <a:pt x="1002" y="634"/>
                </a:lnTo>
                <a:lnTo>
                  <a:pt x="1002" y="634"/>
                </a:lnTo>
                <a:lnTo>
                  <a:pt x="1000" y="632"/>
                </a:lnTo>
                <a:lnTo>
                  <a:pt x="1000" y="634"/>
                </a:lnTo>
                <a:lnTo>
                  <a:pt x="998" y="634"/>
                </a:lnTo>
                <a:lnTo>
                  <a:pt x="998" y="634"/>
                </a:lnTo>
                <a:lnTo>
                  <a:pt x="998" y="638"/>
                </a:lnTo>
                <a:lnTo>
                  <a:pt x="996" y="644"/>
                </a:lnTo>
                <a:lnTo>
                  <a:pt x="996" y="644"/>
                </a:lnTo>
                <a:lnTo>
                  <a:pt x="992" y="646"/>
                </a:lnTo>
                <a:lnTo>
                  <a:pt x="990" y="646"/>
                </a:lnTo>
                <a:lnTo>
                  <a:pt x="990" y="646"/>
                </a:lnTo>
                <a:lnTo>
                  <a:pt x="988" y="648"/>
                </a:lnTo>
                <a:lnTo>
                  <a:pt x="988" y="650"/>
                </a:lnTo>
                <a:lnTo>
                  <a:pt x="988" y="650"/>
                </a:lnTo>
                <a:lnTo>
                  <a:pt x="986" y="652"/>
                </a:lnTo>
                <a:lnTo>
                  <a:pt x="984" y="652"/>
                </a:lnTo>
                <a:lnTo>
                  <a:pt x="984" y="652"/>
                </a:lnTo>
                <a:lnTo>
                  <a:pt x="984" y="652"/>
                </a:lnTo>
                <a:lnTo>
                  <a:pt x="982" y="654"/>
                </a:lnTo>
                <a:lnTo>
                  <a:pt x="982" y="656"/>
                </a:lnTo>
                <a:lnTo>
                  <a:pt x="982" y="656"/>
                </a:lnTo>
                <a:lnTo>
                  <a:pt x="980" y="658"/>
                </a:lnTo>
                <a:lnTo>
                  <a:pt x="976" y="658"/>
                </a:lnTo>
                <a:lnTo>
                  <a:pt x="976" y="658"/>
                </a:lnTo>
                <a:lnTo>
                  <a:pt x="974" y="660"/>
                </a:lnTo>
                <a:lnTo>
                  <a:pt x="974" y="660"/>
                </a:lnTo>
                <a:lnTo>
                  <a:pt x="972" y="662"/>
                </a:lnTo>
                <a:lnTo>
                  <a:pt x="972" y="662"/>
                </a:lnTo>
                <a:lnTo>
                  <a:pt x="968" y="666"/>
                </a:lnTo>
                <a:lnTo>
                  <a:pt x="968" y="668"/>
                </a:lnTo>
                <a:lnTo>
                  <a:pt x="966" y="670"/>
                </a:lnTo>
                <a:lnTo>
                  <a:pt x="966" y="670"/>
                </a:lnTo>
                <a:lnTo>
                  <a:pt x="960" y="670"/>
                </a:lnTo>
                <a:lnTo>
                  <a:pt x="960" y="670"/>
                </a:lnTo>
                <a:lnTo>
                  <a:pt x="964" y="672"/>
                </a:lnTo>
                <a:lnTo>
                  <a:pt x="964" y="672"/>
                </a:lnTo>
                <a:lnTo>
                  <a:pt x="960" y="684"/>
                </a:lnTo>
                <a:lnTo>
                  <a:pt x="954" y="694"/>
                </a:lnTo>
                <a:lnTo>
                  <a:pt x="954" y="694"/>
                </a:lnTo>
                <a:lnTo>
                  <a:pt x="956" y="694"/>
                </a:lnTo>
                <a:lnTo>
                  <a:pt x="956" y="692"/>
                </a:lnTo>
                <a:lnTo>
                  <a:pt x="958" y="692"/>
                </a:lnTo>
                <a:lnTo>
                  <a:pt x="958" y="692"/>
                </a:lnTo>
                <a:lnTo>
                  <a:pt x="964" y="684"/>
                </a:lnTo>
                <a:lnTo>
                  <a:pt x="964" y="684"/>
                </a:lnTo>
                <a:lnTo>
                  <a:pt x="964" y="680"/>
                </a:lnTo>
                <a:lnTo>
                  <a:pt x="966" y="678"/>
                </a:lnTo>
                <a:lnTo>
                  <a:pt x="966" y="678"/>
                </a:lnTo>
                <a:lnTo>
                  <a:pt x="970" y="676"/>
                </a:lnTo>
                <a:lnTo>
                  <a:pt x="974" y="676"/>
                </a:lnTo>
                <a:lnTo>
                  <a:pt x="974" y="676"/>
                </a:lnTo>
                <a:lnTo>
                  <a:pt x="974" y="672"/>
                </a:lnTo>
                <a:lnTo>
                  <a:pt x="974" y="670"/>
                </a:lnTo>
                <a:lnTo>
                  <a:pt x="974" y="670"/>
                </a:lnTo>
                <a:lnTo>
                  <a:pt x="978" y="668"/>
                </a:lnTo>
                <a:lnTo>
                  <a:pt x="984" y="666"/>
                </a:lnTo>
                <a:lnTo>
                  <a:pt x="984" y="666"/>
                </a:lnTo>
                <a:lnTo>
                  <a:pt x="988" y="660"/>
                </a:lnTo>
                <a:lnTo>
                  <a:pt x="988" y="660"/>
                </a:lnTo>
                <a:lnTo>
                  <a:pt x="990" y="660"/>
                </a:lnTo>
                <a:lnTo>
                  <a:pt x="990" y="660"/>
                </a:lnTo>
                <a:lnTo>
                  <a:pt x="992" y="656"/>
                </a:lnTo>
                <a:lnTo>
                  <a:pt x="992" y="656"/>
                </a:lnTo>
                <a:lnTo>
                  <a:pt x="998" y="656"/>
                </a:lnTo>
                <a:lnTo>
                  <a:pt x="998" y="656"/>
                </a:lnTo>
                <a:lnTo>
                  <a:pt x="1000" y="652"/>
                </a:lnTo>
                <a:lnTo>
                  <a:pt x="1000" y="652"/>
                </a:lnTo>
                <a:lnTo>
                  <a:pt x="1006" y="650"/>
                </a:lnTo>
                <a:lnTo>
                  <a:pt x="1014" y="648"/>
                </a:lnTo>
                <a:lnTo>
                  <a:pt x="1018" y="646"/>
                </a:lnTo>
                <a:lnTo>
                  <a:pt x="1018" y="646"/>
                </a:lnTo>
                <a:lnTo>
                  <a:pt x="1020" y="646"/>
                </a:lnTo>
                <a:lnTo>
                  <a:pt x="1020" y="648"/>
                </a:lnTo>
                <a:lnTo>
                  <a:pt x="1020" y="648"/>
                </a:lnTo>
                <a:lnTo>
                  <a:pt x="1026" y="648"/>
                </a:lnTo>
                <a:lnTo>
                  <a:pt x="1032" y="648"/>
                </a:lnTo>
                <a:lnTo>
                  <a:pt x="1032" y="648"/>
                </a:lnTo>
                <a:lnTo>
                  <a:pt x="1034" y="648"/>
                </a:lnTo>
                <a:lnTo>
                  <a:pt x="1034" y="650"/>
                </a:lnTo>
                <a:lnTo>
                  <a:pt x="1036" y="652"/>
                </a:lnTo>
                <a:lnTo>
                  <a:pt x="1036" y="652"/>
                </a:lnTo>
                <a:lnTo>
                  <a:pt x="1038" y="654"/>
                </a:lnTo>
                <a:lnTo>
                  <a:pt x="1038" y="654"/>
                </a:lnTo>
                <a:lnTo>
                  <a:pt x="1038" y="658"/>
                </a:lnTo>
                <a:lnTo>
                  <a:pt x="1038" y="658"/>
                </a:lnTo>
                <a:lnTo>
                  <a:pt x="1034" y="656"/>
                </a:lnTo>
                <a:lnTo>
                  <a:pt x="1034" y="656"/>
                </a:lnTo>
                <a:lnTo>
                  <a:pt x="1036" y="662"/>
                </a:lnTo>
                <a:lnTo>
                  <a:pt x="1034" y="668"/>
                </a:lnTo>
                <a:lnTo>
                  <a:pt x="1034" y="668"/>
                </a:lnTo>
                <a:lnTo>
                  <a:pt x="1028" y="666"/>
                </a:lnTo>
                <a:lnTo>
                  <a:pt x="1028" y="666"/>
                </a:lnTo>
                <a:lnTo>
                  <a:pt x="1028" y="676"/>
                </a:lnTo>
                <a:lnTo>
                  <a:pt x="1028" y="676"/>
                </a:lnTo>
                <a:lnTo>
                  <a:pt x="1022" y="676"/>
                </a:lnTo>
                <a:lnTo>
                  <a:pt x="1022" y="678"/>
                </a:lnTo>
                <a:lnTo>
                  <a:pt x="1022" y="678"/>
                </a:lnTo>
                <a:lnTo>
                  <a:pt x="1018" y="678"/>
                </a:lnTo>
                <a:lnTo>
                  <a:pt x="1018" y="678"/>
                </a:lnTo>
                <a:lnTo>
                  <a:pt x="1018" y="674"/>
                </a:lnTo>
                <a:lnTo>
                  <a:pt x="1018" y="672"/>
                </a:lnTo>
                <a:lnTo>
                  <a:pt x="1018" y="672"/>
                </a:lnTo>
                <a:lnTo>
                  <a:pt x="1014" y="670"/>
                </a:lnTo>
                <a:lnTo>
                  <a:pt x="1014" y="670"/>
                </a:lnTo>
                <a:lnTo>
                  <a:pt x="1014" y="672"/>
                </a:lnTo>
                <a:lnTo>
                  <a:pt x="1012" y="674"/>
                </a:lnTo>
                <a:lnTo>
                  <a:pt x="1012" y="676"/>
                </a:lnTo>
                <a:lnTo>
                  <a:pt x="1012" y="676"/>
                </a:lnTo>
                <a:lnTo>
                  <a:pt x="1016" y="678"/>
                </a:lnTo>
                <a:lnTo>
                  <a:pt x="1016" y="680"/>
                </a:lnTo>
                <a:lnTo>
                  <a:pt x="1016" y="680"/>
                </a:lnTo>
                <a:lnTo>
                  <a:pt x="1014" y="680"/>
                </a:lnTo>
                <a:lnTo>
                  <a:pt x="1014" y="682"/>
                </a:lnTo>
                <a:lnTo>
                  <a:pt x="1016" y="684"/>
                </a:lnTo>
                <a:lnTo>
                  <a:pt x="1020" y="684"/>
                </a:lnTo>
                <a:lnTo>
                  <a:pt x="1020" y="684"/>
                </a:lnTo>
                <a:lnTo>
                  <a:pt x="1024" y="680"/>
                </a:lnTo>
                <a:lnTo>
                  <a:pt x="1024" y="680"/>
                </a:lnTo>
                <a:lnTo>
                  <a:pt x="1028" y="680"/>
                </a:lnTo>
                <a:lnTo>
                  <a:pt x="1032" y="680"/>
                </a:lnTo>
                <a:lnTo>
                  <a:pt x="1032" y="680"/>
                </a:lnTo>
                <a:lnTo>
                  <a:pt x="1032" y="682"/>
                </a:lnTo>
                <a:lnTo>
                  <a:pt x="1032" y="684"/>
                </a:lnTo>
                <a:lnTo>
                  <a:pt x="1030" y="686"/>
                </a:lnTo>
                <a:lnTo>
                  <a:pt x="1030" y="686"/>
                </a:lnTo>
                <a:lnTo>
                  <a:pt x="1030" y="690"/>
                </a:lnTo>
                <a:lnTo>
                  <a:pt x="1030" y="692"/>
                </a:lnTo>
                <a:lnTo>
                  <a:pt x="1030" y="692"/>
                </a:lnTo>
                <a:lnTo>
                  <a:pt x="1028" y="692"/>
                </a:lnTo>
                <a:lnTo>
                  <a:pt x="1026" y="696"/>
                </a:lnTo>
                <a:lnTo>
                  <a:pt x="1026" y="696"/>
                </a:lnTo>
                <a:lnTo>
                  <a:pt x="1024" y="696"/>
                </a:lnTo>
                <a:lnTo>
                  <a:pt x="1026" y="696"/>
                </a:lnTo>
                <a:lnTo>
                  <a:pt x="1028" y="698"/>
                </a:lnTo>
                <a:lnTo>
                  <a:pt x="1028" y="698"/>
                </a:lnTo>
                <a:lnTo>
                  <a:pt x="1034" y="696"/>
                </a:lnTo>
                <a:lnTo>
                  <a:pt x="1034" y="696"/>
                </a:lnTo>
                <a:lnTo>
                  <a:pt x="1034" y="700"/>
                </a:lnTo>
                <a:lnTo>
                  <a:pt x="1032" y="700"/>
                </a:lnTo>
                <a:lnTo>
                  <a:pt x="1032" y="700"/>
                </a:lnTo>
                <a:lnTo>
                  <a:pt x="1032" y="710"/>
                </a:lnTo>
                <a:lnTo>
                  <a:pt x="1032" y="710"/>
                </a:lnTo>
                <a:lnTo>
                  <a:pt x="1034" y="710"/>
                </a:lnTo>
                <a:lnTo>
                  <a:pt x="1034" y="710"/>
                </a:lnTo>
                <a:lnTo>
                  <a:pt x="1034" y="714"/>
                </a:lnTo>
                <a:lnTo>
                  <a:pt x="1034" y="714"/>
                </a:lnTo>
                <a:lnTo>
                  <a:pt x="1046" y="716"/>
                </a:lnTo>
                <a:lnTo>
                  <a:pt x="1046" y="716"/>
                </a:lnTo>
                <a:lnTo>
                  <a:pt x="1044" y="718"/>
                </a:lnTo>
                <a:lnTo>
                  <a:pt x="1044" y="718"/>
                </a:lnTo>
                <a:lnTo>
                  <a:pt x="1040" y="720"/>
                </a:lnTo>
                <a:lnTo>
                  <a:pt x="1042" y="722"/>
                </a:lnTo>
                <a:lnTo>
                  <a:pt x="1042" y="722"/>
                </a:lnTo>
                <a:lnTo>
                  <a:pt x="1044" y="722"/>
                </a:lnTo>
                <a:lnTo>
                  <a:pt x="1044" y="720"/>
                </a:lnTo>
                <a:lnTo>
                  <a:pt x="1046" y="720"/>
                </a:lnTo>
                <a:lnTo>
                  <a:pt x="1046" y="720"/>
                </a:lnTo>
                <a:lnTo>
                  <a:pt x="1052" y="724"/>
                </a:lnTo>
                <a:lnTo>
                  <a:pt x="1052" y="724"/>
                </a:lnTo>
                <a:lnTo>
                  <a:pt x="1056" y="724"/>
                </a:lnTo>
                <a:lnTo>
                  <a:pt x="1056" y="724"/>
                </a:lnTo>
                <a:lnTo>
                  <a:pt x="1056" y="728"/>
                </a:lnTo>
                <a:lnTo>
                  <a:pt x="1056" y="728"/>
                </a:lnTo>
                <a:lnTo>
                  <a:pt x="1060" y="728"/>
                </a:lnTo>
                <a:lnTo>
                  <a:pt x="1060" y="728"/>
                </a:lnTo>
                <a:lnTo>
                  <a:pt x="1064" y="724"/>
                </a:lnTo>
                <a:lnTo>
                  <a:pt x="1068" y="720"/>
                </a:lnTo>
                <a:lnTo>
                  <a:pt x="1068" y="720"/>
                </a:lnTo>
                <a:lnTo>
                  <a:pt x="1070" y="720"/>
                </a:lnTo>
                <a:lnTo>
                  <a:pt x="1070" y="720"/>
                </a:lnTo>
                <a:lnTo>
                  <a:pt x="1070" y="728"/>
                </a:lnTo>
                <a:lnTo>
                  <a:pt x="1070" y="728"/>
                </a:lnTo>
                <a:lnTo>
                  <a:pt x="1074" y="728"/>
                </a:lnTo>
                <a:lnTo>
                  <a:pt x="1074" y="728"/>
                </a:lnTo>
                <a:lnTo>
                  <a:pt x="1074" y="730"/>
                </a:lnTo>
                <a:lnTo>
                  <a:pt x="1074" y="730"/>
                </a:lnTo>
                <a:close/>
                <a:moveTo>
                  <a:pt x="1206" y="678"/>
                </a:moveTo>
                <a:lnTo>
                  <a:pt x="1206" y="678"/>
                </a:lnTo>
                <a:lnTo>
                  <a:pt x="1206" y="682"/>
                </a:lnTo>
                <a:lnTo>
                  <a:pt x="1206" y="682"/>
                </a:lnTo>
                <a:lnTo>
                  <a:pt x="1202" y="682"/>
                </a:lnTo>
                <a:lnTo>
                  <a:pt x="1200" y="680"/>
                </a:lnTo>
                <a:lnTo>
                  <a:pt x="1200" y="676"/>
                </a:lnTo>
                <a:lnTo>
                  <a:pt x="1200" y="676"/>
                </a:lnTo>
                <a:lnTo>
                  <a:pt x="1206" y="670"/>
                </a:lnTo>
                <a:lnTo>
                  <a:pt x="1206" y="670"/>
                </a:lnTo>
                <a:lnTo>
                  <a:pt x="1206" y="666"/>
                </a:lnTo>
                <a:lnTo>
                  <a:pt x="1206" y="666"/>
                </a:lnTo>
                <a:lnTo>
                  <a:pt x="1202" y="668"/>
                </a:lnTo>
                <a:lnTo>
                  <a:pt x="1202" y="670"/>
                </a:lnTo>
                <a:lnTo>
                  <a:pt x="1202" y="670"/>
                </a:lnTo>
                <a:lnTo>
                  <a:pt x="1200" y="672"/>
                </a:lnTo>
                <a:lnTo>
                  <a:pt x="1200" y="672"/>
                </a:lnTo>
                <a:lnTo>
                  <a:pt x="1198" y="676"/>
                </a:lnTo>
                <a:lnTo>
                  <a:pt x="1198" y="680"/>
                </a:lnTo>
                <a:lnTo>
                  <a:pt x="1198" y="680"/>
                </a:lnTo>
                <a:lnTo>
                  <a:pt x="1192" y="680"/>
                </a:lnTo>
                <a:lnTo>
                  <a:pt x="1192" y="676"/>
                </a:lnTo>
                <a:lnTo>
                  <a:pt x="1192" y="676"/>
                </a:lnTo>
                <a:lnTo>
                  <a:pt x="1196" y="676"/>
                </a:lnTo>
                <a:lnTo>
                  <a:pt x="1196" y="676"/>
                </a:lnTo>
                <a:lnTo>
                  <a:pt x="1196" y="672"/>
                </a:lnTo>
                <a:lnTo>
                  <a:pt x="1196" y="672"/>
                </a:lnTo>
                <a:lnTo>
                  <a:pt x="1192" y="670"/>
                </a:lnTo>
                <a:lnTo>
                  <a:pt x="1192" y="670"/>
                </a:lnTo>
                <a:lnTo>
                  <a:pt x="1192" y="666"/>
                </a:lnTo>
                <a:lnTo>
                  <a:pt x="1192" y="666"/>
                </a:lnTo>
                <a:lnTo>
                  <a:pt x="1196" y="666"/>
                </a:lnTo>
                <a:lnTo>
                  <a:pt x="1196" y="666"/>
                </a:lnTo>
                <a:lnTo>
                  <a:pt x="1196" y="662"/>
                </a:lnTo>
                <a:lnTo>
                  <a:pt x="1198" y="658"/>
                </a:lnTo>
                <a:lnTo>
                  <a:pt x="1198" y="658"/>
                </a:lnTo>
                <a:lnTo>
                  <a:pt x="1194" y="660"/>
                </a:lnTo>
                <a:lnTo>
                  <a:pt x="1194" y="662"/>
                </a:lnTo>
                <a:lnTo>
                  <a:pt x="1194" y="662"/>
                </a:lnTo>
                <a:lnTo>
                  <a:pt x="1190" y="662"/>
                </a:lnTo>
                <a:lnTo>
                  <a:pt x="1190" y="662"/>
                </a:lnTo>
                <a:lnTo>
                  <a:pt x="1186" y="664"/>
                </a:lnTo>
                <a:lnTo>
                  <a:pt x="1186" y="664"/>
                </a:lnTo>
                <a:lnTo>
                  <a:pt x="1184" y="664"/>
                </a:lnTo>
                <a:lnTo>
                  <a:pt x="1182" y="664"/>
                </a:lnTo>
                <a:lnTo>
                  <a:pt x="1182" y="664"/>
                </a:lnTo>
                <a:lnTo>
                  <a:pt x="1186" y="656"/>
                </a:lnTo>
                <a:lnTo>
                  <a:pt x="1186" y="656"/>
                </a:lnTo>
                <a:lnTo>
                  <a:pt x="1184" y="658"/>
                </a:lnTo>
                <a:lnTo>
                  <a:pt x="1184" y="658"/>
                </a:lnTo>
                <a:lnTo>
                  <a:pt x="1184" y="658"/>
                </a:lnTo>
                <a:lnTo>
                  <a:pt x="1180" y="658"/>
                </a:lnTo>
                <a:lnTo>
                  <a:pt x="1180" y="658"/>
                </a:lnTo>
                <a:lnTo>
                  <a:pt x="1182" y="656"/>
                </a:lnTo>
                <a:lnTo>
                  <a:pt x="1182" y="656"/>
                </a:lnTo>
                <a:lnTo>
                  <a:pt x="1178" y="654"/>
                </a:lnTo>
                <a:lnTo>
                  <a:pt x="1180" y="652"/>
                </a:lnTo>
                <a:lnTo>
                  <a:pt x="1180" y="652"/>
                </a:lnTo>
                <a:lnTo>
                  <a:pt x="1184" y="646"/>
                </a:lnTo>
                <a:lnTo>
                  <a:pt x="1184" y="646"/>
                </a:lnTo>
                <a:lnTo>
                  <a:pt x="1180" y="642"/>
                </a:lnTo>
                <a:lnTo>
                  <a:pt x="1178" y="642"/>
                </a:lnTo>
                <a:lnTo>
                  <a:pt x="1176" y="644"/>
                </a:lnTo>
                <a:lnTo>
                  <a:pt x="1176" y="644"/>
                </a:lnTo>
                <a:lnTo>
                  <a:pt x="1174" y="644"/>
                </a:lnTo>
                <a:lnTo>
                  <a:pt x="1172" y="644"/>
                </a:lnTo>
                <a:lnTo>
                  <a:pt x="1170" y="640"/>
                </a:lnTo>
                <a:lnTo>
                  <a:pt x="1170" y="640"/>
                </a:lnTo>
                <a:lnTo>
                  <a:pt x="1168" y="642"/>
                </a:lnTo>
                <a:lnTo>
                  <a:pt x="1162" y="644"/>
                </a:lnTo>
                <a:lnTo>
                  <a:pt x="1162" y="644"/>
                </a:lnTo>
                <a:lnTo>
                  <a:pt x="1162" y="646"/>
                </a:lnTo>
                <a:lnTo>
                  <a:pt x="1162" y="648"/>
                </a:lnTo>
                <a:lnTo>
                  <a:pt x="1162" y="648"/>
                </a:lnTo>
                <a:lnTo>
                  <a:pt x="1160" y="646"/>
                </a:lnTo>
                <a:lnTo>
                  <a:pt x="1160" y="644"/>
                </a:lnTo>
                <a:lnTo>
                  <a:pt x="1160" y="644"/>
                </a:lnTo>
                <a:lnTo>
                  <a:pt x="1154" y="646"/>
                </a:lnTo>
                <a:lnTo>
                  <a:pt x="1154" y="646"/>
                </a:lnTo>
                <a:lnTo>
                  <a:pt x="1154" y="646"/>
                </a:lnTo>
                <a:lnTo>
                  <a:pt x="1156" y="644"/>
                </a:lnTo>
                <a:lnTo>
                  <a:pt x="1156" y="642"/>
                </a:lnTo>
                <a:lnTo>
                  <a:pt x="1156" y="642"/>
                </a:lnTo>
                <a:lnTo>
                  <a:pt x="1148" y="644"/>
                </a:lnTo>
                <a:lnTo>
                  <a:pt x="1148" y="644"/>
                </a:lnTo>
                <a:lnTo>
                  <a:pt x="1154" y="640"/>
                </a:lnTo>
                <a:lnTo>
                  <a:pt x="1154" y="636"/>
                </a:lnTo>
                <a:lnTo>
                  <a:pt x="1152" y="634"/>
                </a:lnTo>
                <a:lnTo>
                  <a:pt x="1146" y="632"/>
                </a:lnTo>
                <a:lnTo>
                  <a:pt x="1146" y="632"/>
                </a:lnTo>
                <a:lnTo>
                  <a:pt x="1146" y="634"/>
                </a:lnTo>
                <a:lnTo>
                  <a:pt x="1146" y="634"/>
                </a:lnTo>
                <a:lnTo>
                  <a:pt x="1146" y="634"/>
                </a:lnTo>
                <a:lnTo>
                  <a:pt x="1144" y="634"/>
                </a:lnTo>
                <a:lnTo>
                  <a:pt x="1144" y="634"/>
                </a:lnTo>
                <a:lnTo>
                  <a:pt x="1138" y="644"/>
                </a:lnTo>
                <a:lnTo>
                  <a:pt x="1138" y="644"/>
                </a:lnTo>
                <a:lnTo>
                  <a:pt x="1140" y="638"/>
                </a:lnTo>
                <a:lnTo>
                  <a:pt x="1140" y="638"/>
                </a:lnTo>
                <a:lnTo>
                  <a:pt x="1138" y="638"/>
                </a:lnTo>
                <a:lnTo>
                  <a:pt x="1138" y="638"/>
                </a:lnTo>
                <a:lnTo>
                  <a:pt x="1138" y="636"/>
                </a:lnTo>
                <a:lnTo>
                  <a:pt x="1138" y="636"/>
                </a:lnTo>
                <a:lnTo>
                  <a:pt x="1138" y="634"/>
                </a:lnTo>
                <a:lnTo>
                  <a:pt x="1138" y="632"/>
                </a:lnTo>
                <a:lnTo>
                  <a:pt x="1138" y="632"/>
                </a:lnTo>
                <a:lnTo>
                  <a:pt x="1140" y="628"/>
                </a:lnTo>
                <a:lnTo>
                  <a:pt x="1142" y="626"/>
                </a:lnTo>
                <a:lnTo>
                  <a:pt x="1142" y="626"/>
                </a:lnTo>
                <a:lnTo>
                  <a:pt x="1142" y="616"/>
                </a:lnTo>
                <a:lnTo>
                  <a:pt x="1144" y="616"/>
                </a:lnTo>
                <a:lnTo>
                  <a:pt x="1144" y="616"/>
                </a:lnTo>
                <a:lnTo>
                  <a:pt x="1148" y="616"/>
                </a:lnTo>
                <a:lnTo>
                  <a:pt x="1148" y="616"/>
                </a:lnTo>
                <a:lnTo>
                  <a:pt x="1150" y="612"/>
                </a:lnTo>
                <a:lnTo>
                  <a:pt x="1150" y="610"/>
                </a:lnTo>
                <a:lnTo>
                  <a:pt x="1146" y="610"/>
                </a:lnTo>
                <a:lnTo>
                  <a:pt x="1146" y="608"/>
                </a:lnTo>
                <a:lnTo>
                  <a:pt x="1146" y="608"/>
                </a:lnTo>
                <a:lnTo>
                  <a:pt x="1150" y="608"/>
                </a:lnTo>
                <a:lnTo>
                  <a:pt x="1150" y="606"/>
                </a:lnTo>
                <a:lnTo>
                  <a:pt x="1154" y="606"/>
                </a:lnTo>
                <a:lnTo>
                  <a:pt x="1154" y="606"/>
                </a:lnTo>
                <a:lnTo>
                  <a:pt x="1154" y="602"/>
                </a:lnTo>
                <a:lnTo>
                  <a:pt x="1154" y="602"/>
                </a:lnTo>
                <a:lnTo>
                  <a:pt x="1148" y="604"/>
                </a:lnTo>
                <a:lnTo>
                  <a:pt x="1148" y="604"/>
                </a:lnTo>
                <a:lnTo>
                  <a:pt x="1144" y="602"/>
                </a:lnTo>
                <a:lnTo>
                  <a:pt x="1144" y="602"/>
                </a:lnTo>
                <a:lnTo>
                  <a:pt x="1138" y="604"/>
                </a:lnTo>
                <a:lnTo>
                  <a:pt x="1134" y="610"/>
                </a:lnTo>
                <a:lnTo>
                  <a:pt x="1134" y="610"/>
                </a:lnTo>
                <a:lnTo>
                  <a:pt x="1136" y="614"/>
                </a:lnTo>
                <a:lnTo>
                  <a:pt x="1136" y="614"/>
                </a:lnTo>
                <a:lnTo>
                  <a:pt x="1132" y="614"/>
                </a:lnTo>
                <a:lnTo>
                  <a:pt x="1130" y="616"/>
                </a:lnTo>
                <a:lnTo>
                  <a:pt x="1130" y="616"/>
                </a:lnTo>
                <a:lnTo>
                  <a:pt x="1130" y="624"/>
                </a:lnTo>
                <a:lnTo>
                  <a:pt x="1128" y="626"/>
                </a:lnTo>
                <a:lnTo>
                  <a:pt x="1128" y="626"/>
                </a:lnTo>
                <a:lnTo>
                  <a:pt x="1128" y="634"/>
                </a:lnTo>
                <a:lnTo>
                  <a:pt x="1128" y="636"/>
                </a:lnTo>
                <a:lnTo>
                  <a:pt x="1128" y="640"/>
                </a:lnTo>
                <a:lnTo>
                  <a:pt x="1124" y="644"/>
                </a:lnTo>
                <a:lnTo>
                  <a:pt x="1124" y="644"/>
                </a:lnTo>
                <a:lnTo>
                  <a:pt x="1124" y="644"/>
                </a:lnTo>
                <a:lnTo>
                  <a:pt x="1124" y="646"/>
                </a:lnTo>
                <a:lnTo>
                  <a:pt x="1124" y="646"/>
                </a:lnTo>
                <a:lnTo>
                  <a:pt x="1130" y="646"/>
                </a:lnTo>
                <a:lnTo>
                  <a:pt x="1130" y="646"/>
                </a:lnTo>
                <a:lnTo>
                  <a:pt x="1128" y="650"/>
                </a:lnTo>
                <a:lnTo>
                  <a:pt x="1128" y="650"/>
                </a:lnTo>
                <a:lnTo>
                  <a:pt x="1128" y="652"/>
                </a:lnTo>
                <a:lnTo>
                  <a:pt x="1126" y="652"/>
                </a:lnTo>
                <a:lnTo>
                  <a:pt x="1126" y="652"/>
                </a:lnTo>
                <a:lnTo>
                  <a:pt x="1124" y="650"/>
                </a:lnTo>
                <a:lnTo>
                  <a:pt x="1122" y="650"/>
                </a:lnTo>
                <a:lnTo>
                  <a:pt x="1120" y="650"/>
                </a:lnTo>
                <a:lnTo>
                  <a:pt x="1120" y="652"/>
                </a:lnTo>
                <a:lnTo>
                  <a:pt x="1120" y="652"/>
                </a:lnTo>
                <a:lnTo>
                  <a:pt x="1118" y="652"/>
                </a:lnTo>
                <a:lnTo>
                  <a:pt x="1118" y="654"/>
                </a:lnTo>
                <a:lnTo>
                  <a:pt x="1118" y="654"/>
                </a:lnTo>
                <a:lnTo>
                  <a:pt x="1120" y="654"/>
                </a:lnTo>
                <a:lnTo>
                  <a:pt x="1120" y="656"/>
                </a:lnTo>
                <a:lnTo>
                  <a:pt x="1116" y="656"/>
                </a:lnTo>
                <a:lnTo>
                  <a:pt x="1116" y="656"/>
                </a:lnTo>
                <a:lnTo>
                  <a:pt x="1112" y="656"/>
                </a:lnTo>
                <a:lnTo>
                  <a:pt x="1112" y="656"/>
                </a:lnTo>
                <a:lnTo>
                  <a:pt x="1112" y="660"/>
                </a:lnTo>
                <a:lnTo>
                  <a:pt x="1112" y="660"/>
                </a:lnTo>
                <a:lnTo>
                  <a:pt x="1114" y="660"/>
                </a:lnTo>
                <a:lnTo>
                  <a:pt x="1114" y="660"/>
                </a:lnTo>
                <a:lnTo>
                  <a:pt x="1114" y="658"/>
                </a:lnTo>
                <a:lnTo>
                  <a:pt x="1114" y="658"/>
                </a:lnTo>
                <a:lnTo>
                  <a:pt x="1122" y="660"/>
                </a:lnTo>
                <a:lnTo>
                  <a:pt x="1122" y="660"/>
                </a:lnTo>
                <a:lnTo>
                  <a:pt x="1120" y="662"/>
                </a:lnTo>
                <a:lnTo>
                  <a:pt x="1120" y="662"/>
                </a:lnTo>
                <a:lnTo>
                  <a:pt x="1120" y="662"/>
                </a:lnTo>
                <a:lnTo>
                  <a:pt x="1120" y="660"/>
                </a:lnTo>
                <a:lnTo>
                  <a:pt x="1120" y="660"/>
                </a:lnTo>
                <a:lnTo>
                  <a:pt x="1116" y="662"/>
                </a:lnTo>
                <a:lnTo>
                  <a:pt x="1116" y="662"/>
                </a:lnTo>
                <a:lnTo>
                  <a:pt x="1116" y="666"/>
                </a:lnTo>
                <a:lnTo>
                  <a:pt x="1110" y="670"/>
                </a:lnTo>
                <a:lnTo>
                  <a:pt x="1110" y="670"/>
                </a:lnTo>
                <a:lnTo>
                  <a:pt x="1108" y="672"/>
                </a:lnTo>
                <a:lnTo>
                  <a:pt x="1108" y="672"/>
                </a:lnTo>
                <a:lnTo>
                  <a:pt x="1110" y="678"/>
                </a:lnTo>
                <a:lnTo>
                  <a:pt x="1116" y="678"/>
                </a:lnTo>
                <a:lnTo>
                  <a:pt x="1116" y="678"/>
                </a:lnTo>
                <a:lnTo>
                  <a:pt x="1118" y="676"/>
                </a:lnTo>
                <a:lnTo>
                  <a:pt x="1118" y="676"/>
                </a:lnTo>
                <a:lnTo>
                  <a:pt x="1118" y="676"/>
                </a:lnTo>
                <a:lnTo>
                  <a:pt x="1132" y="676"/>
                </a:lnTo>
                <a:lnTo>
                  <a:pt x="1132" y="676"/>
                </a:lnTo>
                <a:lnTo>
                  <a:pt x="1140" y="676"/>
                </a:lnTo>
                <a:lnTo>
                  <a:pt x="1140" y="676"/>
                </a:lnTo>
                <a:lnTo>
                  <a:pt x="1140" y="678"/>
                </a:lnTo>
                <a:lnTo>
                  <a:pt x="1142" y="678"/>
                </a:lnTo>
                <a:lnTo>
                  <a:pt x="1142" y="678"/>
                </a:lnTo>
                <a:lnTo>
                  <a:pt x="1146" y="676"/>
                </a:lnTo>
                <a:lnTo>
                  <a:pt x="1148" y="674"/>
                </a:lnTo>
                <a:lnTo>
                  <a:pt x="1148" y="674"/>
                </a:lnTo>
                <a:lnTo>
                  <a:pt x="1148" y="678"/>
                </a:lnTo>
                <a:lnTo>
                  <a:pt x="1148" y="678"/>
                </a:lnTo>
                <a:lnTo>
                  <a:pt x="1168" y="674"/>
                </a:lnTo>
                <a:lnTo>
                  <a:pt x="1168" y="674"/>
                </a:lnTo>
                <a:lnTo>
                  <a:pt x="1166" y="680"/>
                </a:lnTo>
                <a:lnTo>
                  <a:pt x="1172" y="680"/>
                </a:lnTo>
                <a:lnTo>
                  <a:pt x="1172" y="680"/>
                </a:lnTo>
                <a:lnTo>
                  <a:pt x="1174" y="674"/>
                </a:lnTo>
                <a:lnTo>
                  <a:pt x="1174" y="674"/>
                </a:lnTo>
                <a:lnTo>
                  <a:pt x="1178" y="674"/>
                </a:lnTo>
                <a:lnTo>
                  <a:pt x="1178" y="674"/>
                </a:lnTo>
                <a:lnTo>
                  <a:pt x="1176" y="678"/>
                </a:lnTo>
                <a:lnTo>
                  <a:pt x="1176" y="678"/>
                </a:lnTo>
                <a:lnTo>
                  <a:pt x="1174" y="680"/>
                </a:lnTo>
                <a:lnTo>
                  <a:pt x="1172" y="682"/>
                </a:lnTo>
                <a:lnTo>
                  <a:pt x="1172" y="682"/>
                </a:lnTo>
                <a:lnTo>
                  <a:pt x="1170" y="686"/>
                </a:lnTo>
                <a:lnTo>
                  <a:pt x="1170" y="686"/>
                </a:lnTo>
                <a:lnTo>
                  <a:pt x="1166" y="688"/>
                </a:lnTo>
                <a:lnTo>
                  <a:pt x="1166" y="688"/>
                </a:lnTo>
                <a:lnTo>
                  <a:pt x="1166" y="692"/>
                </a:lnTo>
                <a:lnTo>
                  <a:pt x="1166" y="692"/>
                </a:lnTo>
                <a:lnTo>
                  <a:pt x="1170" y="692"/>
                </a:lnTo>
                <a:lnTo>
                  <a:pt x="1170" y="692"/>
                </a:lnTo>
                <a:lnTo>
                  <a:pt x="1174" y="688"/>
                </a:lnTo>
                <a:lnTo>
                  <a:pt x="1176" y="684"/>
                </a:lnTo>
                <a:lnTo>
                  <a:pt x="1176" y="684"/>
                </a:lnTo>
                <a:lnTo>
                  <a:pt x="1176" y="684"/>
                </a:lnTo>
                <a:lnTo>
                  <a:pt x="1176" y="682"/>
                </a:lnTo>
                <a:lnTo>
                  <a:pt x="1178" y="680"/>
                </a:lnTo>
                <a:lnTo>
                  <a:pt x="1178" y="680"/>
                </a:lnTo>
                <a:lnTo>
                  <a:pt x="1182" y="680"/>
                </a:lnTo>
                <a:lnTo>
                  <a:pt x="1182" y="680"/>
                </a:lnTo>
                <a:lnTo>
                  <a:pt x="1184" y="674"/>
                </a:lnTo>
                <a:lnTo>
                  <a:pt x="1188" y="674"/>
                </a:lnTo>
                <a:lnTo>
                  <a:pt x="1188" y="674"/>
                </a:lnTo>
                <a:lnTo>
                  <a:pt x="1188" y="678"/>
                </a:lnTo>
                <a:lnTo>
                  <a:pt x="1192" y="680"/>
                </a:lnTo>
                <a:lnTo>
                  <a:pt x="1192" y="680"/>
                </a:lnTo>
                <a:lnTo>
                  <a:pt x="1192" y="684"/>
                </a:lnTo>
                <a:lnTo>
                  <a:pt x="1192" y="684"/>
                </a:lnTo>
                <a:lnTo>
                  <a:pt x="1190" y="684"/>
                </a:lnTo>
                <a:lnTo>
                  <a:pt x="1188" y="684"/>
                </a:lnTo>
                <a:lnTo>
                  <a:pt x="1188" y="684"/>
                </a:lnTo>
                <a:lnTo>
                  <a:pt x="1188" y="692"/>
                </a:lnTo>
                <a:lnTo>
                  <a:pt x="1188" y="692"/>
                </a:lnTo>
                <a:lnTo>
                  <a:pt x="1192" y="690"/>
                </a:lnTo>
                <a:lnTo>
                  <a:pt x="1192" y="690"/>
                </a:lnTo>
                <a:lnTo>
                  <a:pt x="1192" y="686"/>
                </a:lnTo>
                <a:lnTo>
                  <a:pt x="1192" y="686"/>
                </a:lnTo>
                <a:lnTo>
                  <a:pt x="1196" y="688"/>
                </a:lnTo>
                <a:lnTo>
                  <a:pt x="1196" y="694"/>
                </a:lnTo>
                <a:lnTo>
                  <a:pt x="1196" y="694"/>
                </a:lnTo>
                <a:lnTo>
                  <a:pt x="1202" y="694"/>
                </a:lnTo>
                <a:lnTo>
                  <a:pt x="1202" y="694"/>
                </a:lnTo>
                <a:lnTo>
                  <a:pt x="1204" y="688"/>
                </a:lnTo>
                <a:lnTo>
                  <a:pt x="1204" y="688"/>
                </a:lnTo>
                <a:lnTo>
                  <a:pt x="1208" y="680"/>
                </a:lnTo>
                <a:lnTo>
                  <a:pt x="1208" y="676"/>
                </a:lnTo>
                <a:lnTo>
                  <a:pt x="1208" y="676"/>
                </a:lnTo>
                <a:lnTo>
                  <a:pt x="1206" y="678"/>
                </a:lnTo>
                <a:lnTo>
                  <a:pt x="1206" y="678"/>
                </a:lnTo>
                <a:close/>
                <a:moveTo>
                  <a:pt x="1088" y="714"/>
                </a:moveTo>
                <a:lnTo>
                  <a:pt x="1088" y="712"/>
                </a:lnTo>
                <a:lnTo>
                  <a:pt x="1088" y="712"/>
                </a:lnTo>
                <a:lnTo>
                  <a:pt x="1084" y="712"/>
                </a:lnTo>
                <a:lnTo>
                  <a:pt x="1084" y="712"/>
                </a:lnTo>
                <a:lnTo>
                  <a:pt x="1086" y="704"/>
                </a:lnTo>
                <a:lnTo>
                  <a:pt x="1090" y="700"/>
                </a:lnTo>
                <a:lnTo>
                  <a:pt x="1090" y="700"/>
                </a:lnTo>
                <a:lnTo>
                  <a:pt x="1096" y="700"/>
                </a:lnTo>
                <a:lnTo>
                  <a:pt x="1096" y="700"/>
                </a:lnTo>
                <a:lnTo>
                  <a:pt x="1098" y="698"/>
                </a:lnTo>
                <a:lnTo>
                  <a:pt x="1100" y="696"/>
                </a:lnTo>
                <a:lnTo>
                  <a:pt x="1100" y="696"/>
                </a:lnTo>
                <a:lnTo>
                  <a:pt x="1098" y="694"/>
                </a:lnTo>
                <a:lnTo>
                  <a:pt x="1096" y="694"/>
                </a:lnTo>
                <a:lnTo>
                  <a:pt x="1096" y="696"/>
                </a:lnTo>
                <a:lnTo>
                  <a:pt x="1096" y="696"/>
                </a:lnTo>
                <a:lnTo>
                  <a:pt x="1092" y="698"/>
                </a:lnTo>
                <a:lnTo>
                  <a:pt x="1090" y="698"/>
                </a:lnTo>
                <a:lnTo>
                  <a:pt x="1086" y="696"/>
                </a:lnTo>
                <a:lnTo>
                  <a:pt x="1086" y="696"/>
                </a:lnTo>
                <a:lnTo>
                  <a:pt x="1080" y="700"/>
                </a:lnTo>
                <a:lnTo>
                  <a:pt x="1080" y="700"/>
                </a:lnTo>
                <a:lnTo>
                  <a:pt x="1082" y="704"/>
                </a:lnTo>
                <a:lnTo>
                  <a:pt x="1080" y="706"/>
                </a:lnTo>
                <a:lnTo>
                  <a:pt x="1078" y="706"/>
                </a:lnTo>
                <a:lnTo>
                  <a:pt x="1078" y="706"/>
                </a:lnTo>
                <a:lnTo>
                  <a:pt x="1076" y="710"/>
                </a:lnTo>
                <a:lnTo>
                  <a:pt x="1076" y="710"/>
                </a:lnTo>
                <a:lnTo>
                  <a:pt x="1076" y="712"/>
                </a:lnTo>
                <a:lnTo>
                  <a:pt x="1076" y="714"/>
                </a:lnTo>
                <a:lnTo>
                  <a:pt x="1074" y="716"/>
                </a:lnTo>
                <a:lnTo>
                  <a:pt x="1074" y="716"/>
                </a:lnTo>
                <a:lnTo>
                  <a:pt x="1074" y="722"/>
                </a:lnTo>
                <a:lnTo>
                  <a:pt x="1074" y="724"/>
                </a:lnTo>
                <a:lnTo>
                  <a:pt x="1076" y="726"/>
                </a:lnTo>
                <a:lnTo>
                  <a:pt x="1076" y="726"/>
                </a:lnTo>
                <a:lnTo>
                  <a:pt x="1082" y="728"/>
                </a:lnTo>
                <a:lnTo>
                  <a:pt x="1082" y="728"/>
                </a:lnTo>
                <a:lnTo>
                  <a:pt x="1082" y="726"/>
                </a:lnTo>
                <a:lnTo>
                  <a:pt x="1082" y="726"/>
                </a:lnTo>
                <a:lnTo>
                  <a:pt x="1082" y="724"/>
                </a:lnTo>
                <a:lnTo>
                  <a:pt x="1080" y="722"/>
                </a:lnTo>
                <a:lnTo>
                  <a:pt x="1082" y="718"/>
                </a:lnTo>
                <a:lnTo>
                  <a:pt x="1088" y="714"/>
                </a:lnTo>
                <a:lnTo>
                  <a:pt x="1088" y="714"/>
                </a:lnTo>
                <a:close/>
                <a:moveTo>
                  <a:pt x="1070" y="654"/>
                </a:moveTo>
                <a:lnTo>
                  <a:pt x="1064" y="650"/>
                </a:lnTo>
                <a:lnTo>
                  <a:pt x="1064" y="650"/>
                </a:lnTo>
                <a:lnTo>
                  <a:pt x="1062" y="650"/>
                </a:lnTo>
                <a:lnTo>
                  <a:pt x="1062" y="650"/>
                </a:lnTo>
                <a:lnTo>
                  <a:pt x="1058" y="646"/>
                </a:lnTo>
                <a:lnTo>
                  <a:pt x="1056" y="642"/>
                </a:lnTo>
                <a:lnTo>
                  <a:pt x="1056" y="642"/>
                </a:lnTo>
                <a:lnTo>
                  <a:pt x="1052" y="642"/>
                </a:lnTo>
                <a:lnTo>
                  <a:pt x="1052" y="642"/>
                </a:lnTo>
                <a:lnTo>
                  <a:pt x="1046" y="640"/>
                </a:lnTo>
                <a:lnTo>
                  <a:pt x="1042" y="636"/>
                </a:lnTo>
                <a:lnTo>
                  <a:pt x="1042" y="636"/>
                </a:lnTo>
                <a:lnTo>
                  <a:pt x="1034" y="636"/>
                </a:lnTo>
                <a:lnTo>
                  <a:pt x="1034" y="636"/>
                </a:lnTo>
                <a:lnTo>
                  <a:pt x="1034" y="642"/>
                </a:lnTo>
                <a:lnTo>
                  <a:pt x="1034" y="642"/>
                </a:lnTo>
                <a:lnTo>
                  <a:pt x="1040" y="642"/>
                </a:lnTo>
                <a:lnTo>
                  <a:pt x="1044" y="646"/>
                </a:lnTo>
                <a:lnTo>
                  <a:pt x="1044" y="646"/>
                </a:lnTo>
                <a:lnTo>
                  <a:pt x="1044" y="650"/>
                </a:lnTo>
                <a:lnTo>
                  <a:pt x="1044" y="650"/>
                </a:lnTo>
                <a:lnTo>
                  <a:pt x="1048" y="650"/>
                </a:lnTo>
                <a:lnTo>
                  <a:pt x="1054" y="652"/>
                </a:lnTo>
                <a:lnTo>
                  <a:pt x="1054" y="652"/>
                </a:lnTo>
                <a:lnTo>
                  <a:pt x="1058" y="654"/>
                </a:lnTo>
                <a:lnTo>
                  <a:pt x="1062" y="656"/>
                </a:lnTo>
                <a:lnTo>
                  <a:pt x="1062" y="656"/>
                </a:lnTo>
                <a:lnTo>
                  <a:pt x="1068" y="658"/>
                </a:lnTo>
                <a:lnTo>
                  <a:pt x="1068" y="658"/>
                </a:lnTo>
                <a:lnTo>
                  <a:pt x="1068" y="656"/>
                </a:lnTo>
                <a:lnTo>
                  <a:pt x="1070" y="654"/>
                </a:lnTo>
                <a:lnTo>
                  <a:pt x="1070" y="654"/>
                </a:lnTo>
                <a:close/>
                <a:moveTo>
                  <a:pt x="128" y="568"/>
                </a:moveTo>
                <a:lnTo>
                  <a:pt x="128" y="568"/>
                </a:lnTo>
                <a:lnTo>
                  <a:pt x="128" y="566"/>
                </a:lnTo>
                <a:lnTo>
                  <a:pt x="128" y="562"/>
                </a:lnTo>
                <a:lnTo>
                  <a:pt x="128" y="562"/>
                </a:lnTo>
                <a:lnTo>
                  <a:pt x="132" y="554"/>
                </a:lnTo>
                <a:lnTo>
                  <a:pt x="132" y="554"/>
                </a:lnTo>
                <a:lnTo>
                  <a:pt x="122" y="556"/>
                </a:lnTo>
                <a:lnTo>
                  <a:pt x="118" y="556"/>
                </a:lnTo>
                <a:lnTo>
                  <a:pt x="114" y="554"/>
                </a:lnTo>
                <a:lnTo>
                  <a:pt x="114" y="554"/>
                </a:lnTo>
                <a:lnTo>
                  <a:pt x="116" y="564"/>
                </a:lnTo>
                <a:lnTo>
                  <a:pt x="116" y="564"/>
                </a:lnTo>
                <a:lnTo>
                  <a:pt x="116" y="566"/>
                </a:lnTo>
                <a:lnTo>
                  <a:pt x="116" y="568"/>
                </a:lnTo>
                <a:lnTo>
                  <a:pt x="118" y="568"/>
                </a:lnTo>
                <a:lnTo>
                  <a:pt x="118" y="568"/>
                </a:lnTo>
                <a:lnTo>
                  <a:pt x="118" y="570"/>
                </a:lnTo>
                <a:lnTo>
                  <a:pt x="118" y="570"/>
                </a:lnTo>
                <a:lnTo>
                  <a:pt x="118" y="570"/>
                </a:lnTo>
                <a:lnTo>
                  <a:pt x="118" y="574"/>
                </a:lnTo>
                <a:lnTo>
                  <a:pt x="118" y="574"/>
                </a:lnTo>
                <a:lnTo>
                  <a:pt x="122" y="572"/>
                </a:lnTo>
                <a:lnTo>
                  <a:pt x="124" y="572"/>
                </a:lnTo>
                <a:lnTo>
                  <a:pt x="124" y="572"/>
                </a:lnTo>
                <a:lnTo>
                  <a:pt x="128" y="568"/>
                </a:lnTo>
                <a:lnTo>
                  <a:pt x="128" y="568"/>
                </a:lnTo>
                <a:close/>
                <a:moveTo>
                  <a:pt x="552" y="194"/>
                </a:moveTo>
                <a:lnTo>
                  <a:pt x="552" y="194"/>
                </a:lnTo>
                <a:lnTo>
                  <a:pt x="550" y="192"/>
                </a:lnTo>
                <a:lnTo>
                  <a:pt x="550" y="192"/>
                </a:lnTo>
                <a:lnTo>
                  <a:pt x="550" y="188"/>
                </a:lnTo>
                <a:lnTo>
                  <a:pt x="550" y="182"/>
                </a:lnTo>
                <a:lnTo>
                  <a:pt x="550" y="182"/>
                </a:lnTo>
                <a:lnTo>
                  <a:pt x="548" y="180"/>
                </a:lnTo>
                <a:lnTo>
                  <a:pt x="548" y="180"/>
                </a:lnTo>
                <a:lnTo>
                  <a:pt x="544" y="180"/>
                </a:lnTo>
                <a:lnTo>
                  <a:pt x="542" y="182"/>
                </a:lnTo>
                <a:lnTo>
                  <a:pt x="542" y="182"/>
                </a:lnTo>
                <a:lnTo>
                  <a:pt x="532" y="180"/>
                </a:lnTo>
                <a:lnTo>
                  <a:pt x="526" y="178"/>
                </a:lnTo>
                <a:lnTo>
                  <a:pt x="522" y="172"/>
                </a:lnTo>
                <a:lnTo>
                  <a:pt x="520" y="166"/>
                </a:lnTo>
                <a:lnTo>
                  <a:pt x="518" y="166"/>
                </a:lnTo>
                <a:lnTo>
                  <a:pt x="518" y="166"/>
                </a:lnTo>
                <a:lnTo>
                  <a:pt x="518" y="174"/>
                </a:lnTo>
                <a:lnTo>
                  <a:pt x="518" y="174"/>
                </a:lnTo>
                <a:lnTo>
                  <a:pt x="516" y="172"/>
                </a:lnTo>
                <a:lnTo>
                  <a:pt x="516" y="172"/>
                </a:lnTo>
                <a:lnTo>
                  <a:pt x="510" y="172"/>
                </a:lnTo>
                <a:lnTo>
                  <a:pt x="508" y="172"/>
                </a:lnTo>
                <a:lnTo>
                  <a:pt x="508" y="172"/>
                </a:lnTo>
                <a:lnTo>
                  <a:pt x="506" y="168"/>
                </a:lnTo>
                <a:lnTo>
                  <a:pt x="506" y="168"/>
                </a:lnTo>
                <a:lnTo>
                  <a:pt x="502" y="164"/>
                </a:lnTo>
                <a:lnTo>
                  <a:pt x="498" y="158"/>
                </a:lnTo>
                <a:lnTo>
                  <a:pt x="498" y="158"/>
                </a:lnTo>
                <a:lnTo>
                  <a:pt x="498" y="154"/>
                </a:lnTo>
                <a:lnTo>
                  <a:pt x="496" y="148"/>
                </a:lnTo>
                <a:lnTo>
                  <a:pt x="496" y="148"/>
                </a:lnTo>
                <a:lnTo>
                  <a:pt x="494" y="148"/>
                </a:lnTo>
                <a:lnTo>
                  <a:pt x="490" y="146"/>
                </a:lnTo>
                <a:lnTo>
                  <a:pt x="490" y="146"/>
                </a:lnTo>
                <a:lnTo>
                  <a:pt x="490" y="142"/>
                </a:lnTo>
                <a:lnTo>
                  <a:pt x="490" y="138"/>
                </a:lnTo>
                <a:lnTo>
                  <a:pt x="490" y="138"/>
                </a:lnTo>
                <a:lnTo>
                  <a:pt x="488" y="134"/>
                </a:lnTo>
                <a:lnTo>
                  <a:pt x="486" y="132"/>
                </a:lnTo>
                <a:lnTo>
                  <a:pt x="486" y="132"/>
                </a:lnTo>
                <a:lnTo>
                  <a:pt x="486" y="130"/>
                </a:lnTo>
                <a:lnTo>
                  <a:pt x="486" y="130"/>
                </a:lnTo>
                <a:lnTo>
                  <a:pt x="482" y="128"/>
                </a:lnTo>
                <a:lnTo>
                  <a:pt x="478" y="130"/>
                </a:lnTo>
                <a:lnTo>
                  <a:pt x="478" y="130"/>
                </a:lnTo>
                <a:lnTo>
                  <a:pt x="474" y="128"/>
                </a:lnTo>
                <a:lnTo>
                  <a:pt x="470" y="128"/>
                </a:lnTo>
                <a:lnTo>
                  <a:pt x="468" y="130"/>
                </a:lnTo>
                <a:lnTo>
                  <a:pt x="468" y="130"/>
                </a:lnTo>
                <a:lnTo>
                  <a:pt x="466" y="130"/>
                </a:lnTo>
                <a:lnTo>
                  <a:pt x="462" y="130"/>
                </a:lnTo>
                <a:lnTo>
                  <a:pt x="460" y="126"/>
                </a:lnTo>
                <a:lnTo>
                  <a:pt x="458" y="126"/>
                </a:lnTo>
                <a:lnTo>
                  <a:pt x="458" y="126"/>
                </a:lnTo>
                <a:lnTo>
                  <a:pt x="454" y="134"/>
                </a:lnTo>
                <a:lnTo>
                  <a:pt x="454" y="134"/>
                </a:lnTo>
                <a:lnTo>
                  <a:pt x="454" y="136"/>
                </a:lnTo>
                <a:lnTo>
                  <a:pt x="454" y="140"/>
                </a:lnTo>
                <a:lnTo>
                  <a:pt x="454" y="140"/>
                </a:lnTo>
                <a:lnTo>
                  <a:pt x="450" y="142"/>
                </a:lnTo>
                <a:lnTo>
                  <a:pt x="446" y="144"/>
                </a:lnTo>
                <a:lnTo>
                  <a:pt x="446" y="144"/>
                </a:lnTo>
                <a:lnTo>
                  <a:pt x="444" y="138"/>
                </a:lnTo>
                <a:lnTo>
                  <a:pt x="446" y="132"/>
                </a:lnTo>
                <a:lnTo>
                  <a:pt x="450" y="120"/>
                </a:lnTo>
                <a:lnTo>
                  <a:pt x="450" y="120"/>
                </a:lnTo>
                <a:lnTo>
                  <a:pt x="448" y="120"/>
                </a:lnTo>
                <a:lnTo>
                  <a:pt x="442" y="112"/>
                </a:lnTo>
                <a:lnTo>
                  <a:pt x="442" y="112"/>
                </a:lnTo>
                <a:lnTo>
                  <a:pt x="442" y="110"/>
                </a:lnTo>
                <a:lnTo>
                  <a:pt x="442" y="110"/>
                </a:lnTo>
                <a:lnTo>
                  <a:pt x="440" y="108"/>
                </a:lnTo>
                <a:lnTo>
                  <a:pt x="438" y="108"/>
                </a:lnTo>
                <a:lnTo>
                  <a:pt x="438" y="110"/>
                </a:lnTo>
                <a:lnTo>
                  <a:pt x="438" y="110"/>
                </a:lnTo>
                <a:lnTo>
                  <a:pt x="434" y="106"/>
                </a:lnTo>
                <a:lnTo>
                  <a:pt x="434" y="106"/>
                </a:lnTo>
                <a:lnTo>
                  <a:pt x="428" y="106"/>
                </a:lnTo>
                <a:lnTo>
                  <a:pt x="428" y="106"/>
                </a:lnTo>
                <a:lnTo>
                  <a:pt x="428" y="110"/>
                </a:lnTo>
                <a:lnTo>
                  <a:pt x="428" y="110"/>
                </a:lnTo>
                <a:lnTo>
                  <a:pt x="426" y="112"/>
                </a:lnTo>
                <a:lnTo>
                  <a:pt x="422" y="114"/>
                </a:lnTo>
                <a:lnTo>
                  <a:pt x="422" y="114"/>
                </a:lnTo>
                <a:lnTo>
                  <a:pt x="422" y="120"/>
                </a:lnTo>
                <a:lnTo>
                  <a:pt x="422" y="120"/>
                </a:lnTo>
                <a:lnTo>
                  <a:pt x="418" y="120"/>
                </a:lnTo>
                <a:lnTo>
                  <a:pt x="418" y="120"/>
                </a:lnTo>
                <a:lnTo>
                  <a:pt x="418" y="118"/>
                </a:lnTo>
                <a:lnTo>
                  <a:pt x="416" y="118"/>
                </a:lnTo>
                <a:lnTo>
                  <a:pt x="416" y="118"/>
                </a:lnTo>
                <a:lnTo>
                  <a:pt x="416" y="114"/>
                </a:lnTo>
                <a:lnTo>
                  <a:pt x="416" y="114"/>
                </a:lnTo>
                <a:lnTo>
                  <a:pt x="412" y="110"/>
                </a:lnTo>
                <a:lnTo>
                  <a:pt x="406" y="106"/>
                </a:lnTo>
                <a:lnTo>
                  <a:pt x="406" y="106"/>
                </a:lnTo>
                <a:lnTo>
                  <a:pt x="396" y="104"/>
                </a:lnTo>
                <a:lnTo>
                  <a:pt x="396" y="104"/>
                </a:lnTo>
                <a:lnTo>
                  <a:pt x="394" y="116"/>
                </a:lnTo>
                <a:lnTo>
                  <a:pt x="394" y="116"/>
                </a:lnTo>
                <a:lnTo>
                  <a:pt x="394" y="118"/>
                </a:lnTo>
                <a:lnTo>
                  <a:pt x="396" y="120"/>
                </a:lnTo>
                <a:lnTo>
                  <a:pt x="396" y="120"/>
                </a:lnTo>
                <a:lnTo>
                  <a:pt x="396" y="130"/>
                </a:lnTo>
                <a:lnTo>
                  <a:pt x="396" y="130"/>
                </a:lnTo>
                <a:lnTo>
                  <a:pt x="392" y="132"/>
                </a:lnTo>
                <a:lnTo>
                  <a:pt x="392" y="132"/>
                </a:lnTo>
                <a:lnTo>
                  <a:pt x="390" y="128"/>
                </a:lnTo>
                <a:lnTo>
                  <a:pt x="390" y="128"/>
                </a:lnTo>
                <a:lnTo>
                  <a:pt x="384" y="128"/>
                </a:lnTo>
                <a:lnTo>
                  <a:pt x="384" y="128"/>
                </a:lnTo>
                <a:lnTo>
                  <a:pt x="374" y="118"/>
                </a:lnTo>
                <a:lnTo>
                  <a:pt x="374" y="118"/>
                </a:lnTo>
                <a:lnTo>
                  <a:pt x="374" y="116"/>
                </a:lnTo>
                <a:lnTo>
                  <a:pt x="374" y="114"/>
                </a:lnTo>
                <a:lnTo>
                  <a:pt x="376" y="110"/>
                </a:lnTo>
                <a:lnTo>
                  <a:pt x="376" y="110"/>
                </a:lnTo>
                <a:lnTo>
                  <a:pt x="374" y="102"/>
                </a:lnTo>
                <a:lnTo>
                  <a:pt x="374" y="96"/>
                </a:lnTo>
                <a:lnTo>
                  <a:pt x="374" y="96"/>
                </a:lnTo>
                <a:lnTo>
                  <a:pt x="364" y="94"/>
                </a:lnTo>
                <a:lnTo>
                  <a:pt x="364" y="94"/>
                </a:lnTo>
                <a:lnTo>
                  <a:pt x="358" y="100"/>
                </a:lnTo>
                <a:lnTo>
                  <a:pt x="350" y="106"/>
                </a:lnTo>
                <a:lnTo>
                  <a:pt x="348" y="108"/>
                </a:lnTo>
                <a:lnTo>
                  <a:pt x="348" y="108"/>
                </a:lnTo>
                <a:lnTo>
                  <a:pt x="340" y="108"/>
                </a:lnTo>
                <a:lnTo>
                  <a:pt x="336" y="108"/>
                </a:lnTo>
                <a:lnTo>
                  <a:pt x="336" y="108"/>
                </a:lnTo>
                <a:lnTo>
                  <a:pt x="330" y="110"/>
                </a:lnTo>
                <a:lnTo>
                  <a:pt x="326" y="112"/>
                </a:lnTo>
                <a:lnTo>
                  <a:pt x="326" y="112"/>
                </a:lnTo>
                <a:lnTo>
                  <a:pt x="324" y="114"/>
                </a:lnTo>
                <a:lnTo>
                  <a:pt x="320" y="114"/>
                </a:lnTo>
                <a:lnTo>
                  <a:pt x="320" y="114"/>
                </a:lnTo>
                <a:lnTo>
                  <a:pt x="318" y="116"/>
                </a:lnTo>
                <a:lnTo>
                  <a:pt x="316" y="120"/>
                </a:lnTo>
                <a:lnTo>
                  <a:pt x="316" y="130"/>
                </a:lnTo>
                <a:lnTo>
                  <a:pt x="316" y="130"/>
                </a:lnTo>
                <a:lnTo>
                  <a:pt x="310" y="130"/>
                </a:lnTo>
                <a:lnTo>
                  <a:pt x="310" y="130"/>
                </a:lnTo>
                <a:lnTo>
                  <a:pt x="310" y="132"/>
                </a:lnTo>
                <a:lnTo>
                  <a:pt x="310" y="134"/>
                </a:lnTo>
                <a:lnTo>
                  <a:pt x="310" y="134"/>
                </a:lnTo>
                <a:lnTo>
                  <a:pt x="306" y="138"/>
                </a:lnTo>
                <a:lnTo>
                  <a:pt x="302" y="142"/>
                </a:lnTo>
                <a:lnTo>
                  <a:pt x="302" y="142"/>
                </a:lnTo>
                <a:lnTo>
                  <a:pt x="300" y="142"/>
                </a:lnTo>
                <a:lnTo>
                  <a:pt x="300" y="142"/>
                </a:lnTo>
                <a:lnTo>
                  <a:pt x="302" y="146"/>
                </a:lnTo>
                <a:lnTo>
                  <a:pt x="304" y="148"/>
                </a:lnTo>
                <a:lnTo>
                  <a:pt x="308" y="148"/>
                </a:lnTo>
                <a:lnTo>
                  <a:pt x="308" y="148"/>
                </a:lnTo>
                <a:lnTo>
                  <a:pt x="312" y="148"/>
                </a:lnTo>
                <a:lnTo>
                  <a:pt x="314" y="148"/>
                </a:lnTo>
                <a:lnTo>
                  <a:pt x="314" y="146"/>
                </a:lnTo>
                <a:lnTo>
                  <a:pt x="316" y="144"/>
                </a:lnTo>
                <a:lnTo>
                  <a:pt x="316" y="144"/>
                </a:lnTo>
                <a:lnTo>
                  <a:pt x="318" y="144"/>
                </a:lnTo>
                <a:lnTo>
                  <a:pt x="320" y="146"/>
                </a:lnTo>
                <a:lnTo>
                  <a:pt x="320" y="146"/>
                </a:lnTo>
                <a:lnTo>
                  <a:pt x="318" y="146"/>
                </a:lnTo>
                <a:lnTo>
                  <a:pt x="318" y="146"/>
                </a:lnTo>
                <a:lnTo>
                  <a:pt x="318" y="148"/>
                </a:lnTo>
                <a:lnTo>
                  <a:pt x="318" y="148"/>
                </a:lnTo>
                <a:lnTo>
                  <a:pt x="322" y="150"/>
                </a:lnTo>
                <a:lnTo>
                  <a:pt x="322" y="150"/>
                </a:lnTo>
                <a:lnTo>
                  <a:pt x="322" y="150"/>
                </a:lnTo>
                <a:lnTo>
                  <a:pt x="314" y="150"/>
                </a:lnTo>
                <a:lnTo>
                  <a:pt x="314" y="154"/>
                </a:lnTo>
                <a:lnTo>
                  <a:pt x="326" y="154"/>
                </a:lnTo>
                <a:lnTo>
                  <a:pt x="326" y="154"/>
                </a:lnTo>
                <a:lnTo>
                  <a:pt x="328" y="148"/>
                </a:lnTo>
                <a:lnTo>
                  <a:pt x="328" y="148"/>
                </a:lnTo>
                <a:lnTo>
                  <a:pt x="334" y="150"/>
                </a:lnTo>
                <a:lnTo>
                  <a:pt x="340" y="152"/>
                </a:lnTo>
                <a:lnTo>
                  <a:pt x="340" y="152"/>
                </a:lnTo>
                <a:lnTo>
                  <a:pt x="344" y="148"/>
                </a:lnTo>
                <a:lnTo>
                  <a:pt x="344" y="148"/>
                </a:lnTo>
                <a:lnTo>
                  <a:pt x="352" y="146"/>
                </a:lnTo>
                <a:lnTo>
                  <a:pt x="360" y="148"/>
                </a:lnTo>
                <a:lnTo>
                  <a:pt x="360" y="148"/>
                </a:lnTo>
                <a:lnTo>
                  <a:pt x="360" y="150"/>
                </a:lnTo>
                <a:lnTo>
                  <a:pt x="360" y="150"/>
                </a:lnTo>
                <a:lnTo>
                  <a:pt x="352" y="150"/>
                </a:lnTo>
                <a:lnTo>
                  <a:pt x="344" y="152"/>
                </a:lnTo>
                <a:lnTo>
                  <a:pt x="344" y="152"/>
                </a:lnTo>
                <a:lnTo>
                  <a:pt x="344" y="156"/>
                </a:lnTo>
                <a:lnTo>
                  <a:pt x="344" y="156"/>
                </a:lnTo>
                <a:lnTo>
                  <a:pt x="342" y="156"/>
                </a:lnTo>
                <a:lnTo>
                  <a:pt x="340" y="154"/>
                </a:lnTo>
                <a:lnTo>
                  <a:pt x="340" y="154"/>
                </a:lnTo>
                <a:lnTo>
                  <a:pt x="336" y="156"/>
                </a:lnTo>
                <a:lnTo>
                  <a:pt x="334" y="156"/>
                </a:lnTo>
                <a:lnTo>
                  <a:pt x="334" y="156"/>
                </a:lnTo>
                <a:lnTo>
                  <a:pt x="322" y="160"/>
                </a:lnTo>
                <a:lnTo>
                  <a:pt x="318" y="162"/>
                </a:lnTo>
                <a:lnTo>
                  <a:pt x="318" y="164"/>
                </a:lnTo>
                <a:lnTo>
                  <a:pt x="320" y="166"/>
                </a:lnTo>
                <a:lnTo>
                  <a:pt x="320" y="166"/>
                </a:lnTo>
                <a:lnTo>
                  <a:pt x="324" y="168"/>
                </a:lnTo>
                <a:lnTo>
                  <a:pt x="330" y="170"/>
                </a:lnTo>
                <a:lnTo>
                  <a:pt x="330" y="170"/>
                </a:lnTo>
                <a:lnTo>
                  <a:pt x="330" y="168"/>
                </a:lnTo>
                <a:lnTo>
                  <a:pt x="332" y="166"/>
                </a:lnTo>
                <a:lnTo>
                  <a:pt x="332" y="166"/>
                </a:lnTo>
                <a:lnTo>
                  <a:pt x="334" y="168"/>
                </a:lnTo>
                <a:lnTo>
                  <a:pt x="338" y="170"/>
                </a:lnTo>
                <a:lnTo>
                  <a:pt x="338" y="170"/>
                </a:lnTo>
                <a:lnTo>
                  <a:pt x="346" y="168"/>
                </a:lnTo>
                <a:lnTo>
                  <a:pt x="346" y="168"/>
                </a:lnTo>
                <a:lnTo>
                  <a:pt x="358" y="168"/>
                </a:lnTo>
                <a:lnTo>
                  <a:pt x="358" y="168"/>
                </a:lnTo>
                <a:lnTo>
                  <a:pt x="360" y="168"/>
                </a:lnTo>
                <a:lnTo>
                  <a:pt x="364" y="170"/>
                </a:lnTo>
                <a:lnTo>
                  <a:pt x="364" y="170"/>
                </a:lnTo>
                <a:lnTo>
                  <a:pt x="368" y="168"/>
                </a:lnTo>
                <a:lnTo>
                  <a:pt x="374" y="166"/>
                </a:lnTo>
                <a:lnTo>
                  <a:pt x="374" y="166"/>
                </a:lnTo>
                <a:lnTo>
                  <a:pt x="376" y="168"/>
                </a:lnTo>
                <a:lnTo>
                  <a:pt x="376" y="168"/>
                </a:lnTo>
                <a:lnTo>
                  <a:pt x="380" y="170"/>
                </a:lnTo>
                <a:lnTo>
                  <a:pt x="380" y="170"/>
                </a:lnTo>
                <a:lnTo>
                  <a:pt x="384" y="168"/>
                </a:lnTo>
                <a:lnTo>
                  <a:pt x="386" y="164"/>
                </a:lnTo>
                <a:lnTo>
                  <a:pt x="386" y="164"/>
                </a:lnTo>
                <a:lnTo>
                  <a:pt x="390" y="166"/>
                </a:lnTo>
                <a:lnTo>
                  <a:pt x="392" y="168"/>
                </a:lnTo>
                <a:lnTo>
                  <a:pt x="392" y="168"/>
                </a:lnTo>
                <a:lnTo>
                  <a:pt x="392" y="170"/>
                </a:lnTo>
                <a:lnTo>
                  <a:pt x="392" y="170"/>
                </a:lnTo>
                <a:lnTo>
                  <a:pt x="398" y="170"/>
                </a:lnTo>
                <a:lnTo>
                  <a:pt x="398" y="170"/>
                </a:lnTo>
                <a:lnTo>
                  <a:pt x="400" y="168"/>
                </a:lnTo>
                <a:lnTo>
                  <a:pt x="404" y="166"/>
                </a:lnTo>
                <a:lnTo>
                  <a:pt x="404" y="166"/>
                </a:lnTo>
                <a:lnTo>
                  <a:pt x="404" y="166"/>
                </a:lnTo>
                <a:lnTo>
                  <a:pt x="406" y="168"/>
                </a:lnTo>
                <a:lnTo>
                  <a:pt x="406" y="168"/>
                </a:lnTo>
                <a:lnTo>
                  <a:pt x="406" y="170"/>
                </a:lnTo>
                <a:lnTo>
                  <a:pt x="406" y="170"/>
                </a:lnTo>
                <a:lnTo>
                  <a:pt x="402" y="170"/>
                </a:lnTo>
                <a:lnTo>
                  <a:pt x="402" y="170"/>
                </a:lnTo>
                <a:lnTo>
                  <a:pt x="402" y="174"/>
                </a:lnTo>
                <a:lnTo>
                  <a:pt x="396" y="176"/>
                </a:lnTo>
                <a:lnTo>
                  <a:pt x="396" y="176"/>
                </a:lnTo>
                <a:lnTo>
                  <a:pt x="396" y="180"/>
                </a:lnTo>
                <a:lnTo>
                  <a:pt x="396" y="180"/>
                </a:lnTo>
                <a:lnTo>
                  <a:pt x="388" y="180"/>
                </a:lnTo>
                <a:lnTo>
                  <a:pt x="378" y="180"/>
                </a:lnTo>
                <a:lnTo>
                  <a:pt x="378" y="180"/>
                </a:lnTo>
                <a:lnTo>
                  <a:pt x="374" y="176"/>
                </a:lnTo>
                <a:lnTo>
                  <a:pt x="374" y="176"/>
                </a:lnTo>
                <a:lnTo>
                  <a:pt x="358" y="180"/>
                </a:lnTo>
                <a:lnTo>
                  <a:pt x="358" y="180"/>
                </a:lnTo>
                <a:lnTo>
                  <a:pt x="356" y="182"/>
                </a:lnTo>
                <a:lnTo>
                  <a:pt x="356" y="182"/>
                </a:lnTo>
                <a:lnTo>
                  <a:pt x="352" y="184"/>
                </a:lnTo>
                <a:lnTo>
                  <a:pt x="344" y="184"/>
                </a:lnTo>
                <a:lnTo>
                  <a:pt x="332" y="182"/>
                </a:lnTo>
                <a:lnTo>
                  <a:pt x="332" y="182"/>
                </a:lnTo>
                <a:lnTo>
                  <a:pt x="334" y="184"/>
                </a:lnTo>
                <a:lnTo>
                  <a:pt x="332" y="188"/>
                </a:lnTo>
                <a:lnTo>
                  <a:pt x="332" y="190"/>
                </a:lnTo>
                <a:lnTo>
                  <a:pt x="332" y="190"/>
                </a:lnTo>
                <a:lnTo>
                  <a:pt x="332" y="194"/>
                </a:lnTo>
                <a:lnTo>
                  <a:pt x="334" y="194"/>
                </a:lnTo>
                <a:lnTo>
                  <a:pt x="334" y="194"/>
                </a:lnTo>
                <a:lnTo>
                  <a:pt x="334" y="198"/>
                </a:lnTo>
                <a:lnTo>
                  <a:pt x="334" y="198"/>
                </a:lnTo>
                <a:lnTo>
                  <a:pt x="340" y="200"/>
                </a:lnTo>
                <a:lnTo>
                  <a:pt x="340" y="200"/>
                </a:lnTo>
                <a:lnTo>
                  <a:pt x="340" y="204"/>
                </a:lnTo>
                <a:lnTo>
                  <a:pt x="340" y="204"/>
                </a:lnTo>
                <a:lnTo>
                  <a:pt x="346" y="206"/>
                </a:lnTo>
                <a:lnTo>
                  <a:pt x="354" y="208"/>
                </a:lnTo>
                <a:lnTo>
                  <a:pt x="354" y="208"/>
                </a:lnTo>
                <a:lnTo>
                  <a:pt x="358" y="208"/>
                </a:lnTo>
                <a:lnTo>
                  <a:pt x="358" y="208"/>
                </a:lnTo>
                <a:lnTo>
                  <a:pt x="364" y="208"/>
                </a:lnTo>
                <a:lnTo>
                  <a:pt x="370" y="210"/>
                </a:lnTo>
                <a:lnTo>
                  <a:pt x="370" y="210"/>
                </a:lnTo>
                <a:lnTo>
                  <a:pt x="372" y="216"/>
                </a:lnTo>
                <a:lnTo>
                  <a:pt x="374" y="222"/>
                </a:lnTo>
                <a:lnTo>
                  <a:pt x="374" y="222"/>
                </a:lnTo>
                <a:lnTo>
                  <a:pt x="376" y="222"/>
                </a:lnTo>
                <a:lnTo>
                  <a:pt x="380" y="222"/>
                </a:lnTo>
                <a:lnTo>
                  <a:pt x="382" y="224"/>
                </a:lnTo>
                <a:lnTo>
                  <a:pt x="382" y="224"/>
                </a:lnTo>
                <a:lnTo>
                  <a:pt x="384" y="224"/>
                </a:lnTo>
                <a:lnTo>
                  <a:pt x="384" y="226"/>
                </a:lnTo>
                <a:lnTo>
                  <a:pt x="384" y="226"/>
                </a:lnTo>
                <a:lnTo>
                  <a:pt x="390" y="226"/>
                </a:lnTo>
                <a:lnTo>
                  <a:pt x="396" y="224"/>
                </a:lnTo>
                <a:lnTo>
                  <a:pt x="396" y="224"/>
                </a:lnTo>
                <a:lnTo>
                  <a:pt x="396" y="222"/>
                </a:lnTo>
                <a:lnTo>
                  <a:pt x="396" y="222"/>
                </a:lnTo>
                <a:lnTo>
                  <a:pt x="400" y="220"/>
                </a:lnTo>
                <a:lnTo>
                  <a:pt x="400" y="220"/>
                </a:lnTo>
                <a:lnTo>
                  <a:pt x="404" y="220"/>
                </a:lnTo>
                <a:lnTo>
                  <a:pt x="406" y="222"/>
                </a:lnTo>
                <a:lnTo>
                  <a:pt x="406" y="222"/>
                </a:lnTo>
                <a:lnTo>
                  <a:pt x="420" y="222"/>
                </a:lnTo>
                <a:lnTo>
                  <a:pt x="420" y="220"/>
                </a:lnTo>
                <a:lnTo>
                  <a:pt x="420" y="220"/>
                </a:lnTo>
                <a:lnTo>
                  <a:pt x="428" y="218"/>
                </a:lnTo>
                <a:lnTo>
                  <a:pt x="428" y="218"/>
                </a:lnTo>
                <a:lnTo>
                  <a:pt x="434" y="218"/>
                </a:lnTo>
                <a:lnTo>
                  <a:pt x="436" y="214"/>
                </a:lnTo>
                <a:lnTo>
                  <a:pt x="436" y="214"/>
                </a:lnTo>
                <a:lnTo>
                  <a:pt x="436" y="214"/>
                </a:lnTo>
                <a:lnTo>
                  <a:pt x="440" y="214"/>
                </a:lnTo>
                <a:lnTo>
                  <a:pt x="440" y="214"/>
                </a:lnTo>
                <a:lnTo>
                  <a:pt x="446" y="212"/>
                </a:lnTo>
                <a:lnTo>
                  <a:pt x="452" y="208"/>
                </a:lnTo>
                <a:lnTo>
                  <a:pt x="452" y="208"/>
                </a:lnTo>
                <a:lnTo>
                  <a:pt x="458" y="208"/>
                </a:lnTo>
                <a:lnTo>
                  <a:pt x="462" y="206"/>
                </a:lnTo>
                <a:lnTo>
                  <a:pt x="462" y="206"/>
                </a:lnTo>
                <a:lnTo>
                  <a:pt x="466" y="200"/>
                </a:lnTo>
                <a:lnTo>
                  <a:pt x="466" y="200"/>
                </a:lnTo>
                <a:lnTo>
                  <a:pt x="468" y="200"/>
                </a:lnTo>
                <a:lnTo>
                  <a:pt x="472" y="200"/>
                </a:lnTo>
                <a:lnTo>
                  <a:pt x="472" y="200"/>
                </a:lnTo>
                <a:lnTo>
                  <a:pt x="478" y="194"/>
                </a:lnTo>
                <a:lnTo>
                  <a:pt x="478" y="192"/>
                </a:lnTo>
                <a:lnTo>
                  <a:pt x="478" y="192"/>
                </a:lnTo>
                <a:lnTo>
                  <a:pt x="482" y="194"/>
                </a:lnTo>
                <a:lnTo>
                  <a:pt x="484" y="194"/>
                </a:lnTo>
                <a:lnTo>
                  <a:pt x="484" y="194"/>
                </a:lnTo>
                <a:lnTo>
                  <a:pt x="480" y="204"/>
                </a:lnTo>
                <a:lnTo>
                  <a:pt x="480" y="204"/>
                </a:lnTo>
                <a:lnTo>
                  <a:pt x="482" y="206"/>
                </a:lnTo>
                <a:lnTo>
                  <a:pt x="482" y="206"/>
                </a:lnTo>
                <a:lnTo>
                  <a:pt x="492" y="208"/>
                </a:lnTo>
                <a:lnTo>
                  <a:pt x="492" y="208"/>
                </a:lnTo>
                <a:lnTo>
                  <a:pt x="492" y="212"/>
                </a:lnTo>
                <a:lnTo>
                  <a:pt x="492" y="212"/>
                </a:lnTo>
                <a:lnTo>
                  <a:pt x="496" y="212"/>
                </a:lnTo>
                <a:lnTo>
                  <a:pt x="496" y="212"/>
                </a:lnTo>
                <a:lnTo>
                  <a:pt x="498" y="210"/>
                </a:lnTo>
                <a:lnTo>
                  <a:pt x="498" y="210"/>
                </a:lnTo>
                <a:lnTo>
                  <a:pt x="502" y="212"/>
                </a:lnTo>
                <a:lnTo>
                  <a:pt x="508" y="214"/>
                </a:lnTo>
                <a:lnTo>
                  <a:pt x="508" y="214"/>
                </a:lnTo>
                <a:lnTo>
                  <a:pt x="510" y="214"/>
                </a:lnTo>
                <a:lnTo>
                  <a:pt x="512" y="212"/>
                </a:lnTo>
                <a:lnTo>
                  <a:pt x="512" y="212"/>
                </a:lnTo>
                <a:lnTo>
                  <a:pt x="514" y="216"/>
                </a:lnTo>
                <a:lnTo>
                  <a:pt x="516" y="216"/>
                </a:lnTo>
                <a:lnTo>
                  <a:pt x="518" y="216"/>
                </a:lnTo>
                <a:lnTo>
                  <a:pt x="518" y="216"/>
                </a:lnTo>
                <a:lnTo>
                  <a:pt x="520" y="216"/>
                </a:lnTo>
                <a:lnTo>
                  <a:pt x="520" y="212"/>
                </a:lnTo>
                <a:lnTo>
                  <a:pt x="520" y="212"/>
                </a:lnTo>
                <a:lnTo>
                  <a:pt x="528" y="214"/>
                </a:lnTo>
                <a:lnTo>
                  <a:pt x="530" y="210"/>
                </a:lnTo>
                <a:lnTo>
                  <a:pt x="530" y="210"/>
                </a:lnTo>
                <a:lnTo>
                  <a:pt x="534" y="210"/>
                </a:lnTo>
                <a:lnTo>
                  <a:pt x="536" y="208"/>
                </a:lnTo>
                <a:lnTo>
                  <a:pt x="536" y="208"/>
                </a:lnTo>
                <a:lnTo>
                  <a:pt x="538" y="206"/>
                </a:lnTo>
                <a:lnTo>
                  <a:pt x="538" y="204"/>
                </a:lnTo>
                <a:lnTo>
                  <a:pt x="538" y="204"/>
                </a:lnTo>
                <a:lnTo>
                  <a:pt x="536" y="204"/>
                </a:lnTo>
                <a:lnTo>
                  <a:pt x="536" y="204"/>
                </a:lnTo>
                <a:lnTo>
                  <a:pt x="536" y="200"/>
                </a:lnTo>
                <a:lnTo>
                  <a:pt x="536" y="200"/>
                </a:lnTo>
                <a:lnTo>
                  <a:pt x="532" y="200"/>
                </a:lnTo>
                <a:lnTo>
                  <a:pt x="528" y="200"/>
                </a:lnTo>
                <a:lnTo>
                  <a:pt x="528" y="200"/>
                </a:lnTo>
                <a:lnTo>
                  <a:pt x="526" y="202"/>
                </a:lnTo>
                <a:lnTo>
                  <a:pt x="526" y="204"/>
                </a:lnTo>
                <a:lnTo>
                  <a:pt x="526" y="204"/>
                </a:lnTo>
                <a:lnTo>
                  <a:pt x="522" y="204"/>
                </a:lnTo>
                <a:lnTo>
                  <a:pt x="522" y="204"/>
                </a:lnTo>
                <a:lnTo>
                  <a:pt x="520" y="202"/>
                </a:lnTo>
                <a:lnTo>
                  <a:pt x="518" y="198"/>
                </a:lnTo>
                <a:lnTo>
                  <a:pt x="518" y="198"/>
                </a:lnTo>
                <a:lnTo>
                  <a:pt x="514" y="196"/>
                </a:lnTo>
                <a:lnTo>
                  <a:pt x="514" y="192"/>
                </a:lnTo>
                <a:lnTo>
                  <a:pt x="514" y="192"/>
                </a:lnTo>
                <a:lnTo>
                  <a:pt x="520" y="192"/>
                </a:lnTo>
                <a:lnTo>
                  <a:pt x="520" y="192"/>
                </a:lnTo>
                <a:lnTo>
                  <a:pt x="524" y="198"/>
                </a:lnTo>
                <a:lnTo>
                  <a:pt x="524" y="198"/>
                </a:lnTo>
                <a:lnTo>
                  <a:pt x="530" y="198"/>
                </a:lnTo>
                <a:lnTo>
                  <a:pt x="538" y="198"/>
                </a:lnTo>
                <a:lnTo>
                  <a:pt x="538" y="198"/>
                </a:lnTo>
                <a:lnTo>
                  <a:pt x="538" y="196"/>
                </a:lnTo>
                <a:lnTo>
                  <a:pt x="538" y="196"/>
                </a:lnTo>
                <a:lnTo>
                  <a:pt x="532" y="194"/>
                </a:lnTo>
                <a:lnTo>
                  <a:pt x="532" y="194"/>
                </a:lnTo>
                <a:lnTo>
                  <a:pt x="530" y="192"/>
                </a:lnTo>
                <a:lnTo>
                  <a:pt x="532" y="192"/>
                </a:lnTo>
                <a:lnTo>
                  <a:pt x="536" y="190"/>
                </a:lnTo>
                <a:lnTo>
                  <a:pt x="536" y="190"/>
                </a:lnTo>
                <a:lnTo>
                  <a:pt x="536" y="190"/>
                </a:lnTo>
                <a:lnTo>
                  <a:pt x="538" y="188"/>
                </a:lnTo>
                <a:lnTo>
                  <a:pt x="538" y="188"/>
                </a:lnTo>
                <a:lnTo>
                  <a:pt x="540" y="192"/>
                </a:lnTo>
                <a:lnTo>
                  <a:pt x="546" y="194"/>
                </a:lnTo>
                <a:lnTo>
                  <a:pt x="546" y="194"/>
                </a:lnTo>
                <a:lnTo>
                  <a:pt x="546" y="198"/>
                </a:lnTo>
                <a:lnTo>
                  <a:pt x="546" y="198"/>
                </a:lnTo>
                <a:lnTo>
                  <a:pt x="548" y="198"/>
                </a:lnTo>
                <a:lnTo>
                  <a:pt x="550" y="200"/>
                </a:lnTo>
                <a:lnTo>
                  <a:pt x="550" y="200"/>
                </a:lnTo>
                <a:lnTo>
                  <a:pt x="552" y="198"/>
                </a:lnTo>
                <a:lnTo>
                  <a:pt x="552" y="198"/>
                </a:lnTo>
                <a:lnTo>
                  <a:pt x="552" y="198"/>
                </a:lnTo>
                <a:lnTo>
                  <a:pt x="552" y="194"/>
                </a:lnTo>
                <a:lnTo>
                  <a:pt x="552" y="194"/>
                </a:lnTo>
                <a:close/>
                <a:moveTo>
                  <a:pt x="610" y="134"/>
                </a:moveTo>
                <a:lnTo>
                  <a:pt x="610" y="134"/>
                </a:lnTo>
                <a:lnTo>
                  <a:pt x="610" y="124"/>
                </a:lnTo>
                <a:lnTo>
                  <a:pt x="608" y="122"/>
                </a:lnTo>
                <a:lnTo>
                  <a:pt x="608" y="122"/>
                </a:lnTo>
                <a:lnTo>
                  <a:pt x="608" y="120"/>
                </a:lnTo>
                <a:lnTo>
                  <a:pt x="610" y="116"/>
                </a:lnTo>
                <a:lnTo>
                  <a:pt x="610" y="116"/>
                </a:lnTo>
                <a:lnTo>
                  <a:pt x="606" y="114"/>
                </a:lnTo>
                <a:lnTo>
                  <a:pt x="606" y="114"/>
                </a:lnTo>
                <a:lnTo>
                  <a:pt x="596" y="120"/>
                </a:lnTo>
                <a:lnTo>
                  <a:pt x="596" y="120"/>
                </a:lnTo>
                <a:lnTo>
                  <a:pt x="594" y="108"/>
                </a:lnTo>
                <a:lnTo>
                  <a:pt x="594" y="108"/>
                </a:lnTo>
                <a:lnTo>
                  <a:pt x="590" y="110"/>
                </a:lnTo>
                <a:lnTo>
                  <a:pt x="588" y="110"/>
                </a:lnTo>
                <a:lnTo>
                  <a:pt x="584" y="104"/>
                </a:lnTo>
                <a:lnTo>
                  <a:pt x="582" y="104"/>
                </a:lnTo>
                <a:lnTo>
                  <a:pt x="584" y="100"/>
                </a:lnTo>
                <a:lnTo>
                  <a:pt x="584" y="100"/>
                </a:lnTo>
                <a:lnTo>
                  <a:pt x="596" y="100"/>
                </a:lnTo>
                <a:lnTo>
                  <a:pt x="596" y="100"/>
                </a:lnTo>
                <a:lnTo>
                  <a:pt x="596" y="96"/>
                </a:lnTo>
                <a:lnTo>
                  <a:pt x="596" y="96"/>
                </a:lnTo>
                <a:lnTo>
                  <a:pt x="594" y="96"/>
                </a:lnTo>
                <a:lnTo>
                  <a:pt x="594" y="96"/>
                </a:lnTo>
                <a:lnTo>
                  <a:pt x="596" y="90"/>
                </a:lnTo>
                <a:lnTo>
                  <a:pt x="596" y="90"/>
                </a:lnTo>
                <a:lnTo>
                  <a:pt x="592" y="90"/>
                </a:lnTo>
                <a:lnTo>
                  <a:pt x="592" y="90"/>
                </a:lnTo>
                <a:lnTo>
                  <a:pt x="590" y="86"/>
                </a:lnTo>
                <a:lnTo>
                  <a:pt x="590" y="86"/>
                </a:lnTo>
                <a:lnTo>
                  <a:pt x="584" y="86"/>
                </a:lnTo>
                <a:lnTo>
                  <a:pt x="578" y="86"/>
                </a:lnTo>
                <a:lnTo>
                  <a:pt x="578" y="88"/>
                </a:lnTo>
                <a:lnTo>
                  <a:pt x="578" y="88"/>
                </a:lnTo>
                <a:lnTo>
                  <a:pt x="572" y="88"/>
                </a:lnTo>
                <a:lnTo>
                  <a:pt x="572" y="88"/>
                </a:lnTo>
                <a:lnTo>
                  <a:pt x="576" y="86"/>
                </a:lnTo>
                <a:lnTo>
                  <a:pt x="576" y="86"/>
                </a:lnTo>
                <a:lnTo>
                  <a:pt x="580" y="84"/>
                </a:lnTo>
                <a:lnTo>
                  <a:pt x="580" y="84"/>
                </a:lnTo>
                <a:lnTo>
                  <a:pt x="584" y="82"/>
                </a:lnTo>
                <a:lnTo>
                  <a:pt x="584" y="82"/>
                </a:lnTo>
                <a:lnTo>
                  <a:pt x="586" y="80"/>
                </a:lnTo>
                <a:lnTo>
                  <a:pt x="586" y="78"/>
                </a:lnTo>
                <a:lnTo>
                  <a:pt x="584" y="76"/>
                </a:lnTo>
                <a:lnTo>
                  <a:pt x="580" y="76"/>
                </a:lnTo>
                <a:lnTo>
                  <a:pt x="580" y="76"/>
                </a:lnTo>
                <a:lnTo>
                  <a:pt x="578" y="80"/>
                </a:lnTo>
                <a:lnTo>
                  <a:pt x="576" y="82"/>
                </a:lnTo>
                <a:lnTo>
                  <a:pt x="576" y="82"/>
                </a:lnTo>
                <a:lnTo>
                  <a:pt x="566" y="84"/>
                </a:lnTo>
                <a:lnTo>
                  <a:pt x="562" y="86"/>
                </a:lnTo>
                <a:lnTo>
                  <a:pt x="566" y="88"/>
                </a:lnTo>
                <a:lnTo>
                  <a:pt x="566" y="88"/>
                </a:lnTo>
                <a:lnTo>
                  <a:pt x="564" y="90"/>
                </a:lnTo>
                <a:lnTo>
                  <a:pt x="564" y="90"/>
                </a:lnTo>
                <a:lnTo>
                  <a:pt x="560" y="90"/>
                </a:lnTo>
                <a:lnTo>
                  <a:pt x="554" y="88"/>
                </a:lnTo>
                <a:lnTo>
                  <a:pt x="554" y="88"/>
                </a:lnTo>
                <a:lnTo>
                  <a:pt x="552" y="84"/>
                </a:lnTo>
                <a:lnTo>
                  <a:pt x="552" y="84"/>
                </a:lnTo>
                <a:lnTo>
                  <a:pt x="544" y="90"/>
                </a:lnTo>
                <a:lnTo>
                  <a:pt x="540" y="96"/>
                </a:lnTo>
                <a:lnTo>
                  <a:pt x="540" y="100"/>
                </a:lnTo>
                <a:lnTo>
                  <a:pt x="540" y="100"/>
                </a:lnTo>
                <a:lnTo>
                  <a:pt x="542" y="102"/>
                </a:lnTo>
                <a:lnTo>
                  <a:pt x="542" y="102"/>
                </a:lnTo>
                <a:lnTo>
                  <a:pt x="548" y="104"/>
                </a:lnTo>
                <a:lnTo>
                  <a:pt x="548" y="104"/>
                </a:lnTo>
                <a:lnTo>
                  <a:pt x="554" y="106"/>
                </a:lnTo>
                <a:lnTo>
                  <a:pt x="554" y="106"/>
                </a:lnTo>
                <a:lnTo>
                  <a:pt x="556" y="108"/>
                </a:lnTo>
                <a:lnTo>
                  <a:pt x="554" y="110"/>
                </a:lnTo>
                <a:lnTo>
                  <a:pt x="554" y="110"/>
                </a:lnTo>
                <a:lnTo>
                  <a:pt x="554" y="116"/>
                </a:lnTo>
                <a:lnTo>
                  <a:pt x="554" y="116"/>
                </a:lnTo>
                <a:lnTo>
                  <a:pt x="552" y="118"/>
                </a:lnTo>
                <a:lnTo>
                  <a:pt x="544" y="118"/>
                </a:lnTo>
                <a:lnTo>
                  <a:pt x="532" y="118"/>
                </a:lnTo>
                <a:lnTo>
                  <a:pt x="532" y="118"/>
                </a:lnTo>
                <a:lnTo>
                  <a:pt x="528" y="108"/>
                </a:lnTo>
                <a:lnTo>
                  <a:pt x="528" y="108"/>
                </a:lnTo>
                <a:lnTo>
                  <a:pt x="524" y="110"/>
                </a:lnTo>
                <a:lnTo>
                  <a:pt x="524" y="110"/>
                </a:lnTo>
                <a:lnTo>
                  <a:pt x="522" y="110"/>
                </a:lnTo>
                <a:lnTo>
                  <a:pt x="520" y="110"/>
                </a:lnTo>
                <a:lnTo>
                  <a:pt x="520" y="110"/>
                </a:lnTo>
                <a:lnTo>
                  <a:pt x="520" y="112"/>
                </a:lnTo>
                <a:lnTo>
                  <a:pt x="520" y="114"/>
                </a:lnTo>
                <a:lnTo>
                  <a:pt x="520" y="114"/>
                </a:lnTo>
                <a:lnTo>
                  <a:pt x="522" y="118"/>
                </a:lnTo>
                <a:lnTo>
                  <a:pt x="522" y="118"/>
                </a:lnTo>
                <a:lnTo>
                  <a:pt x="520" y="120"/>
                </a:lnTo>
                <a:lnTo>
                  <a:pt x="520" y="120"/>
                </a:lnTo>
                <a:lnTo>
                  <a:pt x="524" y="124"/>
                </a:lnTo>
                <a:lnTo>
                  <a:pt x="524" y="124"/>
                </a:lnTo>
                <a:lnTo>
                  <a:pt x="528" y="130"/>
                </a:lnTo>
                <a:lnTo>
                  <a:pt x="528" y="130"/>
                </a:lnTo>
                <a:lnTo>
                  <a:pt x="534" y="130"/>
                </a:lnTo>
                <a:lnTo>
                  <a:pt x="534" y="130"/>
                </a:lnTo>
                <a:lnTo>
                  <a:pt x="538" y="134"/>
                </a:lnTo>
                <a:lnTo>
                  <a:pt x="540" y="134"/>
                </a:lnTo>
                <a:lnTo>
                  <a:pt x="540" y="134"/>
                </a:lnTo>
                <a:lnTo>
                  <a:pt x="540" y="130"/>
                </a:lnTo>
                <a:lnTo>
                  <a:pt x="540" y="130"/>
                </a:lnTo>
                <a:lnTo>
                  <a:pt x="546" y="128"/>
                </a:lnTo>
                <a:lnTo>
                  <a:pt x="546" y="128"/>
                </a:lnTo>
                <a:lnTo>
                  <a:pt x="550" y="134"/>
                </a:lnTo>
                <a:lnTo>
                  <a:pt x="550" y="134"/>
                </a:lnTo>
                <a:lnTo>
                  <a:pt x="554" y="138"/>
                </a:lnTo>
                <a:lnTo>
                  <a:pt x="554" y="138"/>
                </a:lnTo>
                <a:lnTo>
                  <a:pt x="558" y="138"/>
                </a:lnTo>
                <a:lnTo>
                  <a:pt x="558" y="138"/>
                </a:lnTo>
                <a:lnTo>
                  <a:pt x="564" y="144"/>
                </a:lnTo>
                <a:lnTo>
                  <a:pt x="564" y="144"/>
                </a:lnTo>
                <a:lnTo>
                  <a:pt x="564" y="148"/>
                </a:lnTo>
                <a:lnTo>
                  <a:pt x="564" y="148"/>
                </a:lnTo>
                <a:lnTo>
                  <a:pt x="570" y="156"/>
                </a:lnTo>
                <a:lnTo>
                  <a:pt x="570" y="156"/>
                </a:lnTo>
                <a:lnTo>
                  <a:pt x="572" y="156"/>
                </a:lnTo>
                <a:lnTo>
                  <a:pt x="578" y="156"/>
                </a:lnTo>
                <a:lnTo>
                  <a:pt x="578" y="156"/>
                </a:lnTo>
                <a:lnTo>
                  <a:pt x="582" y="152"/>
                </a:lnTo>
                <a:lnTo>
                  <a:pt x="586" y="146"/>
                </a:lnTo>
                <a:lnTo>
                  <a:pt x="586" y="146"/>
                </a:lnTo>
                <a:lnTo>
                  <a:pt x="590" y="146"/>
                </a:lnTo>
                <a:lnTo>
                  <a:pt x="590" y="146"/>
                </a:lnTo>
                <a:lnTo>
                  <a:pt x="594" y="144"/>
                </a:lnTo>
                <a:lnTo>
                  <a:pt x="594" y="144"/>
                </a:lnTo>
                <a:lnTo>
                  <a:pt x="600" y="142"/>
                </a:lnTo>
                <a:lnTo>
                  <a:pt x="608" y="140"/>
                </a:lnTo>
                <a:lnTo>
                  <a:pt x="608" y="140"/>
                </a:lnTo>
                <a:lnTo>
                  <a:pt x="608" y="136"/>
                </a:lnTo>
                <a:lnTo>
                  <a:pt x="610" y="134"/>
                </a:lnTo>
                <a:close/>
                <a:moveTo>
                  <a:pt x="614" y="204"/>
                </a:moveTo>
                <a:lnTo>
                  <a:pt x="602" y="194"/>
                </a:lnTo>
                <a:lnTo>
                  <a:pt x="602" y="194"/>
                </a:lnTo>
                <a:lnTo>
                  <a:pt x="596" y="194"/>
                </a:lnTo>
                <a:lnTo>
                  <a:pt x="594" y="192"/>
                </a:lnTo>
                <a:lnTo>
                  <a:pt x="594" y="192"/>
                </a:lnTo>
                <a:lnTo>
                  <a:pt x="592" y="192"/>
                </a:lnTo>
                <a:lnTo>
                  <a:pt x="590" y="194"/>
                </a:lnTo>
                <a:lnTo>
                  <a:pt x="590" y="194"/>
                </a:lnTo>
                <a:lnTo>
                  <a:pt x="590" y="190"/>
                </a:lnTo>
                <a:lnTo>
                  <a:pt x="590" y="190"/>
                </a:lnTo>
                <a:lnTo>
                  <a:pt x="586" y="190"/>
                </a:lnTo>
                <a:lnTo>
                  <a:pt x="586" y="190"/>
                </a:lnTo>
                <a:lnTo>
                  <a:pt x="584" y="192"/>
                </a:lnTo>
                <a:lnTo>
                  <a:pt x="584" y="192"/>
                </a:lnTo>
                <a:lnTo>
                  <a:pt x="584" y="198"/>
                </a:lnTo>
                <a:lnTo>
                  <a:pt x="584" y="198"/>
                </a:lnTo>
                <a:lnTo>
                  <a:pt x="582" y="196"/>
                </a:lnTo>
                <a:lnTo>
                  <a:pt x="582" y="196"/>
                </a:lnTo>
                <a:lnTo>
                  <a:pt x="582" y="196"/>
                </a:lnTo>
                <a:lnTo>
                  <a:pt x="578" y="196"/>
                </a:lnTo>
                <a:lnTo>
                  <a:pt x="578" y="196"/>
                </a:lnTo>
                <a:lnTo>
                  <a:pt x="578" y="196"/>
                </a:lnTo>
                <a:lnTo>
                  <a:pt x="576" y="204"/>
                </a:lnTo>
                <a:lnTo>
                  <a:pt x="574" y="208"/>
                </a:lnTo>
                <a:lnTo>
                  <a:pt x="572" y="210"/>
                </a:lnTo>
                <a:lnTo>
                  <a:pt x="572" y="210"/>
                </a:lnTo>
                <a:lnTo>
                  <a:pt x="568" y="210"/>
                </a:lnTo>
                <a:lnTo>
                  <a:pt x="568" y="210"/>
                </a:lnTo>
                <a:lnTo>
                  <a:pt x="566" y="212"/>
                </a:lnTo>
                <a:lnTo>
                  <a:pt x="566" y="212"/>
                </a:lnTo>
                <a:lnTo>
                  <a:pt x="568" y="214"/>
                </a:lnTo>
                <a:lnTo>
                  <a:pt x="570" y="216"/>
                </a:lnTo>
                <a:lnTo>
                  <a:pt x="570" y="216"/>
                </a:lnTo>
                <a:lnTo>
                  <a:pt x="572" y="214"/>
                </a:lnTo>
                <a:lnTo>
                  <a:pt x="574" y="214"/>
                </a:lnTo>
                <a:lnTo>
                  <a:pt x="574" y="216"/>
                </a:lnTo>
                <a:lnTo>
                  <a:pt x="574" y="216"/>
                </a:lnTo>
                <a:lnTo>
                  <a:pt x="576" y="218"/>
                </a:lnTo>
                <a:lnTo>
                  <a:pt x="576" y="218"/>
                </a:lnTo>
                <a:lnTo>
                  <a:pt x="578" y="216"/>
                </a:lnTo>
                <a:lnTo>
                  <a:pt x="580" y="214"/>
                </a:lnTo>
                <a:lnTo>
                  <a:pt x="582" y="214"/>
                </a:lnTo>
                <a:lnTo>
                  <a:pt x="582" y="214"/>
                </a:lnTo>
                <a:lnTo>
                  <a:pt x="582" y="216"/>
                </a:lnTo>
                <a:lnTo>
                  <a:pt x="582" y="218"/>
                </a:lnTo>
                <a:lnTo>
                  <a:pt x="582" y="220"/>
                </a:lnTo>
                <a:lnTo>
                  <a:pt x="582" y="220"/>
                </a:lnTo>
                <a:lnTo>
                  <a:pt x="586" y="222"/>
                </a:lnTo>
                <a:lnTo>
                  <a:pt x="588" y="226"/>
                </a:lnTo>
                <a:lnTo>
                  <a:pt x="588" y="226"/>
                </a:lnTo>
                <a:lnTo>
                  <a:pt x="590" y="226"/>
                </a:lnTo>
                <a:lnTo>
                  <a:pt x="592" y="226"/>
                </a:lnTo>
                <a:lnTo>
                  <a:pt x="592" y="226"/>
                </a:lnTo>
                <a:lnTo>
                  <a:pt x="592" y="226"/>
                </a:lnTo>
                <a:lnTo>
                  <a:pt x="594" y="226"/>
                </a:lnTo>
                <a:lnTo>
                  <a:pt x="596" y="226"/>
                </a:lnTo>
                <a:lnTo>
                  <a:pt x="596" y="226"/>
                </a:lnTo>
                <a:lnTo>
                  <a:pt x="598" y="224"/>
                </a:lnTo>
                <a:lnTo>
                  <a:pt x="598" y="224"/>
                </a:lnTo>
                <a:lnTo>
                  <a:pt x="598" y="224"/>
                </a:lnTo>
                <a:lnTo>
                  <a:pt x="598" y="224"/>
                </a:lnTo>
                <a:lnTo>
                  <a:pt x="598" y="220"/>
                </a:lnTo>
                <a:lnTo>
                  <a:pt x="598" y="220"/>
                </a:lnTo>
                <a:lnTo>
                  <a:pt x="604" y="222"/>
                </a:lnTo>
                <a:lnTo>
                  <a:pt x="610" y="220"/>
                </a:lnTo>
                <a:lnTo>
                  <a:pt x="610" y="220"/>
                </a:lnTo>
                <a:lnTo>
                  <a:pt x="616" y="220"/>
                </a:lnTo>
                <a:lnTo>
                  <a:pt x="616" y="220"/>
                </a:lnTo>
                <a:lnTo>
                  <a:pt x="618" y="216"/>
                </a:lnTo>
                <a:lnTo>
                  <a:pt x="618" y="216"/>
                </a:lnTo>
                <a:lnTo>
                  <a:pt x="614" y="216"/>
                </a:lnTo>
                <a:lnTo>
                  <a:pt x="614" y="216"/>
                </a:lnTo>
                <a:lnTo>
                  <a:pt x="614" y="210"/>
                </a:lnTo>
                <a:lnTo>
                  <a:pt x="614" y="204"/>
                </a:lnTo>
                <a:lnTo>
                  <a:pt x="614" y="204"/>
                </a:lnTo>
                <a:close/>
                <a:moveTo>
                  <a:pt x="134" y="582"/>
                </a:moveTo>
                <a:lnTo>
                  <a:pt x="134" y="582"/>
                </a:lnTo>
                <a:lnTo>
                  <a:pt x="136" y="578"/>
                </a:lnTo>
                <a:lnTo>
                  <a:pt x="136" y="576"/>
                </a:lnTo>
                <a:lnTo>
                  <a:pt x="136" y="576"/>
                </a:lnTo>
                <a:lnTo>
                  <a:pt x="132" y="576"/>
                </a:lnTo>
                <a:lnTo>
                  <a:pt x="132" y="576"/>
                </a:lnTo>
                <a:lnTo>
                  <a:pt x="134" y="574"/>
                </a:lnTo>
                <a:lnTo>
                  <a:pt x="134" y="572"/>
                </a:lnTo>
                <a:lnTo>
                  <a:pt x="134" y="572"/>
                </a:lnTo>
                <a:lnTo>
                  <a:pt x="132" y="570"/>
                </a:lnTo>
                <a:lnTo>
                  <a:pt x="130" y="570"/>
                </a:lnTo>
                <a:lnTo>
                  <a:pt x="130" y="570"/>
                </a:lnTo>
                <a:lnTo>
                  <a:pt x="124" y="574"/>
                </a:lnTo>
                <a:lnTo>
                  <a:pt x="124" y="574"/>
                </a:lnTo>
                <a:lnTo>
                  <a:pt x="124" y="576"/>
                </a:lnTo>
                <a:lnTo>
                  <a:pt x="126" y="576"/>
                </a:lnTo>
                <a:lnTo>
                  <a:pt x="126" y="578"/>
                </a:lnTo>
                <a:lnTo>
                  <a:pt x="126" y="578"/>
                </a:lnTo>
                <a:lnTo>
                  <a:pt x="124" y="576"/>
                </a:lnTo>
                <a:lnTo>
                  <a:pt x="124" y="578"/>
                </a:lnTo>
                <a:lnTo>
                  <a:pt x="126" y="584"/>
                </a:lnTo>
                <a:lnTo>
                  <a:pt x="126" y="584"/>
                </a:lnTo>
                <a:lnTo>
                  <a:pt x="130" y="588"/>
                </a:lnTo>
                <a:lnTo>
                  <a:pt x="138" y="592"/>
                </a:lnTo>
                <a:lnTo>
                  <a:pt x="138" y="592"/>
                </a:lnTo>
                <a:lnTo>
                  <a:pt x="138" y="590"/>
                </a:lnTo>
                <a:lnTo>
                  <a:pt x="138" y="590"/>
                </a:lnTo>
                <a:lnTo>
                  <a:pt x="136" y="586"/>
                </a:lnTo>
                <a:lnTo>
                  <a:pt x="134" y="586"/>
                </a:lnTo>
                <a:lnTo>
                  <a:pt x="134" y="586"/>
                </a:lnTo>
                <a:lnTo>
                  <a:pt x="138" y="584"/>
                </a:lnTo>
                <a:lnTo>
                  <a:pt x="138" y="584"/>
                </a:lnTo>
                <a:lnTo>
                  <a:pt x="134" y="582"/>
                </a:lnTo>
                <a:lnTo>
                  <a:pt x="134" y="582"/>
                </a:lnTo>
                <a:close/>
                <a:moveTo>
                  <a:pt x="470" y="122"/>
                </a:moveTo>
                <a:lnTo>
                  <a:pt x="470" y="122"/>
                </a:lnTo>
                <a:lnTo>
                  <a:pt x="474" y="124"/>
                </a:lnTo>
                <a:lnTo>
                  <a:pt x="474" y="124"/>
                </a:lnTo>
                <a:lnTo>
                  <a:pt x="476" y="126"/>
                </a:lnTo>
                <a:lnTo>
                  <a:pt x="480" y="126"/>
                </a:lnTo>
                <a:lnTo>
                  <a:pt x="480" y="126"/>
                </a:lnTo>
                <a:lnTo>
                  <a:pt x="482" y="124"/>
                </a:lnTo>
                <a:lnTo>
                  <a:pt x="482" y="124"/>
                </a:lnTo>
                <a:lnTo>
                  <a:pt x="480" y="116"/>
                </a:lnTo>
                <a:lnTo>
                  <a:pt x="480" y="116"/>
                </a:lnTo>
                <a:lnTo>
                  <a:pt x="478" y="114"/>
                </a:lnTo>
                <a:lnTo>
                  <a:pt x="474" y="112"/>
                </a:lnTo>
                <a:lnTo>
                  <a:pt x="474" y="112"/>
                </a:lnTo>
                <a:lnTo>
                  <a:pt x="472" y="108"/>
                </a:lnTo>
                <a:lnTo>
                  <a:pt x="472" y="104"/>
                </a:lnTo>
                <a:lnTo>
                  <a:pt x="462" y="96"/>
                </a:lnTo>
                <a:lnTo>
                  <a:pt x="462" y="96"/>
                </a:lnTo>
                <a:lnTo>
                  <a:pt x="458" y="96"/>
                </a:lnTo>
                <a:lnTo>
                  <a:pt x="458" y="96"/>
                </a:lnTo>
                <a:lnTo>
                  <a:pt x="456" y="108"/>
                </a:lnTo>
                <a:lnTo>
                  <a:pt x="460" y="120"/>
                </a:lnTo>
                <a:lnTo>
                  <a:pt x="460" y="120"/>
                </a:lnTo>
                <a:lnTo>
                  <a:pt x="470" y="122"/>
                </a:lnTo>
                <a:lnTo>
                  <a:pt x="470" y="122"/>
                </a:lnTo>
                <a:close/>
                <a:moveTo>
                  <a:pt x="238" y="144"/>
                </a:moveTo>
                <a:lnTo>
                  <a:pt x="238" y="146"/>
                </a:lnTo>
                <a:lnTo>
                  <a:pt x="240" y="146"/>
                </a:lnTo>
                <a:lnTo>
                  <a:pt x="240" y="146"/>
                </a:lnTo>
                <a:lnTo>
                  <a:pt x="242" y="152"/>
                </a:lnTo>
                <a:lnTo>
                  <a:pt x="244" y="156"/>
                </a:lnTo>
                <a:lnTo>
                  <a:pt x="246" y="158"/>
                </a:lnTo>
                <a:lnTo>
                  <a:pt x="246" y="158"/>
                </a:lnTo>
                <a:lnTo>
                  <a:pt x="250" y="158"/>
                </a:lnTo>
                <a:lnTo>
                  <a:pt x="254" y="158"/>
                </a:lnTo>
                <a:lnTo>
                  <a:pt x="260" y="154"/>
                </a:lnTo>
                <a:lnTo>
                  <a:pt x="268" y="144"/>
                </a:lnTo>
                <a:lnTo>
                  <a:pt x="268" y="144"/>
                </a:lnTo>
                <a:lnTo>
                  <a:pt x="270" y="144"/>
                </a:lnTo>
                <a:lnTo>
                  <a:pt x="272" y="148"/>
                </a:lnTo>
                <a:lnTo>
                  <a:pt x="272" y="148"/>
                </a:lnTo>
                <a:lnTo>
                  <a:pt x="280" y="148"/>
                </a:lnTo>
                <a:lnTo>
                  <a:pt x="286" y="146"/>
                </a:lnTo>
                <a:lnTo>
                  <a:pt x="286" y="146"/>
                </a:lnTo>
                <a:lnTo>
                  <a:pt x="290" y="146"/>
                </a:lnTo>
                <a:lnTo>
                  <a:pt x="290" y="144"/>
                </a:lnTo>
                <a:lnTo>
                  <a:pt x="290" y="144"/>
                </a:lnTo>
                <a:lnTo>
                  <a:pt x="292" y="142"/>
                </a:lnTo>
                <a:lnTo>
                  <a:pt x="292" y="140"/>
                </a:lnTo>
                <a:lnTo>
                  <a:pt x="292" y="140"/>
                </a:lnTo>
                <a:lnTo>
                  <a:pt x="296" y="138"/>
                </a:lnTo>
                <a:lnTo>
                  <a:pt x="296" y="138"/>
                </a:lnTo>
                <a:lnTo>
                  <a:pt x="296" y="134"/>
                </a:lnTo>
                <a:lnTo>
                  <a:pt x="296" y="132"/>
                </a:lnTo>
                <a:lnTo>
                  <a:pt x="296" y="132"/>
                </a:lnTo>
                <a:lnTo>
                  <a:pt x="296" y="128"/>
                </a:lnTo>
                <a:lnTo>
                  <a:pt x="296" y="128"/>
                </a:lnTo>
                <a:lnTo>
                  <a:pt x="300" y="128"/>
                </a:lnTo>
                <a:lnTo>
                  <a:pt x="300" y="128"/>
                </a:lnTo>
                <a:lnTo>
                  <a:pt x="300" y="124"/>
                </a:lnTo>
                <a:lnTo>
                  <a:pt x="302" y="120"/>
                </a:lnTo>
                <a:lnTo>
                  <a:pt x="302" y="120"/>
                </a:lnTo>
                <a:lnTo>
                  <a:pt x="308" y="118"/>
                </a:lnTo>
                <a:lnTo>
                  <a:pt x="308" y="116"/>
                </a:lnTo>
                <a:lnTo>
                  <a:pt x="316" y="108"/>
                </a:lnTo>
                <a:lnTo>
                  <a:pt x="316" y="108"/>
                </a:lnTo>
                <a:lnTo>
                  <a:pt x="324" y="106"/>
                </a:lnTo>
                <a:lnTo>
                  <a:pt x="324" y="106"/>
                </a:lnTo>
                <a:lnTo>
                  <a:pt x="330" y="104"/>
                </a:lnTo>
                <a:lnTo>
                  <a:pt x="334" y="100"/>
                </a:lnTo>
                <a:lnTo>
                  <a:pt x="334" y="100"/>
                </a:lnTo>
                <a:lnTo>
                  <a:pt x="338" y="100"/>
                </a:lnTo>
                <a:lnTo>
                  <a:pt x="340" y="102"/>
                </a:lnTo>
                <a:lnTo>
                  <a:pt x="342" y="100"/>
                </a:lnTo>
                <a:lnTo>
                  <a:pt x="342" y="100"/>
                </a:lnTo>
                <a:lnTo>
                  <a:pt x="350" y="100"/>
                </a:lnTo>
                <a:lnTo>
                  <a:pt x="350" y="100"/>
                </a:lnTo>
                <a:lnTo>
                  <a:pt x="354" y="96"/>
                </a:lnTo>
                <a:lnTo>
                  <a:pt x="354" y="96"/>
                </a:lnTo>
                <a:lnTo>
                  <a:pt x="354" y="92"/>
                </a:lnTo>
                <a:lnTo>
                  <a:pt x="354" y="92"/>
                </a:lnTo>
                <a:lnTo>
                  <a:pt x="350" y="90"/>
                </a:lnTo>
                <a:lnTo>
                  <a:pt x="346" y="88"/>
                </a:lnTo>
                <a:lnTo>
                  <a:pt x="346" y="88"/>
                </a:lnTo>
                <a:lnTo>
                  <a:pt x="346" y="86"/>
                </a:lnTo>
                <a:lnTo>
                  <a:pt x="344" y="82"/>
                </a:lnTo>
                <a:lnTo>
                  <a:pt x="344" y="82"/>
                </a:lnTo>
                <a:lnTo>
                  <a:pt x="330" y="78"/>
                </a:lnTo>
                <a:lnTo>
                  <a:pt x="322" y="78"/>
                </a:lnTo>
                <a:lnTo>
                  <a:pt x="316" y="78"/>
                </a:lnTo>
                <a:lnTo>
                  <a:pt x="316" y="78"/>
                </a:lnTo>
                <a:lnTo>
                  <a:pt x="314" y="80"/>
                </a:lnTo>
                <a:lnTo>
                  <a:pt x="314" y="80"/>
                </a:lnTo>
                <a:lnTo>
                  <a:pt x="298" y="78"/>
                </a:lnTo>
                <a:lnTo>
                  <a:pt x="284" y="72"/>
                </a:lnTo>
                <a:lnTo>
                  <a:pt x="284" y="72"/>
                </a:lnTo>
                <a:lnTo>
                  <a:pt x="280" y="68"/>
                </a:lnTo>
                <a:lnTo>
                  <a:pt x="274" y="66"/>
                </a:lnTo>
                <a:lnTo>
                  <a:pt x="274" y="66"/>
                </a:lnTo>
                <a:lnTo>
                  <a:pt x="268" y="70"/>
                </a:lnTo>
                <a:lnTo>
                  <a:pt x="268" y="70"/>
                </a:lnTo>
                <a:lnTo>
                  <a:pt x="260" y="72"/>
                </a:lnTo>
                <a:lnTo>
                  <a:pt x="252" y="72"/>
                </a:lnTo>
                <a:lnTo>
                  <a:pt x="250" y="74"/>
                </a:lnTo>
                <a:lnTo>
                  <a:pt x="250" y="74"/>
                </a:lnTo>
                <a:lnTo>
                  <a:pt x="244" y="76"/>
                </a:lnTo>
                <a:lnTo>
                  <a:pt x="244" y="76"/>
                </a:lnTo>
                <a:lnTo>
                  <a:pt x="234" y="80"/>
                </a:lnTo>
                <a:lnTo>
                  <a:pt x="234" y="80"/>
                </a:lnTo>
                <a:lnTo>
                  <a:pt x="236" y="86"/>
                </a:lnTo>
                <a:lnTo>
                  <a:pt x="238" y="92"/>
                </a:lnTo>
                <a:lnTo>
                  <a:pt x="236" y="96"/>
                </a:lnTo>
                <a:lnTo>
                  <a:pt x="236" y="96"/>
                </a:lnTo>
                <a:lnTo>
                  <a:pt x="236" y="102"/>
                </a:lnTo>
                <a:lnTo>
                  <a:pt x="236" y="108"/>
                </a:lnTo>
                <a:lnTo>
                  <a:pt x="238" y="108"/>
                </a:lnTo>
                <a:lnTo>
                  <a:pt x="238" y="108"/>
                </a:lnTo>
                <a:lnTo>
                  <a:pt x="238" y="110"/>
                </a:lnTo>
                <a:lnTo>
                  <a:pt x="238" y="110"/>
                </a:lnTo>
                <a:lnTo>
                  <a:pt x="232" y="110"/>
                </a:lnTo>
                <a:lnTo>
                  <a:pt x="232" y="110"/>
                </a:lnTo>
                <a:lnTo>
                  <a:pt x="234" y="118"/>
                </a:lnTo>
                <a:lnTo>
                  <a:pt x="236" y="122"/>
                </a:lnTo>
                <a:lnTo>
                  <a:pt x="234" y="126"/>
                </a:lnTo>
                <a:lnTo>
                  <a:pt x="234" y="126"/>
                </a:lnTo>
                <a:lnTo>
                  <a:pt x="230" y="130"/>
                </a:lnTo>
                <a:lnTo>
                  <a:pt x="230" y="130"/>
                </a:lnTo>
                <a:lnTo>
                  <a:pt x="228" y="134"/>
                </a:lnTo>
                <a:lnTo>
                  <a:pt x="228" y="138"/>
                </a:lnTo>
                <a:lnTo>
                  <a:pt x="228" y="138"/>
                </a:lnTo>
                <a:lnTo>
                  <a:pt x="232" y="140"/>
                </a:lnTo>
                <a:lnTo>
                  <a:pt x="232" y="140"/>
                </a:lnTo>
                <a:lnTo>
                  <a:pt x="234" y="142"/>
                </a:lnTo>
                <a:lnTo>
                  <a:pt x="238" y="144"/>
                </a:lnTo>
                <a:lnTo>
                  <a:pt x="238" y="1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9" name="Freeform 238">
            <a:extLst>
              <a:ext uri="{FF2B5EF4-FFF2-40B4-BE49-F238E27FC236}">
                <a16:creationId xmlns:a16="http://schemas.microsoft.com/office/drawing/2014/main" id="{A004CC7C-0EB3-4984-9944-85B959584383}"/>
              </a:ext>
            </a:extLst>
          </p:cNvPr>
          <p:cNvSpPr>
            <a:spLocks/>
          </p:cNvSpPr>
          <p:nvPr userDrawn="1"/>
        </p:nvSpPr>
        <p:spPr bwMode="auto">
          <a:xfrm>
            <a:off x="6039503" y="3299698"/>
            <a:ext cx="185746" cy="319173"/>
          </a:xfrm>
          <a:custGeom>
            <a:avLst/>
            <a:gdLst>
              <a:gd name="T0" fmla="*/ 2 w 111"/>
              <a:gd name="T1" fmla="*/ 148 h 186"/>
              <a:gd name="T2" fmla="*/ 8 w 111"/>
              <a:gd name="T3" fmla="*/ 148 h 186"/>
              <a:gd name="T4" fmla="*/ 8 w 111"/>
              <a:gd name="T5" fmla="*/ 150 h 186"/>
              <a:gd name="T6" fmla="*/ 10 w 111"/>
              <a:gd name="T7" fmla="*/ 156 h 186"/>
              <a:gd name="T8" fmla="*/ 16 w 111"/>
              <a:gd name="T9" fmla="*/ 158 h 186"/>
              <a:gd name="T10" fmla="*/ 22 w 111"/>
              <a:gd name="T11" fmla="*/ 170 h 186"/>
              <a:gd name="T12" fmla="*/ 45 w 111"/>
              <a:gd name="T13" fmla="*/ 182 h 186"/>
              <a:gd name="T14" fmla="*/ 51 w 111"/>
              <a:gd name="T15" fmla="*/ 180 h 186"/>
              <a:gd name="T16" fmla="*/ 57 w 111"/>
              <a:gd name="T17" fmla="*/ 180 h 186"/>
              <a:gd name="T18" fmla="*/ 65 w 111"/>
              <a:gd name="T19" fmla="*/ 180 h 186"/>
              <a:gd name="T20" fmla="*/ 79 w 111"/>
              <a:gd name="T21" fmla="*/ 180 h 186"/>
              <a:gd name="T22" fmla="*/ 89 w 111"/>
              <a:gd name="T23" fmla="*/ 182 h 186"/>
              <a:gd name="T24" fmla="*/ 95 w 111"/>
              <a:gd name="T25" fmla="*/ 184 h 186"/>
              <a:gd name="T26" fmla="*/ 109 w 111"/>
              <a:gd name="T27" fmla="*/ 186 h 186"/>
              <a:gd name="T28" fmla="*/ 107 w 111"/>
              <a:gd name="T29" fmla="*/ 180 h 186"/>
              <a:gd name="T30" fmla="*/ 111 w 111"/>
              <a:gd name="T31" fmla="*/ 172 h 186"/>
              <a:gd name="T32" fmla="*/ 101 w 111"/>
              <a:gd name="T33" fmla="*/ 162 h 186"/>
              <a:gd name="T34" fmla="*/ 93 w 111"/>
              <a:gd name="T35" fmla="*/ 154 h 186"/>
              <a:gd name="T36" fmla="*/ 87 w 111"/>
              <a:gd name="T37" fmla="*/ 144 h 186"/>
              <a:gd name="T38" fmla="*/ 79 w 111"/>
              <a:gd name="T39" fmla="*/ 126 h 186"/>
              <a:gd name="T40" fmla="*/ 75 w 111"/>
              <a:gd name="T41" fmla="*/ 122 h 186"/>
              <a:gd name="T42" fmla="*/ 79 w 111"/>
              <a:gd name="T43" fmla="*/ 118 h 186"/>
              <a:gd name="T44" fmla="*/ 89 w 111"/>
              <a:gd name="T45" fmla="*/ 100 h 186"/>
              <a:gd name="T46" fmla="*/ 91 w 111"/>
              <a:gd name="T47" fmla="*/ 86 h 186"/>
              <a:gd name="T48" fmla="*/ 79 w 111"/>
              <a:gd name="T49" fmla="*/ 68 h 186"/>
              <a:gd name="T50" fmla="*/ 79 w 111"/>
              <a:gd name="T51" fmla="*/ 64 h 186"/>
              <a:gd name="T52" fmla="*/ 85 w 111"/>
              <a:gd name="T53" fmla="*/ 58 h 186"/>
              <a:gd name="T54" fmla="*/ 97 w 111"/>
              <a:gd name="T55" fmla="*/ 58 h 186"/>
              <a:gd name="T56" fmla="*/ 97 w 111"/>
              <a:gd name="T57" fmla="*/ 52 h 186"/>
              <a:gd name="T58" fmla="*/ 95 w 111"/>
              <a:gd name="T59" fmla="*/ 44 h 186"/>
              <a:gd name="T60" fmla="*/ 91 w 111"/>
              <a:gd name="T61" fmla="*/ 34 h 186"/>
              <a:gd name="T62" fmla="*/ 95 w 111"/>
              <a:gd name="T63" fmla="*/ 28 h 186"/>
              <a:gd name="T64" fmla="*/ 95 w 111"/>
              <a:gd name="T65" fmla="*/ 20 h 186"/>
              <a:gd name="T66" fmla="*/ 91 w 111"/>
              <a:gd name="T67" fmla="*/ 14 h 186"/>
              <a:gd name="T68" fmla="*/ 91 w 111"/>
              <a:gd name="T69" fmla="*/ 8 h 186"/>
              <a:gd name="T70" fmla="*/ 81 w 111"/>
              <a:gd name="T71" fmla="*/ 12 h 186"/>
              <a:gd name="T72" fmla="*/ 85 w 111"/>
              <a:gd name="T73" fmla="*/ 16 h 186"/>
              <a:gd name="T74" fmla="*/ 79 w 111"/>
              <a:gd name="T75" fmla="*/ 28 h 186"/>
              <a:gd name="T76" fmla="*/ 75 w 111"/>
              <a:gd name="T77" fmla="*/ 32 h 186"/>
              <a:gd name="T78" fmla="*/ 69 w 111"/>
              <a:gd name="T79" fmla="*/ 40 h 186"/>
              <a:gd name="T80" fmla="*/ 69 w 111"/>
              <a:gd name="T81" fmla="*/ 42 h 186"/>
              <a:gd name="T82" fmla="*/ 67 w 111"/>
              <a:gd name="T83" fmla="*/ 50 h 186"/>
              <a:gd name="T84" fmla="*/ 63 w 111"/>
              <a:gd name="T85" fmla="*/ 56 h 186"/>
              <a:gd name="T86" fmla="*/ 65 w 111"/>
              <a:gd name="T87" fmla="*/ 62 h 186"/>
              <a:gd name="T88" fmla="*/ 63 w 111"/>
              <a:gd name="T89" fmla="*/ 66 h 186"/>
              <a:gd name="T90" fmla="*/ 51 w 111"/>
              <a:gd name="T91" fmla="*/ 72 h 186"/>
              <a:gd name="T92" fmla="*/ 49 w 111"/>
              <a:gd name="T93" fmla="*/ 80 h 186"/>
              <a:gd name="T94" fmla="*/ 45 w 111"/>
              <a:gd name="T95" fmla="*/ 88 h 186"/>
              <a:gd name="T96" fmla="*/ 41 w 111"/>
              <a:gd name="T97" fmla="*/ 96 h 186"/>
              <a:gd name="T98" fmla="*/ 37 w 111"/>
              <a:gd name="T99" fmla="*/ 102 h 186"/>
              <a:gd name="T100" fmla="*/ 37 w 111"/>
              <a:gd name="T101" fmla="*/ 112 h 186"/>
              <a:gd name="T102" fmla="*/ 35 w 111"/>
              <a:gd name="T103" fmla="*/ 114 h 186"/>
              <a:gd name="T104" fmla="*/ 28 w 111"/>
              <a:gd name="T105" fmla="*/ 122 h 186"/>
              <a:gd name="T106" fmla="*/ 26 w 111"/>
              <a:gd name="T107" fmla="*/ 116 h 186"/>
              <a:gd name="T108" fmla="*/ 24 w 111"/>
              <a:gd name="T109" fmla="*/ 114 h 186"/>
              <a:gd name="T110" fmla="*/ 18 w 111"/>
              <a:gd name="T111" fmla="*/ 112 h 186"/>
              <a:gd name="T112" fmla="*/ 8 w 111"/>
              <a:gd name="T113" fmla="*/ 116 h 186"/>
              <a:gd name="T114" fmla="*/ 4 w 111"/>
              <a:gd name="T115" fmla="*/ 118 h 186"/>
              <a:gd name="T116" fmla="*/ 0 w 111"/>
              <a:gd name="T117" fmla="*/ 128 h 186"/>
              <a:gd name="T118" fmla="*/ 0 w 111"/>
              <a:gd name="T119" fmla="*/ 132 h 186"/>
              <a:gd name="T120" fmla="*/ 2 w 111"/>
              <a:gd name="T121" fmla="*/ 13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186">
                <a:moveTo>
                  <a:pt x="0" y="146"/>
                </a:moveTo>
                <a:lnTo>
                  <a:pt x="0" y="146"/>
                </a:lnTo>
                <a:lnTo>
                  <a:pt x="2" y="148"/>
                </a:lnTo>
                <a:lnTo>
                  <a:pt x="2" y="150"/>
                </a:lnTo>
                <a:lnTo>
                  <a:pt x="2" y="150"/>
                </a:lnTo>
                <a:lnTo>
                  <a:pt x="8" y="148"/>
                </a:lnTo>
                <a:lnTo>
                  <a:pt x="8" y="148"/>
                </a:lnTo>
                <a:lnTo>
                  <a:pt x="8" y="148"/>
                </a:lnTo>
                <a:lnTo>
                  <a:pt x="8" y="150"/>
                </a:lnTo>
                <a:lnTo>
                  <a:pt x="8" y="150"/>
                </a:lnTo>
                <a:lnTo>
                  <a:pt x="8" y="154"/>
                </a:lnTo>
                <a:lnTo>
                  <a:pt x="10" y="156"/>
                </a:lnTo>
                <a:lnTo>
                  <a:pt x="18" y="154"/>
                </a:lnTo>
                <a:lnTo>
                  <a:pt x="18" y="154"/>
                </a:lnTo>
                <a:lnTo>
                  <a:pt x="16" y="158"/>
                </a:lnTo>
                <a:lnTo>
                  <a:pt x="16" y="158"/>
                </a:lnTo>
                <a:lnTo>
                  <a:pt x="20" y="170"/>
                </a:lnTo>
                <a:lnTo>
                  <a:pt x="22" y="170"/>
                </a:lnTo>
                <a:lnTo>
                  <a:pt x="22" y="170"/>
                </a:lnTo>
                <a:lnTo>
                  <a:pt x="20" y="182"/>
                </a:lnTo>
                <a:lnTo>
                  <a:pt x="45" y="182"/>
                </a:lnTo>
                <a:lnTo>
                  <a:pt x="45" y="182"/>
                </a:lnTo>
                <a:lnTo>
                  <a:pt x="47" y="182"/>
                </a:lnTo>
                <a:lnTo>
                  <a:pt x="51" y="180"/>
                </a:lnTo>
                <a:lnTo>
                  <a:pt x="51" y="180"/>
                </a:lnTo>
                <a:lnTo>
                  <a:pt x="55" y="180"/>
                </a:lnTo>
                <a:lnTo>
                  <a:pt x="57" y="180"/>
                </a:lnTo>
                <a:lnTo>
                  <a:pt x="59" y="180"/>
                </a:lnTo>
                <a:lnTo>
                  <a:pt x="59" y="180"/>
                </a:lnTo>
                <a:lnTo>
                  <a:pt x="65" y="180"/>
                </a:lnTo>
                <a:lnTo>
                  <a:pt x="69" y="180"/>
                </a:lnTo>
                <a:lnTo>
                  <a:pt x="79" y="180"/>
                </a:lnTo>
                <a:lnTo>
                  <a:pt x="79" y="180"/>
                </a:lnTo>
                <a:lnTo>
                  <a:pt x="85" y="180"/>
                </a:lnTo>
                <a:lnTo>
                  <a:pt x="89" y="182"/>
                </a:lnTo>
                <a:lnTo>
                  <a:pt x="89" y="182"/>
                </a:lnTo>
                <a:lnTo>
                  <a:pt x="91" y="184"/>
                </a:lnTo>
                <a:lnTo>
                  <a:pt x="95" y="184"/>
                </a:lnTo>
                <a:lnTo>
                  <a:pt x="95" y="184"/>
                </a:lnTo>
                <a:lnTo>
                  <a:pt x="103" y="184"/>
                </a:lnTo>
                <a:lnTo>
                  <a:pt x="103" y="184"/>
                </a:lnTo>
                <a:lnTo>
                  <a:pt x="109" y="186"/>
                </a:lnTo>
                <a:lnTo>
                  <a:pt x="109" y="186"/>
                </a:lnTo>
                <a:lnTo>
                  <a:pt x="107" y="180"/>
                </a:lnTo>
                <a:lnTo>
                  <a:pt x="107" y="180"/>
                </a:lnTo>
                <a:lnTo>
                  <a:pt x="109" y="174"/>
                </a:lnTo>
                <a:lnTo>
                  <a:pt x="111" y="172"/>
                </a:lnTo>
                <a:lnTo>
                  <a:pt x="111" y="172"/>
                </a:lnTo>
                <a:lnTo>
                  <a:pt x="107" y="168"/>
                </a:lnTo>
                <a:lnTo>
                  <a:pt x="101" y="162"/>
                </a:lnTo>
                <a:lnTo>
                  <a:pt x="101" y="162"/>
                </a:lnTo>
                <a:lnTo>
                  <a:pt x="99" y="158"/>
                </a:lnTo>
                <a:lnTo>
                  <a:pt x="93" y="154"/>
                </a:lnTo>
                <a:lnTo>
                  <a:pt x="93" y="154"/>
                </a:lnTo>
                <a:lnTo>
                  <a:pt x="91" y="148"/>
                </a:lnTo>
                <a:lnTo>
                  <a:pt x="87" y="144"/>
                </a:lnTo>
                <a:lnTo>
                  <a:pt x="87" y="144"/>
                </a:lnTo>
                <a:lnTo>
                  <a:pt x="81" y="130"/>
                </a:lnTo>
                <a:lnTo>
                  <a:pt x="81" y="130"/>
                </a:lnTo>
                <a:lnTo>
                  <a:pt x="79" y="126"/>
                </a:lnTo>
                <a:lnTo>
                  <a:pt x="77" y="124"/>
                </a:lnTo>
                <a:lnTo>
                  <a:pt x="77" y="124"/>
                </a:lnTo>
                <a:lnTo>
                  <a:pt x="75" y="122"/>
                </a:lnTo>
                <a:lnTo>
                  <a:pt x="75" y="122"/>
                </a:lnTo>
                <a:lnTo>
                  <a:pt x="79" y="118"/>
                </a:lnTo>
                <a:lnTo>
                  <a:pt x="79" y="118"/>
                </a:lnTo>
                <a:lnTo>
                  <a:pt x="83" y="114"/>
                </a:lnTo>
                <a:lnTo>
                  <a:pt x="85" y="108"/>
                </a:lnTo>
                <a:lnTo>
                  <a:pt x="89" y="100"/>
                </a:lnTo>
                <a:lnTo>
                  <a:pt x="93" y="92"/>
                </a:lnTo>
                <a:lnTo>
                  <a:pt x="93" y="92"/>
                </a:lnTo>
                <a:lnTo>
                  <a:pt x="91" y="86"/>
                </a:lnTo>
                <a:lnTo>
                  <a:pt x="89" y="80"/>
                </a:lnTo>
                <a:lnTo>
                  <a:pt x="89" y="80"/>
                </a:lnTo>
                <a:lnTo>
                  <a:pt x="79" y="68"/>
                </a:lnTo>
                <a:lnTo>
                  <a:pt x="79" y="68"/>
                </a:lnTo>
                <a:lnTo>
                  <a:pt x="79" y="66"/>
                </a:lnTo>
                <a:lnTo>
                  <a:pt x="79" y="64"/>
                </a:lnTo>
                <a:lnTo>
                  <a:pt x="81" y="60"/>
                </a:lnTo>
                <a:lnTo>
                  <a:pt x="81" y="60"/>
                </a:lnTo>
                <a:lnTo>
                  <a:pt x="85" y="58"/>
                </a:lnTo>
                <a:lnTo>
                  <a:pt x="91" y="58"/>
                </a:lnTo>
                <a:lnTo>
                  <a:pt x="97" y="58"/>
                </a:lnTo>
                <a:lnTo>
                  <a:pt x="97" y="58"/>
                </a:lnTo>
                <a:lnTo>
                  <a:pt x="97" y="56"/>
                </a:lnTo>
                <a:lnTo>
                  <a:pt x="97" y="52"/>
                </a:lnTo>
                <a:lnTo>
                  <a:pt x="97" y="52"/>
                </a:lnTo>
                <a:lnTo>
                  <a:pt x="95" y="48"/>
                </a:lnTo>
                <a:lnTo>
                  <a:pt x="95" y="44"/>
                </a:lnTo>
                <a:lnTo>
                  <a:pt x="95" y="44"/>
                </a:lnTo>
                <a:lnTo>
                  <a:pt x="93" y="40"/>
                </a:lnTo>
                <a:lnTo>
                  <a:pt x="91" y="34"/>
                </a:lnTo>
                <a:lnTo>
                  <a:pt x="91" y="34"/>
                </a:lnTo>
                <a:lnTo>
                  <a:pt x="93" y="30"/>
                </a:lnTo>
                <a:lnTo>
                  <a:pt x="95" y="28"/>
                </a:lnTo>
                <a:lnTo>
                  <a:pt x="95" y="28"/>
                </a:lnTo>
                <a:lnTo>
                  <a:pt x="95" y="24"/>
                </a:lnTo>
                <a:lnTo>
                  <a:pt x="95" y="24"/>
                </a:lnTo>
                <a:lnTo>
                  <a:pt x="95" y="20"/>
                </a:lnTo>
                <a:lnTo>
                  <a:pt x="91" y="16"/>
                </a:lnTo>
                <a:lnTo>
                  <a:pt x="91" y="16"/>
                </a:lnTo>
                <a:lnTo>
                  <a:pt x="91" y="14"/>
                </a:lnTo>
                <a:lnTo>
                  <a:pt x="91" y="12"/>
                </a:lnTo>
                <a:lnTo>
                  <a:pt x="91" y="8"/>
                </a:lnTo>
                <a:lnTo>
                  <a:pt x="91" y="8"/>
                </a:lnTo>
                <a:lnTo>
                  <a:pt x="81" y="0"/>
                </a:lnTo>
                <a:lnTo>
                  <a:pt x="81" y="12"/>
                </a:lnTo>
                <a:lnTo>
                  <a:pt x="81" y="12"/>
                </a:lnTo>
                <a:lnTo>
                  <a:pt x="83" y="14"/>
                </a:lnTo>
                <a:lnTo>
                  <a:pt x="85" y="16"/>
                </a:lnTo>
                <a:lnTo>
                  <a:pt x="85" y="16"/>
                </a:lnTo>
                <a:lnTo>
                  <a:pt x="83" y="24"/>
                </a:lnTo>
                <a:lnTo>
                  <a:pt x="81" y="28"/>
                </a:lnTo>
                <a:lnTo>
                  <a:pt x="79" y="28"/>
                </a:lnTo>
                <a:lnTo>
                  <a:pt x="79" y="28"/>
                </a:lnTo>
                <a:lnTo>
                  <a:pt x="77" y="30"/>
                </a:lnTo>
                <a:lnTo>
                  <a:pt x="75" y="32"/>
                </a:lnTo>
                <a:lnTo>
                  <a:pt x="75" y="32"/>
                </a:lnTo>
                <a:lnTo>
                  <a:pt x="73" y="36"/>
                </a:lnTo>
                <a:lnTo>
                  <a:pt x="69" y="40"/>
                </a:lnTo>
                <a:lnTo>
                  <a:pt x="69" y="40"/>
                </a:lnTo>
                <a:lnTo>
                  <a:pt x="69" y="42"/>
                </a:lnTo>
                <a:lnTo>
                  <a:pt x="69" y="42"/>
                </a:lnTo>
                <a:lnTo>
                  <a:pt x="69" y="46"/>
                </a:lnTo>
                <a:lnTo>
                  <a:pt x="69" y="46"/>
                </a:lnTo>
                <a:lnTo>
                  <a:pt x="67" y="50"/>
                </a:lnTo>
                <a:lnTo>
                  <a:pt x="65" y="52"/>
                </a:lnTo>
                <a:lnTo>
                  <a:pt x="65" y="52"/>
                </a:lnTo>
                <a:lnTo>
                  <a:pt x="63" y="56"/>
                </a:lnTo>
                <a:lnTo>
                  <a:pt x="63" y="58"/>
                </a:lnTo>
                <a:lnTo>
                  <a:pt x="63" y="58"/>
                </a:lnTo>
                <a:lnTo>
                  <a:pt x="65" y="62"/>
                </a:lnTo>
                <a:lnTo>
                  <a:pt x="65" y="64"/>
                </a:lnTo>
                <a:lnTo>
                  <a:pt x="63" y="66"/>
                </a:lnTo>
                <a:lnTo>
                  <a:pt x="63" y="66"/>
                </a:lnTo>
                <a:lnTo>
                  <a:pt x="53" y="70"/>
                </a:lnTo>
                <a:lnTo>
                  <a:pt x="53" y="70"/>
                </a:lnTo>
                <a:lnTo>
                  <a:pt x="51" y="72"/>
                </a:lnTo>
                <a:lnTo>
                  <a:pt x="49" y="76"/>
                </a:lnTo>
                <a:lnTo>
                  <a:pt x="49" y="76"/>
                </a:lnTo>
                <a:lnTo>
                  <a:pt x="49" y="80"/>
                </a:lnTo>
                <a:lnTo>
                  <a:pt x="47" y="84"/>
                </a:lnTo>
                <a:lnTo>
                  <a:pt x="47" y="84"/>
                </a:lnTo>
                <a:lnTo>
                  <a:pt x="45" y="88"/>
                </a:lnTo>
                <a:lnTo>
                  <a:pt x="45" y="92"/>
                </a:lnTo>
                <a:lnTo>
                  <a:pt x="45" y="92"/>
                </a:lnTo>
                <a:lnTo>
                  <a:pt x="41" y="96"/>
                </a:lnTo>
                <a:lnTo>
                  <a:pt x="39" y="98"/>
                </a:lnTo>
                <a:lnTo>
                  <a:pt x="39" y="98"/>
                </a:lnTo>
                <a:lnTo>
                  <a:pt x="37" y="102"/>
                </a:lnTo>
                <a:lnTo>
                  <a:pt x="35" y="108"/>
                </a:lnTo>
                <a:lnTo>
                  <a:pt x="35" y="108"/>
                </a:lnTo>
                <a:lnTo>
                  <a:pt x="37" y="112"/>
                </a:lnTo>
                <a:lnTo>
                  <a:pt x="37" y="112"/>
                </a:lnTo>
                <a:lnTo>
                  <a:pt x="35" y="114"/>
                </a:lnTo>
                <a:lnTo>
                  <a:pt x="35" y="114"/>
                </a:lnTo>
                <a:lnTo>
                  <a:pt x="32" y="116"/>
                </a:lnTo>
                <a:lnTo>
                  <a:pt x="30" y="120"/>
                </a:lnTo>
                <a:lnTo>
                  <a:pt x="28" y="122"/>
                </a:lnTo>
                <a:lnTo>
                  <a:pt x="24" y="122"/>
                </a:lnTo>
                <a:lnTo>
                  <a:pt x="24" y="122"/>
                </a:lnTo>
                <a:lnTo>
                  <a:pt x="26" y="116"/>
                </a:lnTo>
                <a:lnTo>
                  <a:pt x="24" y="114"/>
                </a:lnTo>
                <a:lnTo>
                  <a:pt x="24" y="114"/>
                </a:lnTo>
                <a:lnTo>
                  <a:pt x="24" y="114"/>
                </a:lnTo>
                <a:lnTo>
                  <a:pt x="18" y="112"/>
                </a:lnTo>
                <a:lnTo>
                  <a:pt x="18" y="112"/>
                </a:lnTo>
                <a:lnTo>
                  <a:pt x="18" y="112"/>
                </a:lnTo>
                <a:lnTo>
                  <a:pt x="14" y="114"/>
                </a:lnTo>
                <a:lnTo>
                  <a:pt x="14" y="114"/>
                </a:lnTo>
                <a:lnTo>
                  <a:pt x="8" y="116"/>
                </a:lnTo>
                <a:lnTo>
                  <a:pt x="6" y="116"/>
                </a:lnTo>
                <a:lnTo>
                  <a:pt x="4" y="118"/>
                </a:lnTo>
                <a:lnTo>
                  <a:pt x="4" y="118"/>
                </a:lnTo>
                <a:lnTo>
                  <a:pt x="2" y="124"/>
                </a:lnTo>
                <a:lnTo>
                  <a:pt x="2" y="126"/>
                </a:lnTo>
                <a:lnTo>
                  <a:pt x="0" y="128"/>
                </a:lnTo>
                <a:lnTo>
                  <a:pt x="0" y="128"/>
                </a:lnTo>
                <a:lnTo>
                  <a:pt x="0" y="128"/>
                </a:lnTo>
                <a:lnTo>
                  <a:pt x="0" y="132"/>
                </a:lnTo>
                <a:lnTo>
                  <a:pt x="0" y="132"/>
                </a:lnTo>
                <a:lnTo>
                  <a:pt x="0" y="134"/>
                </a:lnTo>
                <a:lnTo>
                  <a:pt x="2" y="136"/>
                </a:lnTo>
                <a:lnTo>
                  <a:pt x="0" y="142"/>
                </a:lnTo>
                <a:lnTo>
                  <a:pt x="0" y="1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0" name="Freeform 239">
            <a:extLst>
              <a:ext uri="{FF2B5EF4-FFF2-40B4-BE49-F238E27FC236}">
                <a16:creationId xmlns:a16="http://schemas.microsoft.com/office/drawing/2014/main" id="{C1895643-827E-4E06-90EA-F143D3FACD8B}"/>
              </a:ext>
            </a:extLst>
          </p:cNvPr>
          <p:cNvSpPr>
            <a:spLocks/>
          </p:cNvSpPr>
          <p:nvPr userDrawn="1"/>
        </p:nvSpPr>
        <p:spPr bwMode="auto">
          <a:xfrm>
            <a:off x="8150826" y="3261947"/>
            <a:ext cx="117640" cy="137279"/>
          </a:xfrm>
          <a:custGeom>
            <a:avLst/>
            <a:gdLst>
              <a:gd name="T0" fmla="*/ 6 w 70"/>
              <a:gd name="T1" fmla="*/ 60 h 80"/>
              <a:gd name="T2" fmla="*/ 6 w 70"/>
              <a:gd name="T3" fmla="*/ 60 h 80"/>
              <a:gd name="T4" fmla="*/ 8 w 70"/>
              <a:gd name="T5" fmla="*/ 66 h 80"/>
              <a:gd name="T6" fmla="*/ 10 w 70"/>
              <a:gd name="T7" fmla="*/ 66 h 80"/>
              <a:gd name="T8" fmla="*/ 10 w 70"/>
              <a:gd name="T9" fmla="*/ 66 h 80"/>
              <a:gd name="T10" fmla="*/ 12 w 70"/>
              <a:gd name="T11" fmla="*/ 74 h 80"/>
              <a:gd name="T12" fmla="*/ 12 w 70"/>
              <a:gd name="T13" fmla="*/ 74 h 80"/>
              <a:gd name="T14" fmla="*/ 18 w 70"/>
              <a:gd name="T15" fmla="*/ 72 h 80"/>
              <a:gd name="T16" fmla="*/ 18 w 70"/>
              <a:gd name="T17" fmla="*/ 72 h 80"/>
              <a:gd name="T18" fmla="*/ 18 w 70"/>
              <a:gd name="T19" fmla="*/ 78 h 80"/>
              <a:gd name="T20" fmla="*/ 18 w 70"/>
              <a:gd name="T21" fmla="*/ 78 h 80"/>
              <a:gd name="T22" fmla="*/ 24 w 70"/>
              <a:gd name="T23" fmla="*/ 78 h 80"/>
              <a:gd name="T24" fmla="*/ 26 w 70"/>
              <a:gd name="T25" fmla="*/ 80 h 80"/>
              <a:gd name="T26" fmla="*/ 32 w 70"/>
              <a:gd name="T27" fmla="*/ 72 h 80"/>
              <a:gd name="T28" fmla="*/ 36 w 70"/>
              <a:gd name="T29" fmla="*/ 70 h 80"/>
              <a:gd name="T30" fmla="*/ 38 w 70"/>
              <a:gd name="T31" fmla="*/ 66 h 80"/>
              <a:gd name="T32" fmla="*/ 46 w 70"/>
              <a:gd name="T33" fmla="*/ 66 h 80"/>
              <a:gd name="T34" fmla="*/ 52 w 70"/>
              <a:gd name="T35" fmla="*/ 68 h 80"/>
              <a:gd name="T36" fmla="*/ 54 w 70"/>
              <a:gd name="T37" fmla="*/ 62 h 80"/>
              <a:gd name="T38" fmla="*/ 56 w 70"/>
              <a:gd name="T39" fmla="*/ 60 h 80"/>
              <a:gd name="T40" fmla="*/ 62 w 70"/>
              <a:gd name="T41" fmla="*/ 58 h 80"/>
              <a:gd name="T42" fmla="*/ 66 w 70"/>
              <a:gd name="T43" fmla="*/ 54 h 80"/>
              <a:gd name="T44" fmla="*/ 68 w 70"/>
              <a:gd name="T45" fmla="*/ 48 h 80"/>
              <a:gd name="T46" fmla="*/ 68 w 70"/>
              <a:gd name="T47" fmla="*/ 40 h 80"/>
              <a:gd name="T48" fmla="*/ 70 w 70"/>
              <a:gd name="T49" fmla="*/ 34 h 80"/>
              <a:gd name="T50" fmla="*/ 70 w 70"/>
              <a:gd name="T51" fmla="*/ 26 h 80"/>
              <a:gd name="T52" fmla="*/ 68 w 70"/>
              <a:gd name="T53" fmla="*/ 18 h 80"/>
              <a:gd name="T54" fmla="*/ 66 w 70"/>
              <a:gd name="T55" fmla="*/ 12 h 80"/>
              <a:gd name="T56" fmla="*/ 66 w 70"/>
              <a:gd name="T57" fmla="*/ 4 h 80"/>
              <a:gd name="T58" fmla="*/ 60 w 70"/>
              <a:gd name="T59" fmla="*/ 6 h 80"/>
              <a:gd name="T60" fmla="*/ 56 w 70"/>
              <a:gd name="T61" fmla="*/ 2 h 80"/>
              <a:gd name="T62" fmla="*/ 52 w 70"/>
              <a:gd name="T63" fmla="*/ 0 h 80"/>
              <a:gd name="T64" fmla="*/ 48 w 70"/>
              <a:gd name="T65" fmla="*/ 6 h 80"/>
              <a:gd name="T66" fmla="*/ 48 w 70"/>
              <a:gd name="T67" fmla="*/ 12 h 80"/>
              <a:gd name="T68" fmla="*/ 44 w 70"/>
              <a:gd name="T69" fmla="*/ 14 h 80"/>
              <a:gd name="T70" fmla="*/ 40 w 70"/>
              <a:gd name="T71" fmla="*/ 10 h 80"/>
              <a:gd name="T72" fmla="*/ 38 w 70"/>
              <a:gd name="T73" fmla="*/ 8 h 80"/>
              <a:gd name="T74" fmla="*/ 30 w 70"/>
              <a:gd name="T75" fmla="*/ 6 h 80"/>
              <a:gd name="T76" fmla="*/ 26 w 70"/>
              <a:gd name="T77" fmla="*/ 10 h 80"/>
              <a:gd name="T78" fmla="*/ 20 w 70"/>
              <a:gd name="T79" fmla="*/ 14 h 80"/>
              <a:gd name="T80" fmla="*/ 16 w 70"/>
              <a:gd name="T81" fmla="*/ 14 h 80"/>
              <a:gd name="T82" fmla="*/ 10 w 70"/>
              <a:gd name="T83" fmla="*/ 14 h 80"/>
              <a:gd name="T84" fmla="*/ 4 w 70"/>
              <a:gd name="T85" fmla="*/ 18 h 80"/>
              <a:gd name="T86" fmla="*/ 0 w 70"/>
              <a:gd name="T87" fmla="*/ 20 h 80"/>
              <a:gd name="T88" fmla="*/ 0 w 70"/>
              <a:gd name="T89" fmla="*/ 28 h 80"/>
              <a:gd name="T90" fmla="*/ 0 w 70"/>
              <a:gd name="T91" fmla="*/ 38 h 80"/>
              <a:gd name="T92" fmla="*/ 4 w 70"/>
              <a:gd name="T93" fmla="*/ 44 h 80"/>
              <a:gd name="T94" fmla="*/ 6 w 70"/>
              <a:gd name="T95" fmla="*/ 52 h 80"/>
              <a:gd name="T96" fmla="*/ 6 w 70"/>
              <a:gd name="T97"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80">
                <a:moveTo>
                  <a:pt x="6" y="60"/>
                </a:moveTo>
                <a:lnTo>
                  <a:pt x="6" y="60"/>
                </a:lnTo>
                <a:lnTo>
                  <a:pt x="8" y="66"/>
                </a:lnTo>
                <a:lnTo>
                  <a:pt x="10" y="66"/>
                </a:lnTo>
                <a:lnTo>
                  <a:pt x="10" y="66"/>
                </a:lnTo>
                <a:lnTo>
                  <a:pt x="12" y="74"/>
                </a:lnTo>
                <a:lnTo>
                  <a:pt x="12" y="74"/>
                </a:lnTo>
                <a:lnTo>
                  <a:pt x="18" y="72"/>
                </a:lnTo>
                <a:lnTo>
                  <a:pt x="18" y="72"/>
                </a:lnTo>
                <a:lnTo>
                  <a:pt x="18" y="78"/>
                </a:lnTo>
                <a:lnTo>
                  <a:pt x="18" y="78"/>
                </a:lnTo>
                <a:lnTo>
                  <a:pt x="24" y="78"/>
                </a:lnTo>
                <a:lnTo>
                  <a:pt x="26" y="80"/>
                </a:lnTo>
                <a:lnTo>
                  <a:pt x="32" y="72"/>
                </a:lnTo>
                <a:lnTo>
                  <a:pt x="36" y="70"/>
                </a:lnTo>
                <a:lnTo>
                  <a:pt x="38" y="66"/>
                </a:lnTo>
                <a:lnTo>
                  <a:pt x="46" y="66"/>
                </a:lnTo>
                <a:lnTo>
                  <a:pt x="52" y="68"/>
                </a:lnTo>
                <a:lnTo>
                  <a:pt x="54" y="62"/>
                </a:lnTo>
                <a:lnTo>
                  <a:pt x="56" y="60"/>
                </a:lnTo>
                <a:lnTo>
                  <a:pt x="62" y="58"/>
                </a:lnTo>
                <a:lnTo>
                  <a:pt x="66" y="54"/>
                </a:lnTo>
                <a:lnTo>
                  <a:pt x="68" y="48"/>
                </a:lnTo>
                <a:lnTo>
                  <a:pt x="68" y="40"/>
                </a:lnTo>
                <a:lnTo>
                  <a:pt x="70" y="34"/>
                </a:lnTo>
                <a:lnTo>
                  <a:pt x="70" y="26"/>
                </a:lnTo>
                <a:lnTo>
                  <a:pt x="68" y="18"/>
                </a:lnTo>
                <a:lnTo>
                  <a:pt x="66" y="12"/>
                </a:lnTo>
                <a:lnTo>
                  <a:pt x="66" y="4"/>
                </a:lnTo>
                <a:lnTo>
                  <a:pt x="60" y="6"/>
                </a:lnTo>
                <a:lnTo>
                  <a:pt x="56" y="2"/>
                </a:lnTo>
                <a:lnTo>
                  <a:pt x="52" y="0"/>
                </a:lnTo>
                <a:lnTo>
                  <a:pt x="48" y="6"/>
                </a:lnTo>
                <a:lnTo>
                  <a:pt x="48" y="12"/>
                </a:lnTo>
                <a:lnTo>
                  <a:pt x="44" y="14"/>
                </a:lnTo>
                <a:lnTo>
                  <a:pt x="40" y="10"/>
                </a:lnTo>
                <a:lnTo>
                  <a:pt x="38" y="8"/>
                </a:lnTo>
                <a:lnTo>
                  <a:pt x="30" y="6"/>
                </a:lnTo>
                <a:lnTo>
                  <a:pt x="26" y="10"/>
                </a:lnTo>
                <a:lnTo>
                  <a:pt x="20" y="14"/>
                </a:lnTo>
                <a:lnTo>
                  <a:pt x="16" y="14"/>
                </a:lnTo>
                <a:lnTo>
                  <a:pt x="10" y="14"/>
                </a:lnTo>
                <a:lnTo>
                  <a:pt x="4" y="18"/>
                </a:lnTo>
                <a:lnTo>
                  <a:pt x="0" y="20"/>
                </a:lnTo>
                <a:lnTo>
                  <a:pt x="0" y="28"/>
                </a:lnTo>
                <a:lnTo>
                  <a:pt x="0" y="38"/>
                </a:lnTo>
                <a:lnTo>
                  <a:pt x="4" y="44"/>
                </a:lnTo>
                <a:lnTo>
                  <a:pt x="6" y="52"/>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1" name="Freeform 240">
            <a:extLst>
              <a:ext uri="{FF2B5EF4-FFF2-40B4-BE49-F238E27FC236}">
                <a16:creationId xmlns:a16="http://schemas.microsoft.com/office/drawing/2014/main" id="{7A726683-8DBF-485E-B5E0-C5516FC574A7}"/>
              </a:ext>
            </a:extLst>
          </p:cNvPr>
          <p:cNvSpPr>
            <a:spLocks/>
          </p:cNvSpPr>
          <p:nvPr userDrawn="1"/>
        </p:nvSpPr>
        <p:spPr bwMode="auto">
          <a:xfrm>
            <a:off x="6506966" y="3769879"/>
            <a:ext cx="51081" cy="58344"/>
          </a:xfrm>
          <a:custGeom>
            <a:avLst/>
            <a:gdLst>
              <a:gd name="T0" fmla="*/ 0 w 30"/>
              <a:gd name="T1" fmla="*/ 2 h 34"/>
              <a:gd name="T2" fmla="*/ 0 w 30"/>
              <a:gd name="T3" fmla="*/ 2 h 34"/>
              <a:gd name="T4" fmla="*/ 2 w 30"/>
              <a:gd name="T5" fmla="*/ 2 h 34"/>
              <a:gd name="T6" fmla="*/ 4 w 30"/>
              <a:gd name="T7" fmla="*/ 0 h 34"/>
              <a:gd name="T8" fmla="*/ 6 w 30"/>
              <a:gd name="T9" fmla="*/ 2 h 34"/>
              <a:gd name="T10" fmla="*/ 6 w 30"/>
              <a:gd name="T11" fmla="*/ 2 h 34"/>
              <a:gd name="T12" fmla="*/ 8 w 30"/>
              <a:gd name="T13" fmla="*/ 8 h 34"/>
              <a:gd name="T14" fmla="*/ 8 w 30"/>
              <a:gd name="T15" fmla="*/ 8 h 34"/>
              <a:gd name="T16" fmla="*/ 12 w 30"/>
              <a:gd name="T17" fmla="*/ 6 h 34"/>
              <a:gd name="T18" fmla="*/ 12 w 30"/>
              <a:gd name="T19" fmla="*/ 6 h 34"/>
              <a:gd name="T20" fmla="*/ 14 w 30"/>
              <a:gd name="T21" fmla="*/ 4 h 34"/>
              <a:gd name="T22" fmla="*/ 14 w 30"/>
              <a:gd name="T23" fmla="*/ 2 h 34"/>
              <a:gd name="T24" fmla="*/ 14 w 30"/>
              <a:gd name="T25" fmla="*/ 0 h 34"/>
              <a:gd name="T26" fmla="*/ 16 w 30"/>
              <a:gd name="T27" fmla="*/ 0 h 34"/>
              <a:gd name="T28" fmla="*/ 16 w 30"/>
              <a:gd name="T29" fmla="*/ 0 h 34"/>
              <a:gd name="T30" fmla="*/ 22 w 30"/>
              <a:gd name="T31" fmla="*/ 2 h 34"/>
              <a:gd name="T32" fmla="*/ 24 w 30"/>
              <a:gd name="T33" fmla="*/ 2 h 34"/>
              <a:gd name="T34" fmla="*/ 24 w 30"/>
              <a:gd name="T35" fmla="*/ 2 h 34"/>
              <a:gd name="T36" fmla="*/ 24 w 30"/>
              <a:gd name="T37" fmla="*/ 6 h 34"/>
              <a:gd name="T38" fmla="*/ 24 w 30"/>
              <a:gd name="T39" fmla="*/ 8 h 34"/>
              <a:gd name="T40" fmla="*/ 26 w 30"/>
              <a:gd name="T41" fmla="*/ 12 h 34"/>
              <a:gd name="T42" fmla="*/ 26 w 30"/>
              <a:gd name="T43" fmla="*/ 12 h 34"/>
              <a:gd name="T44" fmla="*/ 30 w 30"/>
              <a:gd name="T45" fmla="*/ 12 h 34"/>
              <a:gd name="T46" fmla="*/ 30 w 30"/>
              <a:gd name="T47" fmla="*/ 12 h 34"/>
              <a:gd name="T48" fmla="*/ 30 w 30"/>
              <a:gd name="T49" fmla="*/ 12 h 34"/>
              <a:gd name="T50" fmla="*/ 28 w 30"/>
              <a:gd name="T51" fmla="*/ 18 h 34"/>
              <a:gd name="T52" fmla="*/ 28 w 30"/>
              <a:gd name="T53" fmla="*/ 18 h 34"/>
              <a:gd name="T54" fmla="*/ 22 w 30"/>
              <a:gd name="T55" fmla="*/ 22 h 34"/>
              <a:gd name="T56" fmla="*/ 20 w 30"/>
              <a:gd name="T57" fmla="*/ 30 h 34"/>
              <a:gd name="T58" fmla="*/ 20 w 30"/>
              <a:gd name="T59" fmla="*/ 30 h 34"/>
              <a:gd name="T60" fmla="*/ 14 w 30"/>
              <a:gd name="T61" fmla="*/ 34 h 34"/>
              <a:gd name="T62" fmla="*/ 14 w 30"/>
              <a:gd name="T63" fmla="*/ 34 h 34"/>
              <a:gd name="T64" fmla="*/ 8 w 30"/>
              <a:gd name="T65" fmla="*/ 32 h 34"/>
              <a:gd name="T66" fmla="*/ 8 w 30"/>
              <a:gd name="T67" fmla="*/ 32 h 34"/>
              <a:gd name="T68" fmla="*/ 8 w 30"/>
              <a:gd name="T69" fmla="*/ 10 h 34"/>
              <a:gd name="T70" fmla="*/ 8 w 30"/>
              <a:gd name="T71" fmla="*/ 10 h 34"/>
              <a:gd name="T72" fmla="*/ 2 w 30"/>
              <a:gd name="T73" fmla="*/ 8 h 34"/>
              <a:gd name="T74" fmla="*/ 2 w 30"/>
              <a:gd name="T75" fmla="*/ 8 h 34"/>
              <a:gd name="T76" fmla="*/ 0 w 30"/>
              <a:gd name="T77" fmla="*/ 4 h 34"/>
              <a:gd name="T78" fmla="*/ 0 w 30"/>
              <a:gd name="T7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34">
                <a:moveTo>
                  <a:pt x="0" y="2"/>
                </a:moveTo>
                <a:lnTo>
                  <a:pt x="0" y="2"/>
                </a:lnTo>
                <a:lnTo>
                  <a:pt x="2" y="2"/>
                </a:lnTo>
                <a:lnTo>
                  <a:pt x="4" y="0"/>
                </a:lnTo>
                <a:lnTo>
                  <a:pt x="6" y="2"/>
                </a:lnTo>
                <a:lnTo>
                  <a:pt x="6" y="2"/>
                </a:lnTo>
                <a:lnTo>
                  <a:pt x="8" y="8"/>
                </a:lnTo>
                <a:lnTo>
                  <a:pt x="8" y="8"/>
                </a:lnTo>
                <a:lnTo>
                  <a:pt x="12" y="6"/>
                </a:lnTo>
                <a:lnTo>
                  <a:pt x="12" y="6"/>
                </a:lnTo>
                <a:lnTo>
                  <a:pt x="14" y="4"/>
                </a:lnTo>
                <a:lnTo>
                  <a:pt x="14" y="2"/>
                </a:lnTo>
                <a:lnTo>
                  <a:pt x="14" y="0"/>
                </a:lnTo>
                <a:lnTo>
                  <a:pt x="16" y="0"/>
                </a:lnTo>
                <a:lnTo>
                  <a:pt x="16" y="0"/>
                </a:lnTo>
                <a:lnTo>
                  <a:pt x="22" y="2"/>
                </a:lnTo>
                <a:lnTo>
                  <a:pt x="24" y="2"/>
                </a:lnTo>
                <a:lnTo>
                  <a:pt x="24" y="2"/>
                </a:lnTo>
                <a:lnTo>
                  <a:pt x="24" y="6"/>
                </a:lnTo>
                <a:lnTo>
                  <a:pt x="24" y="8"/>
                </a:lnTo>
                <a:lnTo>
                  <a:pt x="26" y="12"/>
                </a:lnTo>
                <a:lnTo>
                  <a:pt x="26" y="12"/>
                </a:lnTo>
                <a:lnTo>
                  <a:pt x="30" y="12"/>
                </a:lnTo>
                <a:lnTo>
                  <a:pt x="30" y="12"/>
                </a:lnTo>
                <a:lnTo>
                  <a:pt x="30" y="12"/>
                </a:lnTo>
                <a:lnTo>
                  <a:pt x="28" y="18"/>
                </a:lnTo>
                <a:lnTo>
                  <a:pt x="28" y="18"/>
                </a:lnTo>
                <a:lnTo>
                  <a:pt x="22" y="22"/>
                </a:lnTo>
                <a:lnTo>
                  <a:pt x="20" y="30"/>
                </a:lnTo>
                <a:lnTo>
                  <a:pt x="20" y="30"/>
                </a:lnTo>
                <a:lnTo>
                  <a:pt x="14" y="34"/>
                </a:lnTo>
                <a:lnTo>
                  <a:pt x="14" y="34"/>
                </a:lnTo>
                <a:lnTo>
                  <a:pt x="8" y="32"/>
                </a:lnTo>
                <a:lnTo>
                  <a:pt x="8" y="32"/>
                </a:lnTo>
                <a:lnTo>
                  <a:pt x="8" y="10"/>
                </a:lnTo>
                <a:lnTo>
                  <a:pt x="8" y="10"/>
                </a:lnTo>
                <a:lnTo>
                  <a:pt x="2" y="8"/>
                </a:lnTo>
                <a:lnTo>
                  <a:pt x="2" y="8"/>
                </a:lnTo>
                <a:lnTo>
                  <a:pt x="0" y="4"/>
                </a:lnTo>
                <a:lnTo>
                  <a:pt x="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2" name="Freeform 241">
            <a:extLst>
              <a:ext uri="{FF2B5EF4-FFF2-40B4-BE49-F238E27FC236}">
                <a16:creationId xmlns:a16="http://schemas.microsoft.com/office/drawing/2014/main" id="{5DE2365D-8B23-4BA8-9D1F-E8D130C89235}"/>
              </a:ext>
            </a:extLst>
          </p:cNvPr>
          <p:cNvSpPr>
            <a:spLocks/>
          </p:cNvSpPr>
          <p:nvPr userDrawn="1"/>
        </p:nvSpPr>
        <p:spPr bwMode="auto">
          <a:xfrm>
            <a:off x="7932573" y="2905021"/>
            <a:ext cx="191938" cy="470181"/>
          </a:xfrm>
          <a:custGeom>
            <a:avLst/>
            <a:gdLst>
              <a:gd name="T0" fmla="*/ 90 w 114"/>
              <a:gd name="T1" fmla="*/ 260 h 274"/>
              <a:gd name="T2" fmla="*/ 92 w 114"/>
              <a:gd name="T3" fmla="*/ 234 h 274"/>
              <a:gd name="T4" fmla="*/ 76 w 114"/>
              <a:gd name="T5" fmla="*/ 202 h 274"/>
              <a:gd name="T6" fmla="*/ 78 w 114"/>
              <a:gd name="T7" fmla="*/ 186 h 274"/>
              <a:gd name="T8" fmla="*/ 72 w 114"/>
              <a:gd name="T9" fmla="*/ 158 h 274"/>
              <a:gd name="T10" fmla="*/ 72 w 114"/>
              <a:gd name="T11" fmla="*/ 138 h 274"/>
              <a:gd name="T12" fmla="*/ 84 w 114"/>
              <a:gd name="T13" fmla="*/ 132 h 274"/>
              <a:gd name="T14" fmla="*/ 90 w 114"/>
              <a:gd name="T15" fmla="*/ 122 h 274"/>
              <a:gd name="T16" fmla="*/ 106 w 114"/>
              <a:gd name="T17" fmla="*/ 122 h 274"/>
              <a:gd name="T18" fmla="*/ 114 w 114"/>
              <a:gd name="T19" fmla="*/ 104 h 274"/>
              <a:gd name="T20" fmla="*/ 100 w 114"/>
              <a:gd name="T21" fmla="*/ 88 h 274"/>
              <a:gd name="T22" fmla="*/ 90 w 114"/>
              <a:gd name="T23" fmla="*/ 82 h 274"/>
              <a:gd name="T24" fmla="*/ 90 w 114"/>
              <a:gd name="T25" fmla="*/ 72 h 274"/>
              <a:gd name="T26" fmla="*/ 86 w 114"/>
              <a:gd name="T27" fmla="*/ 58 h 274"/>
              <a:gd name="T28" fmla="*/ 74 w 114"/>
              <a:gd name="T29" fmla="*/ 64 h 274"/>
              <a:gd name="T30" fmla="*/ 70 w 114"/>
              <a:gd name="T31" fmla="*/ 56 h 274"/>
              <a:gd name="T32" fmla="*/ 72 w 114"/>
              <a:gd name="T33" fmla="*/ 42 h 274"/>
              <a:gd name="T34" fmla="*/ 78 w 114"/>
              <a:gd name="T35" fmla="*/ 22 h 274"/>
              <a:gd name="T36" fmla="*/ 76 w 114"/>
              <a:gd name="T37" fmla="*/ 6 h 274"/>
              <a:gd name="T38" fmla="*/ 66 w 114"/>
              <a:gd name="T39" fmla="*/ 0 h 274"/>
              <a:gd name="T40" fmla="*/ 56 w 114"/>
              <a:gd name="T41" fmla="*/ 16 h 274"/>
              <a:gd name="T42" fmla="*/ 44 w 114"/>
              <a:gd name="T43" fmla="*/ 30 h 274"/>
              <a:gd name="T44" fmla="*/ 28 w 114"/>
              <a:gd name="T45" fmla="*/ 44 h 274"/>
              <a:gd name="T46" fmla="*/ 30 w 114"/>
              <a:gd name="T47" fmla="*/ 52 h 274"/>
              <a:gd name="T48" fmla="*/ 14 w 114"/>
              <a:gd name="T49" fmla="*/ 64 h 274"/>
              <a:gd name="T50" fmla="*/ 16 w 114"/>
              <a:gd name="T51" fmla="*/ 88 h 274"/>
              <a:gd name="T52" fmla="*/ 10 w 114"/>
              <a:gd name="T53" fmla="*/ 98 h 274"/>
              <a:gd name="T54" fmla="*/ 4 w 114"/>
              <a:gd name="T55" fmla="*/ 104 h 274"/>
              <a:gd name="T56" fmla="*/ 6 w 114"/>
              <a:gd name="T57" fmla="*/ 114 h 274"/>
              <a:gd name="T58" fmla="*/ 0 w 114"/>
              <a:gd name="T59" fmla="*/ 120 h 274"/>
              <a:gd name="T60" fmla="*/ 4 w 114"/>
              <a:gd name="T61" fmla="*/ 128 h 274"/>
              <a:gd name="T62" fmla="*/ 6 w 114"/>
              <a:gd name="T63" fmla="*/ 124 h 274"/>
              <a:gd name="T64" fmla="*/ 8 w 114"/>
              <a:gd name="T65" fmla="*/ 122 h 274"/>
              <a:gd name="T66" fmla="*/ 14 w 114"/>
              <a:gd name="T67" fmla="*/ 122 h 274"/>
              <a:gd name="T68" fmla="*/ 16 w 114"/>
              <a:gd name="T69" fmla="*/ 132 h 274"/>
              <a:gd name="T70" fmla="*/ 20 w 114"/>
              <a:gd name="T71" fmla="*/ 140 h 274"/>
              <a:gd name="T72" fmla="*/ 18 w 114"/>
              <a:gd name="T73" fmla="*/ 148 h 274"/>
              <a:gd name="T74" fmla="*/ 24 w 114"/>
              <a:gd name="T75" fmla="*/ 154 h 274"/>
              <a:gd name="T76" fmla="*/ 26 w 114"/>
              <a:gd name="T77" fmla="*/ 162 h 274"/>
              <a:gd name="T78" fmla="*/ 20 w 114"/>
              <a:gd name="T79" fmla="*/ 190 h 274"/>
              <a:gd name="T80" fmla="*/ 22 w 114"/>
              <a:gd name="T81" fmla="*/ 192 h 274"/>
              <a:gd name="T82" fmla="*/ 26 w 114"/>
              <a:gd name="T83" fmla="*/ 192 h 274"/>
              <a:gd name="T84" fmla="*/ 38 w 114"/>
              <a:gd name="T85" fmla="*/ 194 h 274"/>
              <a:gd name="T86" fmla="*/ 40 w 114"/>
              <a:gd name="T87" fmla="*/ 188 h 274"/>
              <a:gd name="T88" fmla="*/ 42 w 114"/>
              <a:gd name="T89" fmla="*/ 188 h 274"/>
              <a:gd name="T90" fmla="*/ 50 w 114"/>
              <a:gd name="T91" fmla="*/ 176 h 274"/>
              <a:gd name="T92" fmla="*/ 60 w 114"/>
              <a:gd name="T93" fmla="*/ 180 h 274"/>
              <a:gd name="T94" fmla="*/ 60 w 114"/>
              <a:gd name="T95" fmla="*/ 184 h 274"/>
              <a:gd name="T96" fmla="*/ 66 w 114"/>
              <a:gd name="T97" fmla="*/ 186 h 274"/>
              <a:gd name="T98" fmla="*/ 68 w 114"/>
              <a:gd name="T99" fmla="*/ 200 h 274"/>
              <a:gd name="T100" fmla="*/ 74 w 114"/>
              <a:gd name="T101" fmla="*/ 224 h 274"/>
              <a:gd name="T102" fmla="*/ 78 w 114"/>
              <a:gd name="T103" fmla="*/ 230 h 274"/>
              <a:gd name="T104" fmla="*/ 82 w 114"/>
              <a:gd name="T105" fmla="*/ 258 h 274"/>
              <a:gd name="T106" fmla="*/ 80 w 114"/>
              <a:gd name="T107" fmla="*/ 260 h 274"/>
              <a:gd name="T108" fmla="*/ 86 w 114"/>
              <a:gd name="T10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74">
                <a:moveTo>
                  <a:pt x="86" y="274"/>
                </a:moveTo>
                <a:lnTo>
                  <a:pt x="88" y="268"/>
                </a:lnTo>
                <a:lnTo>
                  <a:pt x="90" y="260"/>
                </a:lnTo>
                <a:lnTo>
                  <a:pt x="96" y="252"/>
                </a:lnTo>
                <a:lnTo>
                  <a:pt x="96" y="244"/>
                </a:lnTo>
                <a:lnTo>
                  <a:pt x="92" y="234"/>
                </a:lnTo>
                <a:lnTo>
                  <a:pt x="84" y="226"/>
                </a:lnTo>
                <a:lnTo>
                  <a:pt x="80" y="214"/>
                </a:lnTo>
                <a:lnTo>
                  <a:pt x="76" y="202"/>
                </a:lnTo>
                <a:lnTo>
                  <a:pt x="84" y="198"/>
                </a:lnTo>
                <a:lnTo>
                  <a:pt x="84" y="192"/>
                </a:lnTo>
                <a:lnTo>
                  <a:pt x="78" y="186"/>
                </a:lnTo>
                <a:lnTo>
                  <a:pt x="72" y="178"/>
                </a:lnTo>
                <a:lnTo>
                  <a:pt x="70" y="166"/>
                </a:lnTo>
                <a:lnTo>
                  <a:pt x="72" y="158"/>
                </a:lnTo>
                <a:lnTo>
                  <a:pt x="72" y="152"/>
                </a:lnTo>
                <a:lnTo>
                  <a:pt x="70" y="144"/>
                </a:lnTo>
                <a:lnTo>
                  <a:pt x="72" y="138"/>
                </a:lnTo>
                <a:lnTo>
                  <a:pt x="76" y="138"/>
                </a:lnTo>
                <a:lnTo>
                  <a:pt x="80" y="132"/>
                </a:lnTo>
                <a:lnTo>
                  <a:pt x="84" y="132"/>
                </a:lnTo>
                <a:lnTo>
                  <a:pt x="84" y="128"/>
                </a:lnTo>
                <a:lnTo>
                  <a:pt x="86" y="122"/>
                </a:lnTo>
                <a:lnTo>
                  <a:pt x="90" y="122"/>
                </a:lnTo>
                <a:lnTo>
                  <a:pt x="94" y="124"/>
                </a:lnTo>
                <a:lnTo>
                  <a:pt x="104" y="124"/>
                </a:lnTo>
                <a:lnTo>
                  <a:pt x="106" y="122"/>
                </a:lnTo>
                <a:lnTo>
                  <a:pt x="106" y="116"/>
                </a:lnTo>
                <a:lnTo>
                  <a:pt x="112" y="108"/>
                </a:lnTo>
                <a:lnTo>
                  <a:pt x="114" y="104"/>
                </a:lnTo>
                <a:lnTo>
                  <a:pt x="104" y="102"/>
                </a:lnTo>
                <a:lnTo>
                  <a:pt x="102" y="96"/>
                </a:lnTo>
                <a:lnTo>
                  <a:pt x="100" y="88"/>
                </a:lnTo>
                <a:lnTo>
                  <a:pt x="96" y="88"/>
                </a:lnTo>
                <a:lnTo>
                  <a:pt x="90" y="86"/>
                </a:lnTo>
                <a:lnTo>
                  <a:pt x="90" y="82"/>
                </a:lnTo>
                <a:lnTo>
                  <a:pt x="94" y="76"/>
                </a:lnTo>
                <a:lnTo>
                  <a:pt x="94" y="72"/>
                </a:lnTo>
                <a:lnTo>
                  <a:pt x="90" y="72"/>
                </a:lnTo>
                <a:lnTo>
                  <a:pt x="88" y="66"/>
                </a:lnTo>
                <a:lnTo>
                  <a:pt x="88" y="62"/>
                </a:lnTo>
                <a:lnTo>
                  <a:pt x="86" y="58"/>
                </a:lnTo>
                <a:lnTo>
                  <a:pt x="82" y="58"/>
                </a:lnTo>
                <a:lnTo>
                  <a:pt x="76" y="60"/>
                </a:lnTo>
                <a:lnTo>
                  <a:pt x="74" y="64"/>
                </a:lnTo>
                <a:lnTo>
                  <a:pt x="72" y="64"/>
                </a:lnTo>
                <a:lnTo>
                  <a:pt x="70" y="62"/>
                </a:lnTo>
                <a:lnTo>
                  <a:pt x="70" y="56"/>
                </a:lnTo>
                <a:lnTo>
                  <a:pt x="68" y="52"/>
                </a:lnTo>
                <a:lnTo>
                  <a:pt x="68" y="48"/>
                </a:lnTo>
                <a:lnTo>
                  <a:pt x="72" y="42"/>
                </a:lnTo>
                <a:lnTo>
                  <a:pt x="76" y="36"/>
                </a:lnTo>
                <a:lnTo>
                  <a:pt x="78" y="26"/>
                </a:lnTo>
                <a:lnTo>
                  <a:pt x="78" y="22"/>
                </a:lnTo>
                <a:lnTo>
                  <a:pt x="76" y="18"/>
                </a:lnTo>
                <a:lnTo>
                  <a:pt x="78" y="10"/>
                </a:lnTo>
                <a:lnTo>
                  <a:pt x="76" y="6"/>
                </a:lnTo>
                <a:lnTo>
                  <a:pt x="74" y="0"/>
                </a:lnTo>
                <a:lnTo>
                  <a:pt x="70" y="0"/>
                </a:lnTo>
                <a:lnTo>
                  <a:pt x="66" y="0"/>
                </a:lnTo>
                <a:lnTo>
                  <a:pt x="66" y="10"/>
                </a:lnTo>
                <a:lnTo>
                  <a:pt x="60" y="18"/>
                </a:lnTo>
                <a:lnTo>
                  <a:pt x="56" y="16"/>
                </a:lnTo>
                <a:lnTo>
                  <a:pt x="48" y="16"/>
                </a:lnTo>
                <a:lnTo>
                  <a:pt x="44" y="26"/>
                </a:lnTo>
                <a:lnTo>
                  <a:pt x="44" y="30"/>
                </a:lnTo>
                <a:lnTo>
                  <a:pt x="38" y="36"/>
                </a:lnTo>
                <a:lnTo>
                  <a:pt x="34" y="40"/>
                </a:lnTo>
                <a:lnTo>
                  <a:pt x="28" y="44"/>
                </a:lnTo>
                <a:lnTo>
                  <a:pt x="26" y="46"/>
                </a:lnTo>
                <a:lnTo>
                  <a:pt x="30" y="48"/>
                </a:lnTo>
                <a:lnTo>
                  <a:pt x="30" y="52"/>
                </a:lnTo>
                <a:lnTo>
                  <a:pt x="24" y="60"/>
                </a:lnTo>
                <a:lnTo>
                  <a:pt x="22" y="68"/>
                </a:lnTo>
                <a:lnTo>
                  <a:pt x="14" y="64"/>
                </a:lnTo>
                <a:lnTo>
                  <a:pt x="14" y="76"/>
                </a:lnTo>
                <a:lnTo>
                  <a:pt x="16" y="82"/>
                </a:lnTo>
                <a:lnTo>
                  <a:pt x="16" y="88"/>
                </a:lnTo>
                <a:lnTo>
                  <a:pt x="16" y="92"/>
                </a:lnTo>
                <a:lnTo>
                  <a:pt x="14" y="96"/>
                </a:lnTo>
                <a:lnTo>
                  <a:pt x="10" y="98"/>
                </a:lnTo>
                <a:lnTo>
                  <a:pt x="6" y="96"/>
                </a:lnTo>
                <a:lnTo>
                  <a:pt x="2" y="96"/>
                </a:lnTo>
                <a:lnTo>
                  <a:pt x="4" y="104"/>
                </a:lnTo>
                <a:lnTo>
                  <a:pt x="6" y="108"/>
                </a:lnTo>
                <a:lnTo>
                  <a:pt x="6" y="114"/>
                </a:lnTo>
                <a:lnTo>
                  <a:pt x="6" y="114"/>
                </a:lnTo>
                <a:lnTo>
                  <a:pt x="2" y="112"/>
                </a:lnTo>
                <a:lnTo>
                  <a:pt x="0" y="116"/>
                </a:lnTo>
                <a:lnTo>
                  <a:pt x="0" y="120"/>
                </a:lnTo>
                <a:lnTo>
                  <a:pt x="0" y="120"/>
                </a:lnTo>
                <a:lnTo>
                  <a:pt x="2" y="128"/>
                </a:lnTo>
                <a:lnTo>
                  <a:pt x="4" y="128"/>
                </a:lnTo>
                <a:lnTo>
                  <a:pt x="4" y="128"/>
                </a:lnTo>
                <a:lnTo>
                  <a:pt x="6" y="126"/>
                </a:lnTo>
                <a:lnTo>
                  <a:pt x="6" y="124"/>
                </a:lnTo>
                <a:lnTo>
                  <a:pt x="6" y="124"/>
                </a:lnTo>
                <a:lnTo>
                  <a:pt x="8" y="124"/>
                </a:lnTo>
                <a:lnTo>
                  <a:pt x="8" y="122"/>
                </a:lnTo>
                <a:lnTo>
                  <a:pt x="8" y="122"/>
                </a:lnTo>
                <a:lnTo>
                  <a:pt x="14" y="122"/>
                </a:lnTo>
                <a:lnTo>
                  <a:pt x="14" y="122"/>
                </a:lnTo>
                <a:lnTo>
                  <a:pt x="14" y="130"/>
                </a:lnTo>
                <a:lnTo>
                  <a:pt x="16" y="132"/>
                </a:lnTo>
                <a:lnTo>
                  <a:pt x="16" y="132"/>
                </a:lnTo>
                <a:lnTo>
                  <a:pt x="16" y="138"/>
                </a:lnTo>
                <a:lnTo>
                  <a:pt x="16" y="138"/>
                </a:lnTo>
                <a:lnTo>
                  <a:pt x="20" y="140"/>
                </a:lnTo>
                <a:lnTo>
                  <a:pt x="20" y="140"/>
                </a:lnTo>
                <a:lnTo>
                  <a:pt x="18" y="146"/>
                </a:lnTo>
                <a:lnTo>
                  <a:pt x="18" y="148"/>
                </a:lnTo>
                <a:lnTo>
                  <a:pt x="20" y="152"/>
                </a:lnTo>
                <a:lnTo>
                  <a:pt x="20" y="152"/>
                </a:lnTo>
                <a:lnTo>
                  <a:pt x="24" y="154"/>
                </a:lnTo>
                <a:lnTo>
                  <a:pt x="24" y="154"/>
                </a:lnTo>
                <a:lnTo>
                  <a:pt x="26" y="162"/>
                </a:lnTo>
                <a:lnTo>
                  <a:pt x="26" y="162"/>
                </a:lnTo>
                <a:lnTo>
                  <a:pt x="24" y="168"/>
                </a:lnTo>
                <a:lnTo>
                  <a:pt x="22" y="174"/>
                </a:lnTo>
                <a:lnTo>
                  <a:pt x="20" y="190"/>
                </a:lnTo>
                <a:lnTo>
                  <a:pt x="20" y="190"/>
                </a:lnTo>
                <a:lnTo>
                  <a:pt x="22" y="192"/>
                </a:lnTo>
                <a:lnTo>
                  <a:pt x="22" y="192"/>
                </a:lnTo>
                <a:lnTo>
                  <a:pt x="24" y="192"/>
                </a:lnTo>
                <a:lnTo>
                  <a:pt x="26" y="192"/>
                </a:lnTo>
                <a:lnTo>
                  <a:pt x="26" y="192"/>
                </a:lnTo>
                <a:lnTo>
                  <a:pt x="28" y="194"/>
                </a:lnTo>
                <a:lnTo>
                  <a:pt x="28" y="194"/>
                </a:lnTo>
                <a:lnTo>
                  <a:pt x="38" y="194"/>
                </a:lnTo>
                <a:lnTo>
                  <a:pt x="38" y="194"/>
                </a:lnTo>
                <a:lnTo>
                  <a:pt x="38" y="190"/>
                </a:lnTo>
                <a:lnTo>
                  <a:pt x="40" y="188"/>
                </a:lnTo>
                <a:lnTo>
                  <a:pt x="40" y="188"/>
                </a:lnTo>
                <a:lnTo>
                  <a:pt x="42" y="188"/>
                </a:lnTo>
                <a:lnTo>
                  <a:pt x="42" y="188"/>
                </a:lnTo>
                <a:lnTo>
                  <a:pt x="46" y="186"/>
                </a:lnTo>
                <a:lnTo>
                  <a:pt x="48" y="184"/>
                </a:lnTo>
                <a:lnTo>
                  <a:pt x="50" y="176"/>
                </a:lnTo>
                <a:lnTo>
                  <a:pt x="52" y="174"/>
                </a:lnTo>
                <a:lnTo>
                  <a:pt x="52" y="174"/>
                </a:lnTo>
                <a:lnTo>
                  <a:pt x="60" y="180"/>
                </a:lnTo>
                <a:lnTo>
                  <a:pt x="60" y="180"/>
                </a:lnTo>
                <a:lnTo>
                  <a:pt x="60" y="182"/>
                </a:lnTo>
                <a:lnTo>
                  <a:pt x="60" y="184"/>
                </a:lnTo>
                <a:lnTo>
                  <a:pt x="60" y="184"/>
                </a:lnTo>
                <a:lnTo>
                  <a:pt x="66" y="186"/>
                </a:lnTo>
                <a:lnTo>
                  <a:pt x="66" y="186"/>
                </a:lnTo>
                <a:lnTo>
                  <a:pt x="64" y="196"/>
                </a:lnTo>
                <a:lnTo>
                  <a:pt x="64" y="196"/>
                </a:lnTo>
                <a:lnTo>
                  <a:pt x="68" y="200"/>
                </a:lnTo>
                <a:lnTo>
                  <a:pt x="68" y="200"/>
                </a:lnTo>
                <a:lnTo>
                  <a:pt x="74" y="224"/>
                </a:lnTo>
                <a:lnTo>
                  <a:pt x="74" y="224"/>
                </a:lnTo>
                <a:lnTo>
                  <a:pt x="74" y="228"/>
                </a:lnTo>
                <a:lnTo>
                  <a:pt x="74" y="228"/>
                </a:lnTo>
                <a:lnTo>
                  <a:pt x="78" y="230"/>
                </a:lnTo>
                <a:lnTo>
                  <a:pt x="78" y="230"/>
                </a:lnTo>
                <a:lnTo>
                  <a:pt x="80" y="244"/>
                </a:lnTo>
                <a:lnTo>
                  <a:pt x="82" y="258"/>
                </a:lnTo>
                <a:lnTo>
                  <a:pt x="82" y="258"/>
                </a:lnTo>
                <a:lnTo>
                  <a:pt x="80" y="260"/>
                </a:lnTo>
                <a:lnTo>
                  <a:pt x="80" y="260"/>
                </a:lnTo>
                <a:lnTo>
                  <a:pt x="82" y="262"/>
                </a:lnTo>
                <a:lnTo>
                  <a:pt x="82" y="262"/>
                </a:lnTo>
                <a:lnTo>
                  <a:pt x="86" y="274"/>
                </a:lnTo>
                <a:lnTo>
                  <a:pt x="86" y="27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3" name="Freeform 242">
            <a:extLst>
              <a:ext uri="{FF2B5EF4-FFF2-40B4-BE49-F238E27FC236}">
                <a16:creationId xmlns:a16="http://schemas.microsoft.com/office/drawing/2014/main" id="{C5D8CA88-F38E-4CEB-AFD9-BBDF22973190}"/>
              </a:ext>
            </a:extLst>
          </p:cNvPr>
          <p:cNvSpPr>
            <a:spLocks/>
          </p:cNvSpPr>
          <p:nvPr userDrawn="1"/>
        </p:nvSpPr>
        <p:spPr bwMode="auto">
          <a:xfrm>
            <a:off x="5725281" y="3227627"/>
            <a:ext cx="164076" cy="168167"/>
          </a:xfrm>
          <a:custGeom>
            <a:avLst/>
            <a:gdLst>
              <a:gd name="T0" fmla="*/ 64 w 98"/>
              <a:gd name="T1" fmla="*/ 70 h 98"/>
              <a:gd name="T2" fmla="*/ 64 w 98"/>
              <a:gd name="T3" fmla="*/ 72 h 98"/>
              <a:gd name="T4" fmla="*/ 44 w 98"/>
              <a:gd name="T5" fmla="*/ 72 h 98"/>
              <a:gd name="T6" fmla="*/ 40 w 98"/>
              <a:gd name="T7" fmla="*/ 74 h 98"/>
              <a:gd name="T8" fmla="*/ 40 w 98"/>
              <a:gd name="T9" fmla="*/ 78 h 98"/>
              <a:gd name="T10" fmla="*/ 42 w 98"/>
              <a:gd name="T11" fmla="*/ 88 h 98"/>
              <a:gd name="T12" fmla="*/ 40 w 98"/>
              <a:gd name="T13" fmla="*/ 96 h 98"/>
              <a:gd name="T14" fmla="*/ 30 w 98"/>
              <a:gd name="T15" fmla="*/ 98 h 98"/>
              <a:gd name="T16" fmla="*/ 28 w 98"/>
              <a:gd name="T17" fmla="*/ 96 h 98"/>
              <a:gd name="T18" fmla="*/ 28 w 98"/>
              <a:gd name="T19" fmla="*/ 90 h 98"/>
              <a:gd name="T20" fmla="*/ 18 w 98"/>
              <a:gd name="T21" fmla="*/ 94 h 98"/>
              <a:gd name="T22" fmla="*/ 12 w 98"/>
              <a:gd name="T23" fmla="*/ 88 h 98"/>
              <a:gd name="T24" fmla="*/ 0 w 98"/>
              <a:gd name="T25" fmla="*/ 88 h 98"/>
              <a:gd name="T26" fmla="*/ 0 w 98"/>
              <a:gd name="T27" fmla="*/ 78 h 98"/>
              <a:gd name="T28" fmla="*/ 2 w 98"/>
              <a:gd name="T29" fmla="*/ 76 h 98"/>
              <a:gd name="T30" fmla="*/ 4 w 98"/>
              <a:gd name="T31" fmla="*/ 72 h 98"/>
              <a:gd name="T32" fmla="*/ 4 w 98"/>
              <a:gd name="T33" fmla="*/ 68 h 98"/>
              <a:gd name="T34" fmla="*/ 4 w 98"/>
              <a:gd name="T35" fmla="*/ 62 h 98"/>
              <a:gd name="T36" fmla="*/ 6 w 98"/>
              <a:gd name="T37" fmla="*/ 60 h 98"/>
              <a:gd name="T38" fmla="*/ 10 w 98"/>
              <a:gd name="T39" fmla="*/ 56 h 98"/>
              <a:gd name="T40" fmla="*/ 12 w 98"/>
              <a:gd name="T41" fmla="*/ 58 h 98"/>
              <a:gd name="T42" fmla="*/ 16 w 98"/>
              <a:gd name="T43" fmla="*/ 48 h 98"/>
              <a:gd name="T44" fmla="*/ 18 w 98"/>
              <a:gd name="T45" fmla="*/ 42 h 98"/>
              <a:gd name="T46" fmla="*/ 20 w 98"/>
              <a:gd name="T47" fmla="*/ 40 h 98"/>
              <a:gd name="T48" fmla="*/ 32 w 98"/>
              <a:gd name="T49" fmla="*/ 36 h 98"/>
              <a:gd name="T50" fmla="*/ 34 w 98"/>
              <a:gd name="T51" fmla="*/ 34 h 98"/>
              <a:gd name="T52" fmla="*/ 36 w 98"/>
              <a:gd name="T53" fmla="*/ 30 h 98"/>
              <a:gd name="T54" fmla="*/ 42 w 98"/>
              <a:gd name="T55" fmla="*/ 22 h 98"/>
              <a:gd name="T56" fmla="*/ 46 w 98"/>
              <a:gd name="T57" fmla="*/ 20 h 98"/>
              <a:gd name="T58" fmla="*/ 48 w 98"/>
              <a:gd name="T59" fmla="*/ 18 h 98"/>
              <a:gd name="T60" fmla="*/ 50 w 98"/>
              <a:gd name="T61" fmla="*/ 12 h 98"/>
              <a:gd name="T62" fmla="*/ 54 w 98"/>
              <a:gd name="T63" fmla="*/ 8 h 98"/>
              <a:gd name="T64" fmla="*/ 58 w 98"/>
              <a:gd name="T65" fmla="*/ 8 h 98"/>
              <a:gd name="T66" fmla="*/ 60 w 98"/>
              <a:gd name="T67" fmla="*/ 4 h 98"/>
              <a:gd name="T68" fmla="*/ 64 w 98"/>
              <a:gd name="T69" fmla="*/ 0 h 98"/>
              <a:gd name="T70" fmla="*/ 66 w 98"/>
              <a:gd name="T71" fmla="*/ 2 h 98"/>
              <a:gd name="T72" fmla="*/ 68 w 98"/>
              <a:gd name="T73" fmla="*/ 2 h 98"/>
              <a:gd name="T74" fmla="*/ 70 w 98"/>
              <a:gd name="T75" fmla="*/ 2 h 98"/>
              <a:gd name="T76" fmla="*/ 74 w 98"/>
              <a:gd name="T77" fmla="*/ 6 h 98"/>
              <a:gd name="T78" fmla="*/ 76 w 98"/>
              <a:gd name="T79" fmla="*/ 18 h 98"/>
              <a:gd name="T80" fmla="*/ 86 w 98"/>
              <a:gd name="T81" fmla="*/ 28 h 98"/>
              <a:gd name="T82" fmla="*/ 92 w 98"/>
              <a:gd name="T83" fmla="*/ 42 h 98"/>
              <a:gd name="T84" fmla="*/ 96 w 98"/>
              <a:gd name="T85" fmla="*/ 42 h 98"/>
              <a:gd name="T86" fmla="*/ 96 w 98"/>
              <a:gd name="T87" fmla="*/ 42 h 98"/>
              <a:gd name="T88" fmla="*/ 94 w 98"/>
              <a:gd name="T89" fmla="*/ 48 h 98"/>
              <a:gd name="T90" fmla="*/ 98 w 98"/>
              <a:gd name="T91" fmla="*/ 62 h 98"/>
              <a:gd name="T92" fmla="*/ 98 w 98"/>
              <a:gd name="T93" fmla="*/ 66 h 98"/>
              <a:gd name="T94" fmla="*/ 92 w 98"/>
              <a:gd name="T95" fmla="*/ 68 h 98"/>
              <a:gd name="T96" fmla="*/ 92 w 98"/>
              <a:gd name="T97" fmla="*/ 70 h 98"/>
              <a:gd name="T98" fmla="*/ 90 w 98"/>
              <a:gd name="T99" fmla="*/ 72 h 98"/>
              <a:gd name="T100" fmla="*/ 86 w 98"/>
              <a:gd name="T101" fmla="*/ 72 h 98"/>
              <a:gd name="T102" fmla="*/ 80 w 98"/>
              <a:gd name="T103" fmla="*/ 72 h 98"/>
              <a:gd name="T104" fmla="*/ 74 w 98"/>
              <a:gd name="T105" fmla="*/ 7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 h="98">
                <a:moveTo>
                  <a:pt x="74" y="70"/>
                </a:moveTo>
                <a:lnTo>
                  <a:pt x="64" y="70"/>
                </a:lnTo>
                <a:lnTo>
                  <a:pt x="64" y="72"/>
                </a:lnTo>
                <a:lnTo>
                  <a:pt x="64" y="72"/>
                </a:lnTo>
                <a:lnTo>
                  <a:pt x="54" y="72"/>
                </a:lnTo>
                <a:lnTo>
                  <a:pt x="44" y="72"/>
                </a:lnTo>
                <a:lnTo>
                  <a:pt x="44" y="72"/>
                </a:lnTo>
                <a:lnTo>
                  <a:pt x="40" y="74"/>
                </a:lnTo>
                <a:lnTo>
                  <a:pt x="40" y="78"/>
                </a:lnTo>
                <a:lnTo>
                  <a:pt x="40" y="78"/>
                </a:lnTo>
                <a:lnTo>
                  <a:pt x="40" y="84"/>
                </a:lnTo>
                <a:lnTo>
                  <a:pt x="42" y="88"/>
                </a:lnTo>
                <a:lnTo>
                  <a:pt x="42" y="88"/>
                </a:lnTo>
                <a:lnTo>
                  <a:pt x="40" y="96"/>
                </a:lnTo>
                <a:lnTo>
                  <a:pt x="40" y="96"/>
                </a:lnTo>
                <a:lnTo>
                  <a:pt x="30" y="98"/>
                </a:lnTo>
                <a:lnTo>
                  <a:pt x="30" y="98"/>
                </a:lnTo>
                <a:lnTo>
                  <a:pt x="28" y="96"/>
                </a:lnTo>
                <a:lnTo>
                  <a:pt x="28" y="94"/>
                </a:lnTo>
                <a:lnTo>
                  <a:pt x="28" y="90"/>
                </a:lnTo>
                <a:lnTo>
                  <a:pt x="22" y="90"/>
                </a:lnTo>
                <a:lnTo>
                  <a:pt x="18" y="94"/>
                </a:lnTo>
                <a:lnTo>
                  <a:pt x="12" y="92"/>
                </a:lnTo>
                <a:lnTo>
                  <a:pt x="12" y="88"/>
                </a:lnTo>
                <a:lnTo>
                  <a:pt x="0" y="88"/>
                </a:lnTo>
                <a:lnTo>
                  <a:pt x="0" y="88"/>
                </a:lnTo>
                <a:lnTo>
                  <a:pt x="0" y="82"/>
                </a:lnTo>
                <a:lnTo>
                  <a:pt x="0" y="78"/>
                </a:lnTo>
                <a:lnTo>
                  <a:pt x="2" y="76"/>
                </a:lnTo>
                <a:lnTo>
                  <a:pt x="2" y="76"/>
                </a:lnTo>
                <a:lnTo>
                  <a:pt x="4" y="74"/>
                </a:lnTo>
                <a:lnTo>
                  <a:pt x="4" y="72"/>
                </a:lnTo>
                <a:lnTo>
                  <a:pt x="4" y="68"/>
                </a:lnTo>
                <a:lnTo>
                  <a:pt x="4" y="68"/>
                </a:lnTo>
                <a:lnTo>
                  <a:pt x="4" y="64"/>
                </a:lnTo>
                <a:lnTo>
                  <a:pt x="4" y="62"/>
                </a:lnTo>
                <a:lnTo>
                  <a:pt x="4" y="62"/>
                </a:lnTo>
                <a:lnTo>
                  <a:pt x="6" y="60"/>
                </a:lnTo>
                <a:lnTo>
                  <a:pt x="10" y="56"/>
                </a:lnTo>
                <a:lnTo>
                  <a:pt x="10" y="56"/>
                </a:lnTo>
                <a:lnTo>
                  <a:pt x="12" y="58"/>
                </a:lnTo>
                <a:lnTo>
                  <a:pt x="12" y="58"/>
                </a:lnTo>
                <a:lnTo>
                  <a:pt x="12" y="58"/>
                </a:lnTo>
                <a:lnTo>
                  <a:pt x="16" y="48"/>
                </a:lnTo>
                <a:lnTo>
                  <a:pt x="16" y="48"/>
                </a:lnTo>
                <a:lnTo>
                  <a:pt x="18" y="42"/>
                </a:lnTo>
                <a:lnTo>
                  <a:pt x="20" y="40"/>
                </a:lnTo>
                <a:lnTo>
                  <a:pt x="20" y="40"/>
                </a:lnTo>
                <a:lnTo>
                  <a:pt x="26" y="38"/>
                </a:lnTo>
                <a:lnTo>
                  <a:pt x="32" y="36"/>
                </a:lnTo>
                <a:lnTo>
                  <a:pt x="32" y="36"/>
                </a:lnTo>
                <a:lnTo>
                  <a:pt x="34" y="34"/>
                </a:lnTo>
                <a:lnTo>
                  <a:pt x="36" y="30"/>
                </a:lnTo>
                <a:lnTo>
                  <a:pt x="36" y="30"/>
                </a:lnTo>
                <a:lnTo>
                  <a:pt x="38" y="26"/>
                </a:lnTo>
                <a:lnTo>
                  <a:pt x="42" y="22"/>
                </a:lnTo>
                <a:lnTo>
                  <a:pt x="42" y="22"/>
                </a:lnTo>
                <a:lnTo>
                  <a:pt x="46" y="20"/>
                </a:lnTo>
                <a:lnTo>
                  <a:pt x="48" y="18"/>
                </a:lnTo>
                <a:lnTo>
                  <a:pt x="48" y="18"/>
                </a:lnTo>
                <a:lnTo>
                  <a:pt x="48" y="18"/>
                </a:lnTo>
                <a:lnTo>
                  <a:pt x="50" y="12"/>
                </a:lnTo>
                <a:lnTo>
                  <a:pt x="50" y="10"/>
                </a:lnTo>
                <a:lnTo>
                  <a:pt x="54" y="8"/>
                </a:lnTo>
                <a:lnTo>
                  <a:pt x="54" y="8"/>
                </a:lnTo>
                <a:lnTo>
                  <a:pt x="58" y="8"/>
                </a:lnTo>
                <a:lnTo>
                  <a:pt x="60" y="4"/>
                </a:lnTo>
                <a:lnTo>
                  <a:pt x="60" y="4"/>
                </a:lnTo>
                <a:lnTo>
                  <a:pt x="62" y="0"/>
                </a:lnTo>
                <a:lnTo>
                  <a:pt x="64" y="0"/>
                </a:lnTo>
                <a:lnTo>
                  <a:pt x="66" y="2"/>
                </a:lnTo>
                <a:lnTo>
                  <a:pt x="66" y="2"/>
                </a:lnTo>
                <a:lnTo>
                  <a:pt x="66" y="2"/>
                </a:lnTo>
                <a:lnTo>
                  <a:pt x="68" y="2"/>
                </a:lnTo>
                <a:lnTo>
                  <a:pt x="70" y="0"/>
                </a:lnTo>
                <a:lnTo>
                  <a:pt x="70" y="2"/>
                </a:lnTo>
                <a:lnTo>
                  <a:pt x="70" y="2"/>
                </a:lnTo>
                <a:lnTo>
                  <a:pt x="74" y="6"/>
                </a:lnTo>
                <a:lnTo>
                  <a:pt x="72" y="12"/>
                </a:lnTo>
                <a:lnTo>
                  <a:pt x="76" y="18"/>
                </a:lnTo>
                <a:lnTo>
                  <a:pt x="86" y="24"/>
                </a:lnTo>
                <a:lnTo>
                  <a:pt x="86" y="28"/>
                </a:lnTo>
                <a:lnTo>
                  <a:pt x="92" y="42"/>
                </a:lnTo>
                <a:lnTo>
                  <a:pt x="92" y="42"/>
                </a:lnTo>
                <a:lnTo>
                  <a:pt x="94" y="40"/>
                </a:lnTo>
                <a:lnTo>
                  <a:pt x="96" y="42"/>
                </a:lnTo>
                <a:lnTo>
                  <a:pt x="96" y="42"/>
                </a:lnTo>
                <a:lnTo>
                  <a:pt x="96" y="42"/>
                </a:lnTo>
                <a:lnTo>
                  <a:pt x="96" y="46"/>
                </a:lnTo>
                <a:lnTo>
                  <a:pt x="94" y="48"/>
                </a:lnTo>
                <a:lnTo>
                  <a:pt x="98" y="62"/>
                </a:lnTo>
                <a:lnTo>
                  <a:pt x="98" y="62"/>
                </a:lnTo>
                <a:lnTo>
                  <a:pt x="98" y="62"/>
                </a:lnTo>
                <a:lnTo>
                  <a:pt x="98" y="66"/>
                </a:lnTo>
                <a:lnTo>
                  <a:pt x="98" y="66"/>
                </a:lnTo>
                <a:lnTo>
                  <a:pt x="92" y="68"/>
                </a:lnTo>
                <a:lnTo>
                  <a:pt x="92" y="68"/>
                </a:lnTo>
                <a:lnTo>
                  <a:pt x="92" y="70"/>
                </a:lnTo>
                <a:lnTo>
                  <a:pt x="92" y="72"/>
                </a:lnTo>
                <a:lnTo>
                  <a:pt x="90" y="72"/>
                </a:lnTo>
                <a:lnTo>
                  <a:pt x="90" y="72"/>
                </a:lnTo>
                <a:lnTo>
                  <a:pt x="86" y="72"/>
                </a:lnTo>
                <a:lnTo>
                  <a:pt x="86" y="72"/>
                </a:lnTo>
                <a:lnTo>
                  <a:pt x="80" y="72"/>
                </a:lnTo>
                <a:lnTo>
                  <a:pt x="80" y="72"/>
                </a:lnTo>
                <a:lnTo>
                  <a:pt x="74" y="70"/>
                </a:lnTo>
                <a:lnTo>
                  <a:pt x="74"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4" name="Freeform 243">
            <a:extLst>
              <a:ext uri="{FF2B5EF4-FFF2-40B4-BE49-F238E27FC236}">
                <a16:creationId xmlns:a16="http://schemas.microsoft.com/office/drawing/2014/main" id="{5C02506E-9192-48EF-86A5-8E8663146C03}"/>
              </a:ext>
            </a:extLst>
          </p:cNvPr>
          <p:cNvSpPr>
            <a:spLocks/>
          </p:cNvSpPr>
          <p:nvPr userDrawn="1"/>
        </p:nvSpPr>
        <p:spPr bwMode="auto">
          <a:xfrm>
            <a:off x="6366108" y="2366201"/>
            <a:ext cx="134667" cy="99528"/>
          </a:xfrm>
          <a:custGeom>
            <a:avLst/>
            <a:gdLst>
              <a:gd name="T0" fmla="*/ 80 w 80"/>
              <a:gd name="T1" fmla="*/ 4 h 58"/>
              <a:gd name="T2" fmla="*/ 74 w 80"/>
              <a:gd name="T3" fmla="*/ 0 h 58"/>
              <a:gd name="T4" fmla="*/ 66 w 80"/>
              <a:gd name="T5" fmla="*/ 2 h 58"/>
              <a:gd name="T6" fmla="*/ 62 w 80"/>
              <a:gd name="T7" fmla="*/ 4 h 58"/>
              <a:gd name="T8" fmla="*/ 56 w 80"/>
              <a:gd name="T9" fmla="*/ 0 h 58"/>
              <a:gd name="T10" fmla="*/ 52 w 80"/>
              <a:gd name="T11" fmla="*/ 0 h 58"/>
              <a:gd name="T12" fmla="*/ 48 w 80"/>
              <a:gd name="T13" fmla="*/ 4 h 58"/>
              <a:gd name="T14" fmla="*/ 40 w 80"/>
              <a:gd name="T15" fmla="*/ 8 h 58"/>
              <a:gd name="T16" fmla="*/ 34 w 80"/>
              <a:gd name="T17" fmla="*/ 8 h 58"/>
              <a:gd name="T18" fmla="*/ 28 w 80"/>
              <a:gd name="T19" fmla="*/ 8 h 58"/>
              <a:gd name="T20" fmla="*/ 24 w 80"/>
              <a:gd name="T21" fmla="*/ 8 h 58"/>
              <a:gd name="T22" fmla="*/ 20 w 80"/>
              <a:gd name="T23" fmla="*/ 8 h 58"/>
              <a:gd name="T24" fmla="*/ 16 w 80"/>
              <a:gd name="T25" fmla="*/ 8 h 58"/>
              <a:gd name="T26" fmla="*/ 14 w 80"/>
              <a:gd name="T27" fmla="*/ 6 h 58"/>
              <a:gd name="T28" fmla="*/ 16 w 80"/>
              <a:gd name="T29" fmla="*/ 4 h 58"/>
              <a:gd name="T30" fmla="*/ 14 w 80"/>
              <a:gd name="T31" fmla="*/ 2 h 58"/>
              <a:gd name="T32" fmla="*/ 10 w 80"/>
              <a:gd name="T33" fmla="*/ 0 h 58"/>
              <a:gd name="T34" fmla="*/ 6 w 80"/>
              <a:gd name="T35" fmla="*/ 8 h 58"/>
              <a:gd name="T36" fmla="*/ 2 w 80"/>
              <a:gd name="T37" fmla="*/ 10 h 58"/>
              <a:gd name="T38" fmla="*/ 2 w 80"/>
              <a:gd name="T39" fmla="*/ 12 h 58"/>
              <a:gd name="T40" fmla="*/ 2 w 80"/>
              <a:gd name="T41" fmla="*/ 20 h 58"/>
              <a:gd name="T42" fmla="*/ 4 w 80"/>
              <a:gd name="T43" fmla="*/ 22 h 58"/>
              <a:gd name="T44" fmla="*/ 10 w 80"/>
              <a:gd name="T45" fmla="*/ 24 h 58"/>
              <a:gd name="T46" fmla="*/ 10 w 80"/>
              <a:gd name="T47" fmla="*/ 26 h 58"/>
              <a:gd name="T48" fmla="*/ 6 w 80"/>
              <a:gd name="T49" fmla="*/ 32 h 58"/>
              <a:gd name="T50" fmla="*/ 4 w 80"/>
              <a:gd name="T51" fmla="*/ 36 h 58"/>
              <a:gd name="T52" fmla="*/ 8 w 80"/>
              <a:gd name="T53" fmla="*/ 40 h 58"/>
              <a:gd name="T54" fmla="*/ 8 w 80"/>
              <a:gd name="T55" fmla="*/ 42 h 58"/>
              <a:gd name="T56" fmla="*/ 8 w 80"/>
              <a:gd name="T57" fmla="*/ 44 h 58"/>
              <a:gd name="T58" fmla="*/ 8 w 80"/>
              <a:gd name="T59" fmla="*/ 46 h 58"/>
              <a:gd name="T60" fmla="*/ 10 w 80"/>
              <a:gd name="T61" fmla="*/ 50 h 58"/>
              <a:gd name="T62" fmla="*/ 10 w 80"/>
              <a:gd name="T63" fmla="*/ 56 h 58"/>
              <a:gd name="T64" fmla="*/ 20 w 80"/>
              <a:gd name="T65" fmla="*/ 58 h 58"/>
              <a:gd name="T66" fmla="*/ 24 w 80"/>
              <a:gd name="T67" fmla="*/ 58 h 58"/>
              <a:gd name="T68" fmla="*/ 26 w 80"/>
              <a:gd name="T69" fmla="*/ 54 h 58"/>
              <a:gd name="T70" fmla="*/ 30 w 80"/>
              <a:gd name="T71" fmla="*/ 50 h 58"/>
              <a:gd name="T72" fmla="*/ 36 w 80"/>
              <a:gd name="T73" fmla="*/ 52 h 58"/>
              <a:gd name="T74" fmla="*/ 40 w 80"/>
              <a:gd name="T75" fmla="*/ 54 h 58"/>
              <a:gd name="T76" fmla="*/ 40 w 80"/>
              <a:gd name="T77" fmla="*/ 56 h 58"/>
              <a:gd name="T78" fmla="*/ 46 w 80"/>
              <a:gd name="T79" fmla="*/ 56 h 58"/>
              <a:gd name="T80" fmla="*/ 52 w 80"/>
              <a:gd name="T81" fmla="*/ 56 h 58"/>
              <a:gd name="T82" fmla="*/ 50 w 80"/>
              <a:gd name="T83" fmla="*/ 54 h 58"/>
              <a:gd name="T84" fmla="*/ 52 w 80"/>
              <a:gd name="T85" fmla="*/ 50 h 58"/>
              <a:gd name="T86" fmla="*/ 56 w 80"/>
              <a:gd name="T87" fmla="*/ 50 h 58"/>
              <a:gd name="T88" fmla="*/ 56 w 80"/>
              <a:gd name="T89" fmla="*/ 48 h 58"/>
              <a:gd name="T90" fmla="*/ 60 w 80"/>
              <a:gd name="T91" fmla="*/ 46 h 58"/>
              <a:gd name="T92" fmla="*/ 64 w 80"/>
              <a:gd name="T93" fmla="*/ 48 h 58"/>
              <a:gd name="T94" fmla="*/ 72 w 80"/>
              <a:gd name="T95" fmla="*/ 48 h 58"/>
              <a:gd name="T96" fmla="*/ 70 w 80"/>
              <a:gd name="T97" fmla="*/ 42 h 58"/>
              <a:gd name="T98" fmla="*/ 66 w 80"/>
              <a:gd name="T99" fmla="*/ 40 h 58"/>
              <a:gd name="T100" fmla="*/ 70 w 80"/>
              <a:gd name="T101" fmla="*/ 34 h 58"/>
              <a:gd name="T102" fmla="*/ 70 w 80"/>
              <a:gd name="T103" fmla="*/ 34 h 58"/>
              <a:gd name="T104" fmla="*/ 70 w 80"/>
              <a:gd name="T105" fmla="*/ 28 h 58"/>
              <a:gd name="T106" fmla="*/ 80 w 80"/>
              <a:gd name="T107" fmla="*/ 20 h 58"/>
              <a:gd name="T108" fmla="*/ 80 w 80"/>
              <a:gd name="T109" fmla="*/ 16 h 58"/>
              <a:gd name="T110" fmla="*/ 80 w 80"/>
              <a:gd name="T111"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 h="58">
                <a:moveTo>
                  <a:pt x="80" y="4"/>
                </a:moveTo>
                <a:lnTo>
                  <a:pt x="80" y="4"/>
                </a:lnTo>
                <a:lnTo>
                  <a:pt x="74" y="0"/>
                </a:lnTo>
                <a:lnTo>
                  <a:pt x="74" y="0"/>
                </a:lnTo>
                <a:lnTo>
                  <a:pt x="70" y="0"/>
                </a:lnTo>
                <a:lnTo>
                  <a:pt x="66" y="2"/>
                </a:lnTo>
                <a:lnTo>
                  <a:pt x="66" y="2"/>
                </a:lnTo>
                <a:lnTo>
                  <a:pt x="62" y="4"/>
                </a:lnTo>
                <a:lnTo>
                  <a:pt x="60" y="2"/>
                </a:lnTo>
                <a:lnTo>
                  <a:pt x="56" y="0"/>
                </a:lnTo>
                <a:lnTo>
                  <a:pt x="56" y="0"/>
                </a:lnTo>
                <a:lnTo>
                  <a:pt x="52" y="0"/>
                </a:lnTo>
                <a:lnTo>
                  <a:pt x="48" y="4"/>
                </a:lnTo>
                <a:lnTo>
                  <a:pt x="48" y="4"/>
                </a:lnTo>
                <a:lnTo>
                  <a:pt x="44" y="6"/>
                </a:lnTo>
                <a:lnTo>
                  <a:pt x="40" y="8"/>
                </a:lnTo>
                <a:lnTo>
                  <a:pt x="40" y="8"/>
                </a:lnTo>
                <a:lnTo>
                  <a:pt x="34" y="8"/>
                </a:lnTo>
                <a:lnTo>
                  <a:pt x="28" y="8"/>
                </a:lnTo>
                <a:lnTo>
                  <a:pt x="28" y="8"/>
                </a:lnTo>
                <a:lnTo>
                  <a:pt x="26" y="6"/>
                </a:lnTo>
                <a:lnTo>
                  <a:pt x="24" y="8"/>
                </a:lnTo>
                <a:lnTo>
                  <a:pt x="24" y="8"/>
                </a:lnTo>
                <a:lnTo>
                  <a:pt x="20" y="8"/>
                </a:lnTo>
                <a:lnTo>
                  <a:pt x="20" y="8"/>
                </a:lnTo>
                <a:lnTo>
                  <a:pt x="16" y="8"/>
                </a:lnTo>
                <a:lnTo>
                  <a:pt x="14" y="8"/>
                </a:lnTo>
                <a:lnTo>
                  <a:pt x="14" y="6"/>
                </a:lnTo>
                <a:lnTo>
                  <a:pt x="16" y="4"/>
                </a:lnTo>
                <a:lnTo>
                  <a:pt x="16" y="4"/>
                </a:lnTo>
                <a:lnTo>
                  <a:pt x="16" y="2"/>
                </a:lnTo>
                <a:lnTo>
                  <a:pt x="14" y="2"/>
                </a:lnTo>
                <a:lnTo>
                  <a:pt x="10" y="0"/>
                </a:lnTo>
                <a:lnTo>
                  <a:pt x="10" y="0"/>
                </a:lnTo>
                <a:lnTo>
                  <a:pt x="10" y="4"/>
                </a:lnTo>
                <a:lnTo>
                  <a:pt x="6" y="8"/>
                </a:lnTo>
                <a:lnTo>
                  <a:pt x="6" y="8"/>
                </a:lnTo>
                <a:lnTo>
                  <a:pt x="2" y="10"/>
                </a:lnTo>
                <a:lnTo>
                  <a:pt x="2" y="12"/>
                </a:lnTo>
                <a:lnTo>
                  <a:pt x="2" y="12"/>
                </a:lnTo>
                <a:lnTo>
                  <a:pt x="0" y="16"/>
                </a:lnTo>
                <a:lnTo>
                  <a:pt x="2" y="20"/>
                </a:lnTo>
                <a:lnTo>
                  <a:pt x="2" y="20"/>
                </a:lnTo>
                <a:lnTo>
                  <a:pt x="4" y="22"/>
                </a:lnTo>
                <a:lnTo>
                  <a:pt x="10" y="24"/>
                </a:lnTo>
                <a:lnTo>
                  <a:pt x="10" y="24"/>
                </a:lnTo>
                <a:lnTo>
                  <a:pt x="10" y="24"/>
                </a:lnTo>
                <a:lnTo>
                  <a:pt x="10" y="26"/>
                </a:lnTo>
                <a:lnTo>
                  <a:pt x="6" y="32"/>
                </a:lnTo>
                <a:lnTo>
                  <a:pt x="6" y="32"/>
                </a:lnTo>
                <a:lnTo>
                  <a:pt x="4" y="36"/>
                </a:lnTo>
                <a:lnTo>
                  <a:pt x="4" y="36"/>
                </a:lnTo>
                <a:lnTo>
                  <a:pt x="4" y="36"/>
                </a:lnTo>
                <a:lnTo>
                  <a:pt x="8" y="40"/>
                </a:lnTo>
                <a:lnTo>
                  <a:pt x="8" y="40"/>
                </a:lnTo>
                <a:lnTo>
                  <a:pt x="8" y="42"/>
                </a:lnTo>
                <a:lnTo>
                  <a:pt x="8" y="44"/>
                </a:lnTo>
                <a:lnTo>
                  <a:pt x="8" y="44"/>
                </a:lnTo>
                <a:lnTo>
                  <a:pt x="8" y="46"/>
                </a:lnTo>
                <a:lnTo>
                  <a:pt x="8" y="46"/>
                </a:lnTo>
                <a:lnTo>
                  <a:pt x="12" y="50"/>
                </a:lnTo>
                <a:lnTo>
                  <a:pt x="10" y="50"/>
                </a:lnTo>
                <a:lnTo>
                  <a:pt x="10" y="56"/>
                </a:lnTo>
                <a:lnTo>
                  <a:pt x="10" y="56"/>
                </a:lnTo>
                <a:lnTo>
                  <a:pt x="14" y="56"/>
                </a:lnTo>
                <a:lnTo>
                  <a:pt x="20" y="58"/>
                </a:lnTo>
                <a:lnTo>
                  <a:pt x="20" y="58"/>
                </a:lnTo>
                <a:lnTo>
                  <a:pt x="24" y="58"/>
                </a:lnTo>
                <a:lnTo>
                  <a:pt x="26" y="54"/>
                </a:lnTo>
                <a:lnTo>
                  <a:pt x="26" y="54"/>
                </a:lnTo>
                <a:lnTo>
                  <a:pt x="28" y="52"/>
                </a:lnTo>
                <a:lnTo>
                  <a:pt x="30" y="50"/>
                </a:lnTo>
                <a:lnTo>
                  <a:pt x="36" y="52"/>
                </a:lnTo>
                <a:lnTo>
                  <a:pt x="36" y="52"/>
                </a:lnTo>
                <a:lnTo>
                  <a:pt x="38" y="52"/>
                </a:lnTo>
                <a:lnTo>
                  <a:pt x="40" y="54"/>
                </a:lnTo>
                <a:lnTo>
                  <a:pt x="40" y="56"/>
                </a:lnTo>
                <a:lnTo>
                  <a:pt x="40" y="56"/>
                </a:lnTo>
                <a:lnTo>
                  <a:pt x="46" y="56"/>
                </a:lnTo>
                <a:lnTo>
                  <a:pt x="46" y="56"/>
                </a:lnTo>
                <a:lnTo>
                  <a:pt x="50" y="56"/>
                </a:lnTo>
                <a:lnTo>
                  <a:pt x="52" y="56"/>
                </a:lnTo>
                <a:lnTo>
                  <a:pt x="50" y="54"/>
                </a:lnTo>
                <a:lnTo>
                  <a:pt x="50" y="54"/>
                </a:lnTo>
                <a:lnTo>
                  <a:pt x="50" y="52"/>
                </a:lnTo>
                <a:lnTo>
                  <a:pt x="52" y="50"/>
                </a:lnTo>
                <a:lnTo>
                  <a:pt x="56" y="50"/>
                </a:lnTo>
                <a:lnTo>
                  <a:pt x="56" y="50"/>
                </a:lnTo>
                <a:lnTo>
                  <a:pt x="56" y="50"/>
                </a:lnTo>
                <a:lnTo>
                  <a:pt x="56" y="48"/>
                </a:lnTo>
                <a:lnTo>
                  <a:pt x="56" y="48"/>
                </a:lnTo>
                <a:lnTo>
                  <a:pt x="60" y="46"/>
                </a:lnTo>
                <a:lnTo>
                  <a:pt x="64" y="48"/>
                </a:lnTo>
                <a:lnTo>
                  <a:pt x="64" y="48"/>
                </a:lnTo>
                <a:lnTo>
                  <a:pt x="68" y="48"/>
                </a:lnTo>
                <a:lnTo>
                  <a:pt x="72" y="48"/>
                </a:lnTo>
                <a:lnTo>
                  <a:pt x="72" y="48"/>
                </a:lnTo>
                <a:lnTo>
                  <a:pt x="70" y="42"/>
                </a:lnTo>
                <a:lnTo>
                  <a:pt x="70" y="42"/>
                </a:lnTo>
                <a:lnTo>
                  <a:pt x="66" y="40"/>
                </a:lnTo>
                <a:lnTo>
                  <a:pt x="66" y="40"/>
                </a:lnTo>
                <a:lnTo>
                  <a:pt x="70" y="34"/>
                </a:lnTo>
                <a:lnTo>
                  <a:pt x="70" y="34"/>
                </a:lnTo>
                <a:lnTo>
                  <a:pt x="70" y="34"/>
                </a:lnTo>
                <a:lnTo>
                  <a:pt x="70" y="34"/>
                </a:lnTo>
                <a:lnTo>
                  <a:pt x="70" y="28"/>
                </a:lnTo>
                <a:lnTo>
                  <a:pt x="70" y="28"/>
                </a:lnTo>
                <a:lnTo>
                  <a:pt x="80" y="20"/>
                </a:lnTo>
                <a:lnTo>
                  <a:pt x="80" y="20"/>
                </a:lnTo>
                <a:lnTo>
                  <a:pt x="80" y="16"/>
                </a:lnTo>
                <a:lnTo>
                  <a:pt x="80" y="12"/>
                </a:lnTo>
                <a:lnTo>
                  <a:pt x="80" y="4"/>
                </a:lnTo>
                <a:lnTo>
                  <a:pt x="80"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5" name="Freeform 244">
            <a:extLst>
              <a:ext uri="{FF2B5EF4-FFF2-40B4-BE49-F238E27FC236}">
                <a16:creationId xmlns:a16="http://schemas.microsoft.com/office/drawing/2014/main" id="{C2E2F660-D874-4E5B-BD7E-E172773DC40C}"/>
              </a:ext>
            </a:extLst>
          </p:cNvPr>
          <p:cNvSpPr>
            <a:spLocks/>
          </p:cNvSpPr>
          <p:nvPr userDrawn="1"/>
        </p:nvSpPr>
        <p:spPr bwMode="auto">
          <a:xfrm>
            <a:off x="8409324" y="3553665"/>
            <a:ext cx="34053" cy="24024"/>
          </a:xfrm>
          <a:custGeom>
            <a:avLst/>
            <a:gdLst>
              <a:gd name="T0" fmla="*/ 0 w 20"/>
              <a:gd name="T1" fmla="*/ 8 h 14"/>
              <a:gd name="T2" fmla="*/ 6 w 20"/>
              <a:gd name="T3" fmla="*/ 14 h 14"/>
              <a:gd name="T4" fmla="*/ 10 w 20"/>
              <a:gd name="T5" fmla="*/ 14 h 14"/>
              <a:gd name="T6" fmla="*/ 12 w 20"/>
              <a:gd name="T7" fmla="*/ 12 h 14"/>
              <a:gd name="T8" fmla="*/ 14 w 20"/>
              <a:gd name="T9" fmla="*/ 8 h 14"/>
              <a:gd name="T10" fmla="*/ 18 w 20"/>
              <a:gd name="T11" fmla="*/ 10 h 14"/>
              <a:gd name="T12" fmla="*/ 20 w 20"/>
              <a:gd name="T13" fmla="*/ 10 h 14"/>
              <a:gd name="T14" fmla="*/ 16 w 20"/>
              <a:gd name="T15" fmla="*/ 0 h 14"/>
              <a:gd name="T16" fmla="*/ 16 w 20"/>
              <a:gd name="T17" fmla="*/ 0 h 14"/>
              <a:gd name="T18" fmla="*/ 12 w 20"/>
              <a:gd name="T19" fmla="*/ 0 h 14"/>
              <a:gd name="T20" fmla="*/ 12 w 20"/>
              <a:gd name="T21" fmla="*/ 0 h 14"/>
              <a:gd name="T22" fmla="*/ 10 w 20"/>
              <a:gd name="T23" fmla="*/ 4 h 14"/>
              <a:gd name="T24" fmla="*/ 8 w 20"/>
              <a:gd name="T25" fmla="*/ 8 h 14"/>
              <a:gd name="T26" fmla="*/ 8 w 20"/>
              <a:gd name="T27" fmla="*/ 8 h 14"/>
              <a:gd name="T28" fmla="*/ 0 w 20"/>
              <a:gd name="T29" fmla="*/ 6 h 14"/>
              <a:gd name="T30" fmla="*/ 0 w 20"/>
              <a:gd name="T3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4">
                <a:moveTo>
                  <a:pt x="0" y="8"/>
                </a:moveTo>
                <a:lnTo>
                  <a:pt x="6" y="14"/>
                </a:lnTo>
                <a:lnTo>
                  <a:pt x="10" y="14"/>
                </a:lnTo>
                <a:lnTo>
                  <a:pt x="12" y="12"/>
                </a:lnTo>
                <a:lnTo>
                  <a:pt x="14" y="8"/>
                </a:lnTo>
                <a:lnTo>
                  <a:pt x="18" y="10"/>
                </a:lnTo>
                <a:lnTo>
                  <a:pt x="20" y="10"/>
                </a:lnTo>
                <a:lnTo>
                  <a:pt x="16" y="0"/>
                </a:lnTo>
                <a:lnTo>
                  <a:pt x="16" y="0"/>
                </a:lnTo>
                <a:lnTo>
                  <a:pt x="12" y="0"/>
                </a:lnTo>
                <a:lnTo>
                  <a:pt x="12" y="0"/>
                </a:lnTo>
                <a:lnTo>
                  <a:pt x="10" y="4"/>
                </a:lnTo>
                <a:lnTo>
                  <a:pt x="8" y="8"/>
                </a:lnTo>
                <a:lnTo>
                  <a:pt x="8" y="8"/>
                </a:lnTo>
                <a:lnTo>
                  <a:pt x="0" y="6"/>
                </a:lnTo>
                <a:lnTo>
                  <a:pt x="0"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6" name="Freeform 249">
            <a:extLst>
              <a:ext uri="{FF2B5EF4-FFF2-40B4-BE49-F238E27FC236}">
                <a16:creationId xmlns:a16="http://schemas.microsoft.com/office/drawing/2014/main" id="{236F8436-38E2-43B6-81E5-C59687B42F9B}"/>
              </a:ext>
            </a:extLst>
          </p:cNvPr>
          <p:cNvSpPr>
            <a:spLocks/>
          </p:cNvSpPr>
          <p:nvPr userDrawn="1"/>
        </p:nvSpPr>
        <p:spPr bwMode="auto">
          <a:xfrm>
            <a:off x="6293357" y="4202307"/>
            <a:ext cx="221349" cy="264262"/>
          </a:xfrm>
          <a:custGeom>
            <a:avLst/>
            <a:gdLst>
              <a:gd name="T0" fmla="*/ 4 w 132"/>
              <a:gd name="T1" fmla="*/ 128 h 154"/>
              <a:gd name="T2" fmla="*/ 10 w 132"/>
              <a:gd name="T3" fmla="*/ 134 h 154"/>
              <a:gd name="T4" fmla="*/ 10 w 132"/>
              <a:gd name="T5" fmla="*/ 146 h 154"/>
              <a:gd name="T6" fmla="*/ 14 w 132"/>
              <a:gd name="T7" fmla="*/ 154 h 154"/>
              <a:gd name="T8" fmla="*/ 16 w 132"/>
              <a:gd name="T9" fmla="*/ 154 h 154"/>
              <a:gd name="T10" fmla="*/ 20 w 132"/>
              <a:gd name="T11" fmla="*/ 152 h 154"/>
              <a:gd name="T12" fmla="*/ 32 w 132"/>
              <a:gd name="T13" fmla="*/ 146 h 154"/>
              <a:gd name="T14" fmla="*/ 46 w 132"/>
              <a:gd name="T15" fmla="*/ 136 h 154"/>
              <a:gd name="T16" fmla="*/ 48 w 132"/>
              <a:gd name="T17" fmla="*/ 130 h 154"/>
              <a:gd name="T18" fmla="*/ 54 w 132"/>
              <a:gd name="T19" fmla="*/ 128 h 154"/>
              <a:gd name="T20" fmla="*/ 58 w 132"/>
              <a:gd name="T21" fmla="*/ 132 h 154"/>
              <a:gd name="T22" fmla="*/ 64 w 132"/>
              <a:gd name="T23" fmla="*/ 132 h 154"/>
              <a:gd name="T24" fmla="*/ 70 w 132"/>
              <a:gd name="T25" fmla="*/ 132 h 154"/>
              <a:gd name="T26" fmla="*/ 78 w 132"/>
              <a:gd name="T27" fmla="*/ 134 h 154"/>
              <a:gd name="T28" fmla="*/ 82 w 132"/>
              <a:gd name="T29" fmla="*/ 132 h 154"/>
              <a:gd name="T30" fmla="*/ 84 w 132"/>
              <a:gd name="T31" fmla="*/ 112 h 154"/>
              <a:gd name="T32" fmla="*/ 90 w 132"/>
              <a:gd name="T33" fmla="*/ 108 h 154"/>
              <a:gd name="T34" fmla="*/ 94 w 132"/>
              <a:gd name="T35" fmla="*/ 96 h 154"/>
              <a:gd name="T36" fmla="*/ 100 w 132"/>
              <a:gd name="T37" fmla="*/ 90 h 154"/>
              <a:gd name="T38" fmla="*/ 106 w 132"/>
              <a:gd name="T39" fmla="*/ 86 h 154"/>
              <a:gd name="T40" fmla="*/ 118 w 132"/>
              <a:gd name="T41" fmla="*/ 80 h 154"/>
              <a:gd name="T42" fmla="*/ 122 w 132"/>
              <a:gd name="T43" fmla="*/ 78 h 154"/>
              <a:gd name="T44" fmla="*/ 128 w 132"/>
              <a:gd name="T45" fmla="*/ 76 h 154"/>
              <a:gd name="T46" fmla="*/ 132 w 132"/>
              <a:gd name="T47" fmla="*/ 72 h 154"/>
              <a:gd name="T48" fmla="*/ 126 w 132"/>
              <a:gd name="T49" fmla="*/ 68 h 154"/>
              <a:gd name="T50" fmla="*/ 122 w 132"/>
              <a:gd name="T51" fmla="*/ 66 h 154"/>
              <a:gd name="T52" fmla="*/ 116 w 132"/>
              <a:gd name="T53" fmla="*/ 64 h 154"/>
              <a:gd name="T54" fmla="*/ 116 w 132"/>
              <a:gd name="T55" fmla="*/ 62 h 154"/>
              <a:gd name="T56" fmla="*/ 116 w 132"/>
              <a:gd name="T57" fmla="*/ 52 h 154"/>
              <a:gd name="T58" fmla="*/ 112 w 132"/>
              <a:gd name="T59" fmla="*/ 48 h 154"/>
              <a:gd name="T60" fmla="*/ 110 w 132"/>
              <a:gd name="T61" fmla="*/ 44 h 154"/>
              <a:gd name="T62" fmla="*/ 106 w 132"/>
              <a:gd name="T63" fmla="*/ 36 h 154"/>
              <a:gd name="T64" fmla="*/ 100 w 132"/>
              <a:gd name="T65" fmla="*/ 32 h 154"/>
              <a:gd name="T66" fmla="*/ 98 w 132"/>
              <a:gd name="T67" fmla="*/ 28 h 154"/>
              <a:gd name="T68" fmla="*/ 94 w 132"/>
              <a:gd name="T69" fmla="*/ 30 h 154"/>
              <a:gd name="T70" fmla="*/ 92 w 132"/>
              <a:gd name="T71" fmla="*/ 28 h 154"/>
              <a:gd name="T72" fmla="*/ 90 w 132"/>
              <a:gd name="T73" fmla="*/ 26 h 154"/>
              <a:gd name="T74" fmla="*/ 82 w 132"/>
              <a:gd name="T75" fmla="*/ 16 h 154"/>
              <a:gd name="T76" fmla="*/ 78 w 132"/>
              <a:gd name="T77" fmla="*/ 8 h 154"/>
              <a:gd name="T78" fmla="*/ 76 w 132"/>
              <a:gd name="T79" fmla="*/ 4 h 154"/>
              <a:gd name="T80" fmla="*/ 72 w 132"/>
              <a:gd name="T81" fmla="*/ 0 h 154"/>
              <a:gd name="T82" fmla="*/ 68 w 132"/>
              <a:gd name="T83" fmla="*/ 2 h 154"/>
              <a:gd name="T84" fmla="*/ 62 w 132"/>
              <a:gd name="T85" fmla="*/ 2 h 154"/>
              <a:gd name="T86" fmla="*/ 60 w 132"/>
              <a:gd name="T87" fmla="*/ 6 h 154"/>
              <a:gd name="T88" fmla="*/ 26 w 132"/>
              <a:gd name="T89" fmla="*/ 8 h 154"/>
              <a:gd name="T90" fmla="*/ 0 w 132"/>
              <a:gd name="T91" fmla="*/ 6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54">
                <a:moveTo>
                  <a:pt x="0" y="126"/>
                </a:moveTo>
                <a:lnTo>
                  <a:pt x="0" y="126"/>
                </a:lnTo>
                <a:lnTo>
                  <a:pt x="4" y="128"/>
                </a:lnTo>
                <a:lnTo>
                  <a:pt x="6" y="130"/>
                </a:lnTo>
                <a:lnTo>
                  <a:pt x="10" y="134"/>
                </a:lnTo>
                <a:lnTo>
                  <a:pt x="10" y="134"/>
                </a:lnTo>
                <a:lnTo>
                  <a:pt x="12" y="142"/>
                </a:lnTo>
                <a:lnTo>
                  <a:pt x="10" y="146"/>
                </a:lnTo>
                <a:lnTo>
                  <a:pt x="10" y="146"/>
                </a:lnTo>
                <a:lnTo>
                  <a:pt x="10" y="152"/>
                </a:lnTo>
                <a:lnTo>
                  <a:pt x="12" y="154"/>
                </a:lnTo>
                <a:lnTo>
                  <a:pt x="14" y="154"/>
                </a:lnTo>
                <a:lnTo>
                  <a:pt x="14" y="154"/>
                </a:lnTo>
                <a:lnTo>
                  <a:pt x="16" y="154"/>
                </a:lnTo>
                <a:lnTo>
                  <a:pt x="16" y="154"/>
                </a:lnTo>
                <a:lnTo>
                  <a:pt x="18" y="152"/>
                </a:lnTo>
                <a:lnTo>
                  <a:pt x="20" y="152"/>
                </a:lnTo>
                <a:lnTo>
                  <a:pt x="20" y="152"/>
                </a:lnTo>
                <a:lnTo>
                  <a:pt x="28" y="148"/>
                </a:lnTo>
                <a:lnTo>
                  <a:pt x="32" y="146"/>
                </a:lnTo>
                <a:lnTo>
                  <a:pt x="32" y="146"/>
                </a:lnTo>
                <a:lnTo>
                  <a:pt x="40" y="142"/>
                </a:lnTo>
                <a:lnTo>
                  <a:pt x="44" y="138"/>
                </a:lnTo>
                <a:lnTo>
                  <a:pt x="46" y="136"/>
                </a:lnTo>
                <a:lnTo>
                  <a:pt x="46" y="136"/>
                </a:lnTo>
                <a:lnTo>
                  <a:pt x="46" y="132"/>
                </a:lnTo>
                <a:lnTo>
                  <a:pt x="48" y="130"/>
                </a:lnTo>
                <a:lnTo>
                  <a:pt x="50" y="128"/>
                </a:lnTo>
                <a:lnTo>
                  <a:pt x="50" y="128"/>
                </a:lnTo>
                <a:lnTo>
                  <a:pt x="54" y="128"/>
                </a:lnTo>
                <a:lnTo>
                  <a:pt x="56" y="132"/>
                </a:lnTo>
                <a:lnTo>
                  <a:pt x="56" y="132"/>
                </a:lnTo>
                <a:lnTo>
                  <a:pt x="58" y="132"/>
                </a:lnTo>
                <a:lnTo>
                  <a:pt x="60" y="130"/>
                </a:lnTo>
                <a:lnTo>
                  <a:pt x="62" y="130"/>
                </a:lnTo>
                <a:lnTo>
                  <a:pt x="64" y="132"/>
                </a:lnTo>
                <a:lnTo>
                  <a:pt x="64" y="132"/>
                </a:lnTo>
                <a:lnTo>
                  <a:pt x="66" y="132"/>
                </a:lnTo>
                <a:lnTo>
                  <a:pt x="70" y="132"/>
                </a:lnTo>
                <a:lnTo>
                  <a:pt x="74" y="132"/>
                </a:lnTo>
                <a:lnTo>
                  <a:pt x="74" y="132"/>
                </a:lnTo>
                <a:lnTo>
                  <a:pt x="78" y="134"/>
                </a:lnTo>
                <a:lnTo>
                  <a:pt x="80" y="134"/>
                </a:lnTo>
                <a:lnTo>
                  <a:pt x="82" y="132"/>
                </a:lnTo>
                <a:lnTo>
                  <a:pt x="82" y="132"/>
                </a:lnTo>
                <a:lnTo>
                  <a:pt x="82" y="112"/>
                </a:lnTo>
                <a:lnTo>
                  <a:pt x="82" y="112"/>
                </a:lnTo>
                <a:lnTo>
                  <a:pt x="84" y="112"/>
                </a:lnTo>
                <a:lnTo>
                  <a:pt x="90" y="110"/>
                </a:lnTo>
                <a:lnTo>
                  <a:pt x="90" y="110"/>
                </a:lnTo>
                <a:lnTo>
                  <a:pt x="90" y="108"/>
                </a:lnTo>
                <a:lnTo>
                  <a:pt x="92" y="104"/>
                </a:lnTo>
                <a:lnTo>
                  <a:pt x="92" y="98"/>
                </a:lnTo>
                <a:lnTo>
                  <a:pt x="94" y="96"/>
                </a:lnTo>
                <a:lnTo>
                  <a:pt x="94" y="96"/>
                </a:lnTo>
                <a:lnTo>
                  <a:pt x="98" y="94"/>
                </a:lnTo>
                <a:lnTo>
                  <a:pt x="100" y="90"/>
                </a:lnTo>
                <a:lnTo>
                  <a:pt x="102" y="88"/>
                </a:lnTo>
                <a:lnTo>
                  <a:pt x="106" y="86"/>
                </a:lnTo>
                <a:lnTo>
                  <a:pt x="106" y="86"/>
                </a:lnTo>
                <a:lnTo>
                  <a:pt x="112" y="84"/>
                </a:lnTo>
                <a:lnTo>
                  <a:pt x="118" y="80"/>
                </a:lnTo>
                <a:lnTo>
                  <a:pt x="118" y="80"/>
                </a:lnTo>
                <a:lnTo>
                  <a:pt x="120" y="80"/>
                </a:lnTo>
                <a:lnTo>
                  <a:pt x="120" y="78"/>
                </a:lnTo>
                <a:lnTo>
                  <a:pt x="122" y="78"/>
                </a:lnTo>
                <a:lnTo>
                  <a:pt x="124" y="78"/>
                </a:lnTo>
                <a:lnTo>
                  <a:pt x="124" y="78"/>
                </a:lnTo>
                <a:lnTo>
                  <a:pt x="128" y="76"/>
                </a:lnTo>
                <a:lnTo>
                  <a:pt x="130" y="74"/>
                </a:lnTo>
                <a:lnTo>
                  <a:pt x="132" y="72"/>
                </a:lnTo>
                <a:lnTo>
                  <a:pt x="132" y="72"/>
                </a:lnTo>
                <a:lnTo>
                  <a:pt x="130" y="70"/>
                </a:lnTo>
                <a:lnTo>
                  <a:pt x="126" y="68"/>
                </a:lnTo>
                <a:lnTo>
                  <a:pt x="126" y="68"/>
                </a:lnTo>
                <a:lnTo>
                  <a:pt x="124" y="66"/>
                </a:lnTo>
                <a:lnTo>
                  <a:pt x="124" y="66"/>
                </a:lnTo>
                <a:lnTo>
                  <a:pt x="122" y="66"/>
                </a:lnTo>
                <a:lnTo>
                  <a:pt x="120" y="66"/>
                </a:lnTo>
                <a:lnTo>
                  <a:pt x="120" y="66"/>
                </a:lnTo>
                <a:lnTo>
                  <a:pt x="116" y="64"/>
                </a:lnTo>
                <a:lnTo>
                  <a:pt x="116" y="64"/>
                </a:lnTo>
                <a:lnTo>
                  <a:pt x="116" y="62"/>
                </a:lnTo>
                <a:lnTo>
                  <a:pt x="116" y="62"/>
                </a:lnTo>
                <a:lnTo>
                  <a:pt x="114" y="56"/>
                </a:lnTo>
                <a:lnTo>
                  <a:pt x="116" y="52"/>
                </a:lnTo>
                <a:lnTo>
                  <a:pt x="116" y="52"/>
                </a:lnTo>
                <a:lnTo>
                  <a:pt x="116" y="50"/>
                </a:lnTo>
                <a:lnTo>
                  <a:pt x="114" y="50"/>
                </a:lnTo>
                <a:lnTo>
                  <a:pt x="112" y="48"/>
                </a:lnTo>
                <a:lnTo>
                  <a:pt x="112" y="48"/>
                </a:lnTo>
                <a:lnTo>
                  <a:pt x="112" y="48"/>
                </a:lnTo>
                <a:lnTo>
                  <a:pt x="110" y="44"/>
                </a:lnTo>
                <a:lnTo>
                  <a:pt x="108" y="42"/>
                </a:lnTo>
                <a:lnTo>
                  <a:pt x="108" y="42"/>
                </a:lnTo>
                <a:lnTo>
                  <a:pt x="106" y="36"/>
                </a:lnTo>
                <a:lnTo>
                  <a:pt x="106" y="36"/>
                </a:lnTo>
                <a:lnTo>
                  <a:pt x="102" y="34"/>
                </a:lnTo>
                <a:lnTo>
                  <a:pt x="100" y="32"/>
                </a:lnTo>
                <a:lnTo>
                  <a:pt x="98" y="30"/>
                </a:lnTo>
                <a:lnTo>
                  <a:pt x="98" y="30"/>
                </a:lnTo>
                <a:lnTo>
                  <a:pt x="98" y="28"/>
                </a:lnTo>
                <a:lnTo>
                  <a:pt x="98" y="30"/>
                </a:lnTo>
                <a:lnTo>
                  <a:pt x="96" y="30"/>
                </a:lnTo>
                <a:lnTo>
                  <a:pt x="94" y="30"/>
                </a:lnTo>
                <a:lnTo>
                  <a:pt x="94" y="30"/>
                </a:lnTo>
                <a:lnTo>
                  <a:pt x="92" y="30"/>
                </a:lnTo>
                <a:lnTo>
                  <a:pt x="92" y="28"/>
                </a:lnTo>
                <a:lnTo>
                  <a:pt x="90" y="26"/>
                </a:lnTo>
                <a:lnTo>
                  <a:pt x="90" y="26"/>
                </a:lnTo>
                <a:lnTo>
                  <a:pt x="90" y="26"/>
                </a:lnTo>
                <a:lnTo>
                  <a:pt x="84" y="20"/>
                </a:lnTo>
                <a:lnTo>
                  <a:pt x="82" y="16"/>
                </a:lnTo>
                <a:lnTo>
                  <a:pt x="82" y="16"/>
                </a:lnTo>
                <a:lnTo>
                  <a:pt x="82" y="12"/>
                </a:lnTo>
                <a:lnTo>
                  <a:pt x="80" y="10"/>
                </a:lnTo>
                <a:lnTo>
                  <a:pt x="78" y="8"/>
                </a:lnTo>
                <a:lnTo>
                  <a:pt x="78" y="8"/>
                </a:lnTo>
                <a:lnTo>
                  <a:pt x="76" y="6"/>
                </a:lnTo>
                <a:lnTo>
                  <a:pt x="76" y="4"/>
                </a:lnTo>
                <a:lnTo>
                  <a:pt x="74" y="0"/>
                </a:lnTo>
                <a:lnTo>
                  <a:pt x="74" y="0"/>
                </a:lnTo>
                <a:lnTo>
                  <a:pt x="72" y="0"/>
                </a:lnTo>
                <a:lnTo>
                  <a:pt x="70" y="0"/>
                </a:lnTo>
                <a:lnTo>
                  <a:pt x="68" y="2"/>
                </a:lnTo>
                <a:lnTo>
                  <a:pt x="68" y="2"/>
                </a:lnTo>
                <a:lnTo>
                  <a:pt x="66" y="4"/>
                </a:lnTo>
                <a:lnTo>
                  <a:pt x="64" y="4"/>
                </a:lnTo>
                <a:lnTo>
                  <a:pt x="62" y="2"/>
                </a:lnTo>
                <a:lnTo>
                  <a:pt x="60" y="4"/>
                </a:lnTo>
                <a:lnTo>
                  <a:pt x="60" y="4"/>
                </a:lnTo>
                <a:lnTo>
                  <a:pt x="60" y="6"/>
                </a:lnTo>
                <a:lnTo>
                  <a:pt x="58" y="6"/>
                </a:lnTo>
                <a:lnTo>
                  <a:pt x="56" y="6"/>
                </a:lnTo>
                <a:lnTo>
                  <a:pt x="26" y="8"/>
                </a:lnTo>
                <a:lnTo>
                  <a:pt x="16" y="8"/>
                </a:lnTo>
                <a:lnTo>
                  <a:pt x="16" y="66"/>
                </a:lnTo>
                <a:lnTo>
                  <a:pt x="0" y="66"/>
                </a:lnTo>
                <a:lnTo>
                  <a:pt x="0" y="1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7" name="Freeform 250">
            <a:extLst>
              <a:ext uri="{FF2B5EF4-FFF2-40B4-BE49-F238E27FC236}">
                <a16:creationId xmlns:a16="http://schemas.microsoft.com/office/drawing/2014/main" id="{7BC32D96-8033-4BE4-A22F-F9F72602FD4F}"/>
              </a:ext>
            </a:extLst>
          </p:cNvPr>
          <p:cNvSpPr>
            <a:spLocks/>
          </p:cNvSpPr>
          <p:nvPr userDrawn="1"/>
        </p:nvSpPr>
        <p:spPr bwMode="auto">
          <a:xfrm>
            <a:off x="6209771" y="2338746"/>
            <a:ext cx="86682" cy="92663"/>
          </a:xfrm>
          <a:custGeom>
            <a:avLst/>
            <a:gdLst>
              <a:gd name="T0" fmla="*/ 48 w 52"/>
              <a:gd name="T1" fmla="*/ 10 h 54"/>
              <a:gd name="T2" fmla="*/ 38 w 52"/>
              <a:gd name="T3" fmla="*/ 10 h 54"/>
              <a:gd name="T4" fmla="*/ 36 w 52"/>
              <a:gd name="T5" fmla="*/ 8 h 54"/>
              <a:gd name="T6" fmla="*/ 34 w 52"/>
              <a:gd name="T7" fmla="*/ 6 h 54"/>
              <a:gd name="T8" fmla="*/ 28 w 52"/>
              <a:gd name="T9" fmla="*/ 4 h 54"/>
              <a:gd name="T10" fmla="*/ 24 w 52"/>
              <a:gd name="T11" fmla="*/ 4 h 54"/>
              <a:gd name="T12" fmla="*/ 18 w 52"/>
              <a:gd name="T13" fmla="*/ 6 h 54"/>
              <a:gd name="T14" fmla="*/ 16 w 52"/>
              <a:gd name="T15" fmla="*/ 6 h 54"/>
              <a:gd name="T16" fmla="*/ 10 w 52"/>
              <a:gd name="T17" fmla="*/ 2 h 54"/>
              <a:gd name="T18" fmla="*/ 10 w 52"/>
              <a:gd name="T19" fmla="*/ 4 h 54"/>
              <a:gd name="T20" fmla="*/ 6 w 52"/>
              <a:gd name="T21" fmla="*/ 4 h 54"/>
              <a:gd name="T22" fmla="*/ 4 w 52"/>
              <a:gd name="T23" fmla="*/ 0 h 54"/>
              <a:gd name="T24" fmla="*/ 0 w 52"/>
              <a:gd name="T25" fmla="*/ 0 h 54"/>
              <a:gd name="T26" fmla="*/ 0 w 52"/>
              <a:gd name="T27" fmla="*/ 2 h 54"/>
              <a:gd name="T28" fmla="*/ 0 w 52"/>
              <a:gd name="T29" fmla="*/ 6 h 54"/>
              <a:gd name="T30" fmla="*/ 8 w 52"/>
              <a:gd name="T31" fmla="*/ 18 h 54"/>
              <a:gd name="T32" fmla="*/ 8 w 52"/>
              <a:gd name="T33" fmla="*/ 20 h 54"/>
              <a:gd name="T34" fmla="*/ 8 w 52"/>
              <a:gd name="T35" fmla="*/ 22 h 54"/>
              <a:gd name="T36" fmla="*/ 14 w 52"/>
              <a:gd name="T37" fmla="*/ 30 h 54"/>
              <a:gd name="T38" fmla="*/ 20 w 52"/>
              <a:gd name="T39" fmla="*/ 36 h 54"/>
              <a:gd name="T40" fmla="*/ 24 w 52"/>
              <a:gd name="T41" fmla="*/ 42 h 54"/>
              <a:gd name="T42" fmla="*/ 30 w 52"/>
              <a:gd name="T43" fmla="*/ 46 h 54"/>
              <a:gd name="T44" fmla="*/ 34 w 52"/>
              <a:gd name="T45" fmla="*/ 50 h 54"/>
              <a:gd name="T46" fmla="*/ 38 w 52"/>
              <a:gd name="T47" fmla="*/ 54 h 54"/>
              <a:gd name="T48" fmla="*/ 36 w 52"/>
              <a:gd name="T49" fmla="*/ 50 h 54"/>
              <a:gd name="T50" fmla="*/ 36 w 52"/>
              <a:gd name="T51" fmla="*/ 46 h 54"/>
              <a:gd name="T52" fmla="*/ 38 w 52"/>
              <a:gd name="T53" fmla="*/ 38 h 54"/>
              <a:gd name="T54" fmla="*/ 44 w 52"/>
              <a:gd name="T55" fmla="*/ 36 h 54"/>
              <a:gd name="T56" fmla="*/ 46 w 52"/>
              <a:gd name="T57" fmla="*/ 32 h 54"/>
              <a:gd name="T58" fmla="*/ 50 w 52"/>
              <a:gd name="T59" fmla="*/ 30 h 54"/>
              <a:gd name="T60" fmla="*/ 52 w 52"/>
              <a:gd name="T61" fmla="*/ 28 h 54"/>
              <a:gd name="T62" fmla="*/ 50 w 52"/>
              <a:gd name="T63" fmla="*/ 26 h 54"/>
              <a:gd name="T64" fmla="*/ 46 w 52"/>
              <a:gd name="T65" fmla="*/ 22 h 54"/>
              <a:gd name="T66" fmla="*/ 50 w 52"/>
              <a:gd name="T67" fmla="*/ 22 h 54"/>
              <a:gd name="T68" fmla="*/ 52 w 52"/>
              <a:gd name="T69" fmla="*/ 20 h 54"/>
              <a:gd name="T70" fmla="*/ 50 w 52"/>
              <a:gd name="T71" fmla="*/ 18 h 54"/>
              <a:gd name="T72" fmla="*/ 48 w 52"/>
              <a:gd name="T73" fmla="*/ 14 h 54"/>
              <a:gd name="T74" fmla="*/ 48 w 52"/>
              <a:gd name="T75"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48" y="10"/>
                </a:moveTo>
                <a:lnTo>
                  <a:pt x="48" y="10"/>
                </a:lnTo>
                <a:lnTo>
                  <a:pt x="42" y="10"/>
                </a:lnTo>
                <a:lnTo>
                  <a:pt x="38" y="10"/>
                </a:lnTo>
                <a:lnTo>
                  <a:pt x="36" y="8"/>
                </a:lnTo>
                <a:lnTo>
                  <a:pt x="36" y="8"/>
                </a:lnTo>
                <a:lnTo>
                  <a:pt x="34" y="6"/>
                </a:lnTo>
                <a:lnTo>
                  <a:pt x="34" y="6"/>
                </a:lnTo>
                <a:lnTo>
                  <a:pt x="34" y="6"/>
                </a:lnTo>
                <a:lnTo>
                  <a:pt x="28" y="4"/>
                </a:lnTo>
                <a:lnTo>
                  <a:pt x="28" y="4"/>
                </a:lnTo>
                <a:lnTo>
                  <a:pt x="24" y="4"/>
                </a:lnTo>
                <a:lnTo>
                  <a:pt x="20" y="4"/>
                </a:lnTo>
                <a:lnTo>
                  <a:pt x="18" y="6"/>
                </a:lnTo>
                <a:lnTo>
                  <a:pt x="16" y="6"/>
                </a:lnTo>
                <a:lnTo>
                  <a:pt x="16" y="6"/>
                </a:lnTo>
                <a:lnTo>
                  <a:pt x="12" y="4"/>
                </a:lnTo>
                <a:lnTo>
                  <a:pt x="10" y="2"/>
                </a:lnTo>
                <a:lnTo>
                  <a:pt x="10" y="4"/>
                </a:lnTo>
                <a:lnTo>
                  <a:pt x="10" y="4"/>
                </a:lnTo>
                <a:lnTo>
                  <a:pt x="8" y="4"/>
                </a:lnTo>
                <a:lnTo>
                  <a:pt x="6" y="4"/>
                </a:lnTo>
                <a:lnTo>
                  <a:pt x="4" y="0"/>
                </a:lnTo>
                <a:lnTo>
                  <a:pt x="4" y="0"/>
                </a:lnTo>
                <a:lnTo>
                  <a:pt x="2" y="0"/>
                </a:lnTo>
                <a:lnTo>
                  <a:pt x="0" y="0"/>
                </a:lnTo>
                <a:lnTo>
                  <a:pt x="0" y="2"/>
                </a:lnTo>
                <a:lnTo>
                  <a:pt x="0" y="2"/>
                </a:lnTo>
                <a:lnTo>
                  <a:pt x="0" y="6"/>
                </a:lnTo>
                <a:lnTo>
                  <a:pt x="0" y="6"/>
                </a:lnTo>
                <a:lnTo>
                  <a:pt x="4" y="10"/>
                </a:lnTo>
                <a:lnTo>
                  <a:pt x="8" y="18"/>
                </a:lnTo>
                <a:lnTo>
                  <a:pt x="8" y="18"/>
                </a:lnTo>
                <a:lnTo>
                  <a:pt x="8" y="20"/>
                </a:lnTo>
                <a:lnTo>
                  <a:pt x="6" y="20"/>
                </a:lnTo>
                <a:lnTo>
                  <a:pt x="8" y="22"/>
                </a:lnTo>
                <a:lnTo>
                  <a:pt x="8" y="22"/>
                </a:lnTo>
                <a:lnTo>
                  <a:pt x="14" y="30"/>
                </a:lnTo>
                <a:lnTo>
                  <a:pt x="20" y="36"/>
                </a:lnTo>
                <a:lnTo>
                  <a:pt x="20" y="36"/>
                </a:lnTo>
                <a:lnTo>
                  <a:pt x="24" y="42"/>
                </a:lnTo>
                <a:lnTo>
                  <a:pt x="24" y="42"/>
                </a:lnTo>
                <a:lnTo>
                  <a:pt x="28" y="44"/>
                </a:lnTo>
                <a:lnTo>
                  <a:pt x="30" y="46"/>
                </a:lnTo>
                <a:lnTo>
                  <a:pt x="30" y="46"/>
                </a:lnTo>
                <a:lnTo>
                  <a:pt x="34" y="50"/>
                </a:lnTo>
                <a:lnTo>
                  <a:pt x="34" y="50"/>
                </a:lnTo>
                <a:lnTo>
                  <a:pt x="38" y="54"/>
                </a:lnTo>
                <a:lnTo>
                  <a:pt x="38" y="54"/>
                </a:lnTo>
                <a:lnTo>
                  <a:pt x="36" y="50"/>
                </a:lnTo>
                <a:lnTo>
                  <a:pt x="36" y="46"/>
                </a:lnTo>
                <a:lnTo>
                  <a:pt x="36" y="46"/>
                </a:lnTo>
                <a:lnTo>
                  <a:pt x="36" y="42"/>
                </a:lnTo>
                <a:lnTo>
                  <a:pt x="38" y="38"/>
                </a:lnTo>
                <a:lnTo>
                  <a:pt x="38" y="38"/>
                </a:lnTo>
                <a:lnTo>
                  <a:pt x="44" y="36"/>
                </a:lnTo>
                <a:lnTo>
                  <a:pt x="44" y="36"/>
                </a:lnTo>
                <a:lnTo>
                  <a:pt x="46" y="32"/>
                </a:lnTo>
                <a:lnTo>
                  <a:pt x="46" y="32"/>
                </a:lnTo>
                <a:lnTo>
                  <a:pt x="50" y="30"/>
                </a:lnTo>
                <a:lnTo>
                  <a:pt x="52" y="28"/>
                </a:lnTo>
                <a:lnTo>
                  <a:pt x="52" y="28"/>
                </a:lnTo>
                <a:lnTo>
                  <a:pt x="52" y="26"/>
                </a:lnTo>
                <a:lnTo>
                  <a:pt x="50" y="26"/>
                </a:lnTo>
                <a:lnTo>
                  <a:pt x="48" y="24"/>
                </a:lnTo>
                <a:lnTo>
                  <a:pt x="46" y="22"/>
                </a:lnTo>
                <a:lnTo>
                  <a:pt x="46" y="22"/>
                </a:lnTo>
                <a:lnTo>
                  <a:pt x="50" y="22"/>
                </a:lnTo>
                <a:lnTo>
                  <a:pt x="52" y="20"/>
                </a:lnTo>
                <a:lnTo>
                  <a:pt x="52" y="20"/>
                </a:lnTo>
                <a:lnTo>
                  <a:pt x="52" y="18"/>
                </a:lnTo>
                <a:lnTo>
                  <a:pt x="50" y="18"/>
                </a:lnTo>
                <a:lnTo>
                  <a:pt x="48" y="14"/>
                </a:lnTo>
                <a:lnTo>
                  <a:pt x="48" y="14"/>
                </a:lnTo>
                <a:lnTo>
                  <a:pt x="48" y="10"/>
                </a:lnTo>
                <a:lnTo>
                  <a:pt x="48"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8" name="Freeform 252">
            <a:extLst>
              <a:ext uri="{FF2B5EF4-FFF2-40B4-BE49-F238E27FC236}">
                <a16:creationId xmlns:a16="http://schemas.microsoft.com/office/drawing/2014/main" id="{C87ABFF1-F62C-4DDD-9494-2E8474B43E01}"/>
              </a:ext>
            </a:extLst>
          </p:cNvPr>
          <p:cNvSpPr>
            <a:spLocks/>
          </p:cNvSpPr>
          <p:nvPr userDrawn="1"/>
        </p:nvSpPr>
        <p:spPr bwMode="auto">
          <a:xfrm>
            <a:off x="7859822" y="2874133"/>
            <a:ext cx="66559" cy="37751"/>
          </a:xfrm>
          <a:custGeom>
            <a:avLst/>
            <a:gdLst>
              <a:gd name="T0" fmla="*/ 0 w 40"/>
              <a:gd name="T1" fmla="*/ 12 h 22"/>
              <a:gd name="T2" fmla="*/ 0 w 40"/>
              <a:gd name="T3" fmla="*/ 18 h 22"/>
              <a:gd name="T4" fmla="*/ 4 w 40"/>
              <a:gd name="T5" fmla="*/ 22 h 22"/>
              <a:gd name="T6" fmla="*/ 10 w 40"/>
              <a:gd name="T7" fmla="*/ 22 h 22"/>
              <a:gd name="T8" fmla="*/ 16 w 40"/>
              <a:gd name="T9" fmla="*/ 20 h 22"/>
              <a:gd name="T10" fmla="*/ 24 w 40"/>
              <a:gd name="T11" fmla="*/ 22 h 22"/>
              <a:gd name="T12" fmla="*/ 36 w 40"/>
              <a:gd name="T13" fmla="*/ 22 h 22"/>
              <a:gd name="T14" fmla="*/ 40 w 40"/>
              <a:gd name="T15" fmla="*/ 20 h 22"/>
              <a:gd name="T16" fmla="*/ 40 w 40"/>
              <a:gd name="T17" fmla="*/ 14 h 22"/>
              <a:gd name="T18" fmla="*/ 38 w 40"/>
              <a:gd name="T19" fmla="*/ 4 h 22"/>
              <a:gd name="T20" fmla="*/ 28 w 40"/>
              <a:gd name="T21" fmla="*/ 4 h 22"/>
              <a:gd name="T22" fmla="*/ 22 w 40"/>
              <a:gd name="T23" fmla="*/ 4 h 22"/>
              <a:gd name="T24" fmla="*/ 16 w 40"/>
              <a:gd name="T25" fmla="*/ 0 h 22"/>
              <a:gd name="T26" fmla="*/ 8 w 40"/>
              <a:gd name="T27" fmla="*/ 2 h 22"/>
              <a:gd name="T28" fmla="*/ 4 w 40"/>
              <a:gd name="T29" fmla="*/ 4 h 22"/>
              <a:gd name="T30" fmla="*/ 0 w 40"/>
              <a:gd name="T31"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2">
                <a:moveTo>
                  <a:pt x="0" y="12"/>
                </a:moveTo>
                <a:lnTo>
                  <a:pt x="0" y="18"/>
                </a:lnTo>
                <a:lnTo>
                  <a:pt x="4" y="22"/>
                </a:lnTo>
                <a:lnTo>
                  <a:pt x="10" y="22"/>
                </a:lnTo>
                <a:lnTo>
                  <a:pt x="16" y="20"/>
                </a:lnTo>
                <a:lnTo>
                  <a:pt x="24" y="22"/>
                </a:lnTo>
                <a:lnTo>
                  <a:pt x="36" y="22"/>
                </a:lnTo>
                <a:lnTo>
                  <a:pt x="40" y="20"/>
                </a:lnTo>
                <a:lnTo>
                  <a:pt x="40" y="14"/>
                </a:lnTo>
                <a:lnTo>
                  <a:pt x="38" y="4"/>
                </a:lnTo>
                <a:lnTo>
                  <a:pt x="28" y="4"/>
                </a:lnTo>
                <a:lnTo>
                  <a:pt x="22" y="4"/>
                </a:lnTo>
                <a:lnTo>
                  <a:pt x="16" y="0"/>
                </a:lnTo>
                <a:lnTo>
                  <a:pt x="8" y="2"/>
                </a:lnTo>
                <a:lnTo>
                  <a:pt x="4" y="4"/>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9" name="Freeform 253">
            <a:extLst>
              <a:ext uri="{FF2B5EF4-FFF2-40B4-BE49-F238E27FC236}">
                <a16:creationId xmlns:a16="http://schemas.microsoft.com/office/drawing/2014/main" id="{5669964A-03EE-4599-93DA-42D14CB811F0}"/>
              </a:ext>
            </a:extLst>
          </p:cNvPr>
          <p:cNvSpPr>
            <a:spLocks/>
          </p:cNvSpPr>
          <p:nvPr userDrawn="1"/>
        </p:nvSpPr>
        <p:spPr bwMode="auto">
          <a:xfrm>
            <a:off x="5869235" y="3320290"/>
            <a:ext cx="63464" cy="195623"/>
          </a:xfrm>
          <a:custGeom>
            <a:avLst/>
            <a:gdLst>
              <a:gd name="T0" fmla="*/ 26 w 38"/>
              <a:gd name="T1" fmla="*/ 106 h 114"/>
              <a:gd name="T2" fmla="*/ 28 w 38"/>
              <a:gd name="T3" fmla="*/ 96 h 114"/>
              <a:gd name="T4" fmla="*/ 26 w 38"/>
              <a:gd name="T5" fmla="*/ 86 h 114"/>
              <a:gd name="T6" fmla="*/ 24 w 38"/>
              <a:gd name="T7" fmla="*/ 82 h 114"/>
              <a:gd name="T8" fmla="*/ 26 w 38"/>
              <a:gd name="T9" fmla="*/ 72 h 114"/>
              <a:gd name="T10" fmla="*/ 26 w 38"/>
              <a:gd name="T11" fmla="*/ 68 h 114"/>
              <a:gd name="T12" fmla="*/ 26 w 38"/>
              <a:gd name="T13" fmla="*/ 62 h 114"/>
              <a:gd name="T14" fmla="*/ 28 w 38"/>
              <a:gd name="T15" fmla="*/ 62 h 114"/>
              <a:gd name="T16" fmla="*/ 30 w 38"/>
              <a:gd name="T17" fmla="*/ 62 h 114"/>
              <a:gd name="T18" fmla="*/ 30 w 38"/>
              <a:gd name="T19" fmla="*/ 58 h 114"/>
              <a:gd name="T20" fmla="*/ 32 w 38"/>
              <a:gd name="T21" fmla="*/ 52 h 114"/>
              <a:gd name="T22" fmla="*/ 34 w 38"/>
              <a:gd name="T23" fmla="*/ 48 h 114"/>
              <a:gd name="T24" fmla="*/ 34 w 38"/>
              <a:gd name="T25" fmla="*/ 44 h 114"/>
              <a:gd name="T26" fmla="*/ 36 w 38"/>
              <a:gd name="T27" fmla="*/ 38 h 114"/>
              <a:gd name="T28" fmla="*/ 38 w 38"/>
              <a:gd name="T29" fmla="*/ 38 h 114"/>
              <a:gd name="T30" fmla="*/ 36 w 38"/>
              <a:gd name="T31" fmla="*/ 34 h 114"/>
              <a:gd name="T32" fmla="*/ 36 w 38"/>
              <a:gd name="T33" fmla="*/ 30 h 114"/>
              <a:gd name="T34" fmla="*/ 36 w 38"/>
              <a:gd name="T35" fmla="*/ 22 h 114"/>
              <a:gd name="T36" fmla="*/ 32 w 38"/>
              <a:gd name="T37" fmla="*/ 20 h 114"/>
              <a:gd name="T38" fmla="*/ 34 w 38"/>
              <a:gd name="T39" fmla="*/ 18 h 114"/>
              <a:gd name="T40" fmla="*/ 34 w 38"/>
              <a:gd name="T41" fmla="*/ 12 h 114"/>
              <a:gd name="T42" fmla="*/ 26 w 38"/>
              <a:gd name="T43" fmla="*/ 6 h 114"/>
              <a:gd name="T44" fmla="*/ 26 w 38"/>
              <a:gd name="T45" fmla="*/ 4 h 114"/>
              <a:gd name="T46" fmla="*/ 24 w 38"/>
              <a:gd name="T47" fmla="*/ 2 h 114"/>
              <a:gd name="T48" fmla="*/ 18 w 38"/>
              <a:gd name="T49" fmla="*/ 0 h 114"/>
              <a:gd name="T50" fmla="*/ 12 w 38"/>
              <a:gd name="T51" fmla="*/ 8 h 114"/>
              <a:gd name="T52" fmla="*/ 12 w 38"/>
              <a:gd name="T53" fmla="*/ 12 h 114"/>
              <a:gd name="T54" fmla="*/ 6 w 38"/>
              <a:gd name="T55" fmla="*/ 14 h 114"/>
              <a:gd name="T56" fmla="*/ 6 w 38"/>
              <a:gd name="T57" fmla="*/ 16 h 114"/>
              <a:gd name="T58" fmla="*/ 4 w 38"/>
              <a:gd name="T59" fmla="*/ 18 h 114"/>
              <a:gd name="T60" fmla="*/ 0 w 38"/>
              <a:gd name="T61" fmla="*/ 18 h 114"/>
              <a:gd name="T62" fmla="*/ 10 w 38"/>
              <a:gd name="T63" fmla="*/ 36 h 114"/>
              <a:gd name="T64" fmla="*/ 10 w 38"/>
              <a:gd name="T65" fmla="*/ 38 h 114"/>
              <a:gd name="T66" fmla="*/ 10 w 38"/>
              <a:gd name="T67" fmla="*/ 44 h 114"/>
              <a:gd name="T68" fmla="*/ 12 w 38"/>
              <a:gd name="T69" fmla="*/ 52 h 114"/>
              <a:gd name="T70" fmla="*/ 12 w 38"/>
              <a:gd name="T71" fmla="*/ 54 h 114"/>
              <a:gd name="T72" fmla="*/ 12 w 38"/>
              <a:gd name="T73" fmla="*/ 62 h 114"/>
              <a:gd name="T74" fmla="*/ 12 w 38"/>
              <a:gd name="T75" fmla="*/ 74 h 114"/>
              <a:gd name="T76" fmla="*/ 12 w 38"/>
              <a:gd name="T77" fmla="*/ 80 h 114"/>
              <a:gd name="T78" fmla="*/ 12 w 38"/>
              <a:gd name="T79" fmla="*/ 84 h 114"/>
              <a:gd name="T80" fmla="*/ 10 w 38"/>
              <a:gd name="T81" fmla="*/ 94 h 114"/>
              <a:gd name="T82" fmla="*/ 12 w 38"/>
              <a:gd name="T83" fmla="*/ 100 h 114"/>
              <a:gd name="T84" fmla="*/ 12 w 38"/>
              <a:gd name="T85" fmla="*/ 102 h 114"/>
              <a:gd name="T86" fmla="*/ 12 w 38"/>
              <a:gd name="T87" fmla="*/ 106 h 114"/>
              <a:gd name="T88" fmla="*/ 14 w 38"/>
              <a:gd name="T89" fmla="*/ 114 h 114"/>
              <a:gd name="T90" fmla="*/ 16 w 38"/>
              <a:gd name="T91" fmla="*/ 114 h 114"/>
              <a:gd name="T92" fmla="*/ 18 w 38"/>
              <a:gd name="T93" fmla="*/ 108 h 114"/>
              <a:gd name="T94" fmla="*/ 26 w 38"/>
              <a:gd name="T95"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 h="114">
                <a:moveTo>
                  <a:pt x="26" y="106"/>
                </a:moveTo>
                <a:lnTo>
                  <a:pt x="26" y="106"/>
                </a:lnTo>
                <a:lnTo>
                  <a:pt x="28" y="96"/>
                </a:lnTo>
                <a:lnTo>
                  <a:pt x="28" y="96"/>
                </a:lnTo>
                <a:lnTo>
                  <a:pt x="28" y="90"/>
                </a:lnTo>
                <a:lnTo>
                  <a:pt x="26" y="86"/>
                </a:lnTo>
                <a:lnTo>
                  <a:pt x="26" y="86"/>
                </a:lnTo>
                <a:lnTo>
                  <a:pt x="24" y="82"/>
                </a:lnTo>
                <a:lnTo>
                  <a:pt x="26" y="76"/>
                </a:lnTo>
                <a:lnTo>
                  <a:pt x="26" y="72"/>
                </a:lnTo>
                <a:lnTo>
                  <a:pt x="26" y="68"/>
                </a:lnTo>
                <a:lnTo>
                  <a:pt x="26" y="68"/>
                </a:lnTo>
                <a:lnTo>
                  <a:pt x="26" y="64"/>
                </a:lnTo>
                <a:lnTo>
                  <a:pt x="26" y="62"/>
                </a:lnTo>
                <a:lnTo>
                  <a:pt x="28" y="62"/>
                </a:lnTo>
                <a:lnTo>
                  <a:pt x="28" y="62"/>
                </a:lnTo>
                <a:lnTo>
                  <a:pt x="30" y="62"/>
                </a:lnTo>
                <a:lnTo>
                  <a:pt x="30" y="62"/>
                </a:lnTo>
                <a:lnTo>
                  <a:pt x="30" y="58"/>
                </a:lnTo>
                <a:lnTo>
                  <a:pt x="30" y="58"/>
                </a:lnTo>
                <a:lnTo>
                  <a:pt x="30" y="54"/>
                </a:lnTo>
                <a:lnTo>
                  <a:pt x="32" y="52"/>
                </a:lnTo>
                <a:lnTo>
                  <a:pt x="32" y="52"/>
                </a:lnTo>
                <a:lnTo>
                  <a:pt x="34" y="48"/>
                </a:lnTo>
                <a:lnTo>
                  <a:pt x="34" y="44"/>
                </a:lnTo>
                <a:lnTo>
                  <a:pt x="34" y="44"/>
                </a:lnTo>
                <a:lnTo>
                  <a:pt x="34" y="40"/>
                </a:lnTo>
                <a:lnTo>
                  <a:pt x="36" y="38"/>
                </a:lnTo>
                <a:lnTo>
                  <a:pt x="36" y="38"/>
                </a:lnTo>
                <a:lnTo>
                  <a:pt x="38" y="38"/>
                </a:lnTo>
                <a:lnTo>
                  <a:pt x="36" y="36"/>
                </a:lnTo>
                <a:lnTo>
                  <a:pt x="36" y="34"/>
                </a:lnTo>
                <a:lnTo>
                  <a:pt x="36" y="30"/>
                </a:lnTo>
                <a:lnTo>
                  <a:pt x="36" y="30"/>
                </a:lnTo>
                <a:lnTo>
                  <a:pt x="38" y="26"/>
                </a:lnTo>
                <a:lnTo>
                  <a:pt x="36" y="22"/>
                </a:lnTo>
                <a:lnTo>
                  <a:pt x="36" y="22"/>
                </a:lnTo>
                <a:lnTo>
                  <a:pt x="32" y="20"/>
                </a:lnTo>
                <a:lnTo>
                  <a:pt x="34" y="18"/>
                </a:lnTo>
                <a:lnTo>
                  <a:pt x="34" y="18"/>
                </a:lnTo>
                <a:lnTo>
                  <a:pt x="34" y="16"/>
                </a:lnTo>
                <a:lnTo>
                  <a:pt x="34" y="12"/>
                </a:lnTo>
                <a:lnTo>
                  <a:pt x="34" y="10"/>
                </a:lnTo>
                <a:lnTo>
                  <a:pt x="26" y="6"/>
                </a:lnTo>
                <a:lnTo>
                  <a:pt x="26" y="6"/>
                </a:lnTo>
                <a:lnTo>
                  <a:pt x="26" y="4"/>
                </a:lnTo>
                <a:lnTo>
                  <a:pt x="24" y="2"/>
                </a:lnTo>
                <a:lnTo>
                  <a:pt x="24" y="2"/>
                </a:lnTo>
                <a:lnTo>
                  <a:pt x="20" y="0"/>
                </a:lnTo>
                <a:lnTo>
                  <a:pt x="18" y="0"/>
                </a:lnTo>
                <a:lnTo>
                  <a:pt x="12" y="8"/>
                </a:lnTo>
                <a:lnTo>
                  <a:pt x="12" y="8"/>
                </a:lnTo>
                <a:lnTo>
                  <a:pt x="12" y="8"/>
                </a:lnTo>
                <a:lnTo>
                  <a:pt x="12" y="12"/>
                </a:lnTo>
                <a:lnTo>
                  <a:pt x="12" y="12"/>
                </a:lnTo>
                <a:lnTo>
                  <a:pt x="6" y="14"/>
                </a:lnTo>
                <a:lnTo>
                  <a:pt x="6" y="14"/>
                </a:lnTo>
                <a:lnTo>
                  <a:pt x="6" y="16"/>
                </a:lnTo>
                <a:lnTo>
                  <a:pt x="6" y="18"/>
                </a:lnTo>
                <a:lnTo>
                  <a:pt x="4" y="18"/>
                </a:lnTo>
                <a:lnTo>
                  <a:pt x="4" y="18"/>
                </a:lnTo>
                <a:lnTo>
                  <a:pt x="0" y="18"/>
                </a:lnTo>
                <a:lnTo>
                  <a:pt x="0" y="32"/>
                </a:lnTo>
                <a:lnTo>
                  <a:pt x="10" y="36"/>
                </a:lnTo>
                <a:lnTo>
                  <a:pt x="10" y="36"/>
                </a:lnTo>
                <a:lnTo>
                  <a:pt x="10" y="38"/>
                </a:lnTo>
                <a:lnTo>
                  <a:pt x="10" y="44"/>
                </a:lnTo>
                <a:lnTo>
                  <a:pt x="10" y="44"/>
                </a:lnTo>
                <a:lnTo>
                  <a:pt x="10" y="50"/>
                </a:lnTo>
                <a:lnTo>
                  <a:pt x="12" y="52"/>
                </a:lnTo>
                <a:lnTo>
                  <a:pt x="12" y="52"/>
                </a:lnTo>
                <a:lnTo>
                  <a:pt x="12" y="54"/>
                </a:lnTo>
                <a:lnTo>
                  <a:pt x="12" y="62"/>
                </a:lnTo>
                <a:lnTo>
                  <a:pt x="12" y="62"/>
                </a:lnTo>
                <a:lnTo>
                  <a:pt x="10" y="68"/>
                </a:lnTo>
                <a:lnTo>
                  <a:pt x="12" y="74"/>
                </a:lnTo>
                <a:lnTo>
                  <a:pt x="12" y="74"/>
                </a:lnTo>
                <a:lnTo>
                  <a:pt x="12" y="80"/>
                </a:lnTo>
                <a:lnTo>
                  <a:pt x="12" y="84"/>
                </a:lnTo>
                <a:lnTo>
                  <a:pt x="12" y="84"/>
                </a:lnTo>
                <a:lnTo>
                  <a:pt x="10" y="90"/>
                </a:lnTo>
                <a:lnTo>
                  <a:pt x="10" y="94"/>
                </a:lnTo>
                <a:lnTo>
                  <a:pt x="10" y="94"/>
                </a:lnTo>
                <a:lnTo>
                  <a:pt x="12" y="100"/>
                </a:lnTo>
                <a:lnTo>
                  <a:pt x="12" y="102"/>
                </a:lnTo>
                <a:lnTo>
                  <a:pt x="12" y="102"/>
                </a:lnTo>
                <a:lnTo>
                  <a:pt x="12" y="106"/>
                </a:lnTo>
                <a:lnTo>
                  <a:pt x="12" y="106"/>
                </a:lnTo>
                <a:lnTo>
                  <a:pt x="14" y="112"/>
                </a:lnTo>
                <a:lnTo>
                  <a:pt x="14" y="114"/>
                </a:lnTo>
                <a:lnTo>
                  <a:pt x="16" y="114"/>
                </a:lnTo>
                <a:lnTo>
                  <a:pt x="16" y="114"/>
                </a:lnTo>
                <a:lnTo>
                  <a:pt x="18" y="108"/>
                </a:lnTo>
                <a:lnTo>
                  <a:pt x="18" y="108"/>
                </a:lnTo>
                <a:lnTo>
                  <a:pt x="26" y="106"/>
                </a:lnTo>
                <a:lnTo>
                  <a:pt x="26" y="10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0" name="Freeform 254">
            <a:extLst>
              <a:ext uri="{FF2B5EF4-FFF2-40B4-BE49-F238E27FC236}">
                <a16:creationId xmlns:a16="http://schemas.microsoft.com/office/drawing/2014/main" id="{4B027A23-5EFE-4D83-8ABC-E8A2390E5700}"/>
              </a:ext>
            </a:extLst>
          </p:cNvPr>
          <p:cNvSpPr>
            <a:spLocks/>
          </p:cNvSpPr>
          <p:nvPr userDrawn="1"/>
        </p:nvSpPr>
        <p:spPr bwMode="auto">
          <a:xfrm>
            <a:off x="3849237" y="3155555"/>
            <a:ext cx="27862" cy="75504"/>
          </a:xfrm>
          <a:custGeom>
            <a:avLst/>
            <a:gdLst>
              <a:gd name="T0" fmla="*/ 4 w 16"/>
              <a:gd name="T1" fmla="*/ 44 h 44"/>
              <a:gd name="T2" fmla="*/ 4 w 16"/>
              <a:gd name="T3" fmla="*/ 44 h 44"/>
              <a:gd name="T4" fmla="*/ 12 w 16"/>
              <a:gd name="T5" fmla="*/ 32 h 44"/>
              <a:gd name="T6" fmla="*/ 14 w 16"/>
              <a:gd name="T7" fmla="*/ 26 h 44"/>
              <a:gd name="T8" fmla="*/ 14 w 16"/>
              <a:gd name="T9" fmla="*/ 24 h 44"/>
              <a:gd name="T10" fmla="*/ 12 w 16"/>
              <a:gd name="T11" fmla="*/ 22 h 44"/>
              <a:gd name="T12" fmla="*/ 12 w 16"/>
              <a:gd name="T13" fmla="*/ 22 h 44"/>
              <a:gd name="T14" fmla="*/ 16 w 16"/>
              <a:gd name="T15" fmla="*/ 18 h 44"/>
              <a:gd name="T16" fmla="*/ 16 w 16"/>
              <a:gd name="T17" fmla="*/ 18 h 44"/>
              <a:gd name="T18" fmla="*/ 16 w 16"/>
              <a:gd name="T19" fmla="*/ 10 h 44"/>
              <a:gd name="T20" fmla="*/ 16 w 16"/>
              <a:gd name="T21" fmla="*/ 4 h 44"/>
              <a:gd name="T22" fmla="*/ 16 w 16"/>
              <a:gd name="T23" fmla="*/ 4 h 44"/>
              <a:gd name="T24" fmla="*/ 12 w 16"/>
              <a:gd name="T25" fmla="*/ 2 h 44"/>
              <a:gd name="T26" fmla="*/ 12 w 16"/>
              <a:gd name="T27" fmla="*/ 2 h 44"/>
              <a:gd name="T28" fmla="*/ 12 w 16"/>
              <a:gd name="T29" fmla="*/ 2 h 44"/>
              <a:gd name="T30" fmla="*/ 8 w 16"/>
              <a:gd name="T31" fmla="*/ 0 h 44"/>
              <a:gd name="T32" fmla="*/ 8 w 16"/>
              <a:gd name="T33" fmla="*/ 2 h 44"/>
              <a:gd name="T34" fmla="*/ 6 w 16"/>
              <a:gd name="T35" fmla="*/ 4 h 44"/>
              <a:gd name="T36" fmla="*/ 0 w 16"/>
              <a:gd name="T37" fmla="*/ 6 h 44"/>
              <a:gd name="T38" fmla="*/ 0 w 16"/>
              <a:gd name="T39" fmla="*/ 44 h 44"/>
              <a:gd name="T40" fmla="*/ 4 w 16"/>
              <a:gd name="T4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44">
                <a:moveTo>
                  <a:pt x="4" y="44"/>
                </a:moveTo>
                <a:lnTo>
                  <a:pt x="4" y="44"/>
                </a:lnTo>
                <a:lnTo>
                  <a:pt x="12" y="32"/>
                </a:lnTo>
                <a:lnTo>
                  <a:pt x="14" y="26"/>
                </a:lnTo>
                <a:lnTo>
                  <a:pt x="14" y="24"/>
                </a:lnTo>
                <a:lnTo>
                  <a:pt x="12" y="22"/>
                </a:lnTo>
                <a:lnTo>
                  <a:pt x="12" y="22"/>
                </a:lnTo>
                <a:lnTo>
                  <a:pt x="16" y="18"/>
                </a:lnTo>
                <a:lnTo>
                  <a:pt x="16" y="18"/>
                </a:lnTo>
                <a:lnTo>
                  <a:pt x="16" y="10"/>
                </a:lnTo>
                <a:lnTo>
                  <a:pt x="16" y="4"/>
                </a:lnTo>
                <a:lnTo>
                  <a:pt x="16" y="4"/>
                </a:lnTo>
                <a:lnTo>
                  <a:pt x="12" y="2"/>
                </a:lnTo>
                <a:lnTo>
                  <a:pt x="12" y="2"/>
                </a:lnTo>
                <a:lnTo>
                  <a:pt x="12" y="2"/>
                </a:lnTo>
                <a:lnTo>
                  <a:pt x="8" y="0"/>
                </a:lnTo>
                <a:lnTo>
                  <a:pt x="8" y="2"/>
                </a:lnTo>
                <a:lnTo>
                  <a:pt x="6" y="4"/>
                </a:lnTo>
                <a:lnTo>
                  <a:pt x="0" y="6"/>
                </a:lnTo>
                <a:lnTo>
                  <a:pt x="0" y="44"/>
                </a:lnTo>
                <a:lnTo>
                  <a:pt x="4" y="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1" name="Freeform 255">
            <a:extLst>
              <a:ext uri="{FF2B5EF4-FFF2-40B4-BE49-F238E27FC236}">
                <a16:creationId xmlns:a16="http://schemas.microsoft.com/office/drawing/2014/main" id="{76C89422-605E-4C72-893A-84FD5B3FA82F}"/>
              </a:ext>
            </a:extLst>
          </p:cNvPr>
          <p:cNvSpPr>
            <a:spLocks/>
          </p:cNvSpPr>
          <p:nvPr userDrawn="1"/>
        </p:nvSpPr>
        <p:spPr bwMode="auto">
          <a:xfrm>
            <a:off x="5901740" y="2119100"/>
            <a:ext cx="88229" cy="65208"/>
          </a:xfrm>
          <a:custGeom>
            <a:avLst/>
            <a:gdLst>
              <a:gd name="T0" fmla="*/ 16 w 52"/>
              <a:gd name="T1" fmla="*/ 0 h 38"/>
              <a:gd name="T2" fmla="*/ 10 w 52"/>
              <a:gd name="T3" fmla="*/ 4 h 38"/>
              <a:gd name="T4" fmla="*/ 4 w 52"/>
              <a:gd name="T5" fmla="*/ 10 h 38"/>
              <a:gd name="T6" fmla="*/ 4 w 52"/>
              <a:gd name="T7" fmla="*/ 10 h 38"/>
              <a:gd name="T8" fmla="*/ 6 w 52"/>
              <a:gd name="T9" fmla="*/ 12 h 38"/>
              <a:gd name="T10" fmla="*/ 8 w 52"/>
              <a:gd name="T11" fmla="*/ 18 h 38"/>
              <a:gd name="T12" fmla="*/ 14 w 52"/>
              <a:gd name="T13" fmla="*/ 22 h 38"/>
              <a:gd name="T14" fmla="*/ 16 w 52"/>
              <a:gd name="T15" fmla="*/ 24 h 38"/>
              <a:gd name="T16" fmla="*/ 20 w 52"/>
              <a:gd name="T17" fmla="*/ 22 h 38"/>
              <a:gd name="T18" fmla="*/ 20 w 52"/>
              <a:gd name="T19" fmla="*/ 24 h 38"/>
              <a:gd name="T20" fmla="*/ 22 w 52"/>
              <a:gd name="T21" fmla="*/ 28 h 38"/>
              <a:gd name="T22" fmla="*/ 30 w 52"/>
              <a:gd name="T23" fmla="*/ 32 h 38"/>
              <a:gd name="T24" fmla="*/ 32 w 52"/>
              <a:gd name="T25" fmla="*/ 32 h 38"/>
              <a:gd name="T26" fmla="*/ 36 w 52"/>
              <a:gd name="T27" fmla="*/ 30 h 38"/>
              <a:gd name="T28" fmla="*/ 36 w 52"/>
              <a:gd name="T29" fmla="*/ 32 h 38"/>
              <a:gd name="T30" fmla="*/ 38 w 52"/>
              <a:gd name="T31" fmla="*/ 38 h 38"/>
              <a:gd name="T32" fmla="*/ 42 w 52"/>
              <a:gd name="T33" fmla="*/ 38 h 38"/>
              <a:gd name="T34" fmla="*/ 48 w 52"/>
              <a:gd name="T35" fmla="*/ 36 h 38"/>
              <a:gd name="T36" fmla="*/ 48 w 52"/>
              <a:gd name="T37" fmla="*/ 34 h 38"/>
              <a:gd name="T38" fmla="*/ 50 w 52"/>
              <a:gd name="T39" fmla="*/ 30 h 38"/>
              <a:gd name="T40" fmla="*/ 52 w 52"/>
              <a:gd name="T41" fmla="*/ 28 h 38"/>
              <a:gd name="T42" fmla="*/ 52 w 52"/>
              <a:gd name="T43" fmla="*/ 22 h 38"/>
              <a:gd name="T44" fmla="*/ 50 w 52"/>
              <a:gd name="T45" fmla="*/ 20 h 38"/>
              <a:gd name="T46" fmla="*/ 50 w 52"/>
              <a:gd name="T47" fmla="*/ 16 h 38"/>
              <a:gd name="T48" fmla="*/ 52 w 52"/>
              <a:gd name="T49" fmla="*/ 16 h 38"/>
              <a:gd name="T50" fmla="*/ 48 w 52"/>
              <a:gd name="T51" fmla="*/ 14 h 38"/>
              <a:gd name="T52" fmla="*/ 46 w 52"/>
              <a:gd name="T53" fmla="*/ 12 h 38"/>
              <a:gd name="T54" fmla="*/ 42 w 52"/>
              <a:gd name="T55" fmla="*/ 10 h 38"/>
              <a:gd name="T56" fmla="*/ 40 w 52"/>
              <a:gd name="T57" fmla="*/ 8 h 38"/>
              <a:gd name="T58" fmla="*/ 38 w 52"/>
              <a:gd name="T59" fmla="*/ 6 h 38"/>
              <a:gd name="T60" fmla="*/ 34 w 52"/>
              <a:gd name="T61" fmla="*/ 6 h 38"/>
              <a:gd name="T62" fmla="*/ 28 w 52"/>
              <a:gd name="T63" fmla="*/ 10 h 38"/>
              <a:gd name="T64" fmla="*/ 26 w 52"/>
              <a:gd name="T65" fmla="*/ 10 h 38"/>
              <a:gd name="T66" fmla="*/ 18 w 52"/>
              <a:gd name="T67" fmla="*/ 4 h 38"/>
              <a:gd name="T68" fmla="*/ 16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16" y="0"/>
                </a:moveTo>
                <a:lnTo>
                  <a:pt x="16" y="0"/>
                </a:lnTo>
                <a:lnTo>
                  <a:pt x="10" y="4"/>
                </a:lnTo>
                <a:lnTo>
                  <a:pt x="10" y="4"/>
                </a:lnTo>
                <a:lnTo>
                  <a:pt x="0" y="6"/>
                </a:lnTo>
                <a:lnTo>
                  <a:pt x="4" y="10"/>
                </a:lnTo>
                <a:lnTo>
                  <a:pt x="4" y="10"/>
                </a:lnTo>
                <a:lnTo>
                  <a:pt x="4" y="10"/>
                </a:lnTo>
                <a:lnTo>
                  <a:pt x="6" y="12"/>
                </a:lnTo>
                <a:lnTo>
                  <a:pt x="6" y="12"/>
                </a:lnTo>
                <a:lnTo>
                  <a:pt x="8" y="18"/>
                </a:lnTo>
                <a:lnTo>
                  <a:pt x="8" y="18"/>
                </a:lnTo>
                <a:lnTo>
                  <a:pt x="10" y="18"/>
                </a:lnTo>
                <a:lnTo>
                  <a:pt x="14" y="22"/>
                </a:lnTo>
                <a:lnTo>
                  <a:pt x="14" y="22"/>
                </a:lnTo>
                <a:lnTo>
                  <a:pt x="16" y="24"/>
                </a:lnTo>
                <a:lnTo>
                  <a:pt x="18" y="24"/>
                </a:lnTo>
                <a:lnTo>
                  <a:pt x="20" y="22"/>
                </a:lnTo>
                <a:lnTo>
                  <a:pt x="20" y="22"/>
                </a:lnTo>
                <a:lnTo>
                  <a:pt x="20" y="24"/>
                </a:lnTo>
                <a:lnTo>
                  <a:pt x="22" y="28"/>
                </a:lnTo>
                <a:lnTo>
                  <a:pt x="22" y="28"/>
                </a:lnTo>
                <a:lnTo>
                  <a:pt x="26" y="30"/>
                </a:lnTo>
                <a:lnTo>
                  <a:pt x="30" y="32"/>
                </a:lnTo>
                <a:lnTo>
                  <a:pt x="30" y="32"/>
                </a:lnTo>
                <a:lnTo>
                  <a:pt x="32" y="32"/>
                </a:lnTo>
                <a:lnTo>
                  <a:pt x="34" y="32"/>
                </a:lnTo>
                <a:lnTo>
                  <a:pt x="36" y="30"/>
                </a:lnTo>
                <a:lnTo>
                  <a:pt x="36" y="32"/>
                </a:lnTo>
                <a:lnTo>
                  <a:pt x="36" y="32"/>
                </a:lnTo>
                <a:lnTo>
                  <a:pt x="36" y="36"/>
                </a:lnTo>
                <a:lnTo>
                  <a:pt x="38" y="38"/>
                </a:lnTo>
                <a:lnTo>
                  <a:pt x="38" y="38"/>
                </a:lnTo>
                <a:lnTo>
                  <a:pt x="42" y="38"/>
                </a:lnTo>
                <a:lnTo>
                  <a:pt x="48" y="36"/>
                </a:lnTo>
                <a:lnTo>
                  <a:pt x="48" y="36"/>
                </a:lnTo>
                <a:lnTo>
                  <a:pt x="48" y="34"/>
                </a:lnTo>
                <a:lnTo>
                  <a:pt x="48" y="34"/>
                </a:lnTo>
                <a:lnTo>
                  <a:pt x="48" y="30"/>
                </a:lnTo>
                <a:lnTo>
                  <a:pt x="50" y="30"/>
                </a:lnTo>
                <a:lnTo>
                  <a:pt x="52" y="28"/>
                </a:lnTo>
                <a:lnTo>
                  <a:pt x="52" y="28"/>
                </a:lnTo>
                <a:lnTo>
                  <a:pt x="52" y="24"/>
                </a:lnTo>
                <a:lnTo>
                  <a:pt x="52" y="22"/>
                </a:lnTo>
                <a:lnTo>
                  <a:pt x="50" y="20"/>
                </a:lnTo>
                <a:lnTo>
                  <a:pt x="50" y="20"/>
                </a:lnTo>
                <a:lnTo>
                  <a:pt x="50" y="18"/>
                </a:lnTo>
                <a:lnTo>
                  <a:pt x="50" y="16"/>
                </a:lnTo>
                <a:lnTo>
                  <a:pt x="52" y="16"/>
                </a:lnTo>
                <a:lnTo>
                  <a:pt x="52" y="16"/>
                </a:lnTo>
                <a:lnTo>
                  <a:pt x="52" y="16"/>
                </a:lnTo>
                <a:lnTo>
                  <a:pt x="48" y="14"/>
                </a:lnTo>
                <a:lnTo>
                  <a:pt x="46" y="12"/>
                </a:lnTo>
                <a:lnTo>
                  <a:pt x="46" y="12"/>
                </a:lnTo>
                <a:lnTo>
                  <a:pt x="44" y="12"/>
                </a:lnTo>
                <a:lnTo>
                  <a:pt x="42" y="10"/>
                </a:lnTo>
                <a:lnTo>
                  <a:pt x="40" y="8"/>
                </a:lnTo>
                <a:lnTo>
                  <a:pt x="40" y="8"/>
                </a:lnTo>
                <a:lnTo>
                  <a:pt x="40" y="6"/>
                </a:lnTo>
                <a:lnTo>
                  <a:pt x="38" y="6"/>
                </a:lnTo>
                <a:lnTo>
                  <a:pt x="34" y="6"/>
                </a:lnTo>
                <a:lnTo>
                  <a:pt x="34" y="6"/>
                </a:lnTo>
                <a:lnTo>
                  <a:pt x="30" y="8"/>
                </a:lnTo>
                <a:lnTo>
                  <a:pt x="28" y="10"/>
                </a:lnTo>
                <a:lnTo>
                  <a:pt x="26" y="10"/>
                </a:lnTo>
                <a:lnTo>
                  <a:pt x="26" y="10"/>
                </a:lnTo>
                <a:lnTo>
                  <a:pt x="22" y="8"/>
                </a:lnTo>
                <a:lnTo>
                  <a:pt x="18" y="4"/>
                </a:lnTo>
                <a:lnTo>
                  <a:pt x="16" y="0"/>
                </a:lnTo>
                <a:lnTo>
                  <a:pt x="16"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2" name="Freeform 256">
            <a:extLst>
              <a:ext uri="{FF2B5EF4-FFF2-40B4-BE49-F238E27FC236}">
                <a16:creationId xmlns:a16="http://schemas.microsoft.com/office/drawing/2014/main" id="{BD3F2E82-1CC5-4A28-B681-2A0EF6FD2E4E}"/>
              </a:ext>
            </a:extLst>
          </p:cNvPr>
          <p:cNvSpPr>
            <a:spLocks/>
          </p:cNvSpPr>
          <p:nvPr userDrawn="1"/>
        </p:nvSpPr>
        <p:spPr bwMode="auto">
          <a:xfrm>
            <a:off x="6406353" y="1950933"/>
            <a:ext cx="168720" cy="157870"/>
          </a:xfrm>
          <a:custGeom>
            <a:avLst/>
            <a:gdLst>
              <a:gd name="T0" fmla="*/ 28 w 100"/>
              <a:gd name="T1" fmla="*/ 18 h 92"/>
              <a:gd name="T2" fmla="*/ 34 w 100"/>
              <a:gd name="T3" fmla="*/ 12 h 92"/>
              <a:gd name="T4" fmla="*/ 38 w 100"/>
              <a:gd name="T5" fmla="*/ 12 h 92"/>
              <a:gd name="T6" fmla="*/ 44 w 100"/>
              <a:gd name="T7" fmla="*/ 8 h 92"/>
              <a:gd name="T8" fmla="*/ 44 w 100"/>
              <a:gd name="T9" fmla="*/ 2 h 92"/>
              <a:gd name="T10" fmla="*/ 46 w 100"/>
              <a:gd name="T11" fmla="*/ 0 h 92"/>
              <a:gd name="T12" fmla="*/ 54 w 100"/>
              <a:gd name="T13" fmla="*/ 2 h 92"/>
              <a:gd name="T14" fmla="*/ 56 w 100"/>
              <a:gd name="T15" fmla="*/ 0 h 92"/>
              <a:gd name="T16" fmla="*/ 58 w 100"/>
              <a:gd name="T17" fmla="*/ 2 h 92"/>
              <a:gd name="T18" fmla="*/ 60 w 100"/>
              <a:gd name="T19" fmla="*/ 4 h 92"/>
              <a:gd name="T20" fmla="*/ 64 w 100"/>
              <a:gd name="T21" fmla="*/ 2 h 92"/>
              <a:gd name="T22" fmla="*/ 66 w 100"/>
              <a:gd name="T23" fmla="*/ 2 h 92"/>
              <a:gd name="T24" fmla="*/ 72 w 100"/>
              <a:gd name="T25" fmla="*/ 4 h 92"/>
              <a:gd name="T26" fmla="*/ 78 w 100"/>
              <a:gd name="T27" fmla="*/ 6 h 92"/>
              <a:gd name="T28" fmla="*/ 80 w 100"/>
              <a:gd name="T29" fmla="*/ 8 h 92"/>
              <a:gd name="T30" fmla="*/ 82 w 100"/>
              <a:gd name="T31" fmla="*/ 12 h 92"/>
              <a:gd name="T32" fmla="*/ 84 w 100"/>
              <a:gd name="T33" fmla="*/ 16 h 92"/>
              <a:gd name="T34" fmla="*/ 86 w 100"/>
              <a:gd name="T35" fmla="*/ 20 h 92"/>
              <a:gd name="T36" fmla="*/ 88 w 100"/>
              <a:gd name="T37" fmla="*/ 26 h 92"/>
              <a:gd name="T38" fmla="*/ 88 w 100"/>
              <a:gd name="T39" fmla="*/ 36 h 92"/>
              <a:gd name="T40" fmla="*/ 90 w 100"/>
              <a:gd name="T41" fmla="*/ 38 h 92"/>
              <a:gd name="T42" fmla="*/ 98 w 100"/>
              <a:gd name="T43" fmla="*/ 46 h 92"/>
              <a:gd name="T44" fmla="*/ 100 w 100"/>
              <a:gd name="T45" fmla="*/ 52 h 92"/>
              <a:gd name="T46" fmla="*/ 98 w 100"/>
              <a:gd name="T47" fmla="*/ 56 h 92"/>
              <a:gd name="T48" fmla="*/ 96 w 100"/>
              <a:gd name="T49" fmla="*/ 56 h 92"/>
              <a:gd name="T50" fmla="*/ 90 w 100"/>
              <a:gd name="T51" fmla="*/ 54 h 92"/>
              <a:gd name="T52" fmla="*/ 88 w 100"/>
              <a:gd name="T53" fmla="*/ 56 h 92"/>
              <a:gd name="T54" fmla="*/ 90 w 100"/>
              <a:gd name="T55" fmla="*/ 60 h 92"/>
              <a:gd name="T56" fmla="*/ 94 w 100"/>
              <a:gd name="T57" fmla="*/ 64 h 92"/>
              <a:gd name="T58" fmla="*/ 94 w 100"/>
              <a:gd name="T59" fmla="*/ 80 h 92"/>
              <a:gd name="T60" fmla="*/ 88 w 100"/>
              <a:gd name="T61" fmla="*/ 80 h 92"/>
              <a:gd name="T62" fmla="*/ 86 w 100"/>
              <a:gd name="T63" fmla="*/ 82 h 92"/>
              <a:gd name="T64" fmla="*/ 86 w 100"/>
              <a:gd name="T65" fmla="*/ 86 h 92"/>
              <a:gd name="T66" fmla="*/ 82 w 100"/>
              <a:gd name="T67" fmla="*/ 90 h 92"/>
              <a:gd name="T68" fmla="*/ 76 w 100"/>
              <a:gd name="T69" fmla="*/ 90 h 92"/>
              <a:gd name="T70" fmla="*/ 70 w 100"/>
              <a:gd name="T71" fmla="*/ 90 h 92"/>
              <a:gd name="T72" fmla="*/ 64 w 100"/>
              <a:gd name="T73" fmla="*/ 90 h 92"/>
              <a:gd name="T74" fmla="*/ 62 w 100"/>
              <a:gd name="T75" fmla="*/ 90 h 92"/>
              <a:gd name="T76" fmla="*/ 58 w 100"/>
              <a:gd name="T77" fmla="*/ 88 h 92"/>
              <a:gd name="T78" fmla="*/ 56 w 100"/>
              <a:gd name="T79" fmla="*/ 92 h 92"/>
              <a:gd name="T80" fmla="*/ 54 w 100"/>
              <a:gd name="T81" fmla="*/ 88 h 92"/>
              <a:gd name="T82" fmla="*/ 50 w 100"/>
              <a:gd name="T83" fmla="*/ 88 h 92"/>
              <a:gd name="T84" fmla="*/ 38 w 100"/>
              <a:gd name="T85" fmla="*/ 88 h 92"/>
              <a:gd name="T86" fmla="*/ 24 w 100"/>
              <a:gd name="T87" fmla="*/ 86 h 92"/>
              <a:gd name="T88" fmla="*/ 14 w 100"/>
              <a:gd name="T89" fmla="*/ 86 h 92"/>
              <a:gd name="T90" fmla="*/ 12 w 100"/>
              <a:gd name="T91" fmla="*/ 90 h 92"/>
              <a:gd name="T92" fmla="*/ 8 w 100"/>
              <a:gd name="T93" fmla="*/ 90 h 92"/>
              <a:gd name="T94" fmla="*/ 6 w 100"/>
              <a:gd name="T95" fmla="*/ 86 h 92"/>
              <a:gd name="T96" fmla="*/ 2 w 100"/>
              <a:gd name="T97" fmla="*/ 88 h 92"/>
              <a:gd name="T98" fmla="*/ 0 w 100"/>
              <a:gd name="T99" fmla="*/ 78 h 92"/>
              <a:gd name="T100" fmla="*/ 4 w 100"/>
              <a:gd name="T101" fmla="*/ 72 h 92"/>
              <a:gd name="T102" fmla="*/ 4 w 100"/>
              <a:gd name="T103" fmla="*/ 66 h 92"/>
              <a:gd name="T104" fmla="*/ 2 w 100"/>
              <a:gd name="T105" fmla="*/ 62 h 92"/>
              <a:gd name="T106" fmla="*/ 0 w 100"/>
              <a:gd name="T107" fmla="*/ 54 h 92"/>
              <a:gd name="T108" fmla="*/ 6 w 100"/>
              <a:gd name="T109" fmla="*/ 52 h 92"/>
              <a:gd name="T110" fmla="*/ 14 w 100"/>
              <a:gd name="T111" fmla="*/ 52 h 92"/>
              <a:gd name="T112" fmla="*/ 16 w 100"/>
              <a:gd name="T113" fmla="*/ 50 h 92"/>
              <a:gd name="T114" fmla="*/ 22 w 100"/>
              <a:gd name="T115" fmla="*/ 46 h 92"/>
              <a:gd name="T116" fmla="*/ 22 w 100"/>
              <a:gd name="T117" fmla="*/ 38 h 92"/>
              <a:gd name="T118" fmla="*/ 22 w 100"/>
              <a:gd name="T119" fmla="*/ 32 h 92"/>
              <a:gd name="T120" fmla="*/ 26 w 100"/>
              <a:gd name="T121" fmla="*/ 26 h 92"/>
              <a:gd name="T122" fmla="*/ 30 w 100"/>
              <a:gd name="T123" fmla="*/ 22 h 92"/>
              <a:gd name="T124" fmla="*/ 28 w 100"/>
              <a:gd name="T125"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92">
                <a:moveTo>
                  <a:pt x="28" y="18"/>
                </a:moveTo>
                <a:lnTo>
                  <a:pt x="28" y="18"/>
                </a:lnTo>
                <a:lnTo>
                  <a:pt x="32" y="14"/>
                </a:lnTo>
                <a:lnTo>
                  <a:pt x="34" y="12"/>
                </a:lnTo>
                <a:lnTo>
                  <a:pt x="38" y="12"/>
                </a:lnTo>
                <a:lnTo>
                  <a:pt x="38" y="12"/>
                </a:lnTo>
                <a:lnTo>
                  <a:pt x="42" y="14"/>
                </a:lnTo>
                <a:lnTo>
                  <a:pt x="44" y="8"/>
                </a:lnTo>
                <a:lnTo>
                  <a:pt x="44" y="8"/>
                </a:lnTo>
                <a:lnTo>
                  <a:pt x="44" y="2"/>
                </a:lnTo>
                <a:lnTo>
                  <a:pt x="46" y="0"/>
                </a:lnTo>
                <a:lnTo>
                  <a:pt x="46" y="0"/>
                </a:lnTo>
                <a:lnTo>
                  <a:pt x="50" y="2"/>
                </a:lnTo>
                <a:lnTo>
                  <a:pt x="54" y="2"/>
                </a:lnTo>
                <a:lnTo>
                  <a:pt x="56" y="0"/>
                </a:lnTo>
                <a:lnTo>
                  <a:pt x="56" y="0"/>
                </a:lnTo>
                <a:lnTo>
                  <a:pt x="56" y="0"/>
                </a:lnTo>
                <a:lnTo>
                  <a:pt x="58" y="2"/>
                </a:lnTo>
                <a:lnTo>
                  <a:pt x="58" y="4"/>
                </a:lnTo>
                <a:lnTo>
                  <a:pt x="60" y="4"/>
                </a:lnTo>
                <a:lnTo>
                  <a:pt x="60" y="4"/>
                </a:lnTo>
                <a:lnTo>
                  <a:pt x="64" y="2"/>
                </a:lnTo>
                <a:lnTo>
                  <a:pt x="66" y="2"/>
                </a:lnTo>
                <a:lnTo>
                  <a:pt x="66" y="2"/>
                </a:lnTo>
                <a:lnTo>
                  <a:pt x="72" y="4"/>
                </a:lnTo>
                <a:lnTo>
                  <a:pt x="72" y="4"/>
                </a:lnTo>
                <a:lnTo>
                  <a:pt x="76" y="6"/>
                </a:lnTo>
                <a:lnTo>
                  <a:pt x="78" y="6"/>
                </a:lnTo>
                <a:lnTo>
                  <a:pt x="80" y="8"/>
                </a:lnTo>
                <a:lnTo>
                  <a:pt x="80" y="8"/>
                </a:lnTo>
                <a:lnTo>
                  <a:pt x="80" y="10"/>
                </a:lnTo>
                <a:lnTo>
                  <a:pt x="82" y="12"/>
                </a:lnTo>
                <a:lnTo>
                  <a:pt x="84" y="12"/>
                </a:lnTo>
                <a:lnTo>
                  <a:pt x="84" y="16"/>
                </a:lnTo>
                <a:lnTo>
                  <a:pt x="84" y="16"/>
                </a:lnTo>
                <a:lnTo>
                  <a:pt x="86" y="20"/>
                </a:lnTo>
                <a:lnTo>
                  <a:pt x="88" y="26"/>
                </a:lnTo>
                <a:lnTo>
                  <a:pt x="88" y="26"/>
                </a:lnTo>
                <a:lnTo>
                  <a:pt x="88" y="34"/>
                </a:lnTo>
                <a:lnTo>
                  <a:pt x="88" y="36"/>
                </a:lnTo>
                <a:lnTo>
                  <a:pt x="90" y="38"/>
                </a:lnTo>
                <a:lnTo>
                  <a:pt x="90" y="38"/>
                </a:lnTo>
                <a:lnTo>
                  <a:pt x="94" y="42"/>
                </a:lnTo>
                <a:lnTo>
                  <a:pt x="98" y="46"/>
                </a:lnTo>
                <a:lnTo>
                  <a:pt x="98" y="46"/>
                </a:lnTo>
                <a:lnTo>
                  <a:pt x="100" y="52"/>
                </a:lnTo>
                <a:lnTo>
                  <a:pt x="100" y="54"/>
                </a:lnTo>
                <a:lnTo>
                  <a:pt x="98" y="56"/>
                </a:lnTo>
                <a:lnTo>
                  <a:pt x="98" y="56"/>
                </a:lnTo>
                <a:lnTo>
                  <a:pt x="96" y="56"/>
                </a:lnTo>
                <a:lnTo>
                  <a:pt x="92" y="54"/>
                </a:lnTo>
                <a:lnTo>
                  <a:pt x="90" y="54"/>
                </a:lnTo>
                <a:lnTo>
                  <a:pt x="88" y="56"/>
                </a:lnTo>
                <a:lnTo>
                  <a:pt x="88" y="56"/>
                </a:lnTo>
                <a:lnTo>
                  <a:pt x="88" y="60"/>
                </a:lnTo>
                <a:lnTo>
                  <a:pt x="90" y="60"/>
                </a:lnTo>
                <a:lnTo>
                  <a:pt x="92" y="62"/>
                </a:lnTo>
                <a:lnTo>
                  <a:pt x="94" y="64"/>
                </a:lnTo>
                <a:lnTo>
                  <a:pt x="94" y="64"/>
                </a:lnTo>
                <a:lnTo>
                  <a:pt x="94" y="80"/>
                </a:lnTo>
                <a:lnTo>
                  <a:pt x="94" y="80"/>
                </a:lnTo>
                <a:lnTo>
                  <a:pt x="88" y="80"/>
                </a:lnTo>
                <a:lnTo>
                  <a:pt x="88" y="80"/>
                </a:lnTo>
                <a:lnTo>
                  <a:pt x="86" y="82"/>
                </a:lnTo>
                <a:lnTo>
                  <a:pt x="86" y="86"/>
                </a:lnTo>
                <a:lnTo>
                  <a:pt x="86" y="86"/>
                </a:lnTo>
                <a:lnTo>
                  <a:pt x="84" y="90"/>
                </a:lnTo>
                <a:lnTo>
                  <a:pt x="82" y="90"/>
                </a:lnTo>
                <a:lnTo>
                  <a:pt x="82" y="90"/>
                </a:lnTo>
                <a:lnTo>
                  <a:pt x="76" y="90"/>
                </a:lnTo>
                <a:lnTo>
                  <a:pt x="70" y="90"/>
                </a:lnTo>
                <a:lnTo>
                  <a:pt x="70" y="90"/>
                </a:lnTo>
                <a:lnTo>
                  <a:pt x="66" y="88"/>
                </a:lnTo>
                <a:lnTo>
                  <a:pt x="64" y="90"/>
                </a:lnTo>
                <a:lnTo>
                  <a:pt x="64" y="90"/>
                </a:lnTo>
                <a:lnTo>
                  <a:pt x="62" y="90"/>
                </a:lnTo>
                <a:lnTo>
                  <a:pt x="60" y="90"/>
                </a:lnTo>
                <a:lnTo>
                  <a:pt x="58" y="88"/>
                </a:lnTo>
                <a:lnTo>
                  <a:pt x="58" y="88"/>
                </a:lnTo>
                <a:lnTo>
                  <a:pt x="56" y="92"/>
                </a:lnTo>
                <a:lnTo>
                  <a:pt x="54" y="88"/>
                </a:lnTo>
                <a:lnTo>
                  <a:pt x="54" y="88"/>
                </a:lnTo>
                <a:lnTo>
                  <a:pt x="50" y="88"/>
                </a:lnTo>
                <a:lnTo>
                  <a:pt x="50" y="88"/>
                </a:lnTo>
                <a:lnTo>
                  <a:pt x="44" y="90"/>
                </a:lnTo>
                <a:lnTo>
                  <a:pt x="38" y="88"/>
                </a:lnTo>
                <a:lnTo>
                  <a:pt x="38" y="88"/>
                </a:lnTo>
                <a:lnTo>
                  <a:pt x="24" y="86"/>
                </a:lnTo>
                <a:lnTo>
                  <a:pt x="24" y="86"/>
                </a:lnTo>
                <a:lnTo>
                  <a:pt x="14" y="86"/>
                </a:lnTo>
                <a:lnTo>
                  <a:pt x="14" y="86"/>
                </a:lnTo>
                <a:lnTo>
                  <a:pt x="12" y="90"/>
                </a:lnTo>
                <a:lnTo>
                  <a:pt x="10" y="92"/>
                </a:lnTo>
                <a:lnTo>
                  <a:pt x="8" y="90"/>
                </a:lnTo>
                <a:lnTo>
                  <a:pt x="8" y="90"/>
                </a:lnTo>
                <a:lnTo>
                  <a:pt x="6" y="86"/>
                </a:lnTo>
                <a:lnTo>
                  <a:pt x="4" y="86"/>
                </a:lnTo>
                <a:lnTo>
                  <a:pt x="2" y="88"/>
                </a:lnTo>
                <a:lnTo>
                  <a:pt x="2" y="88"/>
                </a:lnTo>
                <a:lnTo>
                  <a:pt x="0" y="78"/>
                </a:lnTo>
                <a:lnTo>
                  <a:pt x="0" y="78"/>
                </a:lnTo>
                <a:lnTo>
                  <a:pt x="4" y="72"/>
                </a:lnTo>
                <a:lnTo>
                  <a:pt x="4" y="68"/>
                </a:lnTo>
                <a:lnTo>
                  <a:pt x="4" y="66"/>
                </a:lnTo>
                <a:lnTo>
                  <a:pt x="4" y="66"/>
                </a:lnTo>
                <a:lnTo>
                  <a:pt x="2" y="62"/>
                </a:lnTo>
                <a:lnTo>
                  <a:pt x="0" y="58"/>
                </a:lnTo>
                <a:lnTo>
                  <a:pt x="0" y="54"/>
                </a:lnTo>
                <a:lnTo>
                  <a:pt x="6" y="52"/>
                </a:lnTo>
                <a:lnTo>
                  <a:pt x="6" y="52"/>
                </a:lnTo>
                <a:lnTo>
                  <a:pt x="14" y="52"/>
                </a:lnTo>
                <a:lnTo>
                  <a:pt x="14" y="52"/>
                </a:lnTo>
                <a:lnTo>
                  <a:pt x="14" y="52"/>
                </a:lnTo>
                <a:lnTo>
                  <a:pt x="16" y="50"/>
                </a:lnTo>
                <a:lnTo>
                  <a:pt x="16" y="48"/>
                </a:lnTo>
                <a:lnTo>
                  <a:pt x="22" y="46"/>
                </a:lnTo>
                <a:lnTo>
                  <a:pt x="22" y="46"/>
                </a:lnTo>
                <a:lnTo>
                  <a:pt x="22" y="38"/>
                </a:lnTo>
                <a:lnTo>
                  <a:pt x="22" y="38"/>
                </a:lnTo>
                <a:lnTo>
                  <a:pt x="22" y="32"/>
                </a:lnTo>
                <a:lnTo>
                  <a:pt x="26" y="26"/>
                </a:lnTo>
                <a:lnTo>
                  <a:pt x="26" y="26"/>
                </a:lnTo>
                <a:lnTo>
                  <a:pt x="28" y="24"/>
                </a:lnTo>
                <a:lnTo>
                  <a:pt x="30" y="22"/>
                </a:lnTo>
                <a:lnTo>
                  <a:pt x="28" y="18"/>
                </a:lnTo>
                <a:lnTo>
                  <a:pt x="28"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3" name="Freeform 257">
            <a:extLst>
              <a:ext uri="{FF2B5EF4-FFF2-40B4-BE49-F238E27FC236}">
                <a16:creationId xmlns:a16="http://schemas.microsoft.com/office/drawing/2014/main" id="{151B4A9F-BB4F-4509-9522-F14E7A86241F}"/>
              </a:ext>
            </a:extLst>
          </p:cNvPr>
          <p:cNvSpPr>
            <a:spLocks/>
          </p:cNvSpPr>
          <p:nvPr userDrawn="1"/>
        </p:nvSpPr>
        <p:spPr bwMode="auto">
          <a:xfrm>
            <a:off x="7819578" y="2932477"/>
            <a:ext cx="123832" cy="181894"/>
          </a:xfrm>
          <a:custGeom>
            <a:avLst/>
            <a:gdLst>
              <a:gd name="T0" fmla="*/ 14 w 74"/>
              <a:gd name="T1" fmla="*/ 82 h 106"/>
              <a:gd name="T2" fmla="*/ 14 w 74"/>
              <a:gd name="T3" fmla="*/ 86 h 106"/>
              <a:gd name="T4" fmla="*/ 20 w 74"/>
              <a:gd name="T5" fmla="*/ 84 h 106"/>
              <a:gd name="T6" fmla="*/ 22 w 74"/>
              <a:gd name="T7" fmla="*/ 82 h 106"/>
              <a:gd name="T8" fmla="*/ 26 w 74"/>
              <a:gd name="T9" fmla="*/ 80 h 106"/>
              <a:gd name="T10" fmla="*/ 28 w 74"/>
              <a:gd name="T11" fmla="*/ 80 h 106"/>
              <a:gd name="T12" fmla="*/ 30 w 74"/>
              <a:gd name="T13" fmla="*/ 78 h 106"/>
              <a:gd name="T14" fmla="*/ 32 w 74"/>
              <a:gd name="T15" fmla="*/ 78 h 106"/>
              <a:gd name="T16" fmla="*/ 34 w 74"/>
              <a:gd name="T17" fmla="*/ 80 h 106"/>
              <a:gd name="T18" fmla="*/ 38 w 74"/>
              <a:gd name="T19" fmla="*/ 78 h 106"/>
              <a:gd name="T20" fmla="*/ 40 w 74"/>
              <a:gd name="T21" fmla="*/ 76 h 106"/>
              <a:gd name="T22" fmla="*/ 40 w 74"/>
              <a:gd name="T23" fmla="*/ 74 h 106"/>
              <a:gd name="T24" fmla="*/ 38 w 74"/>
              <a:gd name="T25" fmla="*/ 70 h 106"/>
              <a:gd name="T26" fmla="*/ 38 w 74"/>
              <a:gd name="T27" fmla="*/ 70 h 106"/>
              <a:gd name="T28" fmla="*/ 38 w 74"/>
              <a:gd name="T29" fmla="*/ 68 h 106"/>
              <a:gd name="T30" fmla="*/ 36 w 74"/>
              <a:gd name="T31" fmla="*/ 68 h 106"/>
              <a:gd name="T32" fmla="*/ 36 w 74"/>
              <a:gd name="T33" fmla="*/ 66 h 106"/>
              <a:gd name="T34" fmla="*/ 42 w 74"/>
              <a:gd name="T35" fmla="*/ 64 h 106"/>
              <a:gd name="T36" fmla="*/ 38 w 74"/>
              <a:gd name="T37" fmla="*/ 56 h 106"/>
              <a:gd name="T38" fmla="*/ 38 w 74"/>
              <a:gd name="T39" fmla="*/ 54 h 106"/>
              <a:gd name="T40" fmla="*/ 42 w 74"/>
              <a:gd name="T41" fmla="*/ 58 h 106"/>
              <a:gd name="T42" fmla="*/ 46 w 74"/>
              <a:gd name="T43" fmla="*/ 62 h 106"/>
              <a:gd name="T44" fmla="*/ 52 w 74"/>
              <a:gd name="T45" fmla="*/ 62 h 106"/>
              <a:gd name="T46" fmla="*/ 52 w 74"/>
              <a:gd name="T47" fmla="*/ 64 h 106"/>
              <a:gd name="T48" fmla="*/ 52 w 74"/>
              <a:gd name="T49" fmla="*/ 66 h 106"/>
              <a:gd name="T50" fmla="*/ 58 w 74"/>
              <a:gd name="T51" fmla="*/ 72 h 106"/>
              <a:gd name="T52" fmla="*/ 60 w 74"/>
              <a:gd name="T53" fmla="*/ 78 h 106"/>
              <a:gd name="T54" fmla="*/ 60 w 74"/>
              <a:gd name="T55" fmla="*/ 86 h 106"/>
              <a:gd name="T56" fmla="*/ 62 w 74"/>
              <a:gd name="T57" fmla="*/ 94 h 106"/>
              <a:gd name="T58" fmla="*/ 64 w 74"/>
              <a:gd name="T59" fmla="*/ 96 h 106"/>
              <a:gd name="T60" fmla="*/ 68 w 74"/>
              <a:gd name="T61" fmla="*/ 100 h 106"/>
              <a:gd name="T62" fmla="*/ 74 w 74"/>
              <a:gd name="T63" fmla="*/ 98 h 106"/>
              <a:gd name="T64" fmla="*/ 74 w 74"/>
              <a:gd name="T65" fmla="*/ 92 h 106"/>
              <a:gd name="T66" fmla="*/ 70 w 74"/>
              <a:gd name="T67" fmla="*/ 80 h 106"/>
              <a:gd name="T68" fmla="*/ 70 w 74"/>
              <a:gd name="T69" fmla="*/ 68 h 106"/>
              <a:gd name="T70" fmla="*/ 62 w 74"/>
              <a:gd name="T71" fmla="*/ 64 h 106"/>
              <a:gd name="T72" fmla="*/ 54 w 74"/>
              <a:gd name="T73" fmla="*/ 60 h 106"/>
              <a:gd name="T74" fmla="*/ 60 w 74"/>
              <a:gd name="T75" fmla="*/ 42 h 106"/>
              <a:gd name="T76" fmla="*/ 62 w 74"/>
              <a:gd name="T77" fmla="*/ 40 h 106"/>
              <a:gd name="T78" fmla="*/ 62 w 74"/>
              <a:gd name="T79" fmla="*/ 30 h 106"/>
              <a:gd name="T80" fmla="*/ 60 w 74"/>
              <a:gd name="T81" fmla="*/ 24 h 106"/>
              <a:gd name="T82" fmla="*/ 44 w 74"/>
              <a:gd name="T83" fmla="*/ 28 h 106"/>
              <a:gd name="T84" fmla="*/ 32 w 74"/>
              <a:gd name="T85" fmla="*/ 28 h 106"/>
              <a:gd name="T86" fmla="*/ 32 w 74"/>
              <a:gd name="T87" fmla="*/ 8 h 106"/>
              <a:gd name="T88" fmla="*/ 20 w 74"/>
              <a:gd name="T89" fmla="*/ 6 h 106"/>
              <a:gd name="T90" fmla="*/ 8 w 74"/>
              <a:gd name="T91" fmla="*/ 6 h 106"/>
              <a:gd name="T92" fmla="*/ 12 w 74"/>
              <a:gd name="T93" fmla="*/ 20 h 106"/>
              <a:gd name="T94" fmla="*/ 0 w 74"/>
              <a:gd name="T95" fmla="*/ 26 h 106"/>
              <a:gd name="T96" fmla="*/ 4 w 74"/>
              <a:gd name="T97" fmla="*/ 38 h 106"/>
              <a:gd name="T98" fmla="*/ 14 w 74"/>
              <a:gd name="T99" fmla="*/ 48 h 106"/>
              <a:gd name="T100" fmla="*/ 16 w 74"/>
              <a:gd name="T101" fmla="*/ 62 h 106"/>
              <a:gd name="T102" fmla="*/ 14 w 74"/>
              <a:gd name="T103" fmla="*/ 78 h 106"/>
              <a:gd name="T104" fmla="*/ 14 w 74"/>
              <a:gd name="T105" fmla="*/ 8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106">
                <a:moveTo>
                  <a:pt x="14" y="82"/>
                </a:moveTo>
                <a:lnTo>
                  <a:pt x="14" y="82"/>
                </a:lnTo>
                <a:lnTo>
                  <a:pt x="14" y="86"/>
                </a:lnTo>
                <a:lnTo>
                  <a:pt x="14" y="86"/>
                </a:lnTo>
                <a:lnTo>
                  <a:pt x="18" y="86"/>
                </a:lnTo>
                <a:lnTo>
                  <a:pt x="20" y="84"/>
                </a:lnTo>
                <a:lnTo>
                  <a:pt x="22" y="82"/>
                </a:lnTo>
                <a:lnTo>
                  <a:pt x="22" y="82"/>
                </a:lnTo>
                <a:lnTo>
                  <a:pt x="26" y="82"/>
                </a:lnTo>
                <a:lnTo>
                  <a:pt x="26" y="80"/>
                </a:lnTo>
                <a:lnTo>
                  <a:pt x="26" y="80"/>
                </a:lnTo>
                <a:lnTo>
                  <a:pt x="28" y="80"/>
                </a:lnTo>
                <a:lnTo>
                  <a:pt x="30" y="80"/>
                </a:lnTo>
                <a:lnTo>
                  <a:pt x="30" y="78"/>
                </a:lnTo>
                <a:lnTo>
                  <a:pt x="30" y="78"/>
                </a:lnTo>
                <a:lnTo>
                  <a:pt x="32" y="78"/>
                </a:lnTo>
                <a:lnTo>
                  <a:pt x="32" y="78"/>
                </a:lnTo>
                <a:lnTo>
                  <a:pt x="34" y="80"/>
                </a:lnTo>
                <a:lnTo>
                  <a:pt x="34" y="80"/>
                </a:lnTo>
                <a:lnTo>
                  <a:pt x="38" y="78"/>
                </a:lnTo>
                <a:lnTo>
                  <a:pt x="38" y="78"/>
                </a:lnTo>
                <a:lnTo>
                  <a:pt x="40" y="76"/>
                </a:lnTo>
                <a:lnTo>
                  <a:pt x="40" y="74"/>
                </a:lnTo>
                <a:lnTo>
                  <a:pt x="40" y="74"/>
                </a:lnTo>
                <a:lnTo>
                  <a:pt x="38" y="72"/>
                </a:lnTo>
                <a:lnTo>
                  <a:pt x="38" y="70"/>
                </a:lnTo>
                <a:lnTo>
                  <a:pt x="38" y="70"/>
                </a:lnTo>
                <a:lnTo>
                  <a:pt x="38" y="70"/>
                </a:lnTo>
                <a:lnTo>
                  <a:pt x="38" y="68"/>
                </a:lnTo>
                <a:lnTo>
                  <a:pt x="38" y="68"/>
                </a:lnTo>
                <a:lnTo>
                  <a:pt x="36" y="68"/>
                </a:lnTo>
                <a:lnTo>
                  <a:pt x="36" y="68"/>
                </a:lnTo>
                <a:lnTo>
                  <a:pt x="36" y="66"/>
                </a:lnTo>
                <a:lnTo>
                  <a:pt x="36" y="66"/>
                </a:lnTo>
                <a:lnTo>
                  <a:pt x="42" y="64"/>
                </a:lnTo>
                <a:lnTo>
                  <a:pt x="42" y="64"/>
                </a:lnTo>
                <a:lnTo>
                  <a:pt x="38" y="56"/>
                </a:lnTo>
                <a:lnTo>
                  <a:pt x="38" y="56"/>
                </a:lnTo>
                <a:lnTo>
                  <a:pt x="38" y="56"/>
                </a:lnTo>
                <a:lnTo>
                  <a:pt x="38" y="54"/>
                </a:lnTo>
                <a:lnTo>
                  <a:pt x="38" y="54"/>
                </a:lnTo>
                <a:lnTo>
                  <a:pt x="42" y="58"/>
                </a:lnTo>
                <a:lnTo>
                  <a:pt x="46" y="62"/>
                </a:lnTo>
                <a:lnTo>
                  <a:pt x="46" y="62"/>
                </a:lnTo>
                <a:lnTo>
                  <a:pt x="48" y="64"/>
                </a:lnTo>
                <a:lnTo>
                  <a:pt x="52" y="62"/>
                </a:lnTo>
                <a:lnTo>
                  <a:pt x="52" y="62"/>
                </a:lnTo>
                <a:lnTo>
                  <a:pt x="52" y="64"/>
                </a:lnTo>
                <a:lnTo>
                  <a:pt x="52" y="66"/>
                </a:lnTo>
                <a:lnTo>
                  <a:pt x="52" y="66"/>
                </a:lnTo>
                <a:lnTo>
                  <a:pt x="58" y="72"/>
                </a:lnTo>
                <a:lnTo>
                  <a:pt x="58" y="72"/>
                </a:lnTo>
                <a:lnTo>
                  <a:pt x="58" y="76"/>
                </a:lnTo>
                <a:lnTo>
                  <a:pt x="60" y="78"/>
                </a:lnTo>
                <a:lnTo>
                  <a:pt x="60" y="78"/>
                </a:lnTo>
                <a:lnTo>
                  <a:pt x="60" y="86"/>
                </a:lnTo>
                <a:lnTo>
                  <a:pt x="62" y="94"/>
                </a:lnTo>
                <a:lnTo>
                  <a:pt x="62" y="94"/>
                </a:lnTo>
                <a:lnTo>
                  <a:pt x="64" y="96"/>
                </a:lnTo>
                <a:lnTo>
                  <a:pt x="64" y="96"/>
                </a:lnTo>
                <a:lnTo>
                  <a:pt x="68" y="106"/>
                </a:lnTo>
                <a:lnTo>
                  <a:pt x="68" y="100"/>
                </a:lnTo>
                <a:lnTo>
                  <a:pt x="70" y="96"/>
                </a:lnTo>
                <a:lnTo>
                  <a:pt x="74" y="98"/>
                </a:lnTo>
                <a:lnTo>
                  <a:pt x="74" y="98"/>
                </a:lnTo>
                <a:lnTo>
                  <a:pt x="74" y="92"/>
                </a:lnTo>
                <a:lnTo>
                  <a:pt x="72" y="88"/>
                </a:lnTo>
                <a:lnTo>
                  <a:pt x="70" y="80"/>
                </a:lnTo>
                <a:lnTo>
                  <a:pt x="70" y="74"/>
                </a:lnTo>
                <a:lnTo>
                  <a:pt x="70" y="68"/>
                </a:lnTo>
                <a:lnTo>
                  <a:pt x="64" y="58"/>
                </a:lnTo>
                <a:lnTo>
                  <a:pt x="62" y="64"/>
                </a:lnTo>
                <a:lnTo>
                  <a:pt x="56" y="64"/>
                </a:lnTo>
                <a:lnTo>
                  <a:pt x="54" y="60"/>
                </a:lnTo>
                <a:lnTo>
                  <a:pt x="56" y="50"/>
                </a:lnTo>
                <a:lnTo>
                  <a:pt x="60" y="42"/>
                </a:lnTo>
                <a:lnTo>
                  <a:pt x="60" y="42"/>
                </a:lnTo>
                <a:lnTo>
                  <a:pt x="62" y="40"/>
                </a:lnTo>
                <a:lnTo>
                  <a:pt x="64" y="36"/>
                </a:lnTo>
                <a:lnTo>
                  <a:pt x="62" y="30"/>
                </a:lnTo>
                <a:lnTo>
                  <a:pt x="70" y="24"/>
                </a:lnTo>
                <a:lnTo>
                  <a:pt x="60" y="24"/>
                </a:lnTo>
                <a:lnTo>
                  <a:pt x="52" y="26"/>
                </a:lnTo>
                <a:lnTo>
                  <a:pt x="44" y="28"/>
                </a:lnTo>
                <a:lnTo>
                  <a:pt x="36" y="28"/>
                </a:lnTo>
                <a:lnTo>
                  <a:pt x="32" y="28"/>
                </a:lnTo>
                <a:lnTo>
                  <a:pt x="30" y="16"/>
                </a:lnTo>
                <a:lnTo>
                  <a:pt x="32" y="8"/>
                </a:lnTo>
                <a:lnTo>
                  <a:pt x="26" y="6"/>
                </a:lnTo>
                <a:lnTo>
                  <a:pt x="20" y="6"/>
                </a:lnTo>
                <a:lnTo>
                  <a:pt x="12" y="0"/>
                </a:lnTo>
                <a:lnTo>
                  <a:pt x="8" y="6"/>
                </a:lnTo>
                <a:lnTo>
                  <a:pt x="14" y="14"/>
                </a:lnTo>
                <a:lnTo>
                  <a:pt x="12" y="20"/>
                </a:lnTo>
                <a:lnTo>
                  <a:pt x="6" y="22"/>
                </a:lnTo>
                <a:lnTo>
                  <a:pt x="0" y="26"/>
                </a:lnTo>
                <a:lnTo>
                  <a:pt x="2" y="36"/>
                </a:lnTo>
                <a:lnTo>
                  <a:pt x="4" y="38"/>
                </a:lnTo>
                <a:lnTo>
                  <a:pt x="12" y="42"/>
                </a:lnTo>
                <a:lnTo>
                  <a:pt x="14" y="48"/>
                </a:lnTo>
                <a:lnTo>
                  <a:pt x="12" y="58"/>
                </a:lnTo>
                <a:lnTo>
                  <a:pt x="16" y="62"/>
                </a:lnTo>
                <a:lnTo>
                  <a:pt x="16" y="72"/>
                </a:lnTo>
                <a:lnTo>
                  <a:pt x="14" y="78"/>
                </a:lnTo>
                <a:lnTo>
                  <a:pt x="14" y="82"/>
                </a:lnTo>
                <a:lnTo>
                  <a:pt x="14" y="8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4" name="Freeform 258">
            <a:extLst>
              <a:ext uri="{FF2B5EF4-FFF2-40B4-BE49-F238E27FC236}">
                <a16:creationId xmlns:a16="http://schemas.microsoft.com/office/drawing/2014/main" id="{77F99352-7CD8-41D8-BFAD-FCC819BC9B10}"/>
              </a:ext>
            </a:extLst>
          </p:cNvPr>
          <p:cNvSpPr>
            <a:spLocks noEditPoints="1"/>
          </p:cNvSpPr>
          <p:nvPr userDrawn="1"/>
        </p:nvSpPr>
        <p:spPr bwMode="auto">
          <a:xfrm>
            <a:off x="6869172" y="2441705"/>
            <a:ext cx="111448" cy="106391"/>
          </a:xfrm>
          <a:custGeom>
            <a:avLst/>
            <a:gdLst>
              <a:gd name="T0" fmla="*/ 48 w 66"/>
              <a:gd name="T1" fmla="*/ 14 h 62"/>
              <a:gd name="T2" fmla="*/ 40 w 66"/>
              <a:gd name="T3" fmla="*/ 16 h 62"/>
              <a:gd name="T4" fmla="*/ 36 w 66"/>
              <a:gd name="T5" fmla="*/ 8 h 62"/>
              <a:gd name="T6" fmla="*/ 26 w 66"/>
              <a:gd name="T7" fmla="*/ 0 h 62"/>
              <a:gd name="T8" fmla="*/ 22 w 66"/>
              <a:gd name="T9" fmla="*/ 4 h 62"/>
              <a:gd name="T10" fmla="*/ 26 w 66"/>
              <a:gd name="T11" fmla="*/ 8 h 62"/>
              <a:gd name="T12" fmla="*/ 22 w 66"/>
              <a:gd name="T13" fmla="*/ 12 h 62"/>
              <a:gd name="T14" fmla="*/ 18 w 66"/>
              <a:gd name="T15" fmla="*/ 8 h 62"/>
              <a:gd name="T16" fmla="*/ 12 w 66"/>
              <a:gd name="T17" fmla="*/ 4 h 62"/>
              <a:gd name="T18" fmla="*/ 6 w 66"/>
              <a:gd name="T19" fmla="*/ 6 h 62"/>
              <a:gd name="T20" fmla="*/ 2 w 66"/>
              <a:gd name="T21" fmla="*/ 16 h 62"/>
              <a:gd name="T22" fmla="*/ 6 w 66"/>
              <a:gd name="T23" fmla="*/ 18 h 62"/>
              <a:gd name="T24" fmla="*/ 8 w 66"/>
              <a:gd name="T25" fmla="*/ 16 h 62"/>
              <a:gd name="T26" fmla="*/ 12 w 66"/>
              <a:gd name="T27" fmla="*/ 20 h 62"/>
              <a:gd name="T28" fmla="*/ 8 w 66"/>
              <a:gd name="T29" fmla="*/ 26 h 62"/>
              <a:gd name="T30" fmla="*/ 16 w 66"/>
              <a:gd name="T31" fmla="*/ 30 h 62"/>
              <a:gd name="T32" fmla="*/ 16 w 66"/>
              <a:gd name="T33" fmla="*/ 36 h 62"/>
              <a:gd name="T34" fmla="*/ 20 w 66"/>
              <a:gd name="T35" fmla="*/ 42 h 62"/>
              <a:gd name="T36" fmla="*/ 24 w 66"/>
              <a:gd name="T37" fmla="*/ 42 h 62"/>
              <a:gd name="T38" fmla="*/ 26 w 66"/>
              <a:gd name="T39" fmla="*/ 50 h 62"/>
              <a:gd name="T40" fmla="*/ 32 w 66"/>
              <a:gd name="T41" fmla="*/ 44 h 62"/>
              <a:gd name="T42" fmla="*/ 36 w 66"/>
              <a:gd name="T43" fmla="*/ 42 h 62"/>
              <a:gd name="T44" fmla="*/ 36 w 66"/>
              <a:gd name="T45" fmla="*/ 42 h 62"/>
              <a:gd name="T46" fmla="*/ 40 w 66"/>
              <a:gd name="T47" fmla="*/ 48 h 62"/>
              <a:gd name="T48" fmla="*/ 38 w 66"/>
              <a:gd name="T49" fmla="*/ 52 h 62"/>
              <a:gd name="T50" fmla="*/ 40 w 66"/>
              <a:gd name="T51" fmla="*/ 56 h 62"/>
              <a:gd name="T52" fmla="*/ 46 w 66"/>
              <a:gd name="T53" fmla="*/ 62 h 62"/>
              <a:gd name="T54" fmla="*/ 46 w 66"/>
              <a:gd name="T55" fmla="*/ 54 h 62"/>
              <a:gd name="T56" fmla="*/ 52 w 66"/>
              <a:gd name="T57" fmla="*/ 48 h 62"/>
              <a:gd name="T58" fmla="*/ 54 w 66"/>
              <a:gd name="T59" fmla="*/ 40 h 62"/>
              <a:gd name="T60" fmla="*/ 54 w 66"/>
              <a:gd name="T61" fmla="*/ 32 h 62"/>
              <a:gd name="T62" fmla="*/ 58 w 66"/>
              <a:gd name="T63" fmla="*/ 28 h 62"/>
              <a:gd name="T64" fmla="*/ 64 w 66"/>
              <a:gd name="T65" fmla="*/ 22 h 62"/>
              <a:gd name="T66" fmla="*/ 62 w 66"/>
              <a:gd name="T67" fmla="*/ 22 h 62"/>
              <a:gd name="T68" fmla="*/ 52 w 66"/>
              <a:gd name="T69" fmla="*/ 16 h 62"/>
              <a:gd name="T70" fmla="*/ 0 w 66"/>
              <a:gd name="T71" fmla="*/ 44 h 62"/>
              <a:gd name="T72" fmla="*/ 2 w 66"/>
              <a:gd name="T73" fmla="*/ 48 h 62"/>
              <a:gd name="T74" fmla="*/ 8 w 66"/>
              <a:gd name="T75" fmla="*/ 54 h 62"/>
              <a:gd name="T76" fmla="*/ 12 w 66"/>
              <a:gd name="T77" fmla="*/ 58 h 62"/>
              <a:gd name="T78" fmla="*/ 18 w 66"/>
              <a:gd name="T79" fmla="*/ 56 h 62"/>
              <a:gd name="T80" fmla="*/ 14 w 66"/>
              <a:gd name="T81" fmla="*/ 50 h 62"/>
              <a:gd name="T82" fmla="*/ 8 w 66"/>
              <a:gd name="T83" fmla="*/ 44 h 62"/>
              <a:gd name="T84" fmla="*/ 0 w 66"/>
              <a:gd name="T85"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62">
                <a:moveTo>
                  <a:pt x="50" y="8"/>
                </a:moveTo>
                <a:lnTo>
                  <a:pt x="50" y="8"/>
                </a:lnTo>
                <a:lnTo>
                  <a:pt x="48" y="14"/>
                </a:lnTo>
                <a:lnTo>
                  <a:pt x="42" y="18"/>
                </a:lnTo>
                <a:lnTo>
                  <a:pt x="42" y="18"/>
                </a:lnTo>
                <a:lnTo>
                  <a:pt x="40" y="16"/>
                </a:lnTo>
                <a:lnTo>
                  <a:pt x="38" y="12"/>
                </a:lnTo>
                <a:lnTo>
                  <a:pt x="38" y="12"/>
                </a:lnTo>
                <a:lnTo>
                  <a:pt x="36" y="8"/>
                </a:lnTo>
                <a:lnTo>
                  <a:pt x="32" y="6"/>
                </a:lnTo>
                <a:lnTo>
                  <a:pt x="32" y="6"/>
                </a:lnTo>
                <a:lnTo>
                  <a:pt x="26" y="0"/>
                </a:lnTo>
                <a:lnTo>
                  <a:pt x="26" y="0"/>
                </a:lnTo>
                <a:lnTo>
                  <a:pt x="24" y="2"/>
                </a:lnTo>
                <a:lnTo>
                  <a:pt x="22" y="4"/>
                </a:lnTo>
                <a:lnTo>
                  <a:pt x="22" y="6"/>
                </a:lnTo>
                <a:lnTo>
                  <a:pt x="22" y="6"/>
                </a:lnTo>
                <a:lnTo>
                  <a:pt x="26" y="8"/>
                </a:lnTo>
                <a:lnTo>
                  <a:pt x="24" y="12"/>
                </a:lnTo>
                <a:lnTo>
                  <a:pt x="24" y="12"/>
                </a:lnTo>
                <a:lnTo>
                  <a:pt x="22" y="12"/>
                </a:lnTo>
                <a:lnTo>
                  <a:pt x="20" y="12"/>
                </a:lnTo>
                <a:lnTo>
                  <a:pt x="18" y="8"/>
                </a:lnTo>
                <a:lnTo>
                  <a:pt x="18" y="8"/>
                </a:lnTo>
                <a:lnTo>
                  <a:pt x="16" y="6"/>
                </a:lnTo>
                <a:lnTo>
                  <a:pt x="12" y="4"/>
                </a:lnTo>
                <a:lnTo>
                  <a:pt x="12" y="4"/>
                </a:lnTo>
                <a:lnTo>
                  <a:pt x="8" y="4"/>
                </a:lnTo>
                <a:lnTo>
                  <a:pt x="6" y="6"/>
                </a:lnTo>
                <a:lnTo>
                  <a:pt x="6" y="6"/>
                </a:lnTo>
                <a:lnTo>
                  <a:pt x="4" y="10"/>
                </a:lnTo>
                <a:lnTo>
                  <a:pt x="2" y="12"/>
                </a:lnTo>
                <a:lnTo>
                  <a:pt x="2" y="16"/>
                </a:lnTo>
                <a:lnTo>
                  <a:pt x="2" y="16"/>
                </a:lnTo>
                <a:lnTo>
                  <a:pt x="4" y="18"/>
                </a:lnTo>
                <a:lnTo>
                  <a:pt x="6" y="18"/>
                </a:lnTo>
                <a:lnTo>
                  <a:pt x="6" y="16"/>
                </a:lnTo>
                <a:lnTo>
                  <a:pt x="6" y="16"/>
                </a:lnTo>
                <a:lnTo>
                  <a:pt x="8" y="16"/>
                </a:lnTo>
                <a:lnTo>
                  <a:pt x="8" y="18"/>
                </a:lnTo>
                <a:lnTo>
                  <a:pt x="12" y="20"/>
                </a:lnTo>
                <a:lnTo>
                  <a:pt x="12" y="20"/>
                </a:lnTo>
                <a:lnTo>
                  <a:pt x="12" y="22"/>
                </a:lnTo>
                <a:lnTo>
                  <a:pt x="12" y="24"/>
                </a:lnTo>
                <a:lnTo>
                  <a:pt x="8" y="26"/>
                </a:lnTo>
                <a:lnTo>
                  <a:pt x="8" y="26"/>
                </a:lnTo>
                <a:lnTo>
                  <a:pt x="16" y="30"/>
                </a:lnTo>
                <a:lnTo>
                  <a:pt x="16" y="30"/>
                </a:lnTo>
                <a:lnTo>
                  <a:pt x="18" y="34"/>
                </a:lnTo>
                <a:lnTo>
                  <a:pt x="16" y="36"/>
                </a:lnTo>
                <a:lnTo>
                  <a:pt x="16" y="36"/>
                </a:lnTo>
                <a:lnTo>
                  <a:pt x="16" y="38"/>
                </a:lnTo>
                <a:lnTo>
                  <a:pt x="20" y="42"/>
                </a:lnTo>
                <a:lnTo>
                  <a:pt x="20" y="42"/>
                </a:lnTo>
                <a:lnTo>
                  <a:pt x="24" y="42"/>
                </a:lnTo>
                <a:lnTo>
                  <a:pt x="24" y="42"/>
                </a:lnTo>
                <a:lnTo>
                  <a:pt x="24" y="42"/>
                </a:lnTo>
                <a:lnTo>
                  <a:pt x="24" y="42"/>
                </a:lnTo>
                <a:lnTo>
                  <a:pt x="26" y="48"/>
                </a:lnTo>
                <a:lnTo>
                  <a:pt x="26" y="50"/>
                </a:lnTo>
                <a:lnTo>
                  <a:pt x="26" y="50"/>
                </a:lnTo>
                <a:lnTo>
                  <a:pt x="28" y="48"/>
                </a:lnTo>
                <a:lnTo>
                  <a:pt x="32" y="44"/>
                </a:lnTo>
                <a:lnTo>
                  <a:pt x="32" y="44"/>
                </a:lnTo>
                <a:lnTo>
                  <a:pt x="34" y="44"/>
                </a:lnTo>
                <a:lnTo>
                  <a:pt x="36" y="42"/>
                </a:lnTo>
                <a:lnTo>
                  <a:pt x="36" y="42"/>
                </a:lnTo>
                <a:lnTo>
                  <a:pt x="36" y="42"/>
                </a:lnTo>
                <a:lnTo>
                  <a:pt x="36" y="42"/>
                </a:lnTo>
                <a:lnTo>
                  <a:pt x="40" y="46"/>
                </a:lnTo>
                <a:lnTo>
                  <a:pt x="40" y="48"/>
                </a:lnTo>
                <a:lnTo>
                  <a:pt x="40" y="48"/>
                </a:lnTo>
                <a:lnTo>
                  <a:pt x="38" y="50"/>
                </a:lnTo>
                <a:lnTo>
                  <a:pt x="38" y="50"/>
                </a:lnTo>
                <a:lnTo>
                  <a:pt x="38" y="52"/>
                </a:lnTo>
                <a:lnTo>
                  <a:pt x="38" y="54"/>
                </a:lnTo>
                <a:lnTo>
                  <a:pt x="38" y="54"/>
                </a:lnTo>
                <a:lnTo>
                  <a:pt x="40" y="56"/>
                </a:lnTo>
                <a:lnTo>
                  <a:pt x="42" y="58"/>
                </a:lnTo>
                <a:lnTo>
                  <a:pt x="42" y="58"/>
                </a:lnTo>
                <a:lnTo>
                  <a:pt x="46" y="62"/>
                </a:lnTo>
                <a:lnTo>
                  <a:pt x="46" y="62"/>
                </a:lnTo>
                <a:lnTo>
                  <a:pt x="46" y="54"/>
                </a:lnTo>
                <a:lnTo>
                  <a:pt x="46" y="54"/>
                </a:lnTo>
                <a:lnTo>
                  <a:pt x="52" y="52"/>
                </a:lnTo>
                <a:lnTo>
                  <a:pt x="52" y="52"/>
                </a:lnTo>
                <a:lnTo>
                  <a:pt x="52" y="48"/>
                </a:lnTo>
                <a:lnTo>
                  <a:pt x="50" y="48"/>
                </a:lnTo>
                <a:lnTo>
                  <a:pt x="50" y="48"/>
                </a:lnTo>
                <a:lnTo>
                  <a:pt x="54" y="40"/>
                </a:lnTo>
                <a:lnTo>
                  <a:pt x="54" y="40"/>
                </a:lnTo>
                <a:lnTo>
                  <a:pt x="54" y="36"/>
                </a:lnTo>
                <a:lnTo>
                  <a:pt x="54" y="32"/>
                </a:lnTo>
                <a:lnTo>
                  <a:pt x="54" y="32"/>
                </a:lnTo>
                <a:lnTo>
                  <a:pt x="56" y="30"/>
                </a:lnTo>
                <a:lnTo>
                  <a:pt x="58" y="28"/>
                </a:lnTo>
                <a:lnTo>
                  <a:pt x="66" y="26"/>
                </a:lnTo>
                <a:lnTo>
                  <a:pt x="66" y="26"/>
                </a:lnTo>
                <a:lnTo>
                  <a:pt x="64" y="22"/>
                </a:lnTo>
                <a:lnTo>
                  <a:pt x="64" y="22"/>
                </a:lnTo>
                <a:lnTo>
                  <a:pt x="62" y="22"/>
                </a:lnTo>
                <a:lnTo>
                  <a:pt x="62" y="22"/>
                </a:lnTo>
                <a:lnTo>
                  <a:pt x="56" y="20"/>
                </a:lnTo>
                <a:lnTo>
                  <a:pt x="52" y="16"/>
                </a:lnTo>
                <a:lnTo>
                  <a:pt x="52" y="16"/>
                </a:lnTo>
                <a:lnTo>
                  <a:pt x="50" y="8"/>
                </a:lnTo>
                <a:lnTo>
                  <a:pt x="50" y="8"/>
                </a:lnTo>
                <a:close/>
                <a:moveTo>
                  <a:pt x="0" y="44"/>
                </a:moveTo>
                <a:lnTo>
                  <a:pt x="0" y="44"/>
                </a:lnTo>
                <a:lnTo>
                  <a:pt x="0" y="46"/>
                </a:lnTo>
                <a:lnTo>
                  <a:pt x="2" y="48"/>
                </a:lnTo>
                <a:lnTo>
                  <a:pt x="2" y="48"/>
                </a:lnTo>
                <a:lnTo>
                  <a:pt x="4" y="52"/>
                </a:lnTo>
                <a:lnTo>
                  <a:pt x="8" y="54"/>
                </a:lnTo>
                <a:lnTo>
                  <a:pt x="8" y="54"/>
                </a:lnTo>
                <a:lnTo>
                  <a:pt x="10" y="56"/>
                </a:lnTo>
                <a:lnTo>
                  <a:pt x="12" y="58"/>
                </a:lnTo>
                <a:lnTo>
                  <a:pt x="12" y="58"/>
                </a:lnTo>
                <a:lnTo>
                  <a:pt x="18" y="56"/>
                </a:lnTo>
                <a:lnTo>
                  <a:pt x="18" y="56"/>
                </a:lnTo>
                <a:lnTo>
                  <a:pt x="18" y="54"/>
                </a:lnTo>
                <a:lnTo>
                  <a:pt x="14" y="50"/>
                </a:lnTo>
                <a:lnTo>
                  <a:pt x="14" y="50"/>
                </a:lnTo>
                <a:lnTo>
                  <a:pt x="10" y="44"/>
                </a:lnTo>
                <a:lnTo>
                  <a:pt x="10" y="44"/>
                </a:lnTo>
                <a:lnTo>
                  <a:pt x="8" y="44"/>
                </a:lnTo>
                <a:lnTo>
                  <a:pt x="4" y="44"/>
                </a:lnTo>
                <a:lnTo>
                  <a:pt x="4" y="44"/>
                </a:lnTo>
                <a:lnTo>
                  <a:pt x="0" y="44"/>
                </a:lnTo>
                <a:lnTo>
                  <a:pt x="0" y="4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5" name="Freeform 259">
            <a:extLst>
              <a:ext uri="{FF2B5EF4-FFF2-40B4-BE49-F238E27FC236}">
                <a16:creationId xmlns:a16="http://schemas.microsoft.com/office/drawing/2014/main" id="{9785963A-D2A3-46EF-96C9-0109003B2B7C}"/>
              </a:ext>
            </a:extLst>
          </p:cNvPr>
          <p:cNvSpPr>
            <a:spLocks/>
          </p:cNvSpPr>
          <p:nvPr userDrawn="1"/>
        </p:nvSpPr>
        <p:spPr bwMode="auto">
          <a:xfrm>
            <a:off x="6079748" y="2201467"/>
            <a:ext cx="159433" cy="85799"/>
          </a:xfrm>
          <a:custGeom>
            <a:avLst/>
            <a:gdLst>
              <a:gd name="T0" fmla="*/ 0 w 95"/>
              <a:gd name="T1" fmla="*/ 36 h 50"/>
              <a:gd name="T2" fmla="*/ 4 w 95"/>
              <a:gd name="T3" fmla="*/ 38 h 50"/>
              <a:gd name="T4" fmla="*/ 4 w 95"/>
              <a:gd name="T5" fmla="*/ 44 h 50"/>
              <a:gd name="T6" fmla="*/ 13 w 95"/>
              <a:gd name="T7" fmla="*/ 46 h 50"/>
              <a:gd name="T8" fmla="*/ 13 w 95"/>
              <a:gd name="T9" fmla="*/ 46 h 50"/>
              <a:gd name="T10" fmla="*/ 17 w 95"/>
              <a:gd name="T11" fmla="*/ 44 h 50"/>
              <a:gd name="T12" fmla="*/ 19 w 95"/>
              <a:gd name="T13" fmla="*/ 46 h 50"/>
              <a:gd name="T14" fmla="*/ 23 w 95"/>
              <a:gd name="T15" fmla="*/ 46 h 50"/>
              <a:gd name="T16" fmla="*/ 27 w 95"/>
              <a:gd name="T17" fmla="*/ 48 h 50"/>
              <a:gd name="T18" fmla="*/ 29 w 95"/>
              <a:gd name="T19" fmla="*/ 50 h 50"/>
              <a:gd name="T20" fmla="*/ 31 w 95"/>
              <a:gd name="T21" fmla="*/ 50 h 50"/>
              <a:gd name="T22" fmla="*/ 35 w 95"/>
              <a:gd name="T23" fmla="*/ 48 h 50"/>
              <a:gd name="T24" fmla="*/ 43 w 95"/>
              <a:gd name="T25" fmla="*/ 48 h 50"/>
              <a:gd name="T26" fmla="*/ 47 w 95"/>
              <a:gd name="T27" fmla="*/ 48 h 50"/>
              <a:gd name="T28" fmla="*/ 49 w 95"/>
              <a:gd name="T29" fmla="*/ 46 h 50"/>
              <a:gd name="T30" fmla="*/ 55 w 95"/>
              <a:gd name="T31" fmla="*/ 44 h 50"/>
              <a:gd name="T32" fmla="*/ 61 w 95"/>
              <a:gd name="T33" fmla="*/ 46 h 50"/>
              <a:gd name="T34" fmla="*/ 63 w 95"/>
              <a:gd name="T35" fmla="*/ 42 h 50"/>
              <a:gd name="T36" fmla="*/ 71 w 95"/>
              <a:gd name="T37" fmla="*/ 38 h 50"/>
              <a:gd name="T38" fmla="*/ 75 w 95"/>
              <a:gd name="T39" fmla="*/ 40 h 50"/>
              <a:gd name="T40" fmla="*/ 79 w 95"/>
              <a:gd name="T41" fmla="*/ 40 h 50"/>
              <a:gd name="T42" fmla="*/ 85 w 95"/>
              <a:gd name="T43" fmla="*/ 36 h 50"/>
              <a:gd name="T44" fmla="*/ 87 w 95"/>
              <a:gd name="T45" fmla="*/ 32 h 50"/>
              <a:gd name="T46" fmla="*/ 89 w 95"/>
              <a:gd name="T47" fmla="*/ 32 h 50"/>
              <a:gd name="T48" fmla="*/ 91 w 95"/>
              <a:gd name="T49" fmla="*/ 28 h 50"/>
              <a:gd name="T50" fmla="*/ 93 w 95"/>
              <a:gd name="T51" fmla="*/ 24 h 50"/>
              <a:gd name="T52" fmla="*/ 93 w 95"/>
              <a:gd name="T53" fmla="*/ 18 h 50"/>
              <a:gd name="T54" fmla="*/ 93 w 95"/>
              <a:gd name="T55" fmla="*/ 12 h 50"/>
              <a:gd name="T56" fmla="*/ 89 w 95"/>
              <a:gd name="T57" fmla="*/ 10 h 50"/>
              <a:gd name="T58" fmla="*/ 93 w 95"/>
              <a:gd name="T59" fmla="*/ 4 h 50"/>
              <a:gd name="T60" fmla="*/ 83 w 95"/>
              <a:gd name="T61" fmla="*/ 6 h 50"/>
              <a:gd name="T62" fmla="*/ 77 w 95"/>
              <a:gd name="T63" fmla="*/ 4 h 50"/>
              <a:gd name="T64" fmla="*/ 73 w 95"/>
              <a:gd name="T65" fmla="*/ 2 h 50"/>
              <a:gd name="T66" fmla="*/ 67 w 95"/>
              <a:gd name="T67" fmla="*/ 0 h 50"/>
              <a:gd name="T68" fmla="*/ 65 w 95"/>
              <a:gd name="T69" fmla="*/ 0 h 50"/>
              <a:gd name="T70" fmla="*/ 59 w 95"/>
              <a:gd name="T71" fmla="*/ 8 h 50"/>
              <a:gd name="T72" fmla="*/ 59 w 95"/>
              <a:gd name="T73" fmla="*/ 8 h 50"/>
              <a:gd name="T74" fmla="*/ 53 w 95"/>
              <a:gd name="T75" fmla="*/ 8 h 50"/>
              <a:gd name="T76" fmla="*/ 49 w 95"/>
              <a:gd name="T77" fmla="*/ 4 h 50"/>
              <a:gd name="T78" fmla="*/ 45 w 95"/>
              <a:gd name="T79" fmla="*/ 8 h 50"/>
              <a:gd name="T80" fmla="*/ 43 w 95"/>
              <a:gd name="T81" fmla="*/ 12 h 50"/>
              <a:gd name="T82" fmla="*/ 39 w 95"/>
              <a:gd name="T83" fmla="*/ 16 h 50"/>
              <a:gd name="T84" fmla="*/ 35 w 95"/>
              <a:gd name="T85" fmla="*/ 18 h 50"/>
              <a:gd name="T86" fmla="*/ 35 w 95"/>
              <a:gd name="T87" fmla="*/ 20 h 50"/>
              <a:gd name="T88" fmla="*/ 37 w 95"/>
              <a:gd name="T89" fmla="*/ 22 h 50"/>
              <a:gd name="T90" fmla="*/ 39 w 95"/>
              <a:gd name="T91" fmla="*/ 24 h 50"/>
              <a:gd name="T92" fmla="*/ 35 w 95"/>
              <a:gd name="T93" fmla="*/ 30 h 50"/>
              <a:gd name="T94" fmla="*/ 33 w 95"/>
              <a:gd name="T95" fmla="*/ 26 h 50"/>
              <a:gd name="T96" fmla="*/ 29 w 95"/>
              <a:gd name="T97" fmla="*/ 26 h 50"/>
              <a:gd name="T98" fmla="*/ 25 w 95"/>
              <a:gd name="T99" fmla="*/ 26 h 50"/>
              <a:gd name="T100" fmla="*/ 21 w 95"/>
              <a:gd name="T101" fmla="*/ 24 h 50"/>
              <a:gd name="T102" fmla="*/ 19 w 95"/>
              <a:gd name="T103" fmla="*/ 28 h 50"/>
              <a:gd name="T104" fmla="*/ 15 w 95"/>
              <a:gd name="T105" fmla="*/ 30 h 50"/>
              <a:gd name="T106" fmla="*/ 8 w 95"/>
              <a:gd name="T107" fmla="*/ 30 h 50"/>
              <a:gd name="T108" fmla="*/ 4 w 95"/>
              <a:gd name="T109" fmla="*/ 34 h 50"/>
              <a:gd name="T110" fmla="*/ 0 w 95"/>
              <a:gd name="T111"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 h="50">
                <a:moveTo>
                  <a:pt x="0" y="36"/>
                </a:moveTo>
                <a:lnTo>
                  <a:pt x="0" y="36"/>
                </a:lnTo>
                <a:lnTo>
                  <a:pt x="4" y="36"/>
                </a:lnTo>
                <a:lnTo>
                  <a:pt x="4" y="38"/>
                </a:lnTo>
                <a:lnTo>
                  <a:pt x="4" y="44"/>
                </a:lnTo>
                <a:lnTo>
                  <a:pt x="4" y="44"/>
                </a:lnTo>
                <a:lnTo>
                  <a:pt x="8" y="46"/>
                </a:lnTo>
                <a:lnTo>
                  <a:pt x="13" y="46"/>
                </a:lnTo>
                <a:lnTo>
                  <a:pt x="13" y="46"/>
                </a:lnTo>
                <a:lnTo>
                  <a:pt x="13" y="46"/>
                </a:lnTo>
                <a:lnTo>
                  <a:pt x="13" y="44"/>
                </a:lnTo>
                <a:lnTo>
                  <a:pt x="17" y="44"/>
                </a:lnTo>
                <a:lnTo>
                  <a:pt x="17" y="44"/>
                </a:lnTo>
                <a:lnTo>
                  <a:pt x="19" y="46"/>
                </a:lnTo>
                <a:lnTo>
                  <a:pt x="23" y="46"/>
                </a:lnTo>
                <a:lnTo>
                  <a:pt x="23" y="46"/>
                </a:lnTo>
                <a:lnTo>
                  <a:pt x="25" y="46"/>
                </a:lnTo>
                <a:lnTo>
                  <a:pt x="27" y="48"/>
                </a:lnTo>
                <a:lnTo>
                  <a:pt x="27" y="48"/>
                </a:lnTo>
                <a:lnTo>
                  <a:pt x="29" y="50"/>
                </a:lnTo>
                <a:lnTo>
                  <a:pt x="29" y="50"/>
                </a:lnTo>
                <a:lnTo>
                  <a:pt x="31" y="50"/>
                </a:lnTo>
                <a:lnTo>
                  <a:pt x="35" y="48"/>
                </a:lnTo>
                <a:lnTo>
                  <a:pt x="35" y="48"/>
                </a:lnTo>
                <a:lnTo>
                  <a:pt x="43" y="48"/>
                </a:lnTo>
                <a:lnTo>
                  <a:pt x="43" y="48"/>
                </a:lnTo>
                <a:lnTo>
                  <a:pt x="47" y="48"/>
                </a:lnTo>
                <a:lnTo>
                  <a:pt x="47" y="48"/>
                </a:lnTo>
                <a:lnTo>
                  <a:pt x="49" y="46"/>
                </a:lnTo>
                <a:lnTo>
                  <a:pt x="49" y="46"/>
                </a:lnTo>
                <a:lnTo>
                  <a:pt x="49" y="44"/>
                </a:lnTo>
                <a:lnTo>
                  <a:pt x="55" y="44"/>
                </a:lnTo>
                <a:lnTo>
                  <a:pt x="55" y="44"/>
                </a:lnTo>
                <a:lnTo>
                  <a:pt x="61" y="46"/>
                </a:lnTo>
                <a:lnTo>
                  <a:pt x="63" y="42"/>
                </a:lnTo>
                <a:lnTo>
                  <a:pt x="63" y="42"/>
                </a:lnTo>
                <a:lnTo>
                  <a:pt x="67" y="40"/>
                </a:lnTo>
                <a:lnTo>
                  <a:pt x="71" y="38"/>
                </a:lnTo>
                <a:lnTo>
                  <a:pt x="71" y="38"/>
                </a:lnTo>
                <a:lnTo>
                  <a:pt x="75" y="40"/>
                </a:lnTo>
                <a:lnTo>
                  <a:pt x="79" y="40"/>
                </a:lnTo>
                <a:lnTo>
                  <a:pt x="79" y="40"/>
                </a:lnTo>
                <a:lnTo>
                  <a:pt x="85" y="36"/>
                </a:lnTo>
                <a:lnTo>
                  <a:pt x="85" y="36"/>
                </a:lnTo>
                <a:lnTo>
                  <a:pt x="85" y="34"/>
                </a:lnTo>
                <a:lnTo>
                  <a:pt x="87" y="32"/>
                </a:lnTo>
                <a:lnTo>
                  <a:pt x="89" y="32"/>
                </a:lnTo>
                <a:lnTo>
                  <a:pt x="89" y="32"/>
                </a:lnTo>
                <a:lnTo>
                  <a:pt x="91" y="32"/>
                </a:lnTo>
                <a:lnTo>
                  <a:pt x="91" y="28"/>
                </a:lnTo>
                <a:lnTo>
                  <a:pt x="93" y="24"/>
                </a:lnTo>
                <a:lnTo>
                  <a:pt x="93" y="24"/>
                </a:lnTo>
                <a:lnTo>
                  <a:pt x="91" y="20"/>
                </a:lnTo>
                <a:lnTo>
                  <a:pt x="93" y="18"/>
                </a:lnTo>
                <a:lnTo>
                  <a:pt x="95" y="18"/>
                </a:lnTo>
                <a:lnTo>
                  <a:pt x="93" y="12"/>
                </a:lnTo>
                <a:lnTo>
                  <a:pt x="93" y="12"/>
                </a:lnTo>
                <a:lnTo>
                  <a:pt x="89" y="10"/>
                </a:lnTo>
                <a:lnTo>
                  <a:pt x="89" y="8"/>
                </a:lnTo>
                <a:lnTo>
                  <a:pt x="93" y="4"/>
                </a:lnTo>
                <a:lnTo>
                  <a:pt x="93" y="4"/>
                </a:lnTo>
                <a:lnTo>
                  <a:pt x="83" y="6"/>
                </a:lnTo>
                <a:lnTo>
                  <a:pt x="83" y="6"/>
                </a:lnTo>
                <a:lnTo>
                  <a:pt x="77" y="4"/>
                </a:lnTo>
                <a:lnTo>
                  <a:pt x="73" y="2"/>
                </a:lnTo>
                <a:lnTo>
                  <a:pt x="73" y="2"/>
                </a:lnTo>
                <a:lnTo>
                  <a:pt x="71" y="0"/>
                </a:lnTo>
                <a:lnTo>
                  <a:pt x="67" y="0"/>
                </a:lnTo>
                <a:lnTo>
                  <a:pt x="65" y="0"/>
                </a:lnTo>
                <a:lnTo>
                  <a:pt x="65" y="0"/>
                </a:lnTo>
                <a:lnTo>
                  <a:pt x="63" y="2"/>
                </a:lnTo>
                <a:lnTo>
                  <a:pt x="59" y="8"/>
                </a:lnTo>
                <a:lnTo>
                  <a:pt x="59" y="8"/>
                </a:lnTo>
                <a:lnTo>
                  <a:pt x="59" y="8"/>
                </a:lnTo>
                <a:lnTo>
                  <a:pt x="57" y="10"/>
                </a:lnTo>
                <a:lnTo>
                  <a:pt x="53" y="8"/>
                </a:lnTo>
                <a:lnTo>
                  <a:pt x="49" y="4"/>
                </a:lnTo>
                <a:lnTo>
                  <a:pt x="49" y="4"/>
                </a:lnTo>
                <a:lnTo>
                  <a:pt x="47" y="6"/>
                </a:lnTo>
                <a:lnTo>
                  <a:pt x="45" y="8"/>
                </a:lnTo>
                <a:lnTo>
                  <a:pt x="43" y="12"/>
                </a:lnTo>
                <a:lnTo>
                  <a:pt x="43" y="12"/>
                </a:lnTo>
                <a:lnTo>
                  <a:pt x="43" y="14"/>
                </a:lnTo>
                <a:lnTo>
                  <a:pt x="39" y="16"/>
                </a:lnTo>
                <a:lnTo>
                  <a:pt x="39" y="16"/>
                </a:lnTo>
                <a:lnTo>
                  <a:pt x="35" y="18"/>
                </a:lnTo>
                <a:lnTo>
                  <a:pt x="35" y="20"/>
                </a:lnTo>
                <a:lnTo>
                  <a:pt x="35" y="20"/>
                </a:lnTo>
                <a:lnTo>
                  <a:pt x="37" y="20"/>
                </a:lnTo>
                <a:lnTo>
                  <a:pt x="37" y="22"/>
                </a:lnTo>
                <a:lnTo>
                  <a:pt x="39" y="24"/>
                </a:lnTo>
                <a:lnTo>
                  <a:pt x="39" y="24"/>
                </a:lnTo>
                <a:lnTo>
                  <a:pt x="39" y="30"/>
                </a:lnTo>
                <a:lnTo>
                  <a:pt x="35" y="30"/>
                </a:lnTo>
                <a:lnTo>
                  <a:pt x="35" y="30"/>
                </a:lnTo>
                <a:lnTo>
                  <a:pt x="33" y="26"/>
                </a:lnTo>
                <a:lnTo>
                  <a:pt x="31" y="26"/>
                </a:lnTo>
                <a:lnTo>
                  <a:pt x="29" y="26"/>
                </a:lnTo>
                <a:lnTo>
                  <a:pt x="29" y="26"/>
                </a:lnTo>
                <a:lnTo>
                  <a:pt x="25" y="26"/>
                </a:lnTo>
                <a:lnTo>
                  <a:pt x="23" y="24"/>
                </a:lnTo>
                <a:lnTo>
                  <a:pt x="21" y="24"/>
                </a:lnTo>
                <a:lnTo>
                  <a:pt x="21" y="24"/>
                </a:lnTo>
                <a:lnTo>
                  <a:pt x="19" y="28"/>
                </a:lnTo>
                <a:lnTo>
                  <a:pt x="15" y="30"/>
                </a:lnTo>
                <a:lnTo>
                  <a:pt x="15" y="30"/>
                </a:lnTo>
                <a:lnTo>
                  <a:pt x="11" y="30"/>
                </a:lnTo>
                <a:lnTo>
                  <a:pt x="8" y="30"/>
                </a:lnTo>
                <a:lnTo>
                  <a:pt x="8" y="30"/>
                </a:lnTo>
                <a:lnTo>
                  <a:pt x="4" y="34"/>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6" name="Freeform 260">
            <a:extLst>
              <a:ext uri="{FF2B5EF4-FFF2-40B4-BE49-F238E27FC236}">
                <a16:creationId xmlns:a16="http://schemas.microsoft.com/office/drawing/2014/main" id="{D241F481-86AA-4DBB-A770-016601CCF89F}"/>
              </a:ext>
            </a:extLst>
          </p:cNvPr>
          <p:cNvSpPr>
            <a:spLocks noEditPoints="1"/>
          </p:cNvSpPr>
          <p:nvPr userDrawn="1"/>
        </p:nvSpPr>
        <p:spPr bwMode="auto">
          <a:xfrm>
            <a:off x="8383010" y="4016980"/>
            <a:ext cx="897776" cy="981544"/>
          </a:xfrm>
          <a:custGeom>
            <a:avLst/>
            <a:gdLst>
              <a:gd name="T0" fmla="*/ 406 w 536"/>
              <a:gd name="T1" fmla="*/ 482 h 572"/>
              <a:gd name="T2" fmla="*/ 420 w 536"/>
              <a:gd name="T3" fmla="*/ 462 h 572"/>
              <a:gd name="T4" fmla="*/ 426 w 536"/>
              <a:gd name="T5" fmla="*/ 474 h 572"/>
              <a:gd name="T6" fmla="*/ 446 w 536"/>
              <a:gd name="T7" fmla="*/ 484 h 572"/>
              <a:gd name="T8" fmla="*/ 484 w 536"/>
              <a:gd name="T9" fmla="*/ 458 h 572"/>
              <a:gd name="T10" fmla="*/ 492 w 536"/>
              <a:gd name="T11" fmla="*/ 426 h 572"/>
              <a:gd name="T12" fmla="*/ 502 w 536"/>
              <a:gd name="T13" fmla="*/ 382 h 572"/>
              <a:gd name="T14" fmla="*/ 526 w 536"/>
              <a:gd name="T15" fmla="*/ 354 h 572"/>
              <a:gd name="T16" fmla="*/ 528 w 536"/>
              <a:gd name="T17" fmla="*/ 312 h 572"/>
              <a:gd name="T18" fmla="*/ 528 w 536"/>
              <a:gd name="T19" fmla="*/ 254 h 572"/>
              <a:gd name="T20" fmla="*/ 514 w 536"/>
              <a:gd name="T21" fmla="*/ 232 h 572"/>
              <a:gd name="T22" fmla="*/ 486 w 536"/>
              <a:gd name="T23" fmla="*/ 192 h 572"/>
              <a:gd name="T24" fmla="*/ 468 w 536"/>
              <a:gd name="T25" fmla="*/ 148 h 572"/>
              <a:gd name="T26" fmla="*/ 442 w 536"/>
              <a:gd name="T27" fmla="*/ 134 h 572"/>
              <a:gd name="T28" fmla="*/ 430 w 536"/>
              <a:gd name="T29" fmla="*/ 64 h 572"/>
              <a:gd name="T30" fmla="*/ 408 w 536"/>
              <a:gd name="T31" fmla="*/ 40 h 572"/>
              <a:gd name="T32" fmla="*/ 390 w 536"/>
              <a:gd name="T33" fmla="*/ 0 h 572"/>
              <a:gd name="T34" fmla="*/ 380 w 536"/>
              <a:gd name="T35" fmla="*/ 42 h 572"/>
              <a:gd name="T36" fmla="*/ 374 w 536"/>
              <a:gd name="T37" fmla="*/ 96 h 572"/>
              <a:gd name="T38" fmla="*/ 336 w 536"/>
              <a:gd name="T39" fmla="*/ 92 h 572"/>
              <a:gd name="T40" fmla="*/ 300 w 536"/>
              <a:gd name="T41" fmla="*/ 66 h 572"/>
              <a:gd name="T42" fmla="*/ 318 w 536"/>
              <a:gd name="T43" fmla="*/ 22 h 572"/>
              <a:gd name="T44" fmla="*/ 296 w 536"/>
              <a:gd name="T45" fmla="*/ 18 h 572"/>
              <a:gd name="T46" fmla="*/ 264 w 536"/>
              <a:gd name="T47" fmla="*/ 12 h 572"/>
              <a:gd name="T48" fmla="*/ 262 w 536"/>
              <a:gd name="T49" fmla="*/ 22 h 572"/>
              <a:gd name="T50" fmla="*/ 234 w 536"/>
              <a:gd name="T51" fmla="*/ 28 h 572"/>
              <a:gd name="T52" fmla="*/ 218 w 536"/>
              <a:gd name="T53" fmla="*/ 60 h 572"/>
              <a:gd name="T54" fmla="*/ 200 w 536"/>
              <a:gd name="T55" fmla="*/ 72 h 572"/>
              <a:gd name="T56" fmla="*/ 184 w 536"/>
              <a:gd name="T57" fmla="*/ 46 h 572"/>
              <a:gd name="T58" fmla="*/ 166 w 536"/>
              <a:gd name="T59" fmla="*/ 58 h 572"/>
              <a:gd name="T60" fmla="*/ 160 w 536"/>
              <a:gd name="T61" fmla="*/ 70 h 572"/>
              <a:gd name="T62" fmla="*/ 142 w 536"/>
              <a:gd name="T63" fmla="*/ 96 h 572"/>
              <a:gd name="T64" fmla="*/ 132 w 536"/>
              <a:gd name="T65" fmla="*/ 92 h 572"/>
              <a:gd name="T66" fmla="*/ 116 w 536"/>
              <a:gd name="T67" fmla="*/ 128 h 572"/>
              <a:gd name="T68" fmla="*/ 74 w 536"/>
              <a:gd name="T69" fmla="*/ 154 h 572"/>
              <a:gd name="T70" fmla="*/ 36 w 536"/>
              <a:gd name="T71" fmla="*/ 170 h 572"/>
              <a:gd name="T72" fmla="*/ 12 w 536"/>
              <a:gd name="T73" fmla="*/ 182 h 572"/>
              <a:gd name="T74" fmla="*/ 10 w 536"/>
              <a:gd name="T75" fmla="*/ 206 h 572"/>
              <a:gd name="T76" fmla="*/ 14 w 536"/>
              <a:gd name="T77" fmla="*/ 252 h 572"/>
              <a:gd name="T78" fmla="*/ 2 w 536"/>
              <a:gd name="T79" fmla="*/ 260 h 572"/>
              <a:gd name="T80" fmla="*/ 24 w 536"/>
              <a:gd name="T81" fmla="*/ 292 h 572"/>
              <a:gd name="T82" fmla="*/ 32 w 536"/>
              <a:gd name="T83" fmla="*/ 340 h 572"/>
              <a:gd name="T84" fmla="*/ 34 w 536"/>
              <a:gd name="T85" fmla="*/ 384 h 572"/>
              <a:gd name="T86" fmla="*/ 42 w 536"/>
              <a:gd name="T87" fmla="*/ 404 h 572"/>
              <a:gd name="T88" fmla="*/ 78 w 536"/>
              <a:gd name="T89" fmla="*/ 394 h 572"/>
              <a:gd name="T90" fmla="*/ 100 w 536"/>
              <a:gd name="T91" fmla="*/ 388 h 572"/>
              <a:gd name="T92" fmla="*/ 128 w 536"/>
              <a:gd name="T93" fmla="*/ 386 h 572"/>
              <a:gd name="T94" fmla="*/ 148 w 536"/>
              <a:gd name="T95" fmla="*/ 372 h 572"/>
              <a:gd name="T96" fmla="*/ 210 w 536"/>
              <a:gd name="T97" fmla="*/ 352 h 572"/>
              <a:gd name="T98" fmla="*/ 250 w 536"/>
              <a:gd name="T99" fmla="*/ 350 h 572"/>
              <a:gd name="T100" fmla="*/ 282 w 536"/>
              <a:gd name="T101" fmla="*/ 366 h 572"/>
              <a:gd name="T102" fmla="*/ 298 w 536"/>
              <a:gd name="T103" fmla="*/ 400 h 572"/>
              <a:gd name="T104" fmla="*/ 326 w 536"/>
              <a:gd name="T105" fmla="*/ 384 h 572"/>
              <a:gd name="T106" fmla="*/ 318 w 536"/>
              <a:gd name="T107" fmla="*/ 410 h 572"/>
              <a:gd name="T108" fmla="*/ 336 w 536"/>
              <a:gd name="T109" fmla="*/ 412 h 572"/>
              <a:gd name="T110" fmla="*/ 352 w 536"/>
              <a:gd name="T111" fmla="*/ 452 h 572"/>
              <a:gd name="T112" fmla="*/ 384 w 536"/>
              <a:gd name="T113" fmla="*/ 470 h 572"/>
              <a:gd name="T114" fmla="*/ 432 w 536"/>
              <a:gd name="T115" fmla="*/ 560 h 572"/>
              <a:gd name="T116" fmla="*/ 448 w 536"/>
              <a:gd name="T117" fmla="*/ 570 h 572"/>
              <a:gd name="T118" fmla="*/ 454 w 536"/>
              <a:gd name="T119" fmla="*/ 560 h 572"/>
              <a:gd name="T120" fmla="*/ 464 w 536"/>
              <a:gd name="T121" fmla="*/ 530 h 572"/>
              <a:gd name="T122" fmla="*/ 416 w 536"/>
              <a:gd name="T123" fmla="*/ 516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6" h="572">
                <a:moveTo>
                  <a:pt x="384" y="470"/>
                </a:moveTo>
                <a:lnTo>
                  <a:pt x="384" y="470"/>
                </a:lnTo>
                <a:lnTo>
                  <a:pt x="386" y="474"/>
                </a:lnTo>
                <a:lnTo>
                  <a:pt x="386" y="474"/>
                </a:lnTo>
                <a:lnTo>
                  <a:pt x="390" y="474"/>
                </a:lnTo>
                <a:lnTo>
                  <a:pt x="390" y="474"/>
                </a:lnTo>
                <a:lnTo>
                  <a:pt x="390" y="478"/>
                </a:lnTo>
                <a:lnTo>
                  <a:pt x="392" y="480"/>
                </a:lnTo>
                <a:lnTo>
                  <a:pt x="392" y="480"/>
                </a:lnTo>
                <a:lnTo>
                  <a:pt x="396" y="480"/>
                </a:lnTo>
                <a:lnTo>
                  <a:pt x="396" y="480"/>
                </a:lnTo>
                <a:lnTo>
                  <a:pt x="398" y="482"/>
                </a:lnTo>
                <a:lnTo>
                  <a:pt x="400" y="484"/>
                </a:lnTo>
                <a:lnTo>
                  <a:pt x="400" y="484"/>
                </a:lnTo>
                <a:lnTo>
                  <a:pt x="406" y="482"/>
                </a:lnTo>
                <a:lnTo>
                  <a:pt x="406" y="482"/>
                </a:lnTo>
                <a:lnTo>
                  <a:pt x="408" y="478"/>
                </a:lnTo>
                <a:lnTo>
                  <a:pt x="410" y="478"/>
                </a:lnTo>
                <a:lnTo>
                  <a:pt x="410" y="478"/>
                </a:lnTo>
                <a:lnTo>
                  <a:pt x="412" y="472"/>
                </a:lnTo>
                <a:lnTo>
                  <a:pt x="412" y="472"/>
                </a:lnTo>
                <a:lnTo>
                  <a:pt x="414" y="472"/>
                </a:lnTo>
                <a:lnTo>
                  <a:pt x="416" y="470"/>
                </a:lnTo>
                <a:lnTo>
                  <a:pt x="416" y="470"/>
                </a:lnTo>
                <a:lnTo>
                  <a:pt x="416" y="468"/>
                </a:lnTo>
                <a:lnTo>
                  <a:pt x="416" y="468"/>
                </a:lnTo>
                <a:lnTo>
                  <a:pt x="416" y="468"/>
                </a:lnTo>
                <a:lnTo>
                  <a:pt x="416" y="466"/>
                </a:lnTo>
                <a:lnTo>
                  <a:pt x="416" y="466"/>
                </a:lnTo>
                <a:lnTo>
                  <a:pt x="420" y="464"/>
                </a:lnTo>
                <a:lnTo>
                  <a:pt x="420" y="462"/>
                </a:lnTo>
                <a:lnTo>
                  <a:pt x="420" y="462"/>
                </a:lnTo>
                <a:lnTo>
                  <a:pt x="424" y="464"/>
                </a:lnTo>
                <a:lnTo>
                  <a:pt x="424" y="464"/>
                </a:lnTo>
                <a:lnTo>
                  <a:pt x="426" y="466"/>
                </a:lnTo>
                <a:lnTo>
                  <a:pt x="426" y="468"/>
                </a:lnTo>
                <a:lnTo>
                  <a:pt x="426" y="468"/>
                </a:lnTo>
                <a:lnTo>
                  <a:pt x="420" y="470"/>
                </a:lnTo>
                <a:lnTo>
                  <a:pt x="420" y="470"/>
                </a:lnTo>
                <a:lnTo>
                  <a:pt x="420" y="474"/>
                </a:lnTo>
                <a:lnTo>
                  <a:pt x="420" y="474"/>
                </a:lnTo>
                <a:lnTo>
                  <a:pt x="424" y="474"/>
                </a:lnTo>
                <a:lnTo>
                  <a:pt x="424" y="474"/>
                </a:lnTo>
                <a:lnTo>
                  <a:pt x="430" y="470"/>
                </a:lnTo>
                <a:lnTo>
                  <a:pt x="430" y="470"/>
                </a:lnTo>
                <a:lnTo>
                  <a:pt x="430" y="474"/>
                </a:lnTo>
                <a:lnTo>
                  <a:pt x="430" y="474"/>
                </a:lnTo>
                <a:lnTo>
                  <a:pt x="426" y="474"/>
                </a:lnTo>
                <a:lnTo>
                  <a:pt x="426" y="476"/>
                </a:lnTo>
                <a:lnTo>
                  <a:pt x="426" y="476"/>
                </a:lnTo>
                <a:lnTo>
                  <a:pt x="434" y="480"/>
                </a:lnTo>
                <a:lnTo>
                  <a:pt x="436" y="484"/>
                </a:lnTo>
                <a:lnTo>
                  <a:pt x="436" y="484"/>
                </a:lnTo>
                <a:lnTo>
                  <a:pt x="436" y="484"/>
                </a:lnTo>
                <a:lnTo>
                  <a:pt x="438" y="484"/>
                </a:lnTo>
                <a:lnTo>
                  <a:pt x="438" y="484"/>
                </a:lnTo>
                <a:lnTo>
                  <a:pt x="438" y="486"/>
                </a:lnTo>
                <a:lnTo>
                  <a:pt x="440" y="488"/>
                </a:lnTo>
                <a:lnTo>
                  <a:pt x="440" y="488"/>
                </a:lnTo>
                <a:lnTo>
                  <a:pt x="442" y="490"/>
                </a:lnTo>
                <a:lnTo>
                  <a:pt x="442" y="490"/>
                </a:lnTo>
                <a:lnTo>
                  <a:pt x="444" y="486"/>
                </a:lnTo>
                <a:lnTo>
                  <a:pt x="446" y="484"/>
                </a:lnTo>
                <a:lnTo>
                  <a:pt x="446" y="484"/>
                </a:lnTo>
                <a:lnTo>
                  <a:pt x="450" y="482"/>
                </a:lnTo>
                <a:lnTo>
                  <a:pt x="450" y="482"/>
                </a:lnTo>
                <a:lnTo>
                  <a:pt x="450" y="478"/>
                </a:lnTo>
                <a:lnTo>
                  <a:pt x="450" y="478"/>
                </a:lnTo>
                <a:lnTo>
                  <a:pt x="454" y="474"/>
                </a:lnTo>
                <a:lnTo>
                  <a:pt x="458" y="470"/>
                </a:lnTo>
                <a:lnTo>
                  <a:pt x="458" y="470"/>
                </a:lnTo>
                <a:lnTo>
                  <a:pt x="458" y="468"/>
                </a:lnTo>
                <a:lnTo>
                  <a:pt x="456" y="466"/>
                </a:lnTo>
                <a:lnTo>
                  <a:pt x="456" y="466"/>
                </a:lnTo>
                <a:lnTo>
                  <a:pt x="460" y="462"/>
                </a:lnTo>
                <a:lnTo>
                  <a:pt x="460" y="462"/>
                </a:lnTo>
                <a:lnTo>
                  <a:pt x="472" y="462"/>
                </a:lnTo>
                <a:lnTo>
                  <a:pt x="482" y="464"/>
                </a:lnTo>
                <a:lnTo>
                  <a:pt x="484" y="458"/>
                </a:lnTo>
                <a:lnTo>
                  <a:pt x="484" y="458"/>
                </a:lnTo>
                <a:lnTo>
                  <a:pt x="488" y="458"/>
                </a:lnTo>
                <a:lnTo>
                  <a:pt x="488" y="458"/>
                </a:lnTo>
                <a:lnTo>
                  <a:pt x="488" y="456"/>
                </a:lnTo>
                <a:lnTo>
                  <a:pt x="486" y="454"/>
                </a:lnTo>
                <a:lnTo>
                  <a:pt x="486" y="454"/>
                </a:lnTo>
                <a:lnTo>
                  <a:pt x="488" y="452"/>
                </a:lnTo>
                <a:lnTo>
                  <a:pt x="490" y="450"/>
                </a:lnTo>
                <a:lnTo>
                  <a:pt x="490" y="450"/>
                </a:lnTo>
                <a:lnTo>
                  <a:pt x="486" y="450"/>
                </a:lnTo>
                <a:lnTo>
                  <a:pt x="486" y="450"/>
                </a:lnTo>
                <a:lnTo>
                  <a:pt x="484" y="446"/>
                </a:lnTo>
                <a:lnTo>
                  <a:pt x="484" y="446"/>
                </a:lnTo>
                <a:lnTo>
                  <a:pt x="488" y="438"/>
                </a:lnTo>
                <a:lnTo>
                  <a:pt x="492" y="430"/>
                </a:lnTo>
                <a:lnTo>
                  <a:pt x="492" y="430"/>
                </a:lnTo>
                <a:lnTo>
                  <a:pt x="492" y="426"/>
                </a:lnTo>
                <a:lnTo>
                  <a:pt x="492" y="418"/>
                </a:lnTo>
                <a:lnTo>
                  <a:pt x="492" y="418"/>
                </a:lnTo>
                <a:lnTo>
                  <a:pt x="492" y="418"/>
                </a:lnTo>
                <a:lnTo>
                  <a:pt x="496" y="412"/>
                </a:lnTo>
                <a:lnTo>
                  <a:pt x="498" y="412"/>
                </a:lnTo>
                <a:lnTo>
                  <a:pt x="498" y="412"/>
                </a:lnTo>
                <a:lnTo>
                  <a:pt x="498" y="408"/>
                </a:lnTo>
                <a:lnTo>
                  <a:pt x="498" y="406"/>
                </a:lnTo>
                <a:lnTo>
                  <a:pt x="500" y="404"/>
                </a:lnTo>
                <a:lnTo>
                  <a:pt x="500" y="404"/>
                </a:lnTo>
                <a:lnTo>
                  <a:pt x="500" y="400"/>
                </a:lnTo>
                <a:lnTo>
                  <a:pt x="502" y="398"/>
                </a:lnTo>
                <a:lnTo>
                  <a:pt x="502" y="398"/>
                </a:lnTo>
                <a:lnTo>
                  <a:pt x="504" y="390"/>
                </a:lnTo>
                <a:lnTo>
                  <a:pt x="502" y="382"/>
                </a:lnTo>
                <a:lnTo>
                  <a:pt x="502" y="382"/>
                </a:lnTo>
                <a:lnTo>
                  <a:pt x="508" y="380"/>
                </a:lnTo>
                <a:lnTo>
                  <a:pt x="508" y="380"/>
                </a:lnTo>
                <a:lnTo>
                  <a:pt x="508" y="376"/>
                </a:lnTo>
                <a:lnTo>
                  <a:pt x="508" y="376"/>
                </a:lnTo>
                <a:lnTo>
                  <a:pt x="510" y="374"/>
                </a:lnTo>
                <a:lnTo>
                  <a:pt x="514" y="372"/>
                </a:lnTo>
                <a:lnTo>
                  <a:pt x="514" y="372"/>
                </a:lnTo>
                <a:lnTo>
                  <a:pt x="516" y="368"/>
                </a:lnTo>
                <a:lnTo>
                  <a:pt x="516" y="368"/>
                </a:lnTo>
                <a:lnTo>
                  <a:pt x="516" y="368"/>
                </a:lnTo>
                <a:lnTo>
                  <a:pt x="522" y="366"/>
                </a:lnTo>
                <a:lnTo>
                  <a:pt x="522" y="366"/>
                </a:lnTo>
                <a:lnTo>
                  <a:pt x="522" y="358"/>
                </a:lnTo>
                <a:lnTo>
                  <a:pt x="522" y="358"/>
                </a:lnTo>
                <a:lnTo>
                  <a:pt x="524" y="354"/>
                </a:lnTo>
                <a:lnTo>
                  <a:pt x="526" y="354"/>
                </a:lnTo>
                <a:lnTo>
                  <a:pt x="526" y="354"/>
                </a:lnTo>
                <a:lnTo>
                  <a:pt x="526" y="350"/>
                </a:lnTo>
                <a:lnTo>
                  <a:pt x="526" y="350"/>
                </a:lnTo>
                <a:lnTo>
                  <a:pt x="530" y="342"/>
                </a:lnTo>
                <a:lnTo>
                  <a:pt x="530" y="342"/>
                </a:lnTo>
                <a:lnTo>
                  <a:pt x="530" y="338"/>
                </a:lnTo>
                <a:lnTo>
                  <a:pt x="528" y="334"/>
                </a:lnTo>
                <a:lnTo>
                  <a:pt x="528" y="334"/>
                </a:lnTo>
                <a:lnTo>
                  <a:pt x="530" y="332"/>
                </a:lnTo>
                <a:lnTo>
                  <a:pt x="530" y="332"/>
                </a:lnTo>
                <a:lnTo>
                  <a:pt x="530" y="324"/>
                </a:lnTo>
                <a:lnTo>
                  <a:pt x="532" y="314"/>
                </a:lnTo>
                <a:lnTo>
                  <a:pt x="532" y="314"/>
                </a:lnTo>
                <a:lnTo>
                  <a:pt x="530" y="314"/>
                </a:lnTo>
                <a:lnTo>
                  <a:pt x="528" y="312"/>
                </a:lnTo>
                <a:lnTo>
                  <a:pt x="528" y="312"/>
                </a:lnTo>
                <a:lnTo>
                  <a:pt x="534" y="308"/>
                </a:lnTo>
                <a:lnTo>
                  <a:pt x="534" y="308"/>
                </a:lnTo>
                <a:lnTo>
                  <a:pt x="530" y="304"/>
                </a:lnTo>
                <a:lnTo>
                  <a:pt x="530" y="304"/>
                </a:lnTo>
                <a:lnTo>
                  <a:pt x="534" y="300"/>
                </a:lnTo>
                <a:lnTo>
                  <a:pt x="536" y="296"/>
                </a:lnTo>
                <a:lnTo>
                  <a:pt x="536" y="292"/>
                </a:lnTo>
                <a:lnTo>
                  <a:pt x="536" y="292"/>
                </a:lnTo>
                <a:lnTo>
                  <a:pt x="532" y="288"/>
                </a:lnTo>
                <a:lnTo>
                  <a:pt x="530" y="286"/>
                </a:lnTo>
                <a:lnTo>
                  <a:pt x="530" y="286"/>
                </a:lnTo>
                <a:lnTo>
                  <a:pt x="526" y="276"/>
                </a:lnTo>
                <a:lnTo>
                  <a:pt x="526" y="276"/>
                </a:lnTo>
                <a:lnTo>
                  <a:pt x="526" y="266"/>
                </a:lnTo>
                <a:lnTo>
                  <a:pt x="528" y="258"/>
                </a:lnTo>
                <a:lnTo>
                  <a:pt x="528" y="254"/>
                </a:lnTo>
                <a:lnTo>
                  <a:pt x="528" y="254"/>
                </a:lnTo>
                <a:lnTo>
                  <a:pt x="528" y="254"/>
                </a:lnTo>
                <a:lnTo>
                  <a:pt x="528" y="252"/>
                </a:lnTo>
                <a:lnTo>
                  <a:pt x="528" y="248"/>
                </a:lnTo>
                <a:lnTo>
                  <a:pt x="526" y="246"/>
                </a:lnTo>
                <a:lnTo>
                  <a:pt x="526" y="246"/>
                </a:lnTo>
                <a:lnTo>
                  <a:pt x="526" y="242"/>
                </a:lnTo>
                <a:lnTo>
                  <a:pt x="526" y="242"/>
                </a:lnTo>
                <a:lnTo>
                  <a:pt x="524" y="242"/>
                </a:lnTo>
                <a:lnTo>
                  <a:pt x="522" y="240"/>
                </a:lnTo>
                <a:lnTo>
                  <a:pt x="522" y="240"/>
                </a:lnTo>
                <a:lnTo>
                  <a:pt x="522" y="238"/>
                </a:lnTo>
                <a:lnTo>
                  <a:pt x="520" y="234"/>
                </a:lnTo>
                <a:lnTo>
                  <a:pt x="520" y="234"/>
                </a:lnTo>
                <a:lnTo>
                  <a:pt x="514" y="232"/>
                </a:lnTo>
                <a:lnTo>
                  <a:pt x="514" y="232"/>
                </a:lnTo>
                <a:lnTo>
                  <a:pt x="514" y="226"/>
                </a:lnTo>
                <a:lnTo>
                  <a:pt x="514" y="226"/>
                </a:lnTo>
                <a:lnTo>
                  <a:pt x="510" y="220"/>
                </a:lnTo>
                <a:lnTo>
                  <a:pt x="510" y="220"/>
                </a:lnTo>
                <a:lnTo>
                  <a:pt x="504" y="218"/>
                </a:lnTo>
                <a:lnTo>
                  <a:pt x="502" y="214"/>
                </a:lnTo>
                <a:lnTo>
                  <a:pt x="502" y="214"/>
                </a:lnTo>
                <a:lnTo>
                  <a:pt x="500" y="210"/>
                </a:lnTo>
                <a:lnTo>
                  <a:pt x="500" y="204"/>
                </a:lnTo>
                <a:lnTo>
                  <a:pt x="500" y="200"/>
                </a:lnTo>
                <a:lnTo>
                  <a:pt x="500" y="196"/>
                </a:lnTo>
                <a:lnTo>
                  <a:pt x="498" y="196"/>
                </a:lnTo>
                <a:lnTo>
                  <a:pt x="492" y="190"/>
                </a:lnTo>
                <a:lnTo>
                  <a:pt x="492" y="190"/>
                </a:lnTo>
                <a:lnTo>
                  <a:pt x="490" y="192"/>
                </a:lnTo>
                <a:lnTo>
                  <a:pt x="486" y="192"/>
                </a:lnTo>
                <a:lnTo>
                  <a:pt x="484" y="190"/>
                </a:lnTo>
                <a:lnTo>
                  <a:pt x="484" y="190"/>
                </a:lnTo>
                <a:lnTo>
                  <a:pt x="484" y="186"/>
                </a:lnTo>
                <a:lnTo>
                  <a:pt x="484" y="182"/>
                </a:lnTo>
                <a:lnTo>
                  <a:pt x="486" y="180"/>
                </a:lnTo>
                <a:lnTo>
                  <a:pt x="486" y="176"/>
                </a:lnTo>
                <a:lnTo>
                  <a:pt x="484" y="174"/>
                </a:lnTo>
                <a:lnTo>
                  <a:pt x="484" y="174"/>
                </a:lnTo>
                <a:lnTo>
                  <a:pt x="482" y="168"/>
                </a:lnTo>
                <a:lnTo>
                  <a:pt x="482" y="168"/>
                </a:lnTo>
                <a:lnTo>
                  <a:pt x="480" y="166"/>
                </a:lnTo>
                <a:lnTo>
                  <a:pt x="476" y="164"/>
                </a:lnTo>
                <a:lnTo>
                  <a:pt x="474" y="162"/>
                </a:lnTo>
                <a:lnTo>
                  <a:pt x="476" y="154"/>
                </a:lnTo>
                <a:lnTo>
                  <a:pt x="476" y="154"/>
                </a:lnTo>
                <a:lnTo>
                  <a:pt x="468" y="148"/>
                </a:lnTo>
                <a:lnTo>
                  <a:pt x="468" y="148"/>
                </a:lnTo>
                <a:lnTo>
                  <a:pt x="468" y="144"/>
                </a:lnTo>
                <a:lnTo>
                  <a:pt x="460" y="142"/>
                </a:lnTo>
                <a:lnTo>
                  <a:pt x="460" y="142"/>
                </a:lnTo>
                <a:lnTo>
                  <a:pt x="460" y="142"/>
                </a:lnTo>
                <a:lnTo>
                  <a:pt x="458" y="144"/>
                </a:lnTo>
                <a:lnTo>
                  <a:pt x="458" y="144"/>
                </a:lnTo>
                <a:lnTo>
                  <a:pt x="456" y="142"/>
                </a:lnTo>
                <a:lnTo>
                  <a:pt x="456" y="142"/>
                </a:lnTo>
                <a:lnTo>
                  <a:pt x="456" y="138"/>
                </a:lnTo>
                <a:lnTo>
                  <a:pt x="456" y="138"/>
                </a:lnTo>
                <a:lnTo>
                  <a:pt x="450" y="138"/>
                </a:lnTo>
                <a:lnTo>
                  <a:pt x="450" y="138"/>
                </a:lnTo>
                <a:lnTo>
                  <a:pt x="444" y="134"/>
                </a:lnTo>
                <a:lnTo>
                  <a:pt x="442" y="134"/>
                </a:lnTo>
                <a:lnTo>
                  <a:pt x="442" y="134"/>
                </a:lnTo>
                <a:lnTo>
                  <a:pt x="442" y="128"/>
                </a:lnTo>
                <a:lnTo>
                  <a:pt x="442" y="126"/>
                </a:lnTo>
                <a:lnTo>
                  <a:pt x="442" y="126"/>
                </a:lnTo>
                <a:lnTo>
                  <a:pt x="442" y="116"/>
                </a:lnTo>
                <a:lnTo>
                  <a:pt x="440" y="104"/>
                </a:lnTo>
                <a:lnTo>
                  <a:pt x="440" y="104"/>
                </a:lnTo>
                <a:lnTo>
                  <a:pt x="438" y="100"/>
                </a:lnTo>
                <a:lnTo>
                  <a:pt x="438" y="100"/>
                </a:lnTo>
                <a:lnTo>
                  <a:pt x="438" y="96"/>
                </a:lnTo>
                <a:lnTo>
                  <a:pt x="438" y="96"/>
                </a:lnTo>
                <a:lnTo>
                  <a:pt x="434" y="90"/>
                </a:lnTo>
                <a:lnTo>
                  <a:pt x="430" y="86"/>
                </a:lnTo>
                <a:lnTo>
                  <a:pt x="430" y="86"/>
                </a:lnTo>
                <a:lnTo>
                  <a:pt x="430" y="76"/>
                </a:lnTo>
                <a:lnTo>
                  <a:pt x="430" y="64"/>
                </a:lnTo>
                <a:lnTo>
                  <a:pt x="430" y="64"/>
                </a:lnTo>
                <a:lnTo>
                  <a:pt x="430" y="64"/>
                </a:lnTo>
                <a:lnTo>
                  <a:pt x="430" y="62"/>
                </a:lnTo>
                <a:lnTo>
                  <a:pt x="430" y="62"/>
                </a:lnTo>
                <a:lnTo>
                  <a:pt x="428" y="62"/>
                </a:lnTo>
                <a:lnTo>
                  <a:pt x="426" y="64"/>
                </a:lnTo>
                <a:lnTo>
                  <a:pt x="426" y="64"/>
                </a:lnTo>
                <a:lnTo>
                  <a:pt x="418" y="52"/>
                </a:lnTo>
                <a:lnTo>
                  <a:pt x="418" y="52"/>
                </a:lnTo>
                <a:lnTo>
                  <a:pt x="410" y="60"/>
                </a:lnTo>
                <a:lnTo>
                  <a:pt x="410" y="60"/>
                </a:lnTo>
                <a:lnTo>
                  <a:pt x="406" y="56"/>
                </a:lnTo>
                <a:lnTo>
                  <a:pt x="406" y="56"/>
                </a:lnTo>
                <a:lnTo>
                  <a:pt x="406" y="48"/>
                </a:lnTo>
                <a:lnTo>
                  <a:pt x="408" y="42"/>
                </a:lnTo>
                <a:lnTo>
                  <a:pt x="408" y="40"/>
                </a:lnTo>
                <a:lnTo>
                  <a:pt x="408" y="40"/>
                </a:lnTo>
                <a:lnTo>
                  <a:pt x="408" y="38"/>
                </a:lnTo>
                <a:lnTo>
                  <a:pt x="406" y="34"/>
                </a:lnTo>
                <a:lnTo>
                  <a:pt x="406" y="28"/>
                </a:lnTo>
                <a:lnTo>
                  <a:pt x="406" y="28"/>
                </a:lnTo>
                <a:lnTo>
                  <a:pt x="402" y="26"/>
                </a:lnTo>
                <a:lnTo>
                  <a:pt x="400" y="24"/>
                </a:lnTo>
                <a:lnTo>
                  <a:pt x="400" y="24"/>
                </a:lnTo>
                <a:lnTo>
                  <a:pt x="400" y="18"/>
                </a:lnTo>
                <a:lnTo>
                  <a:pt x="400" y="18"/>
                </a:lnTo>
                <a:lnTo>
                  <a:pt x="396" y="16"/>
                </a:lnTo>
                <a:lnTo>
                  <a:pt x="396" y="16"/>
                </a:lnTo>
                <a:lnTo>
                  <a:pt x="396" y="10"/>
                </a:lnTo>
                <a:lnTo>
                  <a:pt x="396" y="10"/>
                </a:lnTo>
                <a:lnTo>
                  <a:pt x="392" y="6"/>
                </a:lnTo>
                <a:lnTo>
                  <a:pt x="392" y="6"/>
                </a:lnTo>
                <a:lnTo>
                  <a:pt x="390" y="0"/>
                </a:lnTo>
                <a:lnTo>
                  <a:pt x="388" y="0"/>
                </a:lnTo>
                <a:lnTo>
                  <a:pt x="388" y="0"/>
                </a:lnTo>
                <a:lnTo>
                  <a:pt x="386" y="0"/>
                </a:lnTo>
                <a:lnTo>
                  <a:pt x="384" y="0"/>
                </a:lnTo>
                <a:lnTo>
                  <a:pt x="384" y="0"/>
                </a:lnTo>
                <a:lnTo>
                  <a:pt x="384" y="8"/>
                </a:lnTo>
                <a:lnTo>
                  <a:pt x="384" y="16"/>
                </a:lnTo>
                <a:lnTo>
                  <a:pt x="384" y="16"/>
                </a:lnTo>
                <a:lnTo>
                  <a:pt x="382" y="18"/>
                </a:lnTo>
                <a:lnTo>
                  <a:pt x="380" y="22"/>
                </a:lnTo>
                <a:lnTo>
                  <a:pt x="380" y="22"/>
                </a:lnTo>
                <a:lnTo>
                  <a:pt x="380" y="24"/>
                </a:lnTo>
                <a:lnTo>
                  <a:pt x="382" y="24"/>
                </a:lnTo>
                <a:lnTo>
                  <a:pt x="382" y="40"/>
                </a:lnTo>
                <a:lnTo>
                  <a:pt x="382" y="40"/>
                </a:lnTo>
                <a:lnTo>
                  <a:pt x="380" y="42"/>
                </a:lnTo>
                <a:lnTo>
                  <a:pt x="378" y="48"/>
                </a:lnTo>
                <a:lnTo>
                  <a:pt x="378" y="48"/>
                </a:lnTo>
                <a:lnTo>
                  <a:pt x="380" y="66"/>
                </a:lnTo>
                <a:lnTo>
                  <a:pt x="380" y="66"/>
                </a:lnTo>
                <a:lnTo>
                  <a:pt x="382" y="70"/>
                </a:lnTo>
                <a:lnTo>
                  <a:pt x="382" y="70"/>
                </a:lnTo>
                <a:lnTo>
                  <a:pt x="378" y="72"/>
                </a:lnTo>
                <a:lnTo>
                  <a:pt x="378" y="72"/>
                </a:lnTo>
                <a:lnTo>
                  <a:pt x="378" y="78"/>
                </a:lnTo>
                <a:lnTo>
                  <a:pt x="378" y="82"/>
                </a:lnTo>
                <a:lnTo>
                  <a:pt x="378" y="82"/>
                </a:lnTo>
                <a:lnTo>
                  <a:pt x="376" y="86"/>
                </a:lnTo>
                <a:lnTo>
                  <a:pt x="374" y="90"/>
                </a:lnTo>
                <a:lnTo>
                  <a:pt x="374" y="90"/>
                </a:lnTo>
                <a:lnTo>
                  <a:pt x="374" y="92"/>
                </a:lnTo>
                <a:lnTo>
                  <a:pt x="374" y="96"/>
                </a:lnTo>
                <a:lnTo>
                  <a:pt x="370" y="102"/>
                </a:lnTo>
                <a:lnTo>
                  <a:pt x="370" y="102"/>
                </a:lnTo>
                <a:lnTo>
                  <a:pt x="370" y="110"/>
                </a:lnTo>
                <a:lnTo>
                  <a:pt x="370" y="110"/>
                </a:lnTo>
                <a:lnTo>
                  <a:pt x="364" y="112"/>
                </a:lnTo>
                <a:lnTo>
                  <a:pt x="358" y="112"/>
                </a:lnTo>
                <a:lnTo>
                  <a:pt x="354" y="112"/>
                </a:lnTo>
                <a:lnTo>
                  <a:pt x="354" y="110"/>
                </a:lnTo>
                <a:lnTo>
                  <a:pt x="354" y="110"/>
                </a:lnTo>
                <a:lnTo>
                  <a:pt x="354" y="110"/>
                </a:lnTo>
                <a:lnTo>
                  <a:pt x="348" y="100"/>
                </a:lnTo>
                <a:lnTo>
                  <a:pt x="348" y="100"/>
                </a:lnTo>
                <a:lnTo>
                  <a:pt x="346" y="98"/>
                </a:lnTo>
                <a:lnTo>
                  <a:pt x="342" y="98"/>
                </a:lnTo>
                <a:lnTo>
                  <a:pt x="342" y="98"/>
                </a:lnTo>
                <a:lnTo>
                  <a:pt x="336" y="92"/>
                </a:lnTo>
                <a:lnTo>
                  <a:pt x="332" y="86"/>
                </a:lnTo>
                <a:lnTo>
                  <a:pt x="332" y="86"/>
                </a:lnTo>
                <a:lnTo>
                  <a:pt x="328" y="84"/>
                </a:lnTo>
                <a:lnTo>
                  <a:pt x="324" y="84"/>
                </a:lnTo>
                <a:lnTo>
                  <a:pt x="324" y="84"/>
                </a:lnTo>
                <a:lnTo>
                  <a:pt x="322" y="82"/>
                </a:lnTo>
                <a:lnTo>
                  <a:pt x="318" y="78"/>
                </a:lnTo>
                <a:lnTo>
                  <a:pt x="318" y="78"/>
                </a:lnTo>
                <a:lnTo>
                  <a:pt x="314" y="78"/>
                </a:lnTo>
                <a:lnTo>
                  <a:pt x="314" y="78"/>
                </a:lnTo>
                <a:lnTo>
                  <a:pt x="310" y="72"/>
                </a:lnTo>
                <a:lnTo>
                  <a:pt x="310" y="72"/>
                </a:lnTo>
                <a:lnTo>
                  <a:pt x="306" y="72"/>
                </a:lnTo>
                <a:lnTo>
                  <a:pt x="306" y="72"/>
                </a:lnTo>
                <a:lnTo>
                  <a:pt x="300" y="66"/>
                </a:lnTo>
                <a:lnTo>
                  <a:pt x="300" y="66"/>
                </a:lnTo>
                <a:lnTo>
                  <a:pt x="300" y="60"/>
                </a:lnTo>
                <a:lnTo>
                  <a:pt x="302" y="52"/>
                </a:lnTo>
                <a:lnTo>
                  <a:pt x="302" y="52"/>
                </a:lnTo>
                <a:lnTo>
                  <a:pt x="304" y="50"/>
                </a:lnTo>
                <a:lnTo>
                  <a:pt x="304" y="50"/>
                </a:lnTo>
                <a:lnTo>
                  <a:pt x="304" y="44"/>
                </a:lnTo>
                <a:lnTo>
                  <a:pt x="304" y="38"/>
                </a:lnTo>
                <a:lnTo>
                  <a:pt x="304" y="38"/>
                </a:lnTo>
                <a:lnTo>
                  <a:pt x="310" y="40"/>
                </a:lnTo>
                <a:lnTo>
                  <a:pt x="312" y="38"/>
                </a:lnTo>
                <a:lnTo>
                  <a:pt x="312" y="36"/>
                </a:lnTo>
                <a:lnTo>
                  <a:pt x="310" y="30"/>
                </a:lnTo>
                <a:lnTo>
                  <a:pt x="310" y="30"/>
                </a:lnTo>
                <a:lnTo>
                  <a:pt x="318" y="26"/>
                </a:lnTo>
                <a:lnTo>
                  <a:pt x="318" y="26"/>
                </a:lnTo>
                <a:lnTo>
                  <a:pt x="318" y="22"/>
                </a:lnTo>
                <a:lnTo>
                  <a:pt x="318" y="22"/>
                </a:lnTo>
                <a:lnTo>
                  <a:pt x="316" y="22"/>
                </a:lnTo>
                <a:lnTo>
                  <a:pt x="316" y="22"/>
                </a:lnTo>
                <a:lnTo>
                  <a:pt x="316" y="20"/>
                </a:lnTo>
                <a:lnTo>
                  <a:pt x="314" y="20"/>
                </a:lnTo>
                <a:lnTo>
                  <a:pt x="314" y="20"/>
                </a:lnTo>
                <a:lnTo>
                  <a:pt x="316" y="16"/>
                </a:lnTo>
                <a:lnTo>
                  <a:pt x="316" y="16"/>
                </a:lnTo>
                <a:lnTo>
                  <a:pt x="308" y="20"/>
                </a:lnTo>
                <a:lnTo>
                  <a:pt x="308" y="20"/>
                </a:lnTo>
                <a:lnTo>
                  <a:pt x="308" y="22"/>
                </a:lnTo>
                <a:lnTo>
                  <a:pt x="308" y="22"/>
                </a:lnTo>
                <a:lnTo>
                  <a:pt x="302" y="16"/>
                </a:lnTo>
                <a:lnTo>
                  <a:pt x="302" y="16"/>
                </a:lnTo>
                <a:lnTo>
                  <a:pt x="298" y="16"/>
                </a:lnTo>
                <a:lnTo>
                  <a:pt x="296" y="18"/>
                </a:lnTo>
                <a:lnTo>
                  <a:pt x="296" y="18"/>
                </a:lnTo>
                <a:lnTo>
                  <a:pt x="292" y="18"/>
                </a:lnTo>
                <a:lnTo>
                  <a:pt x="290" y="16"/>
                </a:lnTo>
                <a:lnTo>
                  <a:pt x="290" y="16"/>
                </a:lnTo>
                <a:lnTo>
                  <a:pt x="286" y="16"/>
                </a:lnTo>
                <a:lnTo>
                  <a:pt x="282" y="18"/>
                </a:lnTo>
                <a:lnTo>
                  <a:pt x="280" y="14"/>
                </a:lnTo>
                <a:lnTo>
                  <a:pt x="280" y="14"/>
                </a:lnTo>
                <a:lnTo>
                  <a:pt x="278" y="14"/>
                </a:lnTo>
                <a:lnTo>
                  <a:pt x="274" y="16"/>
                </a:lnTo>
                <a:lnTo>
                  <a:pt x="274" y="16"/>
                </a:lnTo>
                <a:lnTo>
                  <a:pt x="272" y="12"/>
                </a:lnTo>
                <a:lnTo>
                  <a:pt x="272" y="10"/>
                </a:lnTo>
                <a:lnTo>
                  <a:pt x="272" y="10"/>
                </a:lnTo>
                <a:lnTo>
                  <a:pt x="264" y="12"/>
                </a:lnTo>
                <a:lnTo>
                  <a:pt x="264" y="12"/>
                </a:lnTo>
                <a:lnTo>
                  <a:pt x="260" y="8"/>
                </a:lnTo>
                <a:lnTo>
                  <a:pt x="258" y="6"/>
                </a:lnTo>
                <a:lnTo>
                  <a:pt x="256" y="6"/>
                </a:lnTo>
                <a:lnTo>
                  <a:pt x="250" y="4"/>
                </a:lnTo>
                <a:lnTo>
                  <a:pt x="250" y="4"/>
                </a:lnTo>
                <a:lnTo>
                  <a:pt x="250" y="6"/>
                </a:lnTo>
                <a:lnTo>
                  <a:pt x="250" y="6"/>
                </a:lnTo>
                <a:lnTo>
                  <a:pt x="254" y="12"/>
                </a:lnTo>
                <a:lnTo>
                  <a:pt x="254" y="12"/>
                </a:lnTo>
                <a:lnTo>
                  <a:pt x="260" y="12"/>
                </a:lnTo>
                <a:lnTo>
                  <a:pt x="260" y="12"/>
                </a:lnTo>
                <a:lnTo>
                  <a:pt x="262" y="14"/>
                </a:lnTo>
                <a:lnTo>
                  <a:pt x="262" y="16"/>
                </a:lnTo>
                <a:lnTo>
                  <a:pt x="264" y="22"/>
                </a:lnTo>
                <a:lnTo>
                  <a:pt x="262" y="22"/>
                </a:lnTo>
                <a:lnTo>
                  <a:pt x="262" y="22"/>
                </a:lnTo>
                <a:lnTo>
                  <a:pt x="260" y="26"/>
                </a:lnTo>
                <a:lnTo>
                  <a:pt x="260" y="26"/>
                </a:lnTo>
                <a:lnTo>
                  <a:pt x="254" y="22"/>
                </a:lnTo>
                <a:lnTo>
                  <a:pt x="250" y="20"/>
                </a:lnTo>
                <a:lnTo>
                  <a:pt x="246" y="22"/>
                </a:lnTo>
                <a:lnTo>
                  <a:pt x="246" y="22"/>
                </a:lnTo>
                <a:lnTo>
                  <a:pt x="244" y="24"/>
                </a:lnTo>
                <a:lnTo>
                  <a:pt x="244" y="24"/>
                </a:lnTo>
                <a:lnTo>
                  <a:pt x="244" y="20"/>
                </a:lnTo>
                <a:lnTo>
                  <a:pt x="242" y="20"/>
                </a:lnTo>
                <a:lnTo>
                  <a:pt x="242" y="20"/>
                </a:lnTo>
                <a:lnTo>
                  <a:pt x="238" y="24"/>
                </a:lnTo>
                <a:lnTo>
                  <a:pt x="232" y="22"/>
                </a:lnTo>
                <a:lnTo>
                  <a:pt x="232" y="22"/>
                </a:lnTo>
                <a:lnTo>
                  <a:pt x="234" y="28"/>
                </a:lnTo>
                <a:lnTo>
                  <a:pt x="234" y="28"/>
                </a:lnTo>
                <a:lnTo>
                  <a:pt x="228" y="30"/>
                </a:lnTo>
                <a:lnTo>
                  <a:pt x="228" y="30"/>
                </a:lnTo>
                <a:lnTo>
                  <a:pt x="228" y="32"/>
                </a:lnTo>
                <a:lnTo>
                  <a:pt x="228" y="32"/>
                </a:lnTo>
                <a:lnTo>
                  <a:pt x="228" y="32"/>
                </a:lnTo>
                <a:lnTo>
                  <a:pt x="228" y="32"/>
                </a:lnTo>
                <a:lnTo>
                  <a:pt x="232" y="40"/>
                </a:lnTo>
                <a:lnTo>
                  <a:pt x="232" y="40"/>
                </a:lnTo>
                <a:lnTo>
                  <a:pt x="228" y="40"/>
                </a:lnTo>
                <a:lnTo>
                  <a:pt x="224" y="42"/>
                </a:lnTo>
                <a:lnTo>
                  <a:pt x="224" y="50"/>
                </a:lnTo>
                <a:lnTo>
                  <a:pt x="224" y="50"/>
                </a:lnTo>
                <a:lnTo>
                  <a:pt x="218" y="50"/>
                </a:lnTo>
                <a:lnTo>
                  <a:pt x="218" y="50"/>
                </a:lnTo>
                <a:lnTo>
                  <a:pt x="218" y="56"/>
                </a:lnTo>
                <a:lnTo>
                  <a:pt x="218" y="60"/>
                </a:lnTo>
                <a:lnTo>
                  <a:pt x="220" y="62"/>
                </a:lnTo>
                <a:lnTo>
                  <a:pt x="220" y="62"/>
                </a:lnTo>
                <a:lnTo>
                  <a:pt x="222" y="62"/>
                </a:lnTo>
                <a:lnTo>
                  <a:pt x="224" y="64"/>
                </a:lnTo>
                <a:lnTo>
                  <a:pt x="224" y="64"/>
                </a:lnTo>
                <a:lnTo>
                  <a:pt x="224" y="68"/>
                </a:lnTo>
                <a:lnTo>
                  <a:pt x="224" y="68"/>
                </a:lnTo>
                <a:lnTo>
                  <a:pt x="214" y="66"/>
                </a:lnTo>
                <a:lnTo>
                  <a:pt x="214" y="64"/>
                </a:lnTo>
                <a:lnTo>
                  <a:pt x="214" y="64"/>
                </a:lnTo>
                <a:lnTo>
                  <a:pt x="208" y="62"/>
                </a:lnTo>
                <a:lnTo>
                  <a:pt x="204" y="62"/>
                </a:lnTo>
                <a:lnTo>
                  <a:pt x="204" y="64"/>
                </a:lnTo>
                <a:lnTo>
                  <a:pt x="202" y="72"/>
                </a:lnTo>
                <a:lnTo>
                  <a:pt x="202" y="72"/>
                </a:lnTo>
                <a:lnTo>
                  <a:pt x="200" y="72"/>
                </a:lnTo>
                <a:lnTo>
                  <a:pt x="200" y="72"/>
                </a:lnTo>
                <a:lnTo>
                  <a:pt x="200" y="72"/>
                </a:lnTo>
                <a:lnTo>
                  <a:pt x="198" y="72"/>
                </a:lnTo>
                <a:lnTo>
                  <a:pt x="198" y="70"/>
                </a:lnTo>
                <a:lnTo>
                  <a:pt x="200" y="66"/>
                </a:lnTo>
                <a:lnTo>
                  <a:pt x="200" y="66"/>
                </a:lnTo>
                <a:lnTo>
                  <a:pt x="200" y="58"/>
                </a:lnTo>
                <a:lnTo>
                  <a:pt x="198" y="58"/>
                </a:lnTo>
                <a:lnTo>
                  <a:pt x="198" y="58"/>
                </a:lnTo>
                <a:lnTo>
                  <a:pt x="196" y="54"/>
                </a:lnTo>
                <a:lnTo>
                  <a:pt x="194" y="54"/>
                </a:lnTo>
                <a:lnTo>
                  <a:pt x="194" y="54"/>
                </a:lnTo>
                <a:lnTo>
                  <a:pt x="194" y="48"/>
                </a:lnTo>
                <a:lnTo>
                  <a:pt x="194" y="48"/>
                </a:lnTo>
                <a:lnTo>
                  <a:pt x="190" y="46"/>
                </a:lnTo>
                <a:lnTo>
                  <a:pt x="184" y="46"/>
                </a:lnTo>
                <a:lnTo>
                  <a:pt x="180" y="48"/>
                </a:lnTo>
                <a:lnTo>
                  <a:pt x="176" y="50"/>
                </a:lnTo>
                <a:lnTo>
                  <a:pt x="176" y="50"/>
                </a:lnTo>
                <a:lnTo>
                  <a:pt x="176" y="48"/>
                </a:lnTo>
                <a:lnTo>
                  <a:pt x="176" y="46"/>
                </a:lnTo>
                <a:lnTo>
                  <a:pt x="176" y="46"/>
                </a:lnTo>
                <a:lnTo>
                  <a:pt x="174" y="58"/>
                </a:lnTo>
                <a:lnTo>
                  <a:pt x="174" y="58"/>
                </a:lnTo>
                <a:lnTo>
                  <a:pt x="172" y="56"/>
                </a:lnTo>
                <a:lnTo>
                  <a:pt x="172" y="56"/>
                </a:lnTo>
                <a:lnTo>
                  <a:pt x="172" y="54"/>
                </a:lnTo>
                <a:lnTo>
                  <a:pt x="172" y="54"/>
                </a:lnTo>
                <a:lnTo>
                  <a:pt x="170" y="58"/>
                </a:lnTo>
                <a:lnTo>
                  <a:pt x="170" y="58"/>
                </a:lnTo>
                <a:lnTo>
                  <a:pt x="168" y="58"/>
                </a:lnTo>
                <a:lnTo>
                  <a:pt x="166" y="58"/>
                </a:lnTo>
                <a:lnTo>
                  <a:pt x="166" y="58"/>
                </a:lnTo>
                <a:lnTo>
                  <a:pt x="164" y="60"/>
                </a:lnTo>
                <a:lnTo>
                  <a:pt x="164" y="62"/>
                </a:lnTo>
                <a:lnTo>
                  <a:pt x="166" y="62"/>
                </a:lnTo>
                <a:lnTo>
                  <a:pt x="166" y="62"/>
                </a:lnTo>
                <a:lnTo>
                  <a:pt x="166" y="62"/>
                </a:lnTo>
                <a:lnTo>
                  <a:pt x="168" y="62"/>
                </a:lnTo>
                <a:lnTo>
                  <a:pt x="168" y="62"/>
                </a:lnTo>
                <a:lnTo>
                  <a:pt x="168" y="66"/>
                </a:lnTo>
                <a:lnTo>
                  <a:pt x="168" y="66"/>
                </a:lnTo>
                <a:lnTo>
                  <a:pt x="164" y="66"/>
                </a:lnTo>
                <a:lnTo>
                  <a:pt x="162" y="66"/>
                </a:lnTo>
                <a:lnTo>
                  <a:pt x="162" y="66"/>
                </a:lnTo>
                <a:lnTo>
                  <a:pt x="164" y="72"/>
                </a:lnTo>
                <a:lnTo>
                  <a:pt x="164" y="72"/>
                </a:lnTo>
                <a:lnTo>
                  <a:pt x="160" y="70"/>
                </a:lnTo>
                <a:lnTo>
                  <a:pt x="154" y="72"/>
                </a:lnTo>
                <a:lnTo>
                  <a:pt x="154" y="72"/>
                </a:lnTo>
                <a:lnTo>
                  <a:pt x="154" y="80"/>
                </a:lnTo>
                <a:lnTo>
                  <a:pt x="152" y="86"/>
                </a:lnTo>
                <a:lnTo>
                  <a:pt x="152" y="86"/>
                </a:lnTo>
                <a:lnTo>
                  <a:pt x="146" y="84"/>
                </a:lnTo>
                <a:lnTo>
                  <a:pt x="146" y="84"/>
                </a:lnTo>
                <a:lnTo>
                  <a:pt x="146" y="80"/>
                </a:lnTo>
                <a:lnTo>
                  <a:pt x="144" y="80"/>
                </a:lnTo>
                <a:lnTo>
                  <a:pt x="144" y="80"/>
                </a:lnTo>
                <a:lnTo>
                  <a:pt x="144" y="82"/>
                </a:lnTo>
                <a:lnTo>
                  <a:pt x="142" y="82"/>
                </a:lnTo>
                <a:lnTo>
                  <a:pt x="142" y="82"/>
                </a:lnTo>
                <a:lnTo>
                  <a:pt x="140" y="90"/>
                </a:lnTo>
                <a:lnTo>
                  <a:pt x="142" y="96"/>
                </a:lnTo>
                <a:lnTo>
                  <a:pt x="142" y="96"/>
                </a:lnTo>
                <a:lnTo>
                  <a:pt x="144" y="98"/>
                </a:lnTo>
                <a:lnTo>
                  <a:pt x="144" y="98"/>
                </a:lnTo>
                <a:lnTo>
                  <a:pt x="140" y="100"/>
                </a:lnTo>
                <a:lnTo>
                  <a:pt x="140" y="100"/>
                </a:lnTo>
                <a:lnTo>
                  <a:pt x="140" y="104"/>
                </a:lnTo>
                <a:lnTo>
                  <a:pt x="140" y="104"/>
                </a:lnTo>
                <a:lnTo>
                  <a:pt x="138" y="100"/>
                </a:lnTo>
                <a:lnTo>
                  <a:pt x="136" y="98"/>
                </a:lnTo>
                <a:lnTo>
                  <a:pt x="136" y="98"/>
                </a:lnTo>
                <a:lnTo>
                  <a:pt x="136" y="94"/>
                </a:lnTo>
                <a:lnTo>
                  <a:pt x="134" y="90"/>
                </a:lnTo>
                <a:lnTo>
                  <a:pt x="134" y="90"/>
                </a:lnTo>
                <a:lnTo>
                  <a:pt x="132" y="88"/>
                </a:lnTo>
                <a:lnTo>
                  <a:pt x="132" y="88"/>
                </a:lnTo>
                <a:lnTo>
                  <a:pt x="132" y="92"/>
                </a:lnTo>
                <a:lnTo>
                  <a:pt x="132" y="92"/>
                </a:lnTo>
                <a:lnTo>
                  <a:pt x="126" y="96"/>
                </a:lnTo>
                <a:lnTo>
                  <a:pt x="126" y="96"/>
                </a:lnTo>
                <a:lnTo>
                  <a:pt x="124" y="100"/>
                </a:lnTo>
                <a:lnTo>
                  <a:pt x="124" y="104"/>
                </a:lnTo>
                <a:lnTo>
                  <a:pt x="124" y="110"/>
                </a:lnTo>
                <a:lnTo>
                  <a:pt x="122" y="110"/>
                </a:lnTo>
                <a:lnTo>
                  <a:pt x="122" y="110"/>
                </a:lnTo>
                <a:lnTo>
                  <a:pt x="122" y="114"/>
                </a:lnTo>
                <a:lnTo>
                  <a:pt x="124" y="114"/>
                </a:lnTo>
                <a:lnTo>
                  <a:pt x="124" y="114"/>
                </a:lnTo>
                <a:lnTo>
                  <a:pt x="124" y="120"/>
                </a:lnTo>
                <a:lnTo>
                  <a:pt x="124" y="120"/>
                </a:lnTo>
                <a:lnTo>
                  <a:pt x="120" y="122"/>
                </a:lnTo>
                <a:lnTo>
                  <a:pt x="116" y="124"/>
                </a:lnTo>
                <a:lnTo>
                  <a:pt x="116" y="124"/>
                </a:lnTo>
                <a:lnTo>
                  <a:pt x="116" y="128"/>
                </a:lnTo>
                <a:lnTo>
                  <a:pt x="116" y="128"/>
                </a:lnTo>
                <a:lnTo>
                  <a:pt x="106" y="138"/>
                </a:lnTo>
                <a:lnTo>
                  <a:pt x="106" y="138"/>
                </a:lnTo>
                <a:lnTo>
                  <a:pt x="100" y="140"/>
                </a:lnTo>
                <a:lnTo>
                  <a:pt x="92" y="142"/>
                </a:lnTo>
                <a:lnTo>
                  <a:pt x="92" y="142"/>
                </a:lnTo>
                <a:lnTo>
                  <a:pt x="86" y="146"/>
                </a:lnTo>
                <a:lnTo>
                  <a:pt x="86" y="146"/>
                </a:lnTo>
                <a:lnTo>
                  <a:pt x="82" y="146"/>
                </a:lnTo>
                <a:lnTo>
                  <a:pt x="80" y="144"/>
                </a:lnTo>
                <a:lnTo>
                  <a:pt x="80" y="144"/>
                </a:lnTo>
                <a:lnTo>
                  <a:pt x="78" y="146"/>
                </a:lnTo>
                <a:lnTo>
                  <a:pt x="76" y="150"/>
                </a:lnTo>
                <a:lnTo>
                  <a:pt x="76" y="152"/>
                </a:lnTo>
                <a:lnTo>
                  <a:pt x="74" y="154"/>
                </a:lnTo>
                <a:lnTo>
                  <a:pt x="74" y="154"/>
                </a:lnTo>
                <a:lnTo>
                  <a:pt x="70" y="154"/>
                </a:lnTo>
                <a:lnTo>
                  <a:pt x="66" y="156"/>
                </a:lnTo>
                <a:lnTo>
                  <a:pt x="66" y="156"/>
                </a:lnTo>
                <a:lnTo>
                  <a:pt x="64" y="158"/>
                </a:lnTo>
                <a:lnTo>
                  <a:pt x="64" y="158"/>
                </a:lnTo>
                <a:lnTo>
                  <a:pt x="60" y="160"/>
                </a:lnTo>
                <a:lnTo>
                  <a:pt x="58" y="160"/>
                </a:lnTo>
                <a:lnTo>
                  <a:pt x="52" y="158"/>
                </a:lnTo>
                <a:lnTo>
                  <a:pt x="52" y="158"/>
                </a:lnTo>
                <a:lnTo>
                  <a:pt x="48" y="162"/>
                </a:lnTo>
                <a:lnTo>
                  <a:pt x="48" y="162"/>
                </a:lnTo>
                <a:lnTo>
                  <a:pt x="42" y="162"/>
                </a:lnTo>
                <a:lnTo>
                  <a:pt x="42" y="162"/>
                </a:lnTo>
                <a:lnTo>
                  <a:pt x="40" y="164"/>
                </a:lnTo>
                <a:lnTo>
                  <a:pt x="38" y="168"/>
                </a:lnTo>
                <a:lnTo>
                  <a:pt x="36" y="170"/>
                </a:lnTo>
                <a:lnTo>
                  <a:pt x="34" y="172"/>
                </a:lnTo>
                <a:lnTo>
                  <a:pt x="32" y="172"/>
                </a:lnTo>
                <a:lnTo>
                  <a:pt x="32" y="172"/>
                </a:lnTo>
                <a:lnTo>
                  <a:pt x="32" y="176"/>
                </a:lnTo>
                <a:lnTo>
                  <a:pt x="32" y="176"/>
                </a:lnTo>
                <a:lnTo>
                  <a:pt x="28" y="176"/>
                </a:lnTo>
                <a:lnTo>
                  <a:pt x="28" y="176"/>
                </a:lnTo>
                <a:lnTo>
                  <a:pt x="24" y="180"/>
                </a:lnTo>
                <a:lnTo>
                  <a:pt x="22" y="184"/>
                </a:lnTo>
                <a:lnTo>
                  <a:pt x="22" y="184"/>
                </a:lnTo>
                <a:lnTo>
                  <a:pt x="12" y="190"/>
                </a:lnTo>
                <a:lnTo>
                  <a:pt x="12" y="190"/>
                </a:lnTo>
                <a:lnTo>
                  <a:pt x="12" y="186"/>
                </a:lnTo>
                <a:lnTo>
                  <a:pt x="12" y="186"/>
                </a:lnTo>
                <a:lnTo>
                  <a:pt x="14" y="184"/>
                </a:lnTo>
                <a:lnTo>
                  <a:pt x="12" y="182"/>
                </a:lnTo>
                <a:lnTo>
                  <a:pt x="12" y="182"/>
                </a:lnTo>
                <a:lnTo>
                  <a:pt x="12" y="180"/>
                </a:lnTo>
                <a:lnTo>
                  <a:pt x="12" y="180"/>
                </a:lnTo>
                <a:lnTo>
                  <a:pt x="12" y="180"/>
                </a:lnTo>
                <a:lnTo>
                  <a:pt x="10" y="184"/>
                </a:lnTo>
                <a:lnTo>
                  <a:pt x="10" y="186"/>
                </a:lnTo>
                <a:lnTo>
                  <a:pt x="8" y="190"/>
                </a:lnTo>
                <a:lnTo>
                  <a:pt x="6" y="192"/>
                </a:lnTo>
                <a:lnTo>
                  <a:pt x="6" y="192"/>
                </a:lnTo>
                <a:lnTo>
                  <a:pt x="8" y="194"/>
                </a:lnTo>
                <a:lnTo>
                  <a:pt x="10" y="198"/>
                </a:lnTo>
                <a:lnTo>
                  <a:pt x="10" y="198"/>
                </a:lnTo>
                <a:lnTo>
                  <a:pt x="8" y="204"/>
                </a:lnTo>
                <a:lnTo>
                  <a:pt x="8" y="204"/>
                </a:lnTo>
                <a:lnTo>
                  <a:pt x="10" y="206"/>
                </a:lnTo>
                <a:lnTo>
                  <a:pt x="10" y="206"/>
                </a:lnTo>
                <a:lnTo>
                  <a:pt x="8" y="212"/>
                </a:lnTo>
                <a:lnTo>
                  <a:pt x="6" y="216"/>
                </a:lnTo>
                <a:lnTo>
                  <a:pt x="6" y="216"/>
                </a:lnTo>
                <a:lnTo>
                  <a:pt x="2" y="216"/>
                </a:lnTo>
                <a:lnTo>
                  <a:pt x="2" y="220"/>
                </a:lnTo>
                <a:lnTo>
                  <a:pt x="2" y="220"/>
                </a:lnTo>
                <a:lnTo>
                  <a:pt x="4" y="222"/>
                </a:lnTo>
                <a:lnTo>
                  <a:pt x="4" y="222"/>
                </a:lnTo>
                <a:lnTo>
                  <a:pt x="8" y="224"/>
                </a:lnTo>
                <a:lnTo>
                  <a:pt x="10" y="228"/>
                </a:lnTo>
                <a:lnTo>
                  <a:pt x="10" y="228"/>
                </a:lnTo>
                <a:lnTo>
                  <a:pt x="12" y="234"/>
                </a:lnTo>
                <a:lnTo>
                  <a:pt x="10" y="238"/>
                </a:lnTo>
                <a:lnTo>
                  <a:pt x="10" y="238"/>
                </a:lnTo>
                <a:lnTo>
                  <a:pt x="14" y="252"/>
                </a:lnTo>
                <a:lnTo>
                  <a:pt x="14" y="252"/>
                </a:lnTo>
                <a:lnTo>
                  <a:pt x="8" y="250"/>
                </a:lnTo>
                <a:lnTo>
                  <a:pt x="8" y="250"/>
                </a:lnTo>
                <a:lnTo>
                  <a:pt x="8" y="246"/>
                </a:lnTo>
                <a:lnTo>
                  <a:pt x="6" y="246"/>
                </a:lnTo>
                <a:lnTo>
                  <a:pt x="6" y="246"/>
                </a:lnTo>
                <a:lnTo>
                  <a:pt x="10" y="262"/>
                </a:lnTo>
                <a:lnTo>
                  <a:pt x="10" y="262"/>
                </a:lnTo>
                <a:lnTo>
                  <a:pt x="8" y="262"/>
                </a:lnTo>
                <a:lnTo>
                  <a:pt x="8" y="262"/>
                </a:lnTo>
                <a:lnTo>
                  <a:pt x="6" y="258"/>
                </a:lnTo>
                <a:lnTo>
                  <a:pt x="4" y="256"/>
                </a:lnTo>
                <a:lnTo>
                  <a:pt x="2" y="246"/>
                </a:lnTo>
                <a:lnTo>
                  <a:pt x="0" y="246"/>
                </a:lnTo>
                <a:lnTo>
                  <a:pt x="0" y="246"/>
                </a:lnTo>
                <a:lnTo>
                  <a:pt x="2" y="252"/>
                </a:lnTo>
                <a:lnTo>
                  <a:pt x="2" y="260"/>
                </a:lnTo>
                <a:lnTo>
                  <a:pt x="2" y="260"/>
                </a:lnTo>
                <a:lnTo>
                  <a:pt x="4" y="260"/>
                </a:lnTo>
                <a:lnTo>
                  <a:pt x="4" y="260"/>
                </a:lnTo>
                <a:lnTo>
                  <a:pt x="10" y="266"/>
                </a:lnTo>
                <a:lnTo>
                  <a:pt x="14" y="272"/>
                </a:lnTo>
                <a:lnTo>
                  <a:pt x="14" y="272"/>
                </a:lnTo>
                <a:lnTo>
                  <a:pt x="14" y="278"/>
                </a:lnTo>
                <a:lnTo>
                  <a:pt x="18" y="278"/>
                </a:lnTo>
                <a:lnTo>
                  <a:pt x="18" y="280"/>
                </a:lnTo>
                <a:lnTo>
                  <a:pt x="18" y="280"/>
                </a:lnTo>
                <a:lnTo>
                  <a:pt x="16" y="282"/>
                </a:lnTo>
                <a:lnTo>
                  <a:pt x="16" y="282"/>
                </a:lnTo>
                <a:lnTo>
                  <a:pt x="16" y="286"/>
                </a:lnTo>
                <a:lnTo>
                  <a:pt x="16" y="286"/>
                </a:lnTo>
                <a:lnTo>
                  <a:pt x="20" y="290"/>
                </a:lnTo>
                <a:lnTo>
                  <a:pt x="24" y="292"/>
                </a:lnTo>
                <a:lnTo>
                  <a:pt x="24" y="292"/>
                </a:lnTo>
                <a:lnTo>
                  <a:pt x="22" y="296"/>
                </a:lnTo>
                <a:lnTo>
                  <a:pt x="22" y="300"/>
                </a:lnTo>
                <a:lnTo>
                  <a:pt x="22" y="300"/>
                </a:lnTo>
                <a:lnTo>
                  <a:pt x="26" y="304"/>
                </a:lnTo>
                <a:lnTo>
                  <a:pt x="28" y="306"/>
                </a:lnTo>
                <a:lnTo>
                  <a:pt x="30" y="310"/>
                </a:lnTo>
                <a:lnTo>
                  <a:pt x="30" y="310"/>
                </a:lnTo>
                <a:lnTo>
                  <a:pt x="28" y="312"/>
                </a:lnTo>
                <a:lnTo>
                  <a:pt x="28" y="312"/>
                </a:lnTo>
                <a:lnTo>
                  <a:pt x="28" y="320"/>
                </a:lnTo>
                <a:lnTo>
                  <a:pt x="28" y="326"/>
                </a:lnTo>
                <a:lnTo>
                  <a:pt x="28" y="326"/>
                </a:lnTo>
                <a:lnTo>
                  <a:pt x="32" y="336"/>
                </a:lnTo>
                <a:lnTo>
                  <a:pt x="32" y="336"/>
                </a:lnTo>
                <a:lnTo>
                  <a:pt x="32" y="340"/>
                </a:lnTo>
                <a:lnTo>
                  <a:pt x="34" y="346"/>
                </a:lnTo>
                <a:lnTo>
                  <a:pt x="34" y="346"/>
                </a:lnTo>
                <a:lnTo>
                  <a:pt x="36" y="350"/>
                </a:lnTo>
                <a:lnTo>
                  <a:pt x="36" y="350"/>
                </a:lnTo>
                <a:lnTo>
                  <a:pt x="36" y="354"/>
                </a:lnTo>
                <a:lnTo>
                  <a:pt x="34" y="356"/>
                </a:lnTo>
                <a:lnTo>
                  <a:pt x="34" y="356"/>
                </a:lnTo>
                <a:lnTo>
                  <a:pt x="36" y="360"/>
                </a:lnTo>
                <a:lnTo>
                  <a:pt x="36" y="360"/>
                </a:lnTo>
                <a:lnTo>
                  <a:pt x="36" y="364"/>
                </a:lnTo>
                <a:lnTo>
                  <a:pt x="36" y="364"/>
                </a:lnTo>
                <a:lnTo>
                  <a:pt x="34" y="366"/>
                </a:lnTo>
                <a:lnTo>
                  <a:pt x="34" y="366"/>
                </a:lnTo>
                <a:lnTo>
                  <a:pt x="34" y="376"/>
                </a:lnTo>
                <a:lnTo>
                  <a:pt x="34" y="384"/>
                </a:lnTo>
                <a:lnTo>
                  <a:pt x="34" y="384"/>
                </a:lnTo>
                <a:lnTo>
                  <a:pt x="32" y="386"/>
                </a:lnTo>
                <a:lnTo>
                  <a:pt x="32" y="386"/>
                </a:lnTo>
                <a:lnTo>
                  <a:pt x="28" y="382"/>
                </a:lnTo>
                <a:lnTo>
                  <a:pt x="28" y="382"/>
                </a:lnTo>
                <a:lnTo>
                  <a:pt x="26" y="382"/>
                </a:lnTo>
                <a:lnTo>
                  <a:pt x="24" y="382"/>
                </a:lnTo>
                <a:lnTo>
                  <a:pt x="26" y="382"/>
                </a:lnTo>
                <a:lnTo>
                  <a:pt x="26" y="382"/>
                </a:lnTo>
                <a:lnTo>
                  <a:pt x="26" y="388"/>
                </a:lnTo>
                <a:lnTo>
                  <a:pt x="26" y="388"/>
                </a:lnTo>
                <a:lnTo>
                  <a:pt x="28" y="392"/>
                </a:lnTo>
                <a:lnTo>
                  <a:pt x="32" y="394"/>
                </a:lnTo>
                <a:lnTo>
                  <a:pt x="38" y="398"/>
                </a:lnTo>
                <a:lnTo>
                  <a:pt x="38" y="398"/>
                </a:lnTo>
                <a:lnTo>
                  <a:pt x="40" y="400"/>
                </a:lnTo>
                <a:lnTo>
                  <a:pt x="42" y="404"/>
                </a:lnTo>
                <a:lnTo>
                  <a:pt x="42" y="404"/>
                </a:lnTo>
                <a:lnTo>
                  <a:pt x="46" y="406"/>
                </a:lnTo>
                <a:lnTo>
                  <a:pt x="50" y="406"/>
                </a:lnTo>
                <a:lnTo>
                  <a:pt x="52" y="404"/>
                </a:lnTo>
                <a:lnTo>
                  <a:pt x="52" y="404"/>
                </a:lnTo>
                <a:lnTo>
                  <a:pt x="58" y="404"/>
                </a:lnTo>
                <a:lnTo>
                  <a:pt x="58" y="404"/>
                </a:lnTo>
                <a:lnTo>
                  <a:pt x="60" y="406"/>
                </a:lnTo>
                <a:lnTo>
                  <a:pt x="64" y="408"/>
                </a:lnTo>
                <a:lnTo>
                  <a:pt x="64" y="408"/>
                </a:lnTo>
                <a:lnTo>
                  <a:pt x="64" y="404"/>
                </a:lnTo>
                <a:lnTo>
                  <a:pt x="64" y="404"/>
                </a:lnTo>
                <a:lnTo>
                  <a:pt x="68" y="406"/>
                </a:lnTo>
                <a:lnTo>
                  <a:pt x="68" y="406"/>
                </a:lnTo>
                <a:lnTo>
                  <a:pt x="76" y="394"/>
                </a:lnTo>
                <a:lnTo>
                  <a:pt x="78" y="394"/>
                </a:lnTo>
                <a:lnTo>
                  <a:pt x="78" y="394"/>
                </a:lnTo>
                <a:lnTo>
                  <a:pt x="78" y="398"/>
                </a:lnTo>
                <a:lnTo>
                  <a:pt x="78" y="398"/>
                </a:lnTo>
                <a:lnTo>
                  <a:pt x="82" y="400"/>
                </a:lnTo>
                <a:lnTo>
                  <a:pt x="82" y="400"/>
                </a:lnTo>
                <a:lnTo>
                  <a:pt x="84" y="396"/>
                </a:lnTo>
                <a:lnTo>
                  <a:pt x="84" y="392"/>
                </a:lnTo>
                <a:lnTo>
                  <a:pt x="84" y="390"/>
                </a:lnTo>
                <a:lnTo>
                  <a:pt x="84" y="390"/>
                </a:lnTo>
                <a:lnTo>
                  <a:pt x="88" y="390"/>
                </a:lnTo>
                <a:lnTo>
                  <a:pt x="92" y="390"/>
                </a:lnTo>
                <a:lnTo>
                  <a:pt x="94" y="388"/>
                </a:lnTo>
                <a:lnTo>
                  <a:pt x="94" y="388"/>
                </a:lnTo>
                <a:lnTo>
                  <a:pt x="98" y="388"/>
                </a:lnTo>
                <a:lnTo>
                  <a:pt x="100" y="388"/>
                </a:lnTo>
                <a:lnTo>
                  <a:pt x="100" y="388"/>
                </a:lnTo>
                <a:lnTo>
                  <a:pt x="100" y="388"/>
                </a:lnTo>
                <a:lnTo>
                  <a:pt x="100" y="386"/>
                </a:lnTo>
                <a:lnTo>
                  <a:pt x="100" y="386"/>
                </a:lnTo>
                <a:lnTo>
                  <a:pt x="108" y="386"/>
                </a:lnTo>
                <a:lnTo>
                  <a:pt x="114" y="388"/>
                </a:lnTo>
                <a:lnTo>
                  <a:pt x="114" y="388"/>
                </a:lnTo>
                <a:lnTo>
                  <a:pt x="118" y="386"/>
                </a:lnTo>
                <a:lnTo>
                  <a:pt x="118" y="386"/>
                </a:lnTo>
                <a:lnTo>
                  <a:pt x="122" y="388"/>
                </a:lnTo>
                <a:lnTo>
                  <a:pt x="122" y="388"/>
                </a:lnTo>
                <a:lnTo>
                  <a:pt x="122" y="388"/>
                </a:lnTo>
                <a:lnTo>
                  <a:pt x="122" y="386"/>
                </a:lnTo>
                <a:lnTo>
                  <a:pt x="122" y="386"/>
                </a:lnTo>
                <a:lnTo>
                  <a:pt x="128" y="386"/>
                </a:lnTo>
                <a:lnTo>
                  <a:pt x="128" y="386"/>
                </a:lnTo>
                <a:lnTo>
                  <a:pt x="128" y="386"/>
                </a:lnTo>
                <a:lnTo>
                  <a:pt x="132" y="386"/>
                </a:lnTo>
                <a:lnTo>
                  <a:pt x="132" y="386"/>
                </a:lnTo>
                <a:lnTo>
                  <a:pt x="134" y="388"/>
                </a:lnTo>
                <a:lnTo>
                  <a:pt x="134" y="388"/>
                </a:lnTo>
                <a:lnTo>
                  <a:pt x="136" y="388"/>
                </a:lnTo>
                <a:lnTo>
                  <a:pt x="136" y="386"/>
                </a:lnTo>
                <a:lnTo>
                  <a:pt x="136" y="386"/>
                </a:lnTo>
                <a:lnTo>
                  <a:pt x="138" y="386"/>
                </a:lnTo>
                <a:lnTo>
                  <a:pt x="138" y="386"/>
                </a:lnTo>
                <a:lnTo>
                  <a:pt x="140" y="386"/>
                </a:lnTo>
                <a:lnTo>
                  <a:pt x="140" y="386"/>
                </a:lnTo>
                <a:lnTo>
                  <a:pt x="142" y="384"/>
                </a:lnTo>
                <a:lnTo>
                  <a:pt x="144" y="380"/>
                </a:lnTo>
                <a:lnTo>
                  <a:pt x="146" y="376"/>
                </a:lnTo>
                <a:lnTo>
                  <a:pt x="148" y="372"/>
                </a:lnTo>
                <a:lnTo>
                  <a:pt x="148" y="372"/>
                </a:lnTo>
                <a:lnTo>
                  <a:pt x="154" y="372"/>
                </a:lnTo>
                <a:lnTo>
                  <a:pt x="158" y="372"/>
                </a:lnTo>
                <a:lnTo>
                  <a:pt x="162" y="366"/>
                </a:lnTo>
                <a:lnTo>
                  <a:pt x="162" y="366"/>
                </a:lnTo>
                <a:lnTo>
                  <a:pt x="162" y="366"/>
                </a:lnTo>
                <a:lnTo>
                  <a:pt x="164" y="366"/>
                </a:lnTo>
                <a:lnTo>
                  <a:pt x="164" y="366"/>
                </a:lnTo>
                <a:lnTo>
                  <a:pt x="170" y="360"/>
                </a:lnTo>
                <a:lnTo>
                  <a:pt x="170" y="360"/>
                </a:lnTo>
                <a:lnTo>
                  <a:pt x="186" y="360"/>
                </a:lnTo>
                <a:lnTo>
                  <a:pt x="200" y="356"/>
                </a:lnTo>
                <a:lnTo>
                  <a:pt x="200" y="354"/>
                </a:lnTo>
                <a:lnTo>
                  <a:pt x="200" y="354"/>
                </a:lnTo>
                <a:lnTo>
                  <a:pt x="206" y="352"/>
                </a:lnTo>
                <a:lnTo>
                  <a:pt x="206" y="352"/>
                </a:lnTo>
                <a:lnTo>
                  <a:pt x="210" y="352"/>
                </a:lnTo>
                <a:lnTo>
                  <a:pt x="212" y="352"/>
                </a:lnTo>
                <a:lnTo>
                  <a:pt x="214" y="350"/>
                </a:lnTo>
                <a:lnTo>
                  <a:pt x="214" y="350"/>
                </a:lnTo>
                <a:lnTo>
                  <a:pt x="224" y="350"/>
                </a:lnTo>
                <a:lnTo>
                  <a:pt x="226" y="348"/>
                </a:lnTo>
                <a:lnTo>
                  <a:pt x="226" y="348"/>
                </a:lnTo>
                <a:lnTo>
                  <a:pt x="230" y="348"/>
                </a:lnTo>
                <a:lnTo>
                  <a:pt x="234" y="348"/>
                </a:lnTo>
                <a:lnTo>
                  <a:pt x="234" y="348"/>
                </a:lnTo>
                <a:lnTo>
                  <a:pt x="238" y="346"/>
                </a:lnTo>
                <a:lnTo>
                  <a:pt x="238" y="346"/>
                </a:lnTo>
                <a:lnTo>
                  <a:pt x="240" y="344"/>
                </a:lnTo>
                <a:lnTo>
                  <a:pt x="240" y="344"/>
                </a:lnTo>
                <a:lnTo>
                  <a:pt x="248" y="350"/>
                </a:lnTo>
                <a:lnTo>
                  <a:pt x="250" y="350"/>
                </a:lnTo>
                <a:lnTo>
                  <a:pt x="250" y="350"/>
                </a:lnTo>
                <a:lnTo>
                  <a:pt x="252" y="354"/>
                </a:lnTo>
                <a:lnTo>
                  <a:pt x="252" y="354"/>
                </a:lnTo>
                <a:lnTo>
                  <a:pt x="260" y="354"/>
                </a:lnTo>
                <a:lnTo>
                  <a:pt x="266" y="354"/>
                </a:lnTo>
                <a:lnTo>
                  <a:pt x="266" y="358"/>
                </a:lnTo>
                <a:lnTo>
                  <a:pt x="266" y="358"/>
                </a:lnTo>
                <a:lnTo>
                  <a:pt x="272" y="354"/>
                </a:lnTo>
                <a:lnTo>
                  <a:pt x="272" y="354"/>
                </a:lnTo>
                <a:lnTo>
                  <a:pt x="274" y="356"/>
                </a:lnTo>
                <a:lnTo>
                  <a:pt x="274" y="358"/>
                </a:lnTo>
                <a:lnTo>
                  <a:pt x="274" y="358"/>
                </a:lnTo>
                <a:lnTo>
                  <a:pt x="274" y="364"/>
                </a:lnTo>
                <a:lnTo>
                  <a:pt x="274" y="364"/>
                </a:lnTo>
                <a:lnTo>
                  <a:pt x="280" y="364"/>
                </a:lnTo>
                <a:lnTo>
                  <a:pt x="280" y="364"/>
                </a:lnTo>
                <a:lnTo>
                  <a:pt x="282" y="366"/>
                </a:lnTo>
                <a:lnTo>
                  <a:pt x="282" y="368"/>
                </a:lnTo>
                <a:lnTo>
                  <a:pt x="280" y="368"/>
                </a:lnTo>
                <a:lnTo>
                  <a:pt x="280" y="368"/>
                </a:lnTo>
                <a:lnTo>
                  <a:pt x="278" y="372"/>
                </a:lnTo>
                <a:lnTo>
                  <a:pt x="278" y="372"/>
                </a:lnTo>
                <a:lnTo>
                  <a:pt x="288" y="376"/>
                </a:lnTo>
                <a:lnTo>
                  <a:pt x="288" y="376"/>
                </a:lnTo>
                <a:lnTo>
                  <a:pt x="288" y="384"/>
                </a:lnTo>
                <a:lnTo>
                  <a:pt x="290" y="390"/>
                </a:lnTo>
                <a:lnTo>
                  <a:pt x="290" y="390"/>
                </a:lnTo>
                <a:lnTo>
                  <a:pt x="294" y="392"/>
                </a:lnTo>
                <a:lnTo>
                  <a:pt x="294" y="392"/>
                </a:lnTo>
                <a:lnTo>
                  <a:pt x="294" y="394"/>
                </a:lnTo>
                <a:lnTo>
                  <a:pt x="294" y="396"/>
                </a:lnTo>
                <a:lnTo>
                  <a:pt x="294" y="396"/>
                </a:lnTo>
                <a:lnTo>
                  <a:pt x="298" y="400"/>
                </a:lnTo>
                <a:lnTo>
                  <a:pt x="298" y="400"/>
                </a:lnTo>
                <a:lnTo>
                  <a:pt x="302" y="398"/>
                </a:lnTo>
                <a:lnTo>
                  <a:pt x="302" y="398"/>
                </a:lnTo>
                <a:lnTo>
                  <a:pt x="306" y="394"/>
                </a:lnTo>
                <a:lnTo>
                  <a:pt x="310" y="388"/>
                </a:lnTo>
                <a:lnTo>
                  <a:pt x="310" y="386"/>
                </a:lnTo>
                <a:lnTo>
                  <a:pt x="310" y="386"/>
                </a:lnTo>
                <a:lnTo>
                  <a:pt x="316" y="384"/>
                </a:lnTo>
                <a:lnTo>
                  <a:pt x="322" y="380"/>
                </a:lnTo>
                <a:lnTo>
                  <a:pt x="322" y="380"/>
                </a:lnTo>
                <a:lnTo>
                  <a:pt x="322" y="374"/>
                </a:lnTo>
                <a:lnTo>
                  <a:pt x="322" y="374"/>
                </a:lnTo>
                <a:lnTo>
                  <a:pt x="328" y="372"/>
                </a:lnTo>
                <a:lnTo>
                  <a:pt x="328" y="372"/>
                </a:lnTo>
                <a:lnTo>
                  <a:pt x="326" y="378"/>
                </a:lnTo>
                <a:lnTo>
                  <a:pt x="326" y="384"/>
                </a:lnTo>
                <a:lnTo>
                  <a:pt x="326" y="384"/>
                </a:lnTo>
                <a:lnTo>
                  <a:pt x="322" y="388"/>
                </a:lnTo>
                <a:lnTo>
                  <a:pt x="322" y="388"/>
                </a:lnTo>
                <a:lnTo>
                  <a:pt x="322" y="396"/>
                </a:lnTo>
                <a:lnTo>
                  <a:pt x="322" y="404"/>
                </a:lnTo>
                <a:lnTo>
                  <a:pt x="322" y="404"/>
                </a:lnTo>
                <a:lnTo>
                  <a:pt x="318" y="408"/>
                </a:lnTo>
                <a:lnTo>
                  <a:pt x="318" y="408"/>
                </a:lnTo>
                <a:lnTo>
                  <a:pt x="314" y="408"/>
                </a:lnTo>
                <a:lnTo>
                  <a:pt x="314" y="408"/>
                </a:lnTo>
                <a:lnTo>
                  <a:pt x="314" y="412"/>
                </a:lnTo>
                <a:lnTo>
                  <a:pt x="314" y="412"/>
                </a:lnTo>
                <a:lnTo>
                  <a:pt x="316" y="412"/>
                </a:lnTo>
                <a:lnTo>
                  <a:pt x="316" y="412"/>
                </a:lnTo>
                <a:lnTo>
                  <a:pt x="316" y="412"/>
                </a:lnTo>
                <a:lnTo>
                  <a:pt x="318" y="410"/>
                </a:lnTo>
                <a:lnTo>
                  <a:pt x="318" y="410"/>
                </a:lnTo>
                <a:lnTo>
                  <a:pt x="324" y="410"/>
                </a:lnTo>
                <a:lnTo>
                  <a:pt x="324" y="410"/>
                </a:lnTo>
                <a:lnTo>
                  <a:pt x="326" y="408"/>
                </a:lnTo>
                <a:lnTo>
                  <a:pt x="326" y="404"/>
                </a:lnTo>
                <a:lnTo>
                  <a:pt x="326" y="400"/>
                </a:lnTo>
                <a:lnTo>
                  <a:pt x="328" y="396"/>
                </a:lnTo>
                <a:lnTo>
                  <a:pt x="328" y="396"/>
                </a:lnTo>
                <a:lnTo>
                  <a:pt x="330" y="394"/>
                </a:lnTo>
                <a:lnTo>
                  <a:pt x="332" y="394"/>
                </a:lnTo>
                <a:lnTo>
                  <a:pt x="332" y="394"/>
                </a:lnTo>
                <a:lnTo>
                  <a:pt x="332" y="400"/>
                </a:lnTo>
                <a:lnTo>
                  <a:pt x="332" y="400"/>
                </a:lnTo>
                <a:lnTo>
                  <a:pt x="336" y="404"/>
                </a:lnTo>
                <a:lnTo>
                  <a:pt x="336" y="404"/>
                </a:lnTo>
                <a:lnTo>
                  <a:pt x="336" y="412"/>
                </a:lnTo>
                <a:lnTo>
                  <a:pt x="336" y="422"/>
                </a:lnTo>
                <a:lnTo>
                  <a:pt x="336" y="422"/>
                </a:lnTo>
                <a:lnTo>
                  <a:pt x="340" y="422"/>
                </a:lnTo>
                <a:lnTo>
                  <a:pt x="342" y="420"/>
                </a:lnTo>
                <a:lnTo>
                  <a:pt x="344" y="418"/>
                </a:lnTo>
                <a:lnTo>
                  <a:pt x="344" y="418"/>
                </a:lnTo>
                <a:lnTo>
                  <a:pt x="348" y="418"/>
                </a:lnTo>
                <a:lnTo>
                  <a:pt x="348" y="418"/>
                </a:lnTo>
                <a:lnTo>
                  <a:pt x="348" y="426"/>
                </a:lnTo>
                <a:lnTo>
                  <a:pt x="352" y="434"/>
                </a:lnTo>
                <a:lnTo>
                  <a:pt x="354" y="434"/>
                </a:lnTo>
                <a:lnTo>
                  <a:pt x="354" y="434"/>
                </a:lnTo>
                <a:lnTo>
                  <a:pt x="354" y="444"/>
                </a:lnTo>
                <a:lnTo>
                  <a:pt x="352" y="448"/>
                </a:lnTo>
                <a:lnTo>
                  <a:pt x="352" y="452"/>
                </a:lnTo>
                <a:lnTo>
                  <a:pt x="352" y="452"/>
                </a:lnTo>
                <a:lnTo>
                  <a:pt x="354" y="456"/>
                </a:lnTo>
                <a:lnTo>
                  <a:pt x="358" y="458"/>
                </a:lnTo>
                <a:lnTo>
                  <a:pt x="362" y="462"/>
                </a:lnTo>
                <a:lnTo>
                  <a:pt x="362" y="462"/>
                </a:lnTo>
                <a:lnTo>
                  <a:pt x="362" y="464"/>
                </a:lnTo>
                <a:lnTo>
                  <a:pt x="364" y="466"/>
                </a:lnTo>
                <a:lnTo>
                  <a:pt x="364" y="466"/>
                </a:lnTo>
                <a:lnTo>
                  <a:pt x="368" y="466"/>
                </a:lnTo>
                <a:lnTo>
                  <a:pt x="368" y="466"/>
                </a:lnTo>
                <a:lnTo>
                  <a:pt x="374" y="470"/>
                </a:lnTo>
                <a:lnTo>
                  <a:pt x="376" y="472"/>
                </a:lnTo>
                <a:lnTo>
                  <a:pt x="378" y="472"/>
                </a:lnTo>
                <a:lnTo>
                  <a:pt x="378" y="472"/>
                </a:lnTo>
                <a:lnTo>
                  <a:pt x="380" y="472"/>
                </a:lnTo>
                <a:lnTo>
                  <a:pt x="384" y="470"/>
                </a:lnTo>
                <a:lnTo>
                  <a:pt x="384" y="470"/>
                </a:lnTo>
                <a:close/>
                <a:moveTo>
                  <a:pt x="416" y="516"/>
                </a:moveTo>
                <a:lnTo>
                  <a:pt x="416" y="516"/>
                </a:lnTo>
                <a:lnTo>
                  <a:pt x="414" y="524"/>
                </a:lnTo>
                <a:lnTo>
                  <a:pt x="416" y="530"/>
                </a:lnTo>
                <a:lnTo>
                  <a:pt x="416" y="530"/>
                </a:lnTo>
                <a:lnTo>
                  <a:pt x="426" y="544"/>
                </a:lnTo>
                <a:lnTo>
                  <a:pt x="426" y="546"/>
                </a:lnTo>
                <a:lnTo>
                  <a:pt x="426" y="546"/>
                </a:lnTo>
                <a:lnTo>
                  <a:pt x="430" y="546"/>
                </a:lnTo>
                <a:lnTo>
                  <a:pt x="430" y="546"/>
                </a:lnTo>
                <a:lnTo>
                  <a:pt x="426" y="548"/>
                </a:lnTo>
                <a:lnTo>
                  <a:pt x="426" y="548"/>
                </a:lnTo>
                <a:lnTo>
                  <a:pt x="426" y="554"/>
                </a:lnTo>
                <a:lnTo>
                  <a:pt x="426" y="554"/>
                </a:lnTo>
                <a:lnTo>
                  <a:pt x="428" y="558"/>
                </a:lnTo>
                <a:lnTo>
                  <a:pt x="432" y="560"/>
                </a:lnTo>
                <a:lnTo>
                  <a:pt x="432" y="560"/>
                </a:lnTo>
                <a:lnTo>
                  <a:pt x="432" y="564"/>
                </a:lnTo>
                <a:lnTo>
                  <a:pt x="434" y="566"/>
                </a:lnTo>
                <a:lnTo>
                  <a:pt x="434" y="566"/>
                </a:lnTo>
                <a:lnTo>
                  <a:pt x="436" y="566"/>
                </a:lnTo>
                <a:lnTo>
                  <a:pt x="438" y="566"/>
                </a:lnTo>
                <a:lnTo>
                  <a:pt x="438" y="566"/>
                </a:lnTo>
                <a:lnTo>
                  <a:pt x="436" y="568"/>
                </a:lnTo>
                <a:lnTo>
                  <a:pt x="436" y="570"/>
                </a:lnTo>
                <a:lnTo>
                  <a:pt x="438" y="570"/>
                </a:lnTo>
                <a:lnTo>
                  <a:pt x="438" y="572"/>
                </a:lnTo>
                <a:lnTo>
                  <a:pt x="438" y="572"/>
                </a:lnTo>
                <a:lnTo>
                  <a:pt x="448" y="572"/>
                </a:lnTo>
                <a:lnTo>
                  <a:pt x="448" y="572"/>
                </a:lnTo>
                <a:lnTo>
                  <a:pt x="448" y="570"/>
                </a:lnTo>
                <a:lnTo>
                  <a:pt x="448" y="570"/>
                </a:lnTo>
                <a:lnTo>
                  <a:pt x="450" y="570"/>
                </a:lnTo>
                <a:lnTo>
                  <a:pt x="452" y="570"/>
                </a:lnTo>
                <a:lnTo>
                  <a:pt x="452" y="570"/>
                </a:lnTo>
                <a:lnTo>
                  <a:pt x="452" y="568"/>
                </a:lnTo>
                <a:lnTo>
                  <a:pt x="452" y="566"/>
                </a:lnTo>
                <a:lnTo>
                  <a:pt x="452" y="568"/>
                </a:lnTo>
                <a:lnTo>
                  <a:pt x="452" y="568"/>
                </a:lnTo>
                <a:lnTo>
                  <a:pt x="450" y="568"/>
                </a:lnTo>
                <a:lnTo>
                  <a:pt x="450" y="568"/>
                </a:lnTo>
                <a:lnTo>
                  <a:pt x="448" y="564"/>
                </a:lnTo>
                <a:lnTo>
                  <a:pt x="448" y="564"/>
                </a:lnTo>
                <a:lnTo>
                  <a:pt x="452" y="562"/>
                </a:lnTo>
                <a:lnTo>
                  <a:pt x="452" y="560"/>
                </a:lnTo>
                <a:lnTo>
                  <a:pt x="452" y="560"/>
                </a:lnTo>
                <a:lnTo>
                  <a:pt x="452" y="560"/>
                </a:lnTo>
                <a:lnTo>
                  <a:pt x="454" y="560"/>
                </a:lnTo>
                <a:lnTo>
                  <a:pt x="456" y="560"/>
                </a:lnTo>
                <a:lnTo>
                  <a:pt x="454" y="560"/>
                </a:lnTo>
                <a:lnTo>
                  <a:pt x="454" y="560"/>
                </a:lnTo>
                <a:lnTo>
                  <a:pt x="456" y="566"/>
                </a:lnTo>
                <a:lnTo>
                  <a:pt x="456" y="566"/>
                </a:lnTo>
                <a:lnTo>
                  <a:pt x="460" y="564"/>
                </a:lnTo>
                <a:lnTo>
                  <a:pt x="460" y="564"/>
                </a:lnTo>
                <a:lnTo>
                  <a:pt x="458" y="558"/>
                </a:lnTo>
                <a:lnTo>
                  <a:pt x="458" y="554"/>
                </a:lnTo>
                <a:lnTo>
                  <a:pt x="460" y="544"/>
                </a:lnTo>
                <a:lnTo>
                  <a:pt x="460" y="544"/>
                </a:lnTo>
                <a:lnTo>
                  <a:pt x="462" y="544"/>
                </a:lnTo>
                <a:lnTo>
                  <a:pt x="464" y="544"/>
                </a:lnTo>
                <a:lnTo>
                  <a:pt x="464" y="544"/>
                </a:lnTo>
                <a:lnTo>
                  <a:pt x="464" y="536"/>
                </a:lnTo>
                <a:lnTo>
                  <a:pt x="464" y="530"/>
                </a:lnTo>
                <a:lnTo>
                  <a:pt x="460" y="518"/>
                </a:lnTo>
                <a:lnTo>
                  <a:pt x="460" y="518"/>
                </a:lnTo>
                <a:lnTo>
                  <a:pt x="452" y="524"/>
                </a:lnTo>
                <a:lnTo>
                  <a:pt x="452" y="524"/>
                </a:lnTo>
                <a:lnTo>
                  <a:pt x="450" y="526"/>
                </a:lnTo>
                <a:lnTo>
                  <a:pt x="450" y="526"/>
                </a:lnTo>
                <a:lnTo>
                  <a:pt x="444" y="526"/>
                </a:lnTo>
                <a:lnTo>
                  <a:pt x="438" y="524"/>
                </a:lnTo>
                <a:lnTo>
                  <a:pt x="426" y="518"/>
                </a:lnTo>
                <a:lnTo>
                  <a:pt x="426" y="518"/>
                </a:lnTo>
                <a:lnTo>
                  <a:pt x="424" y="520"/>
                </a:lnTo>
                <a:lnTo>
                  <a:pt x="422" y="520"/>
                </a:lnTo>
                <a:lnTo>
                  <a:pt x="422" y="520"/>
                </a:lnTo>
                <a:lnTo>
                  <a:pt x="418" y="516"/>
                </a:lnTo>
                <a:lnTo>
                  <a:pt x="418" y="516"/>
                </a:lnTo>
                <a:lnTo>
                  <a:pt x="416" y="516"/>
                </a:lnTo>
                <a:lnTo>
                  <a:pt x="416" y="5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7" name="Freeform 261">
            <a:extLst>
              <a:ext uri="{FF2B5EF4-FFF2-40B4-BE49-F238E27FC236}">
                <a16:creationId xmlns:a16="http://schemas.microsoft.com/office/drawing/2014/main" id="{BE91B870-043D-4DB1-9726-2BD7332A689B}"/>
              </a:ext>
            </a:extLst>
          </p:cNvPr>
          <p:cNvSpPr>
            <a:spLocks/>
          </p:cNvSpPr>
          <p:nvPr userDrawn="1"/>
        </p:nvSpPr>
        <p:spPr bwMode="auto">
          <a:xfrm>
            <a:off x="6836667" y="2462297"/>
            <a:ext cx="77394" cy="75504"/>
          </a:xfrm>
          <a:custGeom>
            <a:avLst/>
            <a:gdLst>
              <a:gd name="T0" fmla="*/ 4 w 46"/>
              <a:gd name="T1" fmla="*/ 0 h 44"/>
              <a:gd name="T2" fmla="*/ 6 w 46"/>
              <a:gd name="T3" fmla="*/ 8 h 44"/>
              <a:gd name="T4" fmla="*/ 4 w 46"/>
              <a:gd name="T5" fmla="*/ 10 h 44"/>
              <a:gd name="T6" fmla="*/ 0 w 46"/>
              <a:gd name="T7" fmla="*/ 16 h 44"/>
              <a:gd name="T8" fmla="*/ 0 w 46"/>
              <a:gd name="T9" fmla="*/ 18 h 44"/>
              <a:gd name="T10" fmla="*/ 6 w 46"/>
              <a:gd name="T11" fmla="*/ 22 h 44"/>
              <a:gd name="T12" fmla="*/ 14 w 46"/>
              <a:gd name="T13" fmla="*/ 24 h 44"/>
              <a:gd name="T14" fmla="*/ 20 w 46"/>
              <a:gd name="T15" fmla="*/ 30 h 44"/>
              <a:gd name="T16" fmla="*/ 20 w 46"/>
              <a:gd name="T17" fmla="*/ 32 h 44"/>
              <a:gd name="T18" fmla="*/ 24 w 46"/>
              <a:gd name="T19" fmla="*/ 32 h 44"/>
              <a:gd name="T20" fmla="*/ 30 w 46"/>
              <a:gd name="T21" fmla="*/ 32 h 44"/>
              <a:gd name="T22" fmla="*/ 34 w 46"/>
              <a:gd name="T23" fmla="*/ 38 h 44"/>
              <a:gd name="T24" fmla="*/ 38 w 46"/>
              <a:gd name="T25" fmla="*/ 42 h 44"/>
              <a:gd name="T26" fmla="*/ 38 w 46"/>
              <a:gd name="T27" fmla="*/ 44 h 44"/>
              <a:gd name="T28" fmla="*/ 42 w 46"/>
              <a:gd name="T29" fmla="*/ 42 h 44"/>
              <a:gd name="T30" fmla="*/ 46 w 46"/>
              <a:gd name="T31" fmla="*/ 38 h 44"/>
              <a:gd name="T32" fmla="*/ 44 w 46"/>
              <a:gd name="T33" fmla="*/ 30 h 44"/>
              <a:gd name="T34" fmla="*/ 44 w 46"/>
              <a:gd name="T35" fmla="*/ 30 h 44"/>
              <a:gd name="T36" fmla="*/ 40 w 46"/>
              <a:gd name="T37" fmla="*/ 30 h 44"/>
              <a:gd name="T38" fmla="*/ 36 w 46"/>
              <a:gd name="T39" fmla="*/ 26 h 44"/>
              <a:gd name="T40" fmla="*/ 38 w 46"/>
              <a:gd name="T41" fmla="*/ 22 h 44"/>
              <a:gd name="T42" fmla="*/ 36 w 46"/>
              <a:gd name="T43" fmla="*/ 18 h 44"/>
              <a:gd name="T44" fmla="*/ 28 w 46"/>
              <a:gd name="T45" fmla="*/ 14 h 44"/>
              <a:gd name="T46" fmla="*/ 32 w 46"/>
              <a:gd name="T47" fmla="*/ 12 h 44"/>
              <a:gd name="T48" fmla="*/ 32 w 46"/>
              <a:gd name="T49" fmla="*/ 8 h 44"/>
              <a:gd name="T50" fmla="*/ 28 w 46"/>
              <a:gd name="T51" fmla="*/ 6 h 44"/>
              <a:gd name="T52" fmla="*/ 26 w 46"/>
              <a:gd name="T53" fmla="*/ 4 h 44"/>
              <a:gd name="T54" fmla="*/ 26 w 46"/>
              <a:gd name="T55" fmla="*/ 6 h 44"/>
              <a:gd name="T56" fmla="*/ 22 w 46"/>
              <a:gd name="T57" fmla="*/ 4 h 44"/>
              <a:gd name="T58" fmla="*/ 22 w 46"/>
              <a:gd name="T59" fmla="*/ 0 h 44"/>
              <a:gd name="T60" fmla="*/ 14 w 46"/>
              <a:gd name="T61" fmla="*/ 0 h 44"/>
              <a:gd name="T62" fmla="*/ 4 w 46"/>
              <a:gd name="T6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44">
                <a:moveTo>
                  <a:pt x="4" y="0"/>
                </a:moveTo>
                <a:lnTo>
                  <a:pt x="4" y="0"/>
                </a:lnTo>
                <a:lnTo>
                  <a:pt x="4" y="4"/>
                </a:lnTo>
                <a:lnTo>
                  <a:pt x="6" y="8"/>
                </a:lnTo>
                <a:lnTo>
                  <a:pt x="4" y="10"/>
                </a:lnTo>
                <a:lnTo>
                  <a:pt x="4" y="10"/>
                </a:lnTo>
                <a:lnTo>
                  <a:pt x="2" y="12"/>
                </a:lnTo>
                <a:lnTo>
                  <a:pt x="0" y="16"/>
                </a:lnTo>
                <a:lnTo>
                  <a:pt x="0" y="16"/>
                </a:lnTo>
                <a:lnTo>
                  <a:pt x="0" y="18"/>
                </a:lnTo>
                <a:lnTo>
                  <a:pt x="2" y="20"/>
                </a:lnTo>
                <a:lnTo>
                  <a:pt x="6" y="22"/>
                </a:lnTo>
                <a:lnTo>
                  <a:pt x="14" y="24"/>
                </a:lnTo>
                <a:lnTo>
                  <a:pt x="14" y="24"/>
                </a:lnTo>
                <a:lnTo>
                  <a:pt x="18" y="26"/>
                </a:lnTo>
                <a:lnTo>
                  <a:pt x="20" y="30"/>
                </a:lnTo>
                <a:lnTo>
                  <a:pt x="20" y="32"/>
                </a:lnTo>
                <a:lnTo>
                  <a:pt x="20" y="32"/>
                </a:lnTo>
                <a:lnTo>
                  <a:pt x="24" y="32"/>
                </a:lnTo>
                <a:lnTo>
                  <a:pt x="24" y="32"/>
                </a:lnTo>
                <a:lnTo>
                  <a:pt x="28" y="32"/>
                </a:lnTo>
                <a:lnTo>
                  <a:pt x="30" y="32"/>
                </a:lnTo>
                <a:lnTo>
                  <a:pt x="30" y="32"/>
                </a:lnTo>
                <a:lnTo>
                  <a:pt x="34" y="38"/>
                </a:lnTo>
                <a:lnTo>
                  <a:pt x="34" y="38"/>
                </a:lnTo>
                <a:lnTo>
                  <a:pt x="38" y="42"/>
                </a:lnTo>
                <a:lnTo>
                  <a:pt x="38" y="44"/>
                </a:lnTo>
                <a:lnTo>
                  <a:pt x="38" y="44"/>
                </a:lnTo>
                <a:lnTo>
                  <a:pt x="42" y="42"/>
                </a:lnTo>
                <a:lnTo>
                  <a:pt x="42" y="42"/>
                </a:lnTo>
                <a:lnTo>
                  <a:pt x="46" y="38"/>
                </a:lnTo>
                <a:lnTo>
                  <a:pt x="46" y="38"/>
                </a:lnTo>
                <a:lnTo>
                  <a:pt x="46" y="36"/>
                </a:lnTo>
                <a:lnTo>
                  <a:pt x="44" y="30"/>
                </a:lnTo>
                <a:lnTo>
                  <a:pt x="44" y="30"/>
                </a:lnTo>
                <a:lnTo>
                  <a:pt x="44" y="30"/>
                </a:lnTo>
                <a:lnTo>
                  <a:pt x="44" y="30"/>
                </a:lnTo>
                <a:lnTo>
                  <a:pt x="40" y="30"/>
                </a:lnTo>
                <a:lnTo>
                  <a:pt x="40" y="30"/>
                </a:lnTo>
                <a:lnTo>
                  <a:pt x="36" y="26"/>
                </a:lnTo>
                <a:lnTo>
                  <a:pt x="36" y="24"/>
                </a:lnTo>
                <a:lnTo>
                  <a:pt x="38" y="22"/>
                </a:lnTo>
                <a:lnTo>
                  <a:pt x="38" y="22"/>
                </a:lnTo>
                <a:lnTo>
                  <a:pt x="36" y="18"/>
                </a:lnTo>
                <a:lnTo>
                  <a:pt x="36" y="18"/>
                </a:lnTo>
                <a:lnTo>
                  <a:pt x="28" y="14"/>
                </a:lnTo>
                <a:lnTo>
                  <a:pt x="28" y="14"/>
                </a:lnTo>
                <a:lnTo>
                  <a:pt x="32" y="12"/>
                </a:lnTo>
                <a:lnTo>
                  <a:pt x="32" y="10"/>
                </a:lnTo>
                <a:lnTo>
                  <a:pt x="32" y="8"/>
                </a:lnTo>
                <a:lnTo>
                  <a:pt x="32" y="8"/>
                </a:lnTo>
                <a:lnTo>
                  <a:pt x="28" y="6"/>
                </a:lnTo>
                <a:lnTo>
                  <a:pt x="28" y="4"/>
                </a:lnTo>
                <a:lnTo>
                  <a:pt x="26" y="4"/>
                </a:lnTo>
                <a:lnTo>
                  <a:pt x="26" y="4"/>
                </a:lnTo>
                <a:lnTo>
                  <a:pt x="26" y="6"/>
                </a:lnTo>
                <a:lnTo>
                  <a:pt x="24" y="6"/>
                </a:lnTo>
                <a:lnTo>
                  <a:pt x="22" y="4"/>
                </a:lnTo>
                <a:lnTo>
                  <a:pt x="22" y="0"/>
                </a:lnTo>
                <a:lnTo>
                  <a:pt x="22" y="0"/>
                </a:lnTo>
                <a:lnTo>
                  <a:pt x="14" y="0"/>
                </a:lnTo>
                <a:lnTo>
                  <a:pt x="14" y="0"/>
                </a:lnTo>
                <a:lnTo>
                  <a:pt x="4" y="0"/>
                </a:lnTo>
                <a:lnTo>
                  <a:pt x="4"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8" name="Freeform 208">
            <a:extLst>
              <a:ext uri="{FF2B5EF4-FFF2-40B4-BE49-F238E27FC236}">
                <a16:creationId xmlns:a16="http://schemas.microsoft.com/office/drawing/2014/main" id="{F04AE0F3-9D02-4A6A-AE0C-99DD871B94D0}"/>
              </a:ext>
            </a:extLst>
          </p:cNvPr>
          <p:cNvSpPr>
            <a:spLocks/>
          </p:cNvSpPr>
          <p:nvPr userDrawn="1"/>
        </p:nvSpPr>
        <p:spPr bwMode="auto">
          <a:xfrm>
            <a:off x="3923536" y="3354609"/>
            <a:ext cx="80491" cy="92663"/>
          </a:xfrm>
          <a:custGeom>
            <a:avLst/>
            <a:gdLst>
              <a:gd name="T0" fmla="*/ 16 w 48"/>
              <a:gd name="T1" fmla="*/ 6 h 54"/>
              <a:gd name="T2" fmla="*/ 22 w 48"/>
              <a:gd name="T3" fmla="*/ 6 h 54"/>
              <a:gd name="T4" fmla="*/ 24 w 48"/>
              <a:gd name="T5" fmla="*/ 6 h 54"/>
              <a:gd name="T6" fmla="*/ 26 w 48"/>
              <a:gd name="T7" fmla="*/ 8 h 54"/>
              <a:gd name="T8" fmla="*/ 32 w 48"/>
              <a:gd name="T9" fmla="*/ 8 h 54"/>
              <a:gd name="T10" fmla="*/ 34 w 48"/>
              <a:gd name="T11" fmla="*/ 18 h 54"/>
              <a:gd name="T12" fmla="*/ 40 w 48"/>
              <a:gd name="T13" fmla="*/ 24 h 54"/>
              <a:gd name="T14" fmla="*/ 42 w 48"/>
              <a:gd name="T15" fmla="*/ 32 h 54"/>
              <a:gd name="T16" fmla="*/ 40 w 48"/>
              <a:gd name="T17" fmla="*/ 32 h 54"/>
              <a:gd name="T18" fmla="*/ 40 w 48"/>
              <a:gd name="T19" fmla="*/ 38 h 54"/>
              <a:gd name="T20" fmla="*/ 38 w 48"/>
              <a:gd name="T21" fmla="*/ 42 h 54"/>
              <a:gd name="T22" fmla="*/ 42 w 48"/>
              <a:gd name="T23" fmla="*/ 46 h 54"/>
              <a:gd name="T24" fmla="*/ 42 w 48"/>
              <a:gd name="T25" fmla="*/ 48 h 54"/>
              <a:gd name="T26" fmla="*/ 38 w 48"/>
              <a:gd name="T27" fmla="*/ 46 h 54"/>
              <a:gd name="T28" fmla="*/ 34 w 48"/>
              <a:gd name="T29" fmla="*/ 46 h 54"/>
              <a:gd name="T30" fmla="*/ 34 w 48"/>
              <a:gd name="T31" fmla="*/ 52 h 54"/>
              <a:gd name="T32" fmla="*/ 30 w 48"/>
              <a:gd name="T33" fmla="*/ 46 h 54"/>
              <a:gd name="T34" fmla="*/ 32 w 48"/>
              <a:gd name="T35" fmla="*/ 38 h 54"/>
              <a:gd name="T36" fmla="*/ 24 w 48"/>
              <a:gd name="T37" fmla="*/ 34 h 54"/>
              <a:gd name="T38" fmla="*/ 24 w 48"/>
              <a:gd name="T39" fmla="*/ 34 h 54"/>
              <a:gd name="T40" fmla="*/ 20 w 48"/>
              <a:gd name="T41" fmla="*/ 34 h 54"/>
              <a:gd name="T42" fmla="*/ 18 w 48"/>
              <a:gd name="T43" fmla="*/ 26 h 54"/>
              <a:gd name="T44" fmla="*/ 14 w 48"/>
              <a:gd name="T45" fmla="*/ 24 h 54"/>
              <a:gd name="T46" fmla="*/ 12 w 48"/>
              <a:gd name="T47" fmla="*/ 24 h 54"/>
              <a:gd name="T48" fmla="*/ 14 w 48"/>
              <a:gd name="T49" fmla="*/ 28 h 54"/>
              <a:gd name="T50" fmla="*/ 12 w 48"/>
              <a:gd name="T51" fmla="*/ 32 h 54"/>
              <a:gd name="T52" fmla="*/ 8 w 48"/>
              <a:gd name="T53" fmla="*/ 32 h 54"/>
              <a:gd name="T54" fmla="*/ 6 w 48"/>
              <a:gd name="T55" fmla="*/ 28 h 54"/>
              <a:gd name="T56" fmla="*/ 2 w 48"/>
              <a:gd name="T57" fmla="*/ 26 h 54"/>
              <a:gd name="T58" fmla="*/ 2 w 48"/>
              <a:gd name="T59" fmla="*/ 18 h 54"/>
              <a:gd name="T60" fmla="*/ 6 w 48"/>
              <a:gd name="T61" fmla="*/ 16 h 54"/>
              <a:gd name="T62" fmla="*/ 4 w 48"/>
              <a:gd name="T63" fmla="*/ 14 h 54"/>
              <a:gd name="T64" fmla="*/ 4 w 48"/>
              <a:gd name="T65" fmla="*/ 14 h 54"/>
              <a:gd name="T66" fmla="*/ 2 w 48"/>
              <a:gd name="T67" fmla="*/ 4 h 54"/>
              <a:gd name="T68" fmla="*/ 0 w 48"/>
              <a:gd name="T69" fmla="*/ 2 h 54"/>
              <a:gd name="T70" fmla="*/ 2 w 48"/>
              <a:gd name="T71" fmla="*/ 0 h 54"/>
              <a:gd name="T72" fmla="*/ 6 w 48"/>
              <a:gd name="T73" fmla="*/ 2 h 54"/>
              <a:gd name="T74" fmla="*/ 16 w 48"/>
              <a:gd name="T75" fmla="*/ 6 h 54"/>
              <a:gd name="T76" fmla="*/ 16 w 48"/>
              <a:gd name="T7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4">
                <a:moveTo>
                  <a:pt x="16" y="6"/>
                </a:moveTo>
                <a:lnTo>
                  <a:pt x="16" y="6"/>
                </a:lnTo>
                <a:lnTo>
                  <a:pt x="20" y="6"/>
                </a:lnTo>
                <a:lnTo>
                  <a:pt x="22" y="6"/>
                </a:lnTo>
                <a:lnTo>
                  <a:pt x="22" y="6"/>
                </a:lnTo>
                <a:lnTo>
                  <a:pt x="24" y="6"/>
                </a:lnTo>
                <a:lnTo>
                  <a:pt x="26" y="8"/>
                </a:lnTo>
                <a:lnTo>
                  <a:pt x="26" y="8"/>
                </a:lnTo>
                <a:lnTo>
                  <a:pt x="32" y="8"/>
                </a:lnTo>
                <a:lnTo>
                  <a:pt x="32" y="8"/>
                </a:lnTo>
                <a:lnTo>
                  <a:pt x="32" y="14"/>
                </a:lnTo>
                <a:lnTo>
                  <a:pt x="34" y="18"/>
                </a:lnTo>
                <a:lnTo>
                  <a:pt x="34" y="18"/>
                </a:lnTo>
                <a:lnTo>
                  <a:pt x="40" y="24"/>
                </a:lnTo>
                <a:lnTo>
                  <a:pt x="48" y="30"/>
                </a:lnTo>
                <a:lnTo>
                  <a:pt x="42" y="32"/>
                </a:lnTo>
                <a:lnTo>
                  <a:pt x="40" y="32"/>
                </a:lnTo>
                <a:lnTo>
                  <a:pt x="40" y="32"/>
                </a:lnTo>
                <a:lnTo>
                  <a:pt x="40" y="34"/>
                </a:lnTo>
                <a:lnTo>
                  <a:pt x="40" y="38"/>
                </a:lnTo>
                <a:lnTo>
                  <a:pt x="40" y="38"/>
                </a:lnTo>
                <a:lnTo>
                  <a:pt x="38" y="42"/>
                </a:lnTo>
                <a:lnTo>
                  <a:pt x="40" y="44"/>
                </a:lnTo>
                <a:lnTo>
                  <a:pt x="42" y="46"/>
                </a:lnTo>
                <a:lnTo>
                  <a:pt x="42" y="48"/>
                </a:lnTo>
                <a:lnTo>
                  <a:pt x="42" y="48"/>
                </a:lnTo>
                <a:lnTo>
                  <a:pt x="40" y="54"/>
                </a:lnTo>
                <a:lnTo>
                  <a:pt x="38" y="46"/>
                </a:lnTo>
                <a:lnTo>
                  <a:pt x="38" y="46"/>
                </a:lnTo>
                <a:lnTo>
                  <a:pt x="34" y="46"/>
                </a:lnTo>
                <a:lnTo>
                  <a:pt x="34" y="46"/>
                </a:lnTo>
                <a:lnTo>
                  <a:pt x="34" y="52"/>
                </a:lnTo>
                <a:lnTo>
                  <a:pt x="34" y="52"/>
                </a:lnTo>
                <a:lnTo>
                  <a:pt x="30" y="46"/>
                </a:lnTo>
                <a:lnTo>
                  <a:pt x="32" y="38"/>
                </a:lnTo>
                <a:lnTo>
                  <a:pt x="32" y="38"/>
                </a:lnTo>
                <a:lnTo>
                  <a:pt x="24" y="34"/>
                </a:lnTo>
                <a:lnTo>
                  <a:pt x="24" y="34"/>
                </a:lnTo>
                <a:lnTo>
                  <a:pt x="24" y="34"/>
                </a:lnTo>
                <a:lnTo>
                  <a:pt x="24" y="34"/>
                </a:lnTo>
                <a:lnTo>
                  <a:pt x="20" y="34"/>
                </a:lnTo>
                <a:lnTo>
                  <a:pt x="20" y="34"/>
                </a:lnTo>
                <a:lnTo>
                  <a:pt x="20" y="30"/>
                </a:lnTo>
                <a:lnTo>
                  <a:pt x="18" y="26"/>
                </a:lnTo>
                <a:lnTo>
                  <a:pt x="18" y="26"/>
                </a:lnTo>
                <a:lnTo>
                  <a:pt x="14" y="24"/>
                </a:lnTo>
                <a:lnTo>
                  <a:pt x="12" y="24"/>
                </a:lnTo>
                <a:lnTo>
                  <a:pt x="12" y="24"/>
                </a:lnTo>
                <a:lnTo>
                  <a:pt x="14" y="28"/>
                </a:lnTo>
                <a:lnTo>
                  <a:pt x="14" y="28"/>
                </a:lnTo>
                <a:lnTo>
                  <a:pt x="12" y="30"/>
                </a:lnTo>
                <a:lnTo>
                  <a:pt x="12" y="32"/>
                </a:lnTo>
                <a:lnTo>
                  <a:pt x="12" y="32"/>
                </a:lnTo>
                <a:lnTo>
                  <a:pt x="8" y="32"/>
                </a:lnTo>
                <a:lnTo>
                  <a:pt x="8" y="32"/>
                </a:lnTo>
                <a:lnTo>
                  <a:pt x="6" y="28"/>
                </a:lnTo>
                <a:lnTo>
                  <a:pt x="6" y="28"/>
                </a:lnTo>
                <a:lnTo>
                  <a:pt x="2" y="26"/>
                </a:lnTo>
                <a:lnTo>
                  <a:pt x="2" y="26"/>
                </a:lnTo>
                <a:lnTo>
                  <a:pt x="2" y="18"/>
                </a:lnTo>
                <a:lnTo>
                  <a:pt x="2" y="18"/>
                </a:lnTo>
                <a:lnTo>
                  <a:pt x="6" y="16"/>
                </a:lnTo>
                <a:lnTo>
                  <a:pt x="6" y="16"/>
                </a:lnTo>
                <a:lnTo>
                  <a:pt x="4" y="14"/>
                </a:lnTo>
                <a:lnTo>
                  <a:pt x="4" y="14"/>
                </a:lnTo>
                <a:lnTo>
                  <a:pt x="4" y="14"/>
                </a:lnTo>
                <a:lnTo>
                  <a:pt x="4" y="10"/>
                </a:lnTo>
                <a:lnTo>
                  <a:pt x="2" y="4"/>
                </a:lnTo>
                <a:lnTo>
                  <a:pt x="2" y="4"/>
                </a:lnTo>
                <a:lnTo>
                  <a:pt x="0" y="2"/>
                </a:lnTo>
                <a:lnTo>
                  <a:pt x="0" y="2"/>
                </a:lnTo>
                <a:lnTo>
                  <a:pt x="2" y="0"/>
                </a:lnTo>
                <a:lnTo>
                  <a:pt x="6" y="2"/>
                </a:lnTo>
                <a:lnTo>
                  <a:pt x="6" y="2"/>
                </a:lnTo>
                <a:lnTo>
                  <a:pt x="8" y="4"/>
                </a:lnTo>
                <a:lnTo>
                  <a:pt x="16" y="6"/>
                </a:lnTo>
                <a:lnTo>
                  <a:pt x="16" y="6"/>
                </a:lnTo>
                <a:lnTo>
                  <a:pt x="16" y="6"/>
                </a:lnTo>
                <a:lnTo>
                  <a:pt x="16" y="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9" name="Freeform 210">
            <a:extLst>
              <a:ext uri="{FF2B5EF4-FFF2-40B4-BE49-F238E27FC236}">
                <a16:creationId xmlns:a16="http://schemas.microsoft.com/office/drawing/2014/main" id="{C88627FD-473E-4C1B-8675-248859E65641}"/>
              </a:ext>
            </a:extLst>
          </p:cNvPr>
          <p:cNvSpPr>
            <a:spLocks/>
          </p:cNvSpPr>
          <p:nvPr userDrawn="1"/>
        </p:nvSpPr>
        <p:spPr bwMode="auto">
          <a:xfrm>
            <a:off x="4073681" y="3334018"/>
            <a:ext cx="286360" cy="473612"/>
          </a:xfrm>
          <a:custGeom>
            <a:avLst/>
            <a:gdLst>
              <a:gd name="T0" fmla="*/ 108 w 170"/>
              <a:gd name="T1" fmla="*/ 8 h 276"/>
              <a:gd name="T2" fmla="*/ 102 w 170"/>
              <a:gd name="T3" fmla="*/ 0 h 276"/>
              <a:gd name="T4" fmla="*/ 94 w 170"/>
              <a:gd name="T5" fmla="*/ 4 h 276"/>
              <a:gd name="T6" fmla="*/ 86 w 170"/>
              <a:gd name="T7" fmla="*/ 14 h 276"/>
              <a:gd name="T8" fmla="*/ 78 w 170"/>
              <a:gd name="T9" fmla="*/ 20 h 276"/>
              <a:gd name="T10" fmla="*/ 64 w 170"/>
              <a:gd name="T11" fmla="*/ 22 h 276"/>
              <a:gd name="T12" fmla="*/ 62 w 170"/>
              <a:gd name="T13" fmla="*/ 30 h 276"/>
              <a:gd name="T14" fmla="*/ 56 w 170"/>
              <a:gd name="T15" fmla="*/ 26 h 276"/>
              <a:gd name="T16" fmla="*/ 50 w 170"/>
              <a:gd name="T17" fmla="*/ 38 h 276"/>
              <a:gd name="T18" fmla="*/ 46 w 170"/>
              <a:gd name="T19" fmla="*/ 46 h 276"/>
              <a:gd name="T20" fmla="*/ 38 w 170"/>
              <a:gd name="T21" fmla="*/ 64 h 276"/>
              <a:gd name="T22" fmla="*/ 32 w 170"/>
              <a:gd name="T23" fmla="*/ 74 h 276"/>
              <a:gd name="T24" fmla="*/ 24 w 170"/>
              <a:gd name="T25" fmla="*/ 70 h 276"/>
              <a:gd name="T26" fmla="*/ 26 w 170"/>
              <a:gd name="T27" fmla="*/ 82 h 276"/>
              <a:gd name="T28" fmla="*/ 24 w 170"/>
              <a:gd name="T29" fmla="*/ 88 h 276"/>
              <a:gd name="T30" fmla="*/ 20 w 170"/>
              <a:gd name="T31" fmla="*/ 114 h 276"/>
              <a:gd name="T32" fmla="*/ 22 w 170"/>
              <a:gd name="T33" fmla="*/ 130 h 276"/>
              <a:gd name="T34" fmla="*/ 18 w 170"/>
              <a:gd name="T35" fmla="*/ 138 h 276"/>
              <a:gd name="T36" fmla="*/ 26 w 170"/>
              <a:gd name="T37" fmla="*/ 144 h 276"/>
              <a:gd name="T38" fmla="*/ 20 w 170"/>
              <a:gd name="T39" fmla="*/ 150 h 276"/>
              <a:gd name="T40" fmla="*/ 8 w 170"/>
              <a:gd name="T41" fmla="*/ 160 h 276"/>
              <a:gd name="T42" fmla="*/ 4 w 170"/>
              <a:gd name="T43" fmla="*/ 164 h 276"/>
              <a:gd name="T44" fmla="*/ 4 w 170"/>
              <a:gd name="T45" fmla="*/ 170 h 276"/>
              <a:gd name="T46" fmla="*/ 0 w 170"/>
              <a:gd name="T47" fmla="*/ 176 h 276"/>
              <a:gd name="T48" fmla="*/ 2 w 170"/>
              <a:gd name="T49" fmla="*/ 184 h 276"/>
              <a:gd name="T50" fmla="*/ 16 w 170"/>
              <a:gd name="T51" fmla="*/ 194 h 276"/>
              <a:gd name="T52" fmla="*/ 34 w 170"/>
              <a:gd name="T53" fmla="*/ 206 h 276"/>
              <a:gd name="T54" fmla="*/ 36 w 170"/>
              <a:gd name="T55" fmla="*/ 204 h 276"/>
              <a:gd name="T56" fmla="*/ 54 w 170"/>
              <a:gd name="T57" fmla="*/ 210 h 276"/>
              <a:gd name="T58" fmla="*/ 62 w 170"/>
              <a:gd name="T59" fmla="*/ 220 h 276"/>
              <a:gd name="T60" fmla="*/ 70 w 170"/>
              <a:gd name="T61" fmla="*/ 230 h 276"/>
              <a:gd name="T62" fmla="*/ 80 w 170"/>
              <a:gd name="T63" fmla="*/ 240 h 276"/>
              <a:gd name="T64" fmla="*/ 90 w 170"/>
              <a:gd name="T65" fmla="*/ 238 h 276"/>
              <a:gd name="T66" fmla="*/ 104 w 170"/>
              <a:gd name="T67" fmla="*/ 242 h 276"/>
              <a:gd name="T68" fmla="*/ 104 w 170"/>
              <a:gd name="T69" fmla="*/ 274 h 276"/>
              <a:gd name="T70" fmla="*/ 128 w 170"/>
              <a:gd name="T71" fmla="*/ 238 h 276"/>
              <a:gd name="T72" fmla="*/ 126 w 170"/>
              <a:gd name="T73" fmla="*/ 212 h 276"/>
              <a:gd name="T74" fmla="*/ 124 w 170"/>
              <a:gd name="T75" fmla="*/ 200 h 276"/>
              <a:gd name="T76" fmla="*/ 134 w 170"/>
              <a:gd name="T77" fmla="*/ 196 h 276"/>
              <a:gd name="T78" fmla="*/ 158 w 170"/>
              <a:gd name="T79" fmla="*/ 186 h 276"/>
              <a:gd name="T80" fmla="*/ 170 w 170"/>
              <a:gd name="T81" fmla="*/ 186 h 276"/>
              <a:gd name="T82" fmla="*/ 164 w 170"/>
              <a:gd name="T83" fmla="*/ 178 h 276"/>
              <a:gd name="T84" fmla="*/ 162 w 170"/>
              <a:gd name="T85" fmla="*/ 172 h 276"/>
              <a:gd name="T86" fmla="*/ 170 w 170"/>
              <a:gd name="T87" fmla="*/ 154 h 276"/>
              <a:gd name="T88" fmla="*/ 150 w 170"/>
              <a:gd name="T89" fmla="*/ 138 h 276"/>
              <a:gd name="T90" fmla="*/ 144 w 170"/>
              <a:gd name="T91" fmla="*/ 128 h 276"/>
              <a:gd name="T92" fmla="*/ 146 w 170"/>
              <a:gd name="T93" fmla="*/ 112 h 276"/>
              <a:gd name="T94" fmla="*/ 122 w 170"/>
              <a:gd name="T95" fmla="*/ 100 h 276"/>
              <a:gd name="T96" fmla="*/ 106 w 170"/>
              <a:gd name="T97" fmla="*/ 98 h 276"/>
              <a:gd name="T98" fmla="*/ 90 w 170"/>
              <a:gd name="T99" fmla="*/ 88 h 276"/>
              <a:gd name="T100" fmla="*/ 84 w 170"/>
              <a:gd name="T101" fmla="*/ 76 h 276"/>
              <a:gd name="T102" fmla="*/ 76 w 170"/>
              <a:gd name="T103" fmla="*/ 64 h 276"/>
              <a:gd name="T104" fmla="*/ 76 w 170"/>
              <a:gd name="T105" fmla="*/ 54 h 276"/>
              <a:gd name="T106" fmla="*/ 76 w 170"/>
              <a:gd name="T107" fmla="*/ 38 h 276"/>
              <a:gd name="T108" fmla="*/ 102 w 170"/>
              <a:gd name="T109" fmla="*/ 1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76">
                <a:moveTo>
                  <a:pt x="102" y="10"/>
                </a:moveTo>
                <a:lnTo>
                  <a:pt x="102" y="10"/>
                </a:lnTo>
                <a:lnTo>
                  <a:pt x="106" y="10"/>
                </a:lnTo>
                <a:lnTo>
                  <a:pt x="106" y="10"/>
                </a:lnTo>
                <a:lnTo>
                  <a:pt x="108" y="8"/>
                </a:lnTo>
                <a:lnTo>
                  <a:pt x="108" y="6"/>
                </a:lnTo>
                <a:lnTo>
                  <a:pt x="108" y="6"/>
                </a:lnTo>
                <a:lnTo>
                  <a:pt x="104" y="4"/>
                </a:lnTo>
                <a:lnTo>
                  <a:pt x="104" y="4"/>
                </a:lnTo>
                <a:lnTo>
                  <a:pt x="102" y="0"/>
                </a:lnTo>
                <a:lnTo>
                  <a:pt x="102" y="0"/>
                </a:lnTo>
                <a:lnTo>
                  <a:pt x="100" y="2"/>
                </a:lnTo>
                <a:lnTo>
                  <a:pt x="98" y="2"/>
                </a:lnTo>
                <a:lnTo>
                  <a:pt x="98" y="2"/>
                </a:lnTo>
                <a:lnTo>
                  <a:pt x="94" y="4"/>
                </a:lnTo>
                <a:lnTo>
                  <a:pt x="94" y="4"/>
                </a:lnTo>
                <a:lnTo>
                  <a:pt x="94" y="8"/>
                </a:lnTo>
                <a:lnTo>
                  <a:pt x="94" y="8"/>
                </a:lnTo>
                <a:lnTo>
                  <a:pt x="90" y="12"/>
                </a:lnTo>
                <a:lnTo>
                  <a:pt x="86" y="14"/>
                </a:lnTo>
                <a:lnTo>
                  <a:pt x="86" y="14"/>
                </a:lnTo>
                <a:lnTo>
                  <a:pt x="84" y="14"/>
                </a:lnTo>
                <a:lnTo>
                  <a:pt x="82" y="16"/>
                </a:lnTo>
                <a:lnTo>
                  <a:pt x="82" y="16"/>
                </a:lnTo>
                <a:lnTo>
                  <a:pt x="78" y="20"/>
                </a:lnTo>
                <a:lnTo>
                  <a:pt x="72" y="22"/>
                </a:lnTo>
                <a:lnTo>
                  <a:pt x="72" y="22"/>
                </a:lnTo>
                <a:lnTo>
                  <a:pt x="68" y="22"/>
                </a:lnTo>
                <a:lnTo>
                  <a:pt x="64" y="22"/>
                </a:lnTo>
                <a:lnTo>
                  <a:pt x="64" y="22"/>
                </a:lnTo>
                <a:lnTo>
                  <a:pt x="64" y="24"/>
                </a:lnTo>
                <a:lnTo>
                  <a:pt x="62" y="26"/>
                </a:lnTo>
                <a:lnTo>
                  <a:pt x="62" y="26"/>
                </a:lnTo>
                <a:lnTo>
                  <a:pt x="62" y="30"/>
                </a:lnTo>
                <a:lnTo>
                  <a:pt x="62" y="30"/>
                </a:lnTo>
                <a:lnTo>
                  <a:pt x="62" y="28"/>
                </a:lnTo>
                <a:lnTo>
                  <a:pt x="62" y="28"/>
                </a:lnTo>
                <a:lnTo>
                  <a:pt x="60" y="28"/>
                </a:lnTo>
                <a:lnTo>
                  <a:pt x="56" y="26"/>
                </a:lnTo>
                <a:lnTo>
                  <a:pt x="56" y="26"/>
                </a:lnTo>
                <a:lnTo>
                  <a:pt x="54" y="28"/>
                </a:lnTo>
                <a:lnTo>
                  <a:pt x="54" y="30"/>
                </a:lnTo>
                <a:lnTo>
                  <a:pt x="52" y="32"/>
                </a:lnTo>
                <a:lnTo>
                  <a:pt x="52" y="32"/>
                </a:lnTo>
                <a:lnTo>
                  <a:pt x="50" y="38"/>
                </a:lnTo>
                <a:lnTo>
                  <a:pt x="52" y="44"/>
                </a:lnTo>
                <a:lnTo>
                  <a:pt x="52" y="44"/>
                </a:lnTo>
                <a:lnTo>
                  <a:pt x="48" y="44"/>
                </a:lnTo>
                <a:lnTo>
                  <a:pt x="46" y="46"/>
                </a:lnTo>
                <a:lnTo>
                  <a:pt x="46" y="46"/>
                </a:lnTo>
                <a:lnTo>
                  <a:pt x="48" y="52"/>
                </a:lnTo>
                <a:lnTo>
                  <a:pt x="48" y="52"/>
                </a:lnTo>
                <a:lnTo>
                  <a:pt x="42" y="52"/>
                </a:lnTo>
                <a:lnTo>
                  <a:pt x="42" y="52"/>
                </a:lnTo>
                <a:lnTo>
                  <a:pt x="38" y="64"/>
                </a:lnTo>
                <a:lnTo>
                  <a:pt x="36" y="76"/>
                </a:lnTo>
                <a:lnTo>
                  <a:pt x="36" y="76"/>
                </a:lnTo>
                <a:lnTo>
                  <a:pt x="32" y="76"/>
                </a:lnTo>
                <a:lnTo>
                  <a:pt x="32" y="76"/>
                </a:lnTo>
                <a:lnTo>
                  <a:pt x="32" y="74"/>
                </a:lnTo>
                <a:lnTo>
                  <a:pt x="30" y="72"/>
                </a:lnTo>
                <a:lnTo>
                  <a:pt x="28" y="66"/>
                </a:lnTo>
                <a:lnTo>
                  <a:pt x="28" y="66"/>
                </a:lnTo>
                <a:lnTo>
                  <a:pt x="26" y="66"/>
                </a:lnTo>
                <a:lnTo>
                  <a:pt x="24" y="70"/>
                </a:lnTo>
                <a:lnTo>
                  <a:pt x="24" y="70"/>
                </a:lnTo>
                <a:lnTo>
                  <a:pt x="26" y="72"/>
                </a:lnTo>
                <a:lnTo>
                  <a:pt x="28" y="76"/>
                </a:lnTo>
                <a:lnTo>
                  <a:pt x="28" y="76"/>
                </a:lnTo>
                <a:lnTo>
                  <a:pt x="26" y="82"/>
                </a:lnTo>
                <a:lnTo>
                  <a:pt x="24" y="84"/>
                </a:lnTo>
                <a:lnTo>
                  <a:pt x="22" y="88"/>
                </a:lnTo>
                <a:lnTo>
                  <a:pt x="22" y="88"/>
                </a:lnTo>
                <a:lnTo>
                  <a:pt x="24" y="88"/>
                </a:lnTo>
                <a:lnTo>
                  <a:pt x="24" y="88"/>
                </a:lnTo>
                <a:lnTo>
                  <a:pt x="24" y="100"/>
                </a:lnTo>
                <a:lnTo>
                  <a:pt x="24" y="106"/>
                </a:lnTo>
                <a:lnTo>
                  <a:pt x="26" y="112"/>
                </a:lnTo>
                <a:lnTo>
                  <a:pt x="20" y="114"/>
                </a:lnTo>
                <a:lnTo>
                  <a:pt x="20" y="114"/>
                </a:lnTo>
                <a:lnTo>
                  <a:pt x="24" y="116"/>
                </a:lnTo>
                <a:lnTo>
                  <a:pt x="24" y="116"/>
                </a:lnTo>
                <a:lnTo>
                  <a:pt x="22" y="124"/>
                </a:lnTo>
                <a:lnTo>
                  <a:pt x="22" y="130"/>
                </a:lnTo>
                <a:lnTo>
                  <a:pt x="22" y="130"/>
                </a:lnTo>
                <a:lnTo>
                  <a:pt x="18" y="136"/>
                </a:lnTo>
                <a:lnTo>
                  <a:pt x="18" y="136"/>
                </a:lnTo>
                <a:lnTo>
                  <a:pt x="18" y="136"/>
                </a:lnTo>
                <a:lnTo>
                  <a:pt x="18" y="138"/>
                </a:lnTo>
                <a:lnTo>
                  <a:pt x="18" y="138"/>
                </a:lnTo>
                <a:lnTo>
                  <a:pt x="18" y="140"/>
                </a:lnTo>
                <a:lnTo>
                  <a:pt x="22" y="144"/>
                </a:lnTo>
                <a:lnTo>
                  <a:pt x="22" y="144"/>
                </a:lnTo>
                <a:lnTo>
                  <a:pt x="24" y="144"/>
                </a:lnTo>
                <a:lnTo>
                  <a:pt x="26" y="144"/>
                </a:lnTo>
                <a:lnTo>
                  <a:pt x="26" y="146"/>
                </a:lnTo>
                <a:lnTo>
                  <a:pt x="26" y="146"/>
                </a:lnTo>
                <a:lnTo>
                  <a:pt x="22" y="148"/>
                </a:lnTo>
                <a:lnTo>
                  <a:pt x="20" y="150"/>
                </a:lnTo>
                <a:lnTo>
                  <a:pt x="20" y="150"/>
                </a:lnTo>
                <a:lnTo>
                  <a:pt x="18" y="154"/>
                </a:lnTo>
                <a:lnTo>
                  <a:pt x="18" y="158"/>
                </a:lnTo>
                <a:lnTo>
                  <a:pt x="18" y="158"/>
                </a:lnTo>
                <a:lnTo>
                  <a:pt x="14" y="158"/>
                </a:lnTo>
                <a:lnTo>
                  <a:pt x="8" y="160"/>
                </a:lnTo>
                <a:lnTo>
                  <a:pt x="8" y="160"/>
                </a:lnTo>
                <a:lnTo>
                  <a:pt x="6" y="164"/>
                </a:lnTo>
                <a:lnTo>
                  <a:pt x="6" y="164"/>
                </a:lnTo>
                <a:lnTo>
                  <a:pt x="4" y="164"/>
                </a:lnTo>
                <a:lnTo>
                  <a:pt x="4" y="164"/>
                </a:lnTo>
                <a:lnTo>
                  <a:pt x="4" y="168"/>
                </a:lnTo>
                <a:lnTo>
                  <a:pt x="4" y="168"/>
                </a:lnTo>
                <a:lnTo>
                  <a:pt x="4" y="168"/>
                </a:lnTo>
                <a:lnTo>
                  <a:pt x="4" y="170"/>
                </a:lnTo>
                <a:lnTo>
                  <a:pt x="4" y="170"/>
                </a:lnTo>
                <a:lnTo>
                  <a:pt x="6" y="172"/>
                </a:lnTo>
                <a:lnTo>
                  <a:pt x="6" y="176"/>
                </a:lnTo>
                <a:lnTo>
                  <a:pt x="6" y="176"/>
                </a:lnTo>
                <a:lnTo>
                  <a:pt x="4" y="174"/>
                </a:lnTo>
                <a:lnTo>
                  <a:pt x="0" y="176"/>
                </a:lnTo>
                <a:lnTo>
                  <a:pt x="0" y="176"/>
                </a:lnTo>
                <a:lnTo>
                  <a:pt x="0" y="182"/>
                </a:lnTo>
                <a:lnTo>
                  <a:pt x="2" y="182"/>
                </a:lnTo>
                <a:lnTo>
                  <a:pt x="2" y="182"/>
                </a:lnTo>
                <a:lnTo>
                  <a:pt x="2" y="184"/>
                </a:lnTo>
                <a:lnTo>
                  <a:pt x="6" y="188"/>
                </a:lnTo>
                <a:lnTo>
                  <a:pt x="6" y="188"/>
                </a:lnTo>
                <a:lnTo>
                  <a:pt x="14" y="192"/>
                </a:lnTo>
                <a:lnTo>
                  <a:pt x="14" y="192"/>
                </a:lnTo>
                <a:lnTo>
                  <a:pt x="16" y="194"/>
                </a:lnTo>
                <a:lnTo>
                  <a:pt x="16" y="198"/>
                </a:lnTo>
                <a:lnTo>
                  <a:pt x="16" y="198"/>
                </a:lnTo>
                <a:lnTo>
                  <a:pt x="18" y="202"/>
                </a:lnTo>
                <a:lnTo>
                  <a:pt x="20" y="202"/>
                </a:lnTo>
                <a:lnTo>
                  <a:pt x="34" y="206"/>
                </a:lnTo>
                <a:lnTo>
                  <a:pt x="34" y="206"/>
                </a:lnTo>
                <a:lnTo>
                  <a:pt x="34" y="204"/>
                </a:lnTo>
                <a:lnTo>
                  <a:pt x="36" y="202"/>
                </a:lnTo>
                <a:lnTo>
                  <a:pt x="36" y="204"/>
                </a:lnTo>
                <a:lnTo>
                  <a:pt x="36" y="204"/>
                </a:lnTo>
                <a:lnTo>
                  <a:pt x="40" y="206"/>
                </a:lnTo>
                <a:lnTo>
                  <a:pt x="42" y="208"/>
                </a:lnTo>
                <a:lnTo>
                  <a:pt x="48" y="210"/>
                </a:lnTo>
                <a:lnTo>
                  <a:pt x="54" y="210"/>
                </a:lnTo>
                <a:lnTo>
                  <a:pt x="54" y="210"/>
                </a:lnTo>
                <a:lnTo>
                  <a:pt x="54" y="214"/>
                </a:lnTo>
                <a:lnTo>
                  <a:pt x="56" y="216"/>
                </a:lnTo>
                <a:lnTo>
                  <a:pt x="58" y="216"/>
                </a:lnTo>
                <a:lnTo>
                  <a:pt x="58" y="216"/>
                </a:lnTo>
                <a:lnTo>
                  <a:pt x="62" y="220"/>
                </a:lnTo>
                <a:lnTo>
                  <a:pt x="64" y="224"/>
                </a:lnTo>
                <a:lnTo>
                  <a:pt x="64" y="224"/>
                </a:lnTo>
                <a:lnTo>
                  <a:pt x="64" y="226"/>
                </a:lnTo>
                <a:lnTo>
                  <a:pt x="66" y="228"/>
                </a:lnTo>
                <a:lnTo>
                  <a:pt x="70" y="230"/>
                </a:lnTo>
                <a:lnTo>
                  <a:pt x="78" y="230"/>
                </a:lnTo>
                <a:lnTo>
                  <a:pt x="78" y="236"/>
                </a:lnTo>
                <a:lnTo>
                  <a:pt x="78" y="236"/>
                </a:lnTo>
                <a:lnTo>
                  <a:pt x="78" y="238"/>
                </a:lnTo>
                <a:lnTo>
                  <a:pt x="80" y="240"/>
                </a:lnTo>
                <a:lnTo>
                  <a:pt x="82" y="240"/>
                </a:lnTo>
                <a:lnTo>
                  <a:pt x="82" y="240"/>
                </a:lnTo>
                <a:lnTo>
                  <a:pt x="90" y="242"/>
                </a:lnTo>
                <a:lnTo>
                  <a:pt x="90" y="238"/>
                </a:lnTo>
                <a:lnTo>
                  <a:pt x="90" y="238"/>
                </a:lnTo>
                <a:lnTo>
                  <a:pt x="94" y="238"/>
                </a:lnTo>
                <a:lnTo>
                  <a:pt x="98" y="238"/>
                </a:lnTo>
                <a:lnTo>
                  <a:pt x="100" y="240"/>
                </a:lnTo>
                <a:lnTo>
                  <a:pt x="100" y="240"/>
                </a:lnTo>
                <a:lnTo>
                  <a:pt x="104" y="242"/>
                </a:lnTo>
                <a:lnTo>
                  <a:pt x="110" y="244"/>
                </a:lnTo>
                <a:lnTo>
                  <a:pt x="110" y="244"/>
                </a:lnTo>
                <a:lnTo>
                  <a:pt x="114" y="246"/>
                </a:lnTo>
                <a:lnTo>
                  <a:pt x="116" y="248"/>
                </a:lnTo>
                <a:lnTo>
                  <a:pt x="104" y="274"/>
                </a:lnTo>
                <a:lnTo>
                  <a:pt x="110" y="274"/>
                </a:lnTo>
                <a:lnTo>
                  <a:pt x="114" y="276"/>
                </a:lnTo>
                <a:lnTo>
                  <a:pt x="114" y="276"/>
                </a:lnTo>
                <a:lnTo>
                  <a:pt x="128" y="238"/>
                </a:lnTo>
                <a:lnTo>
                  <a:pt x="128" y="238"/>
                </a:lnTo>
                <a:lnTo>
                  <a:pt x="130" y="232"/>
                </a:lnTo>
                <a:lnTo>
                  <a:pt x="132" y="228"/>
                </a:lnTo>
                <a:lnTo>
                  <a:pt x="132" y="226"/>
                </a:lnTo>
                <a:lnTo>
                  <a:pt x="132" y="226"/>
                </a:lnTo>
                <a:lnTo>
                  <a:pt x="126" y="212"/>
                </a:lnTo>
                <a:lnTo>
                  <a:pt x="122" y="210"/>
                </a:lnTo>
                <a:lnTo>
                  <a:pt x="122" y="204"/>
                </a:lnTo>
                <a:lnTo>
                  <a:pt x="130" y="204"/>
                </a:lnTo>
                <a:lnTo>
                  <a:pt x="132" y="202"/>
                </a:lnTo>
                <a:lnTo>
                  <a:pt x="124" y="200"/>
                </a:lnTo>
                <a:lnTo>
                  <a:pt x="126" y="194"/>
                </a:lnTo>
                <a:lnTo>
                  <a:pt x="126" y="194"/>
                </a:lnTo>
                <a:lnTo>
                  <a:pt x="128" y="196"/>
                </a:lnTo>
                <a:lnTo>
                  <a:pt x="134" y="196"/>
                </a:lnTo>
                <a:lnTo>
                  <a:pt x="134" y="196"/>
                </a:lnTo>
                <a:lnTo>
                  <a:pt x="148" y="196"/>
                </a:lnTo>
                <a:lnTo>
                  <a:pt x="148" y="192"/>
                </a:lnTo>
                <a:lnTo>
                  <a:pt x="152" y="194"/>
                </a:lnTo>
                <a:lnTo>
                  <a:pt x="156" y="194"/>
                </a:lnTo>
                <a:lnTo>
                  <a:pt x="158" y="186"/>
                </a:lnTo>
                <a:lnTo>
                  <a:pt x="164" y="188"/>
                </a:lnTo>
                <a:lnTo>
                  <a:pt x="164" y="194"/>
                </a:lnTo>
                <a:lnTo>
                  <a:pt x="168" y="194"/>
                </a:lnTo>
                <a:lnTo>
                  <a:pt x="170" y="186"/>
                </a:lnTo>
                <a:lnTo>
                  <a:pt x="170" y="186"/>
                </a:lnTo>
                <a:lnTo>
                  <a:pt x="166" y="182"/>
                </a:lnTo>
                <a:lnTo>
                  <a:pt x="166" y="182"/>
                </a:lnTo>
                <a:lnTo>
                  <a:pt x="166" y="176"/>
                </a:lnTo>
                <a:lnTo>
                  <a:pt x="166" y="176"/>
                </a:lnTo>
                <a:lnTo>
                  <a:pt x="164" y="178"/>
                </a:lnTo>
                <a:lnTo>
                  <a:pt x="164" y="178"/>
                </a:lnTo>
                <a:lnTo>
                  <a:pt x="162" y="178"/>
                </a:lnTo>
                <a:lnTo>
                  <a:pt x="160" y="176"/>
                </a:lnTo>
                <a:lnTo>
                  <a:pt x="162" y="172"/>
                </a:lnTo>
                <a:lnTo>
                  <a:pt x="162" y="172"/>
                </a:lnTo>
                <a:lnTo>
                  <a:pt x="164" y="170"/>
                </a:lnTo>
                <a:lnTo>
                  <a:pt x="168" y="164"/>
                </a:lnTo>
                <a:lnTo>
                  <a:pt x="168" y="164"/>
                </a:lnTo>
                <a:lnTo>
                  <a:pt x="170" y="154"/>
                </a:lnTo>
                <a:lnTo>
                  <a:pt x="170" y="154"/>
                </a:lnTo>
                <a:lnTo>
                  <a:pt x="164" y="152"/>
                </a:lnTo>
                <a:lnTo>
                  <a:pt x="158" y="146"/>
                </a:lnTo>
                <a:lnTo>
                  <a:pt x="158" y="146"/>
                </a:lnTo>
                <a:lnTo>
                  <a:pt x="154" y="142"/>
                </a:lnTo>
                <a:lnTo>
                  <a:pt x="150" y="138"/>
                </a:lnTo>
                <a:lnTo>
                  <a:pt x="150" y="138"/>
                </a:lnTo>
                <a:lnTo>
                  <a:pt x="146" y="134"/>
                </a:lnTo>
                <a:lnTo>
                  <a:pt x="144" y="132"/>
                </a:lnTo>
                <a:lnTo>
                  <a:pt x="144" y="128"/>
                </a:lnTo>
                <a:lnTo>
                  <a:pt x="144" y="128"/>
                </a:lnTo>
                <a:lnTo>
                  <a:pt x="142" y="124"/>
                </a:lnTo>
                <a:lnTo>
                  <a:pt x="144" y="122"/>
                </a:lnTo>
                <a:lnTo>
                  <a:pt x="146" y="120"/>
                </a:lnTo>
                <a:lnTo>
                  <a:pt x="146" y="112"/>
                </a:lnTo>
                <a:lnTo>
                  <a:pt x="146" y="112"/>
                </a:lnTo>
                <a:lnTo>
                  <a:pt x="138" y="110"/>
                </a:lnTo>
                <a:lnTo>
                  <a:pt x="138" y="110"/>
                </a:lnTo>
                <a:lnTo>
                  <a:pt x="128" y="112"/>
                </a:lnTo>
                <a:lnTo>
                  <a:pt x="128" y="112"/>
                </a:lnTo>
                <a:lnTo>
                  <a:pt x="122" y="100"/>
                </a:lnTo>
                <a:lnTo>
                  <a:pt x="122" y="100"/>
                </a:lnTo>
                <a:lnTo>
                  <a:pt x="118" y="98"/>
                </a:lnTo>
                <a:lnTo>
                  <a:pt x="112" y="98"/>
                </a:lnTo>
                <a:lnTo>
                  <a:pt x="112" y="98"/>
                </a:lnTo>
                <a:lnTo>
                  <a:pt x="106" y="98"/>
                </a:lnTo>
                <a:lnTo>
                  <a:pt x="102" y="98"/>
                </a:lnTo>
                <a:lnTo>
                  <a:pt x="92" y="96"/>
                </a:lnTo>
                <a:lnTo>
                  <a:pt x="92" y="96"/>
                </a:lnTo>
                <a:lnTo>
                  <a:pt x="92" y="94"/>
                </a:lnTo>
                <a:lnTo>
                  <a:pt x="90" y="88"/>
                </a:lnTo>
                <a:lnTo>
                  <a:pt x="90" y="88"/>
                </a:lnTo>
                <a:lnTo>
                  <a:pt x="86" y="82"/>
                </a:lnTo>
                <a:lnTo>
                  <a:pt x="84" y="78"/>
                </a:lnTo>
                <a:lnTo>
                  <a:pt x="84" y="78"/>
                </a:lnTo>
                <a:lnTo>
                  <a:pt x="84" y="76"/>
                </a:lnTo>
                <a:lnTo>
                  <a:pt x="86" y="76"/>
                </a:lnTo>
                <a:lnTo>
                  <a:pt x="88" y="74"/>
                </a:lnTo>
                <a:lnTo>
                  <a:pt x="82" y="62"/>
                </a:lnTo>
                <a:lnTo>
                  <a:pt x="76" y="64"/>
                </a:lnTo>
                <a:lnTo>
                  <a:pt x="76" y="64"/>
                </a:lnTo>
                <a:lnTo>
                  <a:pt x="74" y="64"/>
                </a:lnTo>
                <a:lnTo>
                  <a:pt x="74" y="62"/>
                </a:lnTo>
                <a:lnTo>
                  <a:pt x="74" y="58"/>
                </a:lnTo>
                <a:lnTo>
                  <a:pt x="74" y="58"/>
                </a:lnTo>
                <a:lnTo>
                  <a:pt x="76" y="54"/>
                </a:lnTo>
                <a:lnTo>
                  <a:pt x="76" y="52"/>
                </a:lnTo>
                <a:lnTo>
                  <a:pt x="76" y="46"/>
                </a:lnTo>
                <a:lnTo>
                  <a:pt x="76" y="46"/>
                </a:lnTo>
                <a:lnTo>
                  <a:pt x="78" y="40"/>
                </a:lnTo>
                <a:lnTo>
                  <a:pt x="76" y="38"/>
                </a:lnTo>
                <a:lnTo>
                  <a:pt x="82" y="36"/>
                </a:lnTo>
                <a:lnTo>
                  <a:pt x="88" y="22"/>
                </a:lnTo>
                <a:lnTo>
                  <a:pt x="94" y="12"/>
                </a:lnTo>
                <a:lnTo>
                  <a:pt x="94" y="12"/>
                </a:lnTo>
                <a:lnTo>
                  <a:pt x="102" y="10"/>
                </a:lnTo>
                <a:lnTo>
                  <a:pt x="102" y="1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0" name="Freeform 215">
            <a:extLst>
              <a:ext uri="{FF2B5EF4-FFF2-40B4-BE49-F238E27FC236}">
                <a16:creationId xmlns:a16="http://schemas.microsoft.com/office/drawing/2014/main" id="{23AE59EA-A8BC-4C6F-9246-9865003B4D26}"/>
              </a:ext>
            </a:extLst>
          </p:cNvPr>
          <p:cNvSpPr>
            <a:spLocks noEditPoints="1"/>
          </p:cNvSpPr>
          <p:nvPr userDrawn="1"/>
        </p:nvSpPr>
        <p:spPr bwMode="auto">
          <a:xfrm>
            <a:off x="4158815" y="4192012"/>
            <a:ext cx="190391" cy="1204622"/>
          </a:xfrm>
          <a:custGeom>
            <a:avLst/>
            <a:gdLst>
              <a:gd name="T0" fmla="*/ 92 w 114"/>
              <a:gd name="T1" fmla="*/ 688 h 702"/>
              <a:gd name="T2" fmla="*/ 62 w 114"/>
              <a:gd name="T3" fmla="*/ 690 h 702"/>
              <a:gd name="T4" fmla="*/ 42 w 114"/>
              <a:gd name="T5" fmla="*/ 686 h 702"/>
              <a:gd name="T6" fmla="*/ 52 w 114"/>
              <a:gd name="T7" fmla="*/ 678 h 702"/>
              <a:gd name="T8" fmla="*/ 56 w 114"/>
              <a:gd name="T9" fmla="*/ 668 h 702"/>
              <a:gd name="T10" fmla="*/ 74 w 114"/>
              <a:gd name="T11" fmla="*/ 680 h 702"/>
              <a:gd name="T12" fmla="*/ 62 w 114"/>
              <a:gd name="T13" fmla="*/ 660 h 702"/>
              <a:gd name="T14" fmla="*/ 82 w 114"/>
              <a:gd name="T15" fmla="*/ 646 h 702"/>
              <a:gd name="T16" fmla="*/ 112 w 114"/>
              <a:gd name="T17" fmla="*/ 102 h 702"/>
              <a:gd name="T18" fmla="*/ 98 w 114"/>
              <a:gd name="T19" fmla="*/ 142 h 702"/>
              <a:gd name="T20" fmla="*/ 88 w 114"/>
              <a:gd name="T21" fmla="*/ 178 h 702"/>
              <a:gd name="T22" fmla="*/ 74 w 114"/>
              <a:gd name="T23" fmla="*/ 236 h 702"/>
              <a:gd name="T24" fmla="*/ 70 w 114"/>
              <a:gd name="T25" fmla="*/ 296 h 702"/>
              <a:gd name="T26" fmla="*/ 58 w 114"/>
              <a:gd name="T27" fmla="*/ 332 h 702"/>
              <a:gd name="T28" fmla="*/ 54 w 114"/>
              <a:gd name="T29" fmla="*/ 366 h 702"/>
              <a:gd name="T30" fmla="*/ 44 w 114"/>
              <a:gd name="T31" fmla="*/ 416 h 702"/>
              <a:gd name="T32" fmla="*/ 48 w 114"/>
              <a:gd name="T33" fmla="*/ 458 h 702"/>
              <a:gd name="T34" fmla="*/ 50 w 114"/>
              <a:gd name="T35" fmla="*/ 490 h 702"/>
              <a:gd name="T36" fmla="*/ 48 w 114"/>
              <a:gd name="T37" fmla="*/ 514 h 702"/>
              <a:gd name="T38" fmla="*/ 40 w 114"/>
              <a:gd name="T39" fmla="*/ 552 h 702"/>
              <a:gd name="T40" fmla="*/ 28 w 114"/>
              <a:gd name="T41" fmla="*/ 594 h 702"/>
              <a:gd name="T42" fmla="*/ 36 w 114"/>
              <a:gd name="T43" fmla="*/ 612 h 702"/>
              <a:gd name="T44" fmla="*/ 78 w 114"/>
              <a:gd name="T45" fmla="*/ 638 h 702"/>
              <a:gd name="T46" fmla="*/ 54 w 114"/>
              <a:gd name="T47" fmla="*/ 668 h 702"/>
              <a:gd name="T48" fmla="*/ 36 w 114"/>
              <a:gd name="T49" fmla="*/ 662 h 702"/>
              <a:gd name="T50" fmla="*/ 34 w 114"/>
              <a:gd name="T51" fmla="*/ 674 h 702"/>
              <a:gd name="T52" fmla="*/ 26 w 114"/>
              <a:gd name="T53" fmla="*/ 666 h 702"/>
              <a:gd name="T54" fmla="*/ 26 w 114"/>
              <a:gd name="T55" fmla="*/ 652 h 702"/>
              <a:gd name="T56" fmla="*/ 36 w 114"/>
              <a:gd name="T57" fmla="*/ 632 h 702"/>
              <a:gd name="T58" fmla="*/ 24 w 114"/>
              <a:gd name="T59" fmla="*/ 634 h 702"/>
              <a:gd name="T60" fmla="*/ 14 w 114"/>
              <a:gd name="T61" fmla="*/ 648 h 702"/>
              <a:gd name="T62" fmla="*/ 10 w 114"/>
              <a:gd name="T63" fmla="*/ 644 h 702"/>
              <a:gd name="T64" fmla="*/ 14 w 114"/>
              <a:gd name="T65" fmla="*/ 630 h 702"/>
              <a:gd name="T66" fmla="*/ 20 w 114"/>
              <a:gd name="T67" fmla="*/ 618 h 702"/>
              <a:gd name="T68" fmla="*/ 18 w 114"/>
              <a:gd name="T69" fmla="*/ 602 h 702"/>
              <a:gd name="T70" fmla="*/ 16 w 114"/>
              <a:gd name="T71" fmla="*/ 586 h 702"/>
              <a:gd name="T72" fmla="*/ 16 w 114"/>
              <a:gd name="T73" fmla="*/ 568 h 702"/>
              <a:gd name="T74" fmla="*/ 18 w 114"/>
              <a:gd name="T75" fmla="*/ 546 h 702"/>
              <a:gd name="T76" fmla="*/ 6 w 114"/>
              <a:gd name="T77" fmla="*/ 530 h 702"/>
              <a:gd name="T78" fmla="*/ 0 w 114"/>
              <a:gd name="T79" fmla="*/ 532 h 702"/>
              <a:gd name="T80" fmla="*/ 16 w 114"/>
              <a:gd name="T81" fmla="*/ 516 h 702"/>
              <a:gd name="T82" fmla="*/ 22 w 114"/>
              <a:gd name="T83" fmla="*/ 522 h 702"/>
              <a:gd name="T84" fmla="*/ 26 w 114"/>
              <a:gd name="T85" fmla="*/ 486 h 702"/>
              <a:gd name="T86" fmla="*/ 38 w 114"/>
              <a:gd name="T87" fmla="*/ 470 h 702"/>
              <a:gd name="T88" fmla="*/ 38 w 114"/>
              <a:gd name="T89" fmla="*/ 454 h 702"/>
              <a:gd name="T90" fmla="*/ 32 w 114"/>
              <a:gd name="T91" fmla="*/ 432 h 702"/>
              <a:gd name="T92" fmla="*/ 32 w 114"/>
              <a:gd name="T93" fmla="*/ 384 h 702"/>
              <a:gd name="T94" fmla="*/ 28 w 114"/>
              <a:gd name="T95" fmla="*/ 360 h 702"/>
              <a:gd name="T96" fmla="*/ 36 w 114"/>
              <a:gd name="T97" fmla="*/ 338 h 702"/>
              <a:gd name="T98" fmla="*/ 44 w 114"/>
              <a:gd name="T99" fmla="*/ 302 h 702"/>
              <a:gd name="T100" fmla="*/ 58 w 114"/>
              <a:gd name="T101" fmla="*/ 244 h 702"/>
              <a:gd name="T102" fmla="*/ 54 w 114"/>
              <a:gd name="T103" fmla="*/ 200 h 702"/>
              <a:gd name="T104" fmla="*/ 64 w 114"/>
              <a:gd name="T105" fmla="*/ 166 h 702"/>
              <a:gd name="T106" fmla="*/ 66 w 114"/>
              <a:gd name="T107" fmla="*/ 134 h 702"/>
              <a:gd name="T108" fmla="*/ 66 w 114"/>
              <a:gd name="T109" fmla="*/ 98 h 702"/>
              <a:gd name="T110" fmla="*/ 72 w 114"/>
              <a:gd name="T111" fmla="*/ 58 h 702"/>
              <a:gd name="T112" fmla="*/ 74 w 114"/>
              <a:gd name="T113" fmla="*/ 4 h 702"/>
              <a:gd name="T114" fmla="*/ 94 w 114"/>
              <a:gd name="T115" fmla="*/ 42 h 702"/>
              <a:gd name="T116" fmla="*/ 114 w 114"/>
              <a:gd name="T117" fmla="*/ 9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 h="702">
                <a:moveTo>
                  <a:pt x="106" y="690"/>
                </a:moveTo>
                <a:lnTo>
                  <a:pt x="108" y="690"/>
                </a:lnTo>
                <a:lnTo>
                  <a:pt x="108" y="690"/>
                </a:lnTo>
                <a:lnTo>
                  <a:pt x="104" y="696"/>
                </a:lnTo>
                <a:lnTo>
                  <a:pt x="100" y="702"/>
                </a:lnTo>
                <a:lnTo>
                  <a:pt x="100" y="702"/>
                </a:lnTo>
                <a:lnTo>
                  <a:pt x="100" y="696"/>
                </a:lnTo>
                <a:lnTo>
                  <a:pt x="100" y="696"/>
                </a:lnTo>
                <a:lnTo>
                  <a:pt x="94" y="694"/>
                </a:lnTo>
                <a:lnTo>
                  <a:pt x="94" y="694"/>
                </a:lnTo>
                <a:lnTo>
                  <a:pt x="94" y="692"/>
                </a:lnTo>
                <a:lnTo>
                  <a:pt x="92" y="688"/>
                </a:lnTo>
                <a:lnTo>
                  <a:pt x="92" y="688"/>
                </a:lnTo>
                <a:lnTo>
                  <a:pt x="80" y="692"/>
                </a:lnTo>
                <a:lnTo>
                  <a:pt x="78" y="694"/>
                </a:lnTo>
                <a:lnTo>
                  <a:pt x="78" y="694"/>
                </a:lnTo>
                <a:lnTo>
                  <a:pt x="74" y="694"/>
                </a:lnTo>
                <a:lnTo>
                  <a:pt x="68" y="694"/>
                </a:lnTo>
                <a:lnTo>
                  <a:pt x="68" y="694"/>
                </a:lnTo>
                <a:lnTo>
                  <a:pt x="68" y="692"/>
                </a:lnTo>
                <a:lnTo>
                  <a:pt x="68" y="692"/>
                </a:lnTo>
                <a:lnTo>
                  <a:pt x="70" y="692"/>
                </a:lnTo>
                <a:lnTo>
                  <a:pt x="70" y="690"/>
                </a:lnTo>
                <a:lnTo>
                  <a:pt x="66" y="688"/>
                </a:lnTo>
                <a:lnTo>
                  <a:pt x="66" y="688"/>
                </a:lnTo>
                <a:lnTo>
                  <a:pt x="62" y="690"/>
                </a:lnTo>
                <a:lnTo>
                  <a:pt x="58" y="690"/>
                </a:lnTo>
                <a:lnTo>
                  <a:pt x="58" y="690"/>
                </a:lnTo>
                <a:lnTo>
                  <a:pt x="58" y="686"/>
                </a:lnTo>
                <a:lnTo>
                  <a:pt x="58" y="686"/>
                </a:lnTo>
                <a:lnTo>
                  <a:pt x="50" y="686"/>
                </a:lnTo>
                <a:lnTo>
                  <a:pt x="50" y="684"/>
                </a:lnTo>
                <a:lnTo>
                  <a:pt x="50" y="684"/>
                </a:lnTo>
                <a:lnTo>
                  <a:pt x="46" y="684"/>
                </a:lnTo>
                <a:lnTo>
                  <a:pt x="46" y="686"/>
                </a:lnTo>
                <a:lnTo>
                  <a:pt x="46" y="686"/>
                </a:lnTo>
                <a:lnTo>
                  <a:pt x="46" y="688"/>
                </a:lnTo>
                <a:lnTo>
                  <a:pt x="46" y="688"/>
                </a:lnTo>
                <a:lnTo>
                  <a:pt x="42" y="686"/>
                </a:lnTo>
                <a:lnTo>
                  <a:pt x="42" y="686"/>
                </a:lnTo>
                <a:lnTo>
                  <a:pt x="42" y="684"/>
                </a:lnTo>
                <a:lnTo>
                  <a:pt x="42" y="684"/>
                </a:lnTo>
                <a:lnTo>
                  <a:pt x="44" y="684"/>
                </a:lnTo>
                <a:lnTo>
                  <a:pt x="44" y="682"/>
                </a:lnTo>
                <a:lnTo>
                  <a:pt x="44" y="682"/>
                </a:lnTo>
                <a:lnTo>
                  <a:pt x="56" y="680"/>
                </a:lnTo>
                <a:lnTo>
                  <a:pt x="56" y="680"/>
                </a:lnTo>
                <a:lnTo>
                  <a:pt x="56" y="678"/>
                </a:lnTo>
                <a:lnTo>
                  <a:pt x="56" y="676"/>
                </a:lnTo>
                <a:lnTo>
                  <a:pt x="56" y="676"/>
                </a:lnTo>
                <a:lnTo>
                  <a:pt x="52" y="678"/>
                </a:lnTo>
                <a:lnTo>
                  <a:pt x="52" y="678"/>
                </a:lnTo>
                <a:lnTo>
                  <a:pt x="48" y="678"/>
                </a:lnTo>
                <a:lnTo>
                  <a:pt x="46" y="676"/>
                </a:lnTo>
                <a:lnTo>
                  <a:pt x="44" y="670"/>
                </a:lnTo>
                <a:lnTo>
                  <a:pt x="44" y="670"/>
                </a:lnTo>
                <a:lnTo>
                  <a:pt x="50" y="670"/>
                </a:lnTo>
                <a:lnTo>
                  <a:pt x="50" y="670"/>
                </a:lnTo>
                <a:lnTo>
                  <a:pt x="50" y="674"/>
                </a:lnTo>
                <a:lnTo>
                  <a:pt x="50" y="674"/>
                </a:lnTo>
                <a:lnTo>
                  <a:pt x="54" y="672"/>
                </a:lnTo>
                <a:lnTo>
                  <a:pt x="54" y="674"/>
                </a:lnTo>
                <a:lnTo>
                  <a:pt x="54" y="674"/>
                </a:lnTo>
                <a:lnTo>
                  <a:pt x="56" y="668"/>
                </a:lnTo>
                <a:lnTo>
                  <a:pt x="56" y="668"/>
                </a:lnTo>
                <a:lnTo>
                  <a:pt x="60" y="668"/>
                </a:lnTo>
                <a:lnTo>
                  <a:pt x="60" y="668"/>
                </a:lnTo>
                <a:lnTo>
                  <a:pt x="60" y="676"/>
                </a:lnTo>
                <a:lnTo>
                  <a:pt x="64" y="678"/>
                </a:lnTo>
                <a:lnTo>
                  <a:pt x="64" y="678"/>
                </a:lnTo>
                <a:lnTo>
                  <a:pt x="62" y="682"/>
                </a:lnTo>
                <a:lnTo>
                  <a:pt x="66" y="682"/>
                </a:lnTo>
                <a:lnTo>
                  <a:pt x="66" y="682"/>
                </a:lnTo>
                <a:lnTo>
                  <a:pt x="66" y="678"/>
                </a:lnTo>
                <a:lnTo>
                  <a:pt x="72" y="678"/>
                </a:lnTo>
                <a:lnTo>
                  <a:pt x="72" y="678"/>
                </a:lnTo>
                <a:lnTo>
                  <a:pt x="74" y="680"/>
                </a:lnTo>
                <a:lnTo>
                  <a:pt x="74" y="680"/>
                </a:lnTo>
                <a:lnTo>
                  <a:pt x="78" y="680"/>
                </a:lnTo>
                <a:lnTo>
                  <a:pt x="78" y="680"/>
                </a:lnTo>
                <a:lnTo>
                  <a:pt x="72" y="674"/>
                </a:lnTo>
                <a:lnTo>
                  <a:pt x="72" y="674"/>
                </a:lnTo>
                <a:lnTo>
                  <a:pt x="66" y="674"/>
                </a:lnTo>
                <a:lnTo>
                  <a:pt x="66" y="674"/>
                </a:lnTo>
                <a:lnTo>
                  <a:pt x="64" y="670"/>
                </a:lnTo>
                <a:lnTo>
                  <a:pt x="64" y="666"/>
                </a:lnTo>
                <a:lnTo>
                  <a:pt x="64" y="666"/>
                </a:lnTo>
                <a:lnTo>
                  <a:pt x="74" y="660"/>
                </a:lnTo>
                <a:lnTo>
                  <a:pt x="74" y="660"/>
                </a:lnTo>
                <a:lnTo>
                  <a:pt x="64" y="660"/>
                </a:lnTo>
                <a:lnTo>
                  <a:pt x="62" y="660"/>
                </a:lnTo>
                <a:lnTo>
                  <a:pt x="62" y="658"/>
                </a:lnTo>
                <a:lnTo>
                  <a:pt x="62" y="654"/>
                </a:lnTo>
                <a:lnTo>
                  <a:pt x="62" y="646"/>
                </a:lnTo>
                <a:lnTo>
                  <a:pt x="62" y="646"/>
                </a:lnTo>
                <a:lnTo>
                  <a:pt x="64" y="646"/>
                </a:lnTo>
                <a:lnTo>
                  <a:pt x="68" y="646"/>
                </a:lnTo>
                <a:lnTo>
                  <a:pt x="68" y="646"/>
                </a:lnTo>
                <a:lnTo>
                  <a:pt x="68" y="646"/>
                </a:lnTo>
                <a:lnTo>
                  <a:pt x="72" y="648"/>
                </a:lnTo>
                <a:lnTo>
                  <a:pt x="72" y="648"/>
                </a:lnTo>
                <a:lnTo>
                  <a:pt x="78" y="642"/>
                </a:lnTo>
                <a:lnTo>
                  <a:pt x="78" y="642"/>
                </a:lnTo>
                <a:lnTo>
                  <a:pt x="82" y="646"/>
                </a:lnTo>
                <a:lnTo>
                  <a:pt x="82" y="646"/>
                </a:lnTo>
                <a:lnTo>
                  <a:pt x="86" y="644"/>
                </a:lnTo>
                <a:lnTo>
                  <a:pt x="90" y="690"/>
                </a:lnTo>
                <a:lnTo>
                  <a:pt x="90" y="690"/>
                </a:lnTo>
                <a:lnTo>
                  <a:pt x="94" y="688"/>
                </a:lnTo>
                <a:lnTo>
                  <a:pt x="100" y="688"/>
                </a:lnTo>
                <a:lnTo>
                  <a:pt x="100" y="688"/>
                </a:lnTo>
                <a:lnTo>
                  <a:pt x="96" y="688"/>
                </a:lnTo>
                <a:lnTo>
                  <a:pt x="98" y="688"/>
                </a:lnTo>
                <a:lnTo>
                  <a:pt x="106" y="690"/>
                </a:lnTo>
                <a:lnTo>
                  <a:pt x="106" y="690"/>
                </a:lnTo>
                <a:close/>
                <a:moveTo>
                  <a:pt x="112" y="102"/>
                </a:moveTo>
                <a:lnTo>
                  <a:pt x="112" y="102"/>
                </a:lnTo>
                <a:lnTo>
                  <a:pt x="112" y="106"/>
                </a:lnTo>
                <a:lnTo>
                  <a:pt x="108" y="106"/>
                </a:lnTo>
                <a:lnTo>
                  <a:pt x="106" y="108"/>
                </a:lnTo>
                <a:lnTo>
                  <a:pt x="104" y="110"/>
                </a:lnTo>
                <a:lnTo>
                  <a:pt x="104" y="110"/>
                </a:lnTo>
                <a:lnTo>
                  <a:pt x="102" y="114"/>
                </a:lnTo>
                <a:lnTo>
                  <a:pt x="98" y="116"/>
                </a:lnTo>
                <a:lnTo>
                  <a:pt x="96" y="116"/>
                </a:lnTo>
                <a:lnTo>
                  <a:pt x="94" y="118"/>
                </a:lnTo>
                <a:lnTo>
                  <a:pt x="94" y="118"/>
                </a:lnTo>
                <a:lnTo>
                  <a:pt x="94" y="134"/>
                </a:lnTo>
                <a:lnTo>
                  <a:pt x="94" y="134"/>
                </a:lnTo>
                <a:lnTo>
                  <a:pt x="98" y="142"/>
                </a:lnTo>
                <a:lnTo>
                  <a:pt x="98" y="144"/>
                </a:lnTo>
                <a:lnTo>
                  <a:pt x="96" y="146"/>
                </a:lnTo>
                <a:lnTo>
                  <a:pt x="96" y="146"/>
                </a:lnTo>
                <a:lnTo>
                  <a:pt x="94" y="148"/>
                </a:lnTo>
                <a:lnTo>
                  <a:pt x="94" y="150"/>
                </a:lnTo>
                <a:lnTo>
                  <a:pt x="96" y="154"/>
                </a:lnTo>
                <a:lnTo>
                  <a:pt x="96" y="154"/>
                </a:lnTo>
                <a:lnTo>
                  <a:pt x="96" y="160"/>
                </a:lnTo>
                <a:lnTo>
                  <a:pt x="94" y="166"/>
                </a:lnTo>
                <a:lnTo>
                  <a:pt x="94" y="166"/>
                </a:lnTo>
                <a:lnTo>
                  <a:pt x="90" y="172"/>
                </a:lnTo>
                <a:lnTo>
                  <a:pt x="88" y="178"/>
                </a:lnTo>
                <a:lnTo>
                  <a:pt x="88" y="178"/>
                </a:lnTo>
                <a:lnTo>
                  <a:pt x="86" y="182"/>
                </a:lnTo>
                <a:lnTo>
                  <a:pt x="84" y="184"/>
                </a:lnTo>
                <a:lnTo>
                  <a:pt x="82" y="186"/>
                </a:lnTo>
                <a:lnTo>
                  <a:pt x="80" y="192"/>
                </a:lnTo>
                <a:lnTo>
                  <a:pt x="80" y="192"/>
                </a:lnTo>
                <a:lnTo>
                  <a:pt x="78" y="210"/>
                </a:lnTo>
                <a:lnTo>
                  <a:pt x="78" y="210"/>
                </a:lnTo>
                <a:lnTo>
                  <a:pt x="78" y="218"/>
                </a:lnTo>
                <a:lnTo>
                  <a:pt x="78" y="224"/>
                </a:lnTo>
                <a:lnTo>
                  <a:pt x="78" y="224"/>
                </a:lnTo>
                <a:lnTo>
                  <a:pt x="76" y="228"/>
                </a:lnTo>
                <a:lnTo>
                  <a:pt x="74" y="236"/>
                </a:lnTo>
                <a:lnTo>
                  <a:pt x="74" y="236"/>
                </a:lnTo>
                <a:lnTo>
                  <a:pt x="74" y="244"/>
                </a:lnTo>
                <a:lnTo>
                  <a:pt x="74" y="250"/>
                </a:lnTo>
                <a:lnTo>
                  <a:pt x="74" y="250"/>
                </a:lnTo>
                <a:lnTo>
                  <a:pt x="74" y="258"/>
                </a:lnTo>
                <a:lnTo>
                  <a:pt x="74" y="262"/>
                </a:lnTo>
                <a:lnTo>
                  <a:pt x="74" y="262"/>
                </a:lnTo>
                <a:lnTo>
                  <a:pt x="70" y="268"/>
                </a:lnTo>
                <a:lnTo>
                  <a:pt x="72" y="274"/>
                </a:lnTo>
                <a:lnTo>
                  <a:pt x="72" y="274"/>
                </a:lnTo>
                <a:lnTo>
                  <a:pt x="72" y="280"/>
                </a:lnTo>
                <a:lnTo>
                  <a:pt x="72" y="286"/>
                </a:lnTo>
                <a:lnTo>
                  <a:pt x="72" y="286"/>
                </a:lnTo>
                <a:lnTo>
                  <a:pt x="70" y="296"/>
                </a:lnTo>
                <a:lnTo>
                  <a:pt x="66" y="306"/>
                </a:lnTo>
                <a:lnTo>
                  <a:pt x="66" y="306"/>
                </a:lnTo>
                <a:lnTo>
                  <a:pt x="64" y="312"/>
                </a:lnTo>
                <a:lnTo>
                  <a:pt x="66" y="316"/>
                </a:lnTo>
                <a:lnTo>
                  <a:pt x="66" y="316"/>
                </a:lnTo>
                <a:lnTo>
                  <a:pt x="66" y="322"/>
                </a:lnTo>
                <a:lnTo>
                  <a:pt x="66" y="326"/>
                </a:lnTo>
                <a:lnTo>
                  <a:pt x="66" y="326"/>
                </a:lnTo>
                <a:lnTo>
                  <a:pt x="64" y="328"/>
                </a:lnTo>
                <a:lnTo>
                  <a:pt x="62" y="328"/>
                </a:lnTo>
                <a:lnTo>
                  <a:pt x="60" y="328"/>
                </a:lnTo>
                <a:lnTo>
                  <a:pt x="60" y="328"/>
                </a:lnTo>
                <a:lnTo>
                  <a:pt x="58" y="332"/>
                </a:lnTo>
                <a:lnTo>
                  <a:pt x="56" y="334"/>
                </a:lnTo>
                <a:lnTo>
                  <a:pt x="54" y="338"/>
                </a:lnTo>
                <a:lnTo>
                  <a:pt x="54" y="338"/>
                </a:lnTo>
                <a:lnTo>
                  <a:pt x="54" y="344"/>
                </a:lnTo>
                <a:lnTo>
                  <a:pt x="54" y="352"/>
                </a:lnTo>
                <a:lnTo>
                  <a:pt x="54" y="352"/>
                </a:lnTo>
                <a:lnTo>
                  <a:pt x="54" y="354"/>
                </a:lnTo>
                <a:lnTo>
                  <a:pt x="56" y="356"/>
                </a:lnTo>
                <a:lnTo>
                  <a:pt x="58" y="362"/>
                </a:lnTo>
                <a:lnTo>
                  <a:pt x="58" y="362"/>
                </a:lnTo>
                <a:lnTo>
                  <a:pt x="56" y="364"/>
                </a:lnTo>
                <a:lnTo>
                  <a:pt x="56" y="364"/>
                </a:lnTo>
                <a:lnTo>
                  <a:pt x="54" y="366"/>
                </a:lnTo>
                <a:lnTo>
                  <a:pt x="54" y="366"/>
                </a:lnTo>
                <a:lnTo>
                  <a:pt x="50" y="376"/>
                </a:lnTo>
                <a:lnTo>
                  <a:pt x="48" y="386"/>
                </a:lnTo>
                <a:lnTo>
                  <a:pt x="48" y="386"/>
                </a:lnTo>
                <a:lnTo>
                  <a:pt x="48" y="392"/>
                </a:lnTo>
                <a:lnTo>
                  <a:pt x="44" y="396"/>
                </a:lnTo>
                <a:lnTo>
                  <a:pt x="44" y="396"/>
                </a:lnTo>
                <a:lnTo>
                  <a:pt x="42" y="400"/>
                </a:lnTo>
                <a:lnTo>
                  <a:pt x="44" y="402"/>
                </a:lnTo>
                <a:lnTo>
                  <a:pt x="44" y="406"/>
                </a:lnTo>
                <a:lnTo>
                  <a:pt x="46" y="410"/>
                </a:lnTo>
                <a:lnTo>
                  <a:pt x="46" y="410"/>
                </a:lnTo>
                <a:lnTo>
                  <a:pt x="44" y="416"/>
                </a:lnTo>
                <a:lnTo>
                  <a:pt x="44" y="420"/>
                </a:lnTo>
                <a:lnTo>
                  <a:pt x="46" y="422"/>
                </a:lnTo>
                <a:lnTo>
                  <a:pt x="46" y="422"/>
                </a:lnTo>
                <a:lnTo>
                  <a:pt x="50" y="422"/>
                </a:lnTo>
                <a:lnTo>
                  <a:pt x="50" y="426"/>
                </a:lnTo>
                <a:lnTo>
                  <a:pt x="50" y="426"/>
                </a:lnTo>
                <a:lnTo>
                  <a:pt x="50" y="438"/>
                </a:lnTo>
                <a:lnTo>
                  <a:pt x="50" y="438"/>
                </a:lnTo>
                <a:lnTo>
                  <a:pt x="46" y="446"/>
                </a:lnTo>
                <a:lnTo>
                  <a:pt x="46" y="450"/>
                </a:lnTo>
                <a:lnTo>
                  <a:pt x="46" y="452"/>
                </a:lnTo>
                <a:lnTo>
                  <a:pt x="46" y="452"/>
                </a:lnTo>
                <a:lnTo>
                  <a:pt x="48" y="458"/>
                </a:lnTo>
                <a:lnTo>
                  <a:pt x="50" y="460"/>
                </a:lnTo>
                <a:lnTo>
                  <a:pt x="50" y="462"/>
                </a:lnTo>
                <a:lnTo>
                  <a:pt x="50" y="462"/>
                </a:lnTo>
                <a:lnTo>
                  <a:pt x="50" y="466"/>
                </a:lnTo>
                <a:lnTo>
                  <a:pt x="50" y="472"/>
                </a:lnTo>
                <a:lnTo>
                  <a:pt x="50" y="472"/>
                </a:lnTo>
                <a:lnTo>
                  <a:pt x="52" y="478"/>
                </a:lnTo>
                <a:lnTo>
                  <a:pt x="52" y="480"/>
                </a:lnTo>
                <a:lnTo>
                  <a:pt x="52" y="482"/>
                </a:lnTo>
                <a:lnTo>
                  <a:pt x="52" y="482"/>
                </a:lnTo>
                <a:lnTo>
                  <a:pt x="50" y="486"/>
                </a:lnTo>
                <a:lnTo>
                  <a:pt x="50" y="490"/>
                </a:lnTo>
                <a:lnTo>
                  <a:pt x="50" y="490"/>
                </a:lnTo>
                <a:lnTo>
                  <a:pt x="52" y="494"/>
                </a:lnTo>
                <a:lnTo>
                  <a:pt x="52" y="494"/>
                </a:lnTo>
                <a:lnTo>
                  <a:pt x="50" y="496"/>
                </a:lnTo>
                <a:lnTo>
                  <a:pt x="50" y="496"/>
                </a:lnTo>
                <a:lnTo>
                  <a:pt x="48" y="496"/>
                </a:lnTo>
                <a:lnTo>
                  <a:pt x="48" y="498"/>
                </a:lnTo>
                <a:lnTo>
                  <a:pt x="46" y="502"/>
                </a:lnTo>
                <a:lnTo>
                  <a:pt x="46" y="502"/>
                </a:lnTo>
                <a:lnTo>
                  <a:pt x="46" y="502"/>
                </a:lnTo>
                <a:lnTo>
                  <a:pt x="46" y="504"/>
                </a:lnTo>
                <a:lnTo>
                  <a:pt x="48" y="510"/>
                </a:lnTo>
                <a:lnTo>
                  <a:pt x="48" y="510"/>
                </a:lnTo>
                <a:lnTo>
                  <a:pt x="48" y="514"/>
                </a:lnTo>
                <a:lnTo>
                  <a:pt x="48" y="520"/>
                </a:lnTo>
                <a:lnTo>
                  <a:pt x="48" y="520"/>
                </a:lnTo>
                <a:lnTo>
                  <a:pt x="46" y="526"/>
                </a:lnTo>
                <a:lnTo>
                  <a:pt x="46" y="532"/>
                </a:lnTo>
                <a:lnTo>
                  <a:pt x="46" y="532"/>
                </a:lnTo>
                <a:lnTo>
                  <a:pt x="46" y="536"/>
                </a:lnTo>
                <a:lnTo>
                  <a:pt x="46" y="538"/>
                </a:lnTo>
                <a:lnTo>
                  <a:pt x="46" y="538"/>
                </a:lnTo>
                <a:lnTo>
                  <a:pt x="42" y="542"/>
                </a:lnTo>
                <a:lnTo>
                  <a:pt x="42" y="542"/>
                </a:lnTo>
                <a:lnTo>
                  <a:pt x="40" y="548"/>
                </a:lnTo>
                <a:lnTo>
                  <a:pt x="40" y="552"/>
                </a:lnTo>
                <a:lnTo>
                  <a:pt x="40" y="552"/>
                </a:lnTo>
                <a:lnTo>
                  <a:pt x="42" y="558"/>
                </a:lnTo>
                <a:lnTo>
                  <a:pt x="38" y="562"/>
                </a:lnTo>
                <a:lnTo>
                  <a:pt x="38" y="562"/>
                </a:lnTo>
                <a:lnTo>
                  <a:pt x="32" y="566"/>
                </a:lnTo>
                <a:lnTo>
                  <a:pt x="30" y="568"/>
                </a:lnTo>
                <a:lnTo>
                  <a:pt x="30" y="570"/>
                </a:lnTo>
                <a:lnTo>
                  <a:pt x="30" y="570"/>
                </a:lnTo>
                <a:lnTo>
                  <a:pt x="32" y="578"/>
                </a:lnTo>
                <a:lnTo>
                  <a:pt x="30" y="582"/>
                </a:lnTo>
                <a:lnTo>
                  <a:pt x="30" y="582"/>
                </a:lnTo>
                <a:lnTo>
                  <a:pt x="28" y="588"/>
                </a:lnTo>
                <a:lnTo>
                  <a:pt x="28" y="594"/>
                </a:lnTo>
                <a:lnTo>
                  <a:pt x="28" y="594"/>
                </a:lnTo>
                <a:lnTo>
                  <a:pt x="28" y="600"/>
                </a:lnTo>
                <a:lnTo>
                  <a:pt x="28" y="602"/>
                </a:lnTo>
                <a:lnTo>
                  <a:pt x="30" y="602"/>
                </a:lnTo>
                <a:lnTo>
                  <a:pt x="30" y="602"/>
                </a:lnTo>
                <a:lnTo>
                  <a:pt x="32" y="602"/>
                </a:lnTo>
                <a:lnTo>
                  <a:pt x="34" y="600"/>
                </a:lnTo>
                <a:lnTo>
                  <a:pt x="36" y="600"/>
                </a:lnTo>
                <a:lnTo>
                  <a:pt x="38" y="600"/>
                </a:lnTo>
                <a:lnTo>
                  <a:pt x="38" y="600"/>
                </a:lnTo>
                <a:lnTo>
                  <a:pt x="40" y="606"/>
                </a:lnTo>
                <a:lnTo>
                  <a:pt x="38" y="610"/>
                </a:lnTo>
                <a:lnTo>
                  <a:pt x="38" y="610"/>
                </a:lnTo>
                <a:lnTo>
                  <a:pt x="36" y="612"/>
                </a:lnTo>
                <a:lnTo>
                  <a:pt x="36" y="614"/>
                </a:lnTo>
                <a:lnTo>
                  <a:pt x="38" y="620"/>
                </a:lnTo>
                <a:lnTo>
                  <a:pt x="38" y="620"/>
                </a:lnTo>
                <a:lnTo>
                  <a:pt x="46" y="628"/>
                </a:lnTo>
                <a:lnTo>
                  <a:pt x="50" y="634"/>
                </a:lnTo>
                <a:lnTo>
                  <a:pt x="50" y="634"/>
                </a:lnTo>
                <a:lnTo>
                  <a:pt x="68" y="632"/>
                </a:lnTo>
                <a:lnTo>
                  <a:pt x="68" y="632"/>
                </a:lnTo>
                <a:lnTo>
                  <a:pt x="92" y="634"/>
                </a:lnTo>
                <a:lnTo>
                  <a:pt x="92" y="636"/>
                </a:lnTo>
                <a:lnTo>
                  <a:pt x="92" y="636"/>
                </a:lnTo>
                <a:lnTo>
                  <a:pt x="82" y="636"/>
                </a:lnTo>
                <a:lnTo>
                  <a:pt x="78" y="638"/>
                </a:lnTo>
                <a:lnTo>
                  <a:pt x="76" y="644"/>
                </a:lnTo>
                <a:lnTo>
                  <a:pt x="76" y="644"/>
                </a:lnTo>
                <a:lnTo>
                  <a:pt x="58" y="644"/>
                </a:lnTo>
                <a:lnTo>
                  <a:pt x="58" y="644"/>
                </a:lnTo>
                <a:lnTo>
                  <a:pt x="60" y="648"/>
                </a:lnTo>
                <a:lnTo>
                  <a:pt x="60" y="648"/>
                </a:lnTo>
                <a:lnTo>
                  <a:pt x="56" y="654"/>
                </a:lnTo>
                <a:lnTo>
                  <a:pt x="56" y="654"/>
                </a:lnTo>
                <a:lnTo>
                  <a:pt x="58" y="660"/>
                </a:lnTo>
                <a:lnTo>
                  <a:pt x="56" y="666"/>
                </a:lnTo>
                <a:lnTo>
                  <a:pt x="56" y="666"/>
                </a:lnTo>
                <a:lnTo>
                  <a:pt x="54" y="668"/>
                </a:lnTo>
                <a:lnTo>
                  <a:pt x="54" y="668"/>
                </a:lnTo>
                <a:lnTo>
                  <a:pt x="48" y="666"/>
                </a:lnTo>
                <a:lnTo>
                  <a:pt x="48" y="666"/>
                </a:lnTo>
                <a:lnTo>
                  <a:pt x="44" y="664"/>
                </a:lnTo>
                <a:lnTo>
                  <a:pt x="44" y="662"/>
                </a:lnTo>
                <a:lnTo>
                  <a:pt x="44" y="656"/>
                </a:lnTo>
                <a:lnTo>
                  <a:pt x="44" y="656"/>
                </a:lnTo>
                <a:lnTo>
                  <a:pt x="40" y="658"/>
                </a:lnTo>
                <a:lnTo>
                  <a:pt x="40" y="658"/>
                </a:lnTo>
                <a:lnTo>
                  <a:pt x="40" y="662"/>
                </a:lnTo>
                <a:lnTo>
                  <a:pt x="40" y="662"/>
                </a:lnTo>
                <a:lnTo>
                  <a:pt x="34" y="658"/>
                </a:lnTo>
                <a:lnTo>
                  <a:pt x="32" y="658"/>
                </a:lnTo>
                <a:lnTo>
                  <a:pt x="36" y="662"/>
                </a:lnTo>
                <a:lnTo>
                  <a:pt x="36" y="662"/>
                </a:lnTo>
                <a:lnTo>
                  <a:pt x="42" y="666"/>
                </a:lnTo>
                <a:lnTo>
                  <a:pt x="42" y="666"/>
                </a:lnTo>
                <a:lnTo>
                  <a:pt x="40" y="670"/>
                </a:lnTo>
                <a:lnTo>
                  <a:pt x="42" y="674"/>
                </a:lnTo>
                <a:lnTo>
                  <a:pt x="42" y="674"/>
                </a:lnTo>
                <a:lnTo>
                  <a:pt x="42" y="674"/>
                </a:lnTo>
                <a:lnTo>
                  <a:pt x="38" y="676"/>
                </a:lnTo>
                <a:lnTo>
                  <a:pt x="38" y="676"/>
                </a:lnTo>
                <a:lnTo>
                  <a:pt x="38" y="674"/>
                </a:lnTo>
                <a:lnTo>
                  <a:pt x="38" y="674"/>
                </a:lnTo>
                <a:lnTo>
                  <a:pt x="36" y="674"/>
                </a:lnTo>
                <a:lnTo>
                  <a:pt x="34" y="674"/>
                </a:lnTo>
                <a:lnTo>
                  <a:pt x="34" y="674"/>
                </a:lnTo>
                <a:lnTo>
                  <a:pt x="32" y="672"/>
                </a:lnTo>
                <a:lnTo>
                  <a:pt x="32" y="672"/>
                </a:lnTo>
                <a:lnTo>
                  <a:pt x="32" y="670"/>
                </a:lnTo>
                <a:lnTo>
                  <a:pt x="32" y="668"/>
                </a:lnTo>
                <a:lnTo>
                  <a:pt x="32" y="668"/>
                </a:lnTo>
                <a:lnTo>
                  <a:pt x="30" y="668"/>
                </a:lnTo>
                <a:lnTo>
                  <a:pt x="28" y="670"/>
                </a:lnTo>
                <a:lnTo>
                  <a:pt x="28" y="668"/>
                </a:lnTo>
                <a:lnTo>
                  <a:pt x="28" y="668"/>
                </a:lnTo>
                <a:lnTo>
                  <a:pt x="26" y="668"/>
                </a:lnTo>
                <a:lnTo>
                  <a:pt x="26" y="666"/>
                </a:lnTo>
                <a:lnTo>
                  <a:pt x="26" y="666"/>
                </a:lnTo>
                <a:lnTo>
                  <a:pt x="24" y="666"/>
                </a:lnTo>
                <a:lnTo>
                  <a:pt x="24" y="666"/>
                </a:lnTo>
                <a:lnTo>
                  <a:pt x="24" y="662"/>
                </a:lnTo>
                <a:lnTo>
                  <a:pt x="24" y="662"/>
                </a:lnTo>
                <a:lnTo>
                  <a:pt x="26" y="654"/>
                </a:lnTo>
                <a:lnTo>
                  <a:pt x="30" y="654"/>
                </a:lnTo>
                <a:lnTo>
                  <a:pt x="30" y="654"/>
                </a:lnTo>
                <a:lnTo>
                  <a:pt x="30" y="656"/>
                </a:lnTo>
                <a:lnTo>
                  <a:pt x="32" y="656"/>
                </a:lnTo>
                <a:lnTo>
                  <a:pt x="32" y="654"/>
                </a:lnTo>
                <a:lnTo>
                  <a:pt x="32" y="654"/>
                </a:lnTo>
                <a:lnTo>
                  <a:pt x="30" y="652"/>
                </a:lnTo>
                <a:lnTo>
                  <a:pt x="26" y="652"/>
                </a:lnTo>
                <a:lnTo>
                  <a:pt x="26" y="652"/>
                </a:lnTo>
                <a:lnTo>
                  <a:pt x="24" y="644"/>
                </a:lnTo>
                <a:lnTo>
                  <a:pt x="22" y="636"/>
                </a:lnTo>
                <a:lnTo>
                  <a:pt x="22" y="636"/>
                </a:lnTo>
                <a:lnTo>
                  <a:pt x="26" y="636"/>
                </a:lnTo>
                <a:lnTo>
                  <a:pt x="30" y="636"/>
                </a:lnTo>
                <a:lnTo>
                  <a:pt x="30" y="636"/>
                </a:lnTo>
                <a:lnTo>
                  <a:pt x="30" y="638"/>
                </a:lnTo>
                <a:lnTo>
                  <a:pt x="32" y="638"/>
                </a:lnTo>
                <a:lnTo>
                  <a:pt x="32" y="638"/>
                </a:lnTo>
                <a:lnTo>
                  <a:pt x="34" y="632"/>
                </a:lnTo>
                <a:lnTo>
                  <a:pt x="36" y="632"/>
                </a:lnTo>
                <a:lnTo>
                  <a:pt x="36" y="632"/>
                </a:lnTo>
                <a:lnTo>
                  <a:pt x="40" y="628"/>
                </a:lnTo>
                <a:lnTo>
                  <a:pt x="40" y="626"/>
                </a:lnTo>
                <a:lnTo>
                  <a:pt x="40" y="626"/>
                </a:lnTo>
                <a:lnTo>
                  <a:pt x="38" y="628"/>
                </a:lnTo>
                <a:lnTo>
                  <a:pt x="36" y="628"/>
                </a:lnTo>
                <a:lnTo>
                  <a:pt x="36" y="628"/>
                </a:lnTo>
                <a:lnTo>
                  <a:pt x="34" y="624"/>
                </a:lnTo>
                <a:lnTo>
                  <a:pt x="34" y="624"/>
                </a:lnTo>
                <a:lnTo>
                  <a:pt x="30" y="630"/>
                </a:lnTo>
                <a:lnTo>
                  <a:pt x="26" y="634"/>
                </a:lnTo>
                <a:lnTo>
                  <a:pt x="26" y="634"/>
                </a:lnTo>
                <a:lnTo>
                  <a:pt x="24" y="634"/>
                </a:lnTo>
                <a:lnTo>
                  <a:pt x="24" y="634"/>
                </a:lnTo>
                <a:lnTo>
                  <a:pt x="24" y="628"/>
                </a:lnTo>
                <a:lnTo>
                  <a:pt x="24" y="628"/>
                </a:lnTo>
                <a:lnTo>
                  <a:pt x="18" y="632"/>
                </a:lnTo>
                <a:lnTo>
                  <a:pt x="18" y="632"/>
                </a:lnTo>
                <a:lnTo>
                  <a:pt x="18" y="632"/>
                </a:lnTo>
                <a:lnTo>
                  <a:pt x="16" y="632"/>
                </a:lnTo>
                <a:lnTo>
                  <a:pt x="16" y="632"/>
                </a:lnTo>
                <a:lnTo>
                  <a:pt x="20" y="638"/>
                </a:lnTo>
                <a:lnTo>
                  <a:pt x="20" y="648"/>
                </a:lnTo>
                <a:lnTo>
                  <a:pt x="20" y="648"/>
                </a:lnTo>
                <a:lnTo>
                  <a:pt x="12" y="646"/>
                </a:lnTo>
                <a:lnTo>
                  <a:pt x="12" y="646"/>
                </a:lnTo>
                <a:lnTo>
                  <a:pt x="14" y="648"/>
                </a:lnTo>
                <a:lnTo>
                  <a:pt x="14" y="648"/>
                </a:lnTo>
                <a:lnTo>
                  <a:pt x="16" y="648"/>
                </a:lnTo>
                <a:lnTo>
                  <a:pt x="16" y="648"/>
                </a:lnTo>
                <a:lnTo>
                  <a:pt x="24" y="654"/>
                </a:lnTo>
                <a:lnTo>
                  <a:pt x="24" y="656"/>
                </a:lnTo>
                <a:lnTo>
                  <a:pt x="22" y="656"/>
                </a:lnTo>
                <a:lnTo>
                  <a:pt x="22" y="656"/>
                </a:lnTo>
                <a:lnTo>
                  <a:pt x="18" y="656"/>
                </a:lnTo>
                <a:lnTo>
                  <a:pt x="16" y="656"/>
                </a:lnTo>
                <a:lnTo>
                  <a:pt x="16" y="656"/>
                </a:lnTo>
                <a:lnTo>
                  <a:pt x="8" y="648"/>
                </a:lnTo>
                <a:lnTo>
                  <a:pt x="8" y="648"/>
                </a:lnTo>
                <a:lnTo>
                  <a:pt x="10" y="644"/>
                </a:lnTo>
                <a:lnTo>
                  <a:pt x="10" y="644"/>
                </a:lnTo>
                <a:lnTo>
                  <a:pt x="6" y="640"/>
                </a:lnTo>
                <a:lnTo>
                  <a:pt x="4" y="638"/>
                </a:lnTo>
                <a:lnTo>
                  <a:pt x="4" y="638"/>
                </a:lnTo>
                <a:lnTo>
                  <a:pt x="2" y="632"/>
                </a:lnTo>
                <a:lnTo>
                  <a:pt x="2" y="632"/>
                </a:lnTo>
                <a:lnTo>
                  <a:pt x="2" y="630"/>
                </a:lnTo>
                <a:lnTo>
                  <a:pt x="4" y="628"/>
                </a:lnTo>
                <a:lnTo>
                  <a:pt x="8" y="626"/>
                </a:lnTo>
                <a:lnTo>
                  <a:pt x="8" y="626"/>
                </a:lnTo>
                <a:lnTo>
                  <a:pt x="12" y="630"/>
                </a:lnTo>
                <a:lnTo>
                  <a:pt x="12" y="630"/>
                </a:lnTo>
                <a:lnTo>
                  <a:pt x="14" y="630"/>
                </a:lnTo>
                <a:lnTo>
                  <a:pt x="14" y="630"/>
                </a:lnTo>
                <a:lnTo>
                  <a:pt x="14" y="628"/>
                </a:lnTo>
                <a:lnTo>
                  <a:pt x="14" y="628"/>
                </a:lnTo>
                <a:lnTo>
                  <a:pt x="16" y="628"/>
                </a:lnTo>
                <a:lnTo>
                  <a:pt x="20" y="628"/>
                </a:lnTo>
                <a:lnTo>
                  <a:pt x="20" y="628"/>
                </a:lnTo>
                <a:lnTo>
                  <a:pt x="20" y="624"/>
                </a:lnTo>
                <a:lnTo>
                  <a:pt x="20" y="624"/>
                </a:lnTo>
                <a:lnTo>
                  <a:pt x="24" y="624"/>
                </a:lnTo>
                <a:lnTo>
                  <a:pt x="24" y="624"/>
                </a:lnTo>
                <a:lnTo>
                  <a:pt x="22" y="620"/>
                </a:lnTo>
                <a:lnTo>
                  <a:pt x="22" y="620"/>
                </a:lnTo>
                <a:lnTo>
                  <a:pt x="20" y="618"/>
                </a:lnTo>
                <a:lnTo>
                  <a:pt x="18" y="616"/>
                </a:lnTo>
                <a:lnTo>
                  <a:pt x="18" y="616"/>
                </a:lnTo>
                <a:lnTo>
                  <a:pt x="18" y="614"/>
                </a:lnTo>
                <a:lnTo>
                  <a:pt x="18" y="612"/>
                </a:lnTo>
                <a:lnTo>
                  <a:pt x="18" y="612"/>
                </a:lnTo>
                <a:lnTo>
                  <a:pt x="24" y="608"/>
                </a:lnTo>
                <a:lnTo>
                  <a:pt x="24" y="608"/>
                </a:lnTo>
                <a:lnTo>
                  <a:pt x="22" y="608"/>
                </a:lnTo>
                <a:lnTo>
                  <a:pt x="22" y="608"/>
                </a:lnTo>
                <a:lnTo>
                  <a:pt x="18" y="606"/>
                </a:lnTo>
                <a:lnTo>
                  <a:pt x="18" y="606"/>
                </a:lnTo>
                <a:lnTo>
                  <a:pt x="18" y="602"/>
                </a:lnTo>
                <a:lnTo>
                  <a:pt x="18" y="602"/>
                </a:lnTo>
                <a:lnTo>
                  <a:pt x="20" y="602"/>
                </a:lnTo>
                <a:lnTo>
                  <a:pt x="22" y="602"/>
                </a:lnTo>
                <a:lnTo>
                  <a:pt x="20" y="602"/>
                </a:lnTo>
                <a:lnTo>
                  <a:pt x="20" y="602"/>
                </a:lnTo>
                <a:lnTo>
                  <a:pt x="16" y="600"/>
                </a:lnTo>
                <a:lnTo>
                  <a:pt x="12" y="600"/>
                </a:lnTo>
                <a:lnTo>
                  <a:pt x="12" y="600"/>
                </a:lnTo>
                <a:lnTo>
                  <a:pt x="12" y="594"/>
                </a:lnTo>
                <a:lnTo>
                  <a:pt x="12" y="594"/>
                </a:lnTo>
                <a:lnTo>
                  <a:pt x="16" y="590"/>
                </a:lnTo>
                <a:lnTo>
                  <a:pt x="16" y="590"/>
                </a:lnTo>
                <a:lnTo>
                  <a:pt x="16" y="586"/>
                </a:lnTo>
                <a:lnTo>
                  <a:pt x="16" y="586"/>
                </a:lnTo>
                <a:lnTo>
                  <a:pt x="18" y="584"/>
                </a:lnTo>
                <a:lnTo>
                  <a:pt x="20" y="584"/>
                </a:lnTo>
                <a:lnTo>
                  <a:pt x="20" y="582"/>
                </a:lnTo>
                <a:lnTo>
                  <a:pt x="20" y="582"/>
                </a:lnTo>
                <a:lnTo>
                  <a:pt x="22" y="576"/>
                </a:lnTo>
                <a:lnTo>
                  <a:pt x="22" y="576"/>
                </a:lnTo>
                <a:lnTo>
                  <a:pt x="18" y="578"/>
                </a:lnTo>
                <a:lnTo>
                  <a:pt x="18" y="578"/>
                </a:lnTo>
                <a:lnTo>
                  <a:pt x="18" y="580"/>
                </a:lnTo>
                <a:lnTo>
                  <a:pt x="18" y="580"/>
                </a:lnTo>
                <a:lnTo>
                  <a:pt x="16" y="580"/>
                </a:lnTo>
                <a:lnTo>
                  <a:pt x="16" y="580"/>
                </a:lnTo>
                <a:lnTo>
                  <a:pt x="16" y="568"/>
                </a:lnTo>
                <a:lnTo>
                  <a:pt x="18" y="568"/>
                </a:lnTo>
                <a:lnTo>
                  <a:pt x="18" y="568"/>
                </a:lnTo>
                <a:lnTo>
                  <a:pt x="16" y="564"/>
                </a:lnTo>
                <a:lnTo>
                  <a:pt x="16" y="564"/>
                </a:lnTo>
                <a:lnTo>
                  <a:pt x="16" y="556"/>
                </a:lnTo>
                <a:lnTo>
                  <a:pt x="16" y="548"/>
                </a:lnTo>
                <a:lnTo>
                  <a:pt x="16" y="548"/>
                </a:lnTo>
                <a:lnTo>
                  <a:pt x="20" y="550"/>
                </a:lnTo>
                <a:lnTo>
                  <a:pt x="20" y="550"/>
                </a:lnTo>
                <a:lnTo>
                  <a:pt x="20" y="548"/>
                </a:lnTo>
                <a:lnTo>
                  <a:pt x="22" y="546"/>
                </a:lnTo>
                <a:lnTo>
                  <a:pt x="22" y="546"/>
                </a:lnTo>
                <a:lnTo>
                  <a:pt x="18" y="546"/>
                </a:lnTo>
                <a:lnTo>
                  <a:pt x="18" y="546"/>
                </a:lnTo>
                <a:lnTo>
                  <a:pt x="20" y="542"/>
                </a:lnTo>
                <a:lnTo>
                  <a:pt x="20" y="538"/>
                </a:lnTo>
                <a:lnTo>
                  <a:pt x="18" y="530"/>
                </a:lnTo>
                <a:lnTo>
                  <a:pt x="18" y="530"/>
                </a:lnTo>
                <a:lnTo>
                  <a:pt x="12" y="530"/>
                </a:lnTo>
                <a:lnTo>
                  <a:pt x="12" y="530"/>
                </a:lnTo>
                <a:lnTo>
                  <a:pt x="12" y="534"/>
                </a:lnTo>
                <a:lnTo>
                  <a:pt x="12" y="534"/>
                </a:lnTo>
                <a:lnTo>
                  <a:pt x="6" y="532"/>
                </a:lnTo>
                <a:lnTo>
                  <a:pt x="6" y="532"/>
                </a:lnTo>
                <a:lnTo>
                  <a:pt x="6" y="530"/>
                </a:lnTo>
                <a:lnTo>
                  <a:pt x="6" y="530"/>
                </a:lnTo>
                <a:lnTo>
                  <a:pt x="6" y="528"/>
                </a:lnTo>
                <a:lnTo>
                  <a:pt x="6" y="528"/>
                </a:lnTo>
                <a:lnTo>
                  <a:pt x="8" y="528"/>
                </a:lnTo>
                <a:lnTo>
                  <a:pt x="8" y="526"/>
                </a:lnTo>
                <a:lnTo>
                  <a:pt x="8" y="526"/>
                </a:lnTo>
                <a:lnTo>
                  <a:pt x="6" y="526"/>
                </a:lnTo>
                <a:lnTo>
                  <a:pt x="6" y="528"/>
                </a:lnTo>
                <a:lnTo>
                  <a:pt x="6" y="528"/>
                </a:lnTo>
                <a:lnTo>
                  <a:pt x="2" y="528"/>
                </a:lnTo>
                <a:lnTo>
                  <a:pt x="2" y="528"/>
                </a:lnTo>
                <a:lnTo>
                  <a:pt x="2" y="532"/>
                </a:lnTo>
                <a:lnTo>
                  <a:pt x="0" y="532"/>
                </a:lnTo>
                <a:lnTo>
                  <a:pt x="0" y="532"/>
                </a:lnTo>
                <a:lnTo>
                  <a:pt x="0" y="526"/>
                </a:lnTo>
                <a:lnTo>
                  <a:pt x="0" y="526"/>
                </a:lnTo>
                <a:lnTo>
                  <a:pt x="6" y="522"/>
                </a:lnTo>
                <a:lnTo>
                  <a:pt x="6" y="522"/>
                </a:lnTo>
                <a:lnTo>
                  <a:pt x="2" y="518"/>
                </a:lnTo>
                <a:lnTo>
                  <a:pt x="6" y="516"/>
                </a:lnTo>
                <a:lnTo>
                  <a:pt x="8" y="514"/>
                </a:lnTo>
                <a:lnTo>
                  <a:pt x="8" y="514"/>
                </a:lnTo>
                <a:lnTo>
                  <a:pt x="12" y="514"/>
                </a:lnTo>
                <a:lnTo>
                  <a:pt x="12" y="514"/>
                </a:lnTo>
                <a:lnTo>
                  <a:pt x="12" y="520"/>
                </a:lnTo>
                <a:lnTo>
                  <a:pt x="12" y="520"/>
                </a:lnTo>
                <a:lnTo>
                  <a:pt x="16" y="516"/>
                </a:lnTo>
                <a:lnTo>
                  <a:pt x="16" y="516"/>
                </a:lnTo>
                <a:lnTo>
                  <a:pt x="16" y="520"/>
                </a:lnTo>
                <a:lnTo>
                  <a:pt x="16" y="520"/>
                </a:lnTo>
                <a:lnTo>
                  <a:pt x="14" y="520"/>
                </a:lnTo>
                <a:lnTo>
                  <a:pt x="16" y="520"/>
                </a:lnTo>
                <a:lnTo>
                  <a:pt x="18" y="520"/>
                </a:lnTo>
                <a:lnTo>
                  <a:pt x="18" y="520"/>
                </a:lnTo>
                <a:lnTo>
                  <a:pt x="18" y="518"/>
                </a:lnTo>
                <a:lnTo>
                  <a:pt x="18" y="518"/>
                </a:lnTo>
                <a:lnTo>
                  <a:pt x="22" y="518"/>
                </a:lnTo>
                <a:lnTo>
                  <a:pt x="22" y="518"/>
                </a:lnTo>
                <a:lnTo>
                  <a:pt x="22" y="520"/>
                </a:lnTo>
                <a:lnTo>
                  <a:pt x="22" y="522"/>
                </a:lnTo>
                <a:lnTo>
                  <a:pt x="22" y="522"/>
                </a:lnTo>
                <a:lnTo>
                  <a:pt x="24" y="520"/>
                </a:lnTo>
                <a:lnTo>
                  <a:pt x="26" y="520"/>
                </a:lnTo>
                <a:lnTo>
                  <a:pt x="26" y="520"/>
                </a:lnTo>
                <a:lnTo>
                  <a:pt x="26" y="514"/>
                </a:lnTo>
                <a:lnTo>
                  <a:pt x="26" y="506"/>
                </a:lnTo>
                <a:lnTo>
                  <a:pt x="30" y="504"/>
                </a:lnTo>
                <a:lnTo>
                  <a:pt x="30" y="504"/>
                </a:lnTo>
                <a:lnTo>
                  <a:pt x="28" y="502"/>
                </a:lnTo>
                <a:lnTo>
                  <a:pt x="26" y="502"/>
                </a:lnTo>
                <a:lnTo>
                  <a:pt x="26" y="502"/>
                </a:lnTo>
                <a:lnTo>
                  <a:pt x="28" y="494"/>
                </a:lnTo>
                <a:lnTo>
                  <a:pt x="26" y="486"/>
                </a:lnTo>
                <a:lnTo>
                  <a:pt x="30" y="484"/>
                </a:lnTo>
                <a:lnTo>
                  <a:pt x="30" y="484"/>
                </a:lnTo>
                <a:lnTo>
                  <a:pt x="26" y="480"/>
                </a:lnTo>
                <a:lnTo>
                  <a:pt x="26" y="480"/>
                </a:lnTo>
                <a:lnTo>
                  <a:pt x="34" y="480"/>
                </a:lnTo>
                <a:lnTo>
                  <a:pt x="34" y="480"/>
                </a:lnTo>
                <a:lnTo>
                  <a:pt x="32" y="478"/>
                </a:lnTo>
                <a:lnTo>
                  <a:pt x="30" y="478"/>
                </a:lnTo>
                <a:lnTo>
                  <a:pt x="30" y="478"/>
                </a:lnTo>
                <a:lnTo>
                  <a:pt x="30" y="474"/>
                </a:lnTo>
                <a:lnTo>
                  <a:pt x="30" y="474"/>
                </a:lnTo>
                <a:lnTo>
                  <a:pt x="38" y="470"/>
                </a:lnTo>
                <a:lnTo>
                  <a:pt x="38" y="470"/>
                </a:lnTo>
                <a:lnTo>
                  <a:pt x="34" y="466"/>
                </a:lnTo>
                <a:lnTo>
                  <a:pt x="34" y="466"/>
                </a:lnTo>
                <a:lnTo>
                  <a:pt x="34" y="462"/>
                </a:lnTo>
                <a:lnTo>
                  <a:pt x="32" y="462"/>
                </a:lnTo>
                <a:lnTo>
                  <a:pt x="32" y="462"/>
                </a:lnTo>
                <a:lnTo>
                  <a:pt x="32" y="458"/>
                </a:lnTo>
                <a:lnTo>
                  <a:pt x="34" y="456"/>
                </a:lnTo>
                <a:lnTo>
                  <a:pt x="34" y="456"/>
                </a:lnTo>
                <a:lnTo>
                  <a:pt x="36" y="454"/>
                </a:lnTo>
                <a:lnTo>
                  <a:pt x="36" y="454"/>
                </a:lnTo>
                <a:lnTo>
                  <a:pt x="36" y="454"/>
                </a:lnTo>
                <a:lnTo>
                  <a:pt x="36" y="456"/>
                </a:lnTo>
                <a:lnTo>
                  <a:pt x="38" y="454"/>
                </a:lnTo>
                <a:lnTo>
                  <a:pt x="38" y="454"/>
                </a:lnTo>
                <a:lnTo>
                  <a:pt x="36" y="434"/>
                </a:lnTo>
                <a:lnTo>
                  <a:pt x="36" y="434"/>
                </a:lnTo>
                <a:lnTo>
                  <a:pt x="40" y="432"/>
                </a:lnTo>
                <a:lnTo>
                  <a:pt x="40" y="432"/>
                </a:lnTo>
                <a:lnTo>
                  <a:pt x="40" y="430"/>
                </a:lnTo>
                <a:lnTo>
                  <a:pt x="38" y="430"/>
                </a:lnTo>
                <a:lnTo>
                  <a:pt x="38" y="430"/>
                </a:lnTo>
                <a:lnTo>
                  <a:pt x="36" y="424"/>
                </a:lnTo>
                <a:lnTo>
                  <a:pt x="36" y="424"/>
                </a:lnTo>
                <a:lnTo>
                  <a:pt x="32" y="428"/>
                </a:lnTo>
                <a:lnTo>
                  <a:pt x="32" y="428"/>
                </a:lnTo>
                <a:lnTo>
                  <a:pt x="32" y="432"/>
                </a:lnTo>
                <a:lnTo>
                  <a:pt x="32" y="432"/>
                </a:lnTo>
                <a:lnTo>
                  <a:pt x="26" y="432"/>
                </a:lnTo>
                <a:lnTo>
                  <a:pt x="26" y="432"/>
                </a:lnTo>
                <a:lnTo>
                  <a:pt x="26" y="424"/>
                </a:lnTo>
                <a:lnTo>
                  <a:pt x="24" y="418"/>
                </a:lnTo>
                <a:lnTo>
                  <a:pt x="24" y="418"/>
                </a:lnTo>
                <a:lnTo>
                  <a:pt x="26" y="408"/>
                </a:lnTo>
                <a:lnTo>
                  <a:pt x="26" y="408"/>
                </a:lnTo>
                <a:lnTo>
                  <a:pt x="30" y="396"/>
                </a:lnTo>
                <a:lnTo>
                  <a:pt x="30" y="396"/>
                </a:lnTo>
                <a:lnTo>
                  <a:pt x="32" y="396"/>
                </a:lnTo>
                <a:lnTo>
                  <a:pt x="32" y="396"/>
                </a:lnTo>
                <a:lnTo>
                  <a:pt x="32" y="384"/>
                </a:lnTo>
                <a:lnTo>
                  <a:pt x="30" y="376"/>
                </a:lnTo>
                <a:lnTo>
                  <a:pt x="30" y="376"/>
                </a:lnTo>
                <a:lnTo>
                  <a:pt x="30" y="374"/>
                </a:lnTo>
                <a:lnTo>
                  <a:pt x="32" y="374"/>
                </a:lnTo>
                <a:lnTo>
                  <a:pt x="32" y="374"/>
                </a:lnTo>
                <a:lnTo>
                  <a:pt x="30" y="372"/>
                </a:lnTo>
                <a:lnTo>
                  <a:pt x="30" y="372"/>
                </a:lnTo>
                <a:lnTo>
                  <a:pt x="30" y="368"/>
                </a:lnTo>
                <a:lnTo>
                  <a:pt x="30" y="368"/>
                </a:lnTo>
                <a:lnTo>
                  <a:pt x="30" y="366"/>
                </a:lnTo>
                <a:lnTo>
                  <a:pt x="32" y="362"/>
                </a:lnTo>
                <a:lnTo>
                  <a:pt x="32" y="362"/>
                </a:lnTo>
                <a:lnTo>
                  <a:pt x="28" y="360"/>
                </a:lnTo>
                <a:lnTo>
                  <a:pt x="28" y="360"/>
                </a:lnTo>
                <a:lnTo>
                  <a:pt x="28" y="356"/>
                </a:lnTo>
                <a:lnTo>
                  <a:pt x="30" y="354"/>
                </a:lnTo>
                <a:lnTo>
                  <a:pt x="30" y="354"/>
                </a:lnTo>
                <a:lnTo>
                  <a:pt x="26" y="350"/>
                </a:lnTo>
                <a:lnTo>
                  <a:pt x="26" y="350"/>
                </a:lnTo>
                <a:lnTo>
                  <a:pt x="30" y="348"/>
                </a:lnTo>
                <a:lnTo>
                  <a:pt x="30" y="348"/>
                </a:lnTo>
                <a:lnTo>
                  <a:pt x="34" y="348"/>
                </a:lnTo>
                <a:lnTo>
                  <a:pt x="34" y="348"/>
                </a:lnTo>
                <a:lnTo>
                  <a:pt x="32" y="342"/>
                </a:lnTo>
                <a:lnTo>
                  <a:pt x="34" y="340"/>
                </a:lnTo>
                <a:lnTo>
                  <a:pt x="36" y="338"/>
                </a:lnTo>
                <a:lnTo>
                  <a:pt x="38" y="336"/>
                </a:lnTo>
                <a:lnTo>
                  <a:pt x="38" y="336"/>
                </a:lnTo>
                <a:lnTo>
                  <a:pt x="38" y="330"/>
                </a:lnTo>
                <a:lnTo>
                  <a:pt x="38" y="330"/>
                </a:lnTo>
                <a:lnTo>
                  <a:pt x="42" y="326"/>
                </a:lnTo>
                <a:lnTo>
                  <a:pt x="42" y="326"/>
                </a:lnTo>
                <a:lnTo>
                  <a:pt x="42" y="320"/>
                </a:lnTo>
                <a:lnTo>
                  <a:pt x="42" y="314"/>
                </a:lnTo>
                <a:lnTo>
                  <a:pt x="42" y="314"/>
                </a:lnTo>
                <a:lnTo>
                  <a:pt x="42" y="312"/>
                </a:lnTo>
                <a:lnTo>
                  <a:pt x="40" y="308"/>
                </a:lnTo>
                <a:lnTo>
                  <a:pt x="40" y="308"/>
                </a:lnTo>
                <a:lnTo>
                  <a:pt x="44" y="302"/>
                </a:lnTo>
                <a:lnTo>
                  <a:pt x="48" y="296"/>
                </a:lnTo>
                <a:lnTo>
                  <a:pt x="48" y="296"/>
                </a:lnTo>
                <a:lnTo>
                  <a:pt x="48" y="286"/>
                </a:lnTo>
                <a:lnTo>
                  <a:pt x="48" y="286"/>
                </a:lnTo>
                <a:lnTo>
                  <a:pt x="52" y="280"/>
                </a:lnTo>
                <a:lnTo>
                  <a:pt x="52" y="280"/>
                </a:lnTo>
                <a:lnTo>
                  <a:pt x="52" y="278"/>
                </a:lnTo>
                <a:lnTo>
                  <a:pt x="52" y="276"/>
                </a:lnTo>
                <a:lnTo>
                  <a:pt x="52" y="276"/>
                </a:lnTo>
                <a:lnTo>
                  <a:pt x="52" y="270"/>
                </a:lnTo>
                <a:lnTo>
                  <a:pt x="56" y="266"/>
                </a:lnTo>
                <a:lnTo>
                  <a:pt x="56" y="266"/>
                </a:lnTo>
                <a:lnTo>
                  <a:pt x="58" y="244"/>
                </a:lnTo>
                <a:lnTo>
                  <a:pt x="58" y="244"/>
                </a:lnTo>
                <a:lnTo>
                  <a:pt x="56" y="238"/>
                </a:lnTo>
                <a:lnTo>
                  <a:pt x="54" y="234"/>
                </a:lnTo>
                <a:lnTo>
                  <a:pt x="54" y="234"/>
                </a:lnTo>
                <a:lnTo>
                  <a:pt x="54" y="228"/>
                </a:lnTo>
                <a:lnTo>
                  <a:pt x="56" y="224"/>
                </a:lnTo>
                <a:lnTo>
                  <a:pt x="56" y="224"/>
                </a:lnTo>
                <a:lnTo>
                  <a:pt x="58" y="224"/>
                </a:lnTo>
                <a:lnTo>
                  <a:pt x="58" y="224"/>
                </a:lnTo>
                <a:lnTo>
                  <a:pt x="58" y="210"/>
                </a:lnTo>
                <a:lnTo>
                  <a:pt x="58" y="210"/>
                </a:lnTo>
                <a:lnTo>
                  <a:pt x="56" y="204"/>
                </a:lnTo>
                <a:lnTo>
                  <a:pt x="54" y="200"/>
                </a:lnTo>
                <a:lnTo>
                  <a:pt x="54" y="196"/>
                </a:lnTo>
                <a:lnTo>
                  <a:pt x="54" y="196"/>
                </a:lnTo>
                <a:lnTo>
                  <a:pt x="58" y="188"/>
                </a:lnTo>
                <a:lnTo>
                  <a:pt x="58" y="188"/>
                </a:lnTo>
                <a:lnTo>
                  <a:pt x="58" y="182"/>
                </a:lnTo>
                <a:lnTo>
                  <a:pt x="58" y="178"/>
                </a:lnTo>
                <a:lnTo>
                  <a:pt x="58" y="178"/>
                </a:lnTo>
                <a:lnTo>
                  <a:pt x="60" y="178"/>
                </a:lnTo>
                <a:lnTo>
                  <a:pt x="60" y="178"/>
                </a:lnTo>
                <a:lnTo>
                  <a:pt x="60" y="172"/>
                </a:lnTo>
                <a:lnTo>
                  <a:pt x="60" y="168"/>
                </a:lnTo>
                <a:lnTo>
                  <a:pt x="64" y="166"/>
                </a:lnTo>
                <a:lnTo>
                  <a:pt x="64" y="166"/>
                </a:lnTo>
                <a:lnTo>
                  <a:pt x="64" y="162"/>
                </a:lnTo>
                <a:lnTo>
                  <a:pt x="64" y="162"/>
                </a:lnTo>
                <a:lnTo>
                  <a:pt x="64" y="158"/>
                </a:lnTo>
                <a:lnTo>
                  <a:pt x="64" y="158"/>
                </a:lnTo>
                <a:lnTo>
                  <a:pt x="64" y="150"/>
                </a:lnTo>
                <a:lnTo>
                  <a:pt x="64" y="150"/>
                </a:lnTo>
                <a:lnTo>
                  <a:pt x="66" y="150"/>
                </a:lnTo>
                <a:lnTo>
                  <a:pt x="66" y="150"/>
                </a:lnTo>
                <a:lnTo>
                  <a:pt x="64" y="148"/>
                </a:lnTo>
                <a:lnTo>
                  <a:pt x="64" y="148"/>
                </a:lnTo>
                <a:lnTo>
                  <a:pt x="68" y="138"/>
                </a:lnTo>
                <a:lnTo>
                  <a:pt x="68" y="138"/>
                </a:lnTo>
                <a:lnTo>
                  <a:pt x="66" y="134"/>
                </a:lnTo>
                <a:lnTo>
                  <a:pt x="66" y="132"/>
                </a:lnTo>
                <a:lnTo>
                  <a:pt x="66" y="132"/>
                </a:lnTo>
                <a:lnTo>
                  <a:pt x="64" y="124"/>
                </a:lnTo>
                <a:lnTo>
                  <a:pt x="66" y="118"/>
                </a:lnTo>
                <a:lnTo>
                  <a:pt x="68" y="108"/>
                </a:lnTo>
                <a:lnTo>
                  <a:pt x="68" y="108"/>
                </a:lnTo>
                <a:lnTo>
                  <a:pt x="68" y="106"/>
                </a:lnTo>
                <a:lnTo>
                  <a:pt x="70" y="106"/>
                </a:lnTo>
                <a:lnTo>
                  <a:pt x="70" y="106"/>
                </a:lnTo>
                <a:lnTo>
                  <a:pt x="70" y="102"/>
                </a:lnTo>
                <a:lnTo>
                  <a:pt x="70" y="102"/>
                </a:lnTo>
                <a:lnTo>
                  <a:pt x="66" y="100"/>
                </a:lnTo>
                <a:lnTo>
                  <a:pt x="66" y="98"/>
                </a:lnTo>
                <a:lnTo>
                  <a:pt x="66" y="94"/>
                </a:lnTo>
                <a:lnTo>
                  <a:pt x="70" y="94"/>
                </a:lnTo>
                <a:lnTo>
                  <a:pt x="70" y="94"/>
                </a:lnTo>
                <a:lnTo>
                  <a:pt x="70" y="82"/>
                </a:lnTo>
                <a:lnTo>
                  <a:pt x="70" y="70"/>
                </a:lnTo>
                <a:lnTo>
                  <a:pt x="72" y="70"/>
                </a:lnTo>
                <a:lnTo>
                  <a:pt x="72" y="70"/>
                </a:lnTo>
                <a:lnTo>
                  <a:pt x="72" y="64"/>
                </a:lnTo>
                <a:lnTo>
                  <a:pt x="74" y="64"/>
                </a:lnTo>
                <a:lnTo>
                  <a:pt x="74" y="64"/>
                </a:lnTo>
                <a:lnTo>
                  <a:pt x="74" y="60"/>
                </a:lnTo>
                <a:lnTo>
                  <a:pt x="72" y="58"/>
                </a:lnTo>
                <a:lnTo>
                  <a:pt x="72" y="58"/>
                </a:lnTo>
                <a:lnTo>
                  <a:pt x="74" y="50"/>
                </a:lnTo>
                <a:lnTo>
                  <a:pt x="74" y="44"/>
                </a:lnTo>
                <a:lnTo>
                  <a:pt x="74" y="44"/>
                </a:lnTo>
                <a:lnTo>
                  <a:pt x="74" y="30"/>
                </a:lnTo>
                <a:lnTo>
                  <a:pt x="72" y="18"/>
                </a:lnTo>
                <a:lnTo>
                  <a:pt x="72" y="18"/>
                </a:lnTo>
                <a:lnTo>
                  <a:pt x="72" y="10"/>
                </a:lnTo>
                <a:lnTo>
                  <a:pt x="72" y="10"/>
                </a:lnTo>
                <a:lnTo>
                  <a:pt x="70" y="8"/>
                </a:lnTo>
                <a:lnTo>
                  <a:pt x="70" y="8"/>
                </a:lnTo>
                <a:lnTo>
                  <a:pt x="72" y="8"/>
                </a:lnTo>
                <a:lnTo>
                  <a:pt x="74" y="4"/>
                </a:lnTo>
                <a:lnTo>
                  <a:pt x="74" y="4"/>
                </a:lnTo>
                <a:lnTo>
                  <a:pt x="76" y="0"/>
                </a:lnTo>
                <a:lnTo>
                  <a:pt x="78" y="0"/>
                </a:lnTo>
                <a:lnTo>
                  <a:pt x="78" y="0"/>
                </a:lnTo>
                <a:lnTo>
                  <a:pt x="80" y="6"/>
                </a:lnTo>
                <a:lnTo>
                  <a:pt x="82" y="12"/>
                </a:lnTo>
                <a:lnTo>
                  <a:pt x="84" y="14"/>
                </a:lnTo>
                <a:lnTo>
                  <a:pt x="84" y="14"/>
                </a:lnTo>
                <a:lnTo>
                  <a:pt x="88" y="20"/>
                </a:lnTo>
                <a:lnTo>
                  <a:pt x="90" y="22"/>
                </a:lnTo>
                <a:lnTo>
                  <a:pt x="90" y="22"/>
                </a:lnTo>
                <a:lnTo>
                  <a:pt x="94" y="36"/>
                </a:lnTo>
                <a:lnTo>
                  <a:pt x="94" y="36"/>
                </a:lnTo>
                <a:lnTo>
                  <a:pt x="94" y="42"/>
                </a:lnTo>
                <a:lnTo>
                  <a:pt x="98" y="48"/>
                </a:lnTo>
                <a:lnTo>
                  <a:pt x="98" y="48"/>
                </a:lnTo>
                <a:lnTo>
                  <a:pt x="98" y="52"/>
                </a:lnTo>
                <a:lnTo>
                  <a:pt x="98" y="56"/>
                </a:lnTo>
                <a:lnTo>
                  <a:pt x="98" y="62"/>
                </a:lnTo>
                <a:lnTo>
                  <a:pt x="100" y="74"/>
                </a:lnTo>
                <a:lnTo>
                  <a:pt x="108" y="78"/>
                </a:lnTo>
                <a:lnTo>
                  <a:pt x="108" y="78"/>
                </a:lnTo>
                <a:lnTo>
                  <a:pt x="108" y="82"/>
                </a:lnTo>
                <a:lnTo>
                  <a:pt x="108" y="86"/>
                </a:lnTo>
                <a:lnTo>
                  <a:pt x="110" y="88"/>
                </a:lnTo>
                <a:lnTo>
                  <a:pt x="110" y="88"/>
                </a:lnTo>
                <a:lnTo>
                  <a:pt x="114" y="92"/>
                </a:lnTo>
                <a:lnTo>
                  <a:pt x="114" y="94"/>
                </a:lnTo>
                <a:lnTo>
                  <a:pt x="112" y="102"/>
                </a:lnTo>
                <a:lnTo>
                  <a:pt x="112" y="10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1" name="Freeform 245">
            <a:extLst>
              <a:ext uri="{FF2B5EF4-FFF2-40B4-BE49-F238E27FC236}">
                <a16:creationId xmlns:a16="http://schemas.microsoft.com/office/drawing/2014/main" id="{56875498-A0F5-4D36-A475-1048EC1C218E}"/>
              </a:ext>
            </a:extLst>
          </p:cNvPr>
          <p:cNvSpPr>
            <a:spLocks/>
          </p:cNvSpPr>
          <p:nvPr userDrawn="1"/>
        </p:nvSpPr>
        <p:spPr bwMode="auto">
          <a:xfrm>
            <a:off x="4641758" y="3728695"/>
            <a:ext cx="12383" cy="13728"/>
          </a:xfrm>
          <a:custGeom>
            <a:avLst/>
            <a:gdLst>
              <a:gd name="T0" fmla="*/ 6 w 8"/>
              <a:gd name="T1" fmla="*/ 0 h 8"/>
              <a:gd name="T2" fmla="*/ 6 w 8"/>
              <a:gd name="T3" fmla="*/ 0 h 8"/>
              <a:gd name="T4" fmla="*/ 8 w 8"/>
              <a:gd name="T5" fmla="*/ 0 h 8"/>
              <a:gd name="T6" fmla="*/ 8 w 8"/>
              <a:gd name="T7" fmla="*/ 2 h 8"/>
              <a:gd name="T8" fmla="*/ 8 w 8"/>
              <a:gd name="T9" fmla="*/ 2 h 8"/>
              <a:gd name="T10" fmla="*/ 2 w 8"/>
              <a:gd name="T11" fmla="*/ 4 h 8"/>
              <a:gd name="T12" fmla="*/ 2 w 8"/>
              <a:gd name="T13" fmla="*/ 4 h 8"/>
              <a:gd name="T14" fmla="*/ 2 w 8"/>
              <a:gd name="T15" fmla="*/ 6 h 8"/>
              <a:gd name="T16" fmla="*/ 0 w 8"/>
              <a:gd name="T17" fmla="*/ 8 h 8"/>
              <a:gd name="T18" fmla="*/ 0 w 8"/>
              <a:gd name="T19" fmla="*/ 8 h 8"/>
              <a:gd name="T20" fmla="*/ 0 w 8"/>
              <a:gd name="T21" fmla="*/ 8 h 8"/>
              <a:gd name="T22" fmla="*/ 0 w 8"/>
              <a:gd name="T23" fmla="*/ 6 h 8"/>
              <a:gd name="T24" fmla="*/ 2 w 8"/>
              <a:gd name="T25" fmla="*/ 4 h 8"/>
              <a:gd name="T26" fmla="*/ 6 w 8"/>
              <a:gd name="T27" fmla="*/ 0 h 8"/>
              <a:gd name="T28" fmla="*/ 6 w 8"/>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8">
                <a:moveTo>
                  <a:pt x="6" y="0"/>
                </a:moveTo>
                <a:lnTo>
                  <a:pt x="6" y="0"/>
                </a:lnTo>
                <a:lnTo>
                  <a:pt x="8" y="0"/>
                </a:lnTo>
                <a:lnTo>
                  <a:pt x="8" y="2"/>
                </a:lnTo>
                <a:lnTo>
                  <a:pt x="8" y="2"/>
                </a:lnTo>
                <a:lnTo>
                  <a:pt x="2" y="4"/>
                </a:lnTo>
                <a:lnTo>
                  <a:pt x="2" y="4"/>
                </a:lnTo>
                <a:lnTo>
                  <a:pt x="2" y="6"/>
                </a:lnTo>
                <a:lnTo>
                  <a:pt x="0" y="8"/>
                </a:lnTo>
                <a:lnTo>
                  <a:pt x="0" y="8"/>
                </a:lnTo>
                <a:lnTo>
                  <a:pt x="0" y="8"/>
                </a:lnTo>
                <a:lnTo>
                  <a:pt x="0" y="6"/>
                </a:lnTo>
                <a:lnTo>
                  <a:pt x="2" y="4"/>
                </a:lnTo>
                <a:lnTo>
                  <a:pt x="6" y="0"/>
                </a:lnTo>
                <a:lnTo>
                  <a:pt x="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2" name="Freeform 246">
            <a:extLst>
              <a:ext uri="{FF2B5EF4-FFF2-40B4-BE49-F238E27FC236}">
                <a16:creationId xmlns:a16="http://schemas.microsoft.com/office/drawing/2014/main" id="{389F7DF0-F8BF-46BA-B509-BC6892809A32}"/>
              </a:ext>
            </a:extLst>
          </p:cNvPr>
          <p:cNvSpPr>
            <a:spLocks/>
          </p:cNvSpPr>
          <p:nvPr userDrawn="1"/>
        </p:nvSpPr>
        <p:spPr bwMode="auto">
          <a:xfrm>
            <a:off x="4714509" y="3725262"/>
            <a:ext cx="1548" cy="3432"/>
          </a:xfrm>
          <a:custGeom>
            <a:avLst/>
            <a:gdLst>
              <a:gd name="T0" fmla="*/ 0 h 2"/>
              <a:gd name="T1" fmla="*/ 0 h 2"/>
              <a:gd name="T2" fmla="*/ 2 h 2"/>
              <a:gd name="T3" fmla="*/ 2 h 2"/>
              <a:gd name="T4" fmla="*/ 2 h 2"/>
              <a:gd name="T5" fmla="*/ 2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2"/>
                </a:lnTo>
                <a:lnTo>
                  <a:pt x="0" y="2"/>
                </a:lnTo>
                <a:lnTo>
                  <a:pt x="0" y="2"/>
                </a:lnTo>
                <a:lnTo>
                  <a:pt x="0" y="2"/>
                </a:lnTo>
                <a:lnTo>
                  <a:pt x="0" y="0"/>
                </a:lnTo>
                <a:lnTo>
                  <a:pt x="0"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3" name="Freeform 247">
            <a:extLst>
              <a:ext uri="{FF2B5EF4-FFF2-40B4-BE49-F238E27FC236}">
                <a16:creationId xmlns:a16="http://schemas.microsoft.com/office/drawing/2014/main" id="{C54E0F33-F100-4FEA-A8C8-907B80B38463}"/>
              </a:ext>
            </a:extLst>
          </p:cNvPr>
          <p:cNvSpPr>
            <a:spLocks/>
          </p:cNvSpPr>
          <p:nvPr userDrawn="1"/>
        </p:nvSpPr>
        <p:spPr bwMode="auto">
          <a:xfrm>
            <a:off x="4596869" y="3745855"/>
            <a:ext cx="40245" cy="6864"/>
          </a:xfrm>
          <a:custGeom>
            <a:avLst/>
            <a:gdLst>
              <a:gd name="T0" fmla="*/ 24 w 24"/>
              <a:gd name="T1" fmla="*/ 0 h 4"/>
              <a:gd name="T2" fmla="*/ 24 w 24"/>
              <a:gd name="T3" fmla="*/ 4 h 4"/>
              <a:gd name="T4" fmla="*/ 24 w 24"/>
              <a:gd name="T5" fmla="*/ 4 h 4"/>
              <a:gd name="T6" fmla="*/ 12 w 24"/>
              <a:gd name="T7" fmla="*/ 2 h 4"/>
              <a:gd name="T8" fmla="*/ 0 w 24"/>
              <a:gd name="T9" fmla="*/ 4 h 4"/>
              <a:gd name="T10" fmla="*/ 2 w 24"/>
              <a:gd name="T11" fmla="*/ 0 h 4"/>
              <a:gd name="T12" fmla="*/ 2 w 24"/>
              <a:gd name="T13" fmla="*/ 0 h 4"/>
              <a:gd name="T14" fmla="*/ 12 w 24"/>
              <a:gd name="T15" fmla="*/ 2 h 4"/>
              <a:gd name="T16" fmla="*/ 18 w 24"/>
              <a:gd name="T17" fmla="*/ 2 h 4"/>
              <a:gd name="T18" fmla="*/ 22 w 24"/>
              <a:gd name="T19" fmla="*/ 2 h 4"/>
              <a:gd name="T20" fmla="*/ 22 w 24"/>
              <a:gd name="T21" fmla="*/ 2 h 4"/>
              <a:gd name="T22" fmla="*/ 24 w 24"/>
              <a:gd name="T23" fmla="*/ 0 h 4"/>
              <a:gd name="T24" fmla="*/ 24 w 2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
                <a:moveTo>
                  <a:pt x="24" y="0"/>
                </a:moveTo>
                <a:lnTo>
                  <a:pt x="24" y="4"/>
                </a:lnTo>
                <a:lnTo>
                  <a:pt x="24" y="4"/>
                </a:lnTo>
                <a:lnTo>
                  <a:pt x="12" y="2"/>
                </a:lnTo>
                <a:lnTo>
                  <a:pt x="0" y="4"/>
                </a:lnTo>
                <a:lnTo>
                  <a:pt x="2" y="0"/>
                </a:lnTo>
                <a:lnTo>
                  <a:pt x="2" y="0"/>
                </a:lnTo>
                <a:lnTo>
                  <a:pt x="12" y="2"/>
                </a:lnTo>
                <a:lnTo>
                  <a:pt x="18" y="2"/>
                </a:lnTo>
                <a:lnTo>
                  <a:pt x="22" y="2"/>
                </a:lnTo>
                <a:lnTo>
                  <a:pt x="22" y="2"/>
                </a:lnTo>
                <a:lnTo>
                  <a:pt x="24" y="0"/>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4" name="Freeform 248">
            <a:extLst>
              <a:ext uri="{FF2B5EF4-FFF2-40B4-BE49-F238E27FC236}">
                <a16:creationId xmlns:a16="http://schemas.microsoft.com/office/drawing/2014/main" id="{C1610562-55B3-430D-AEAC-BBAE98AFD71D}"/>
              </a:ext>
            </a:extLst>
          </p:cNvPr>
          <p:cNvSpPr>
            <a:spLocks/>
          </p:cNvSpPr>
          <p:nvPr userDrawn="1"/>
        </p:nvSpPr>
        <p:spPr bwMode="auto">
          <a:xfrm>
            <a:off x="4178938" y="3543368"/>
            <a:ext cx="897776" cy="1125687"/>
          </a:xfrm>
          <a:custGeom>
            <a:avLst/>
            <a:gdLst>
              <a:gd name="T0" fmla="*/ 386 w 536"/>
              <a:gd name="T1" fmla="*/ 490 h 656"/>
              <a:gd name="T2" fmla="*/ 406 w 536"/>
              <a:gd name="T3" fmla="*/ 478 h 656"/>
              <a:gd name="T4" fmla="*/ 436 w 536"/>
              <a:gd name="T5" fmla="*/ 470 h 656"/>
              <a:gd name="T6" fmla="*/ 442 w 536"/>
              <a:gd name="T7" fmla="*/ 444 h 656"/>
              <a:gd name="T8" fmla="*/ 460 w 536"/>
              <a:gd name="T9" fmla="*/ 414 h 656"/>
              <a:gd name="T10" fmla="*/ 476 w 536"/>
              <a:gd name="T11" fmla="*/ 360 h 656"/>
              <a:gd name="T12" fmla="*/ 476 w 536"/>
              <a:gd name="T13" fmla="*/ 304 h 656"/>
              <a:gd name="T14" fmla="*/ 496 w 536"/>
              <a:gd name="T15" fmla="*/ 286 h 656"/>
              <a:gd name="T16" fmla="*/ 526 w 536"/>
              <a:gd name="T17" fmla="*/ 246 h 656"/>
              <a:gd name="T18" fmla="*/ 534 w 536"/>
              <a:gd name="T19" fmla="*/ 202 h 656"/>
              <a:gd name="T20" fmla="*/ 514 w 536"/>
              <a:gd name="T21" fmla="*/ 168 h 656"/>
              <a:gd name="T22" fmla="*/ 498 w 536"/>
              <a:gd name="T23" fmla="*/ 162 h 656"/>
              <a:gd name="T24" fmla="*/ 450 w 536"/>
              <a:gd name="T25" fmla="*/ 134 h 656"/>
              <a:gd name="T26" fmla="*/ 408 w 536"/>
              <a:gd name="T27" fmla="*/ 134 h 656"/>
              <a:gd name="T28" fmla="*/ 400 w 536"/>
              <a:gd name="T29" fmla="*/ 116 h 656"/>
              <a:gd name="T30" fmla="*/ 384 w 536"/>
              <a:gd name="T31" fmla="*/ 104 h 656"/>
              <a:gd name="T32" fmla="*/ 354 w 536"/>
              <a:gd name="T33" fmla="*/ 106 h 656"/>
              <a:gd name="T34" fmla="*/ 332 w 536"/>
              <a:gd name="T35" fmla="*/ 110 h 656"/>
              <a:gd name="T36" fmla="*/ 350 w 536"/>
              <a:gd name="T37" fmla="*/ 96 h 656"/>
              <a:gd name="T38" fmla="*/ 336 w 536"/>
              <a:gd name="T39" fmla="*/ 80 h 656"/>
              <a:gd name="T40" fmla="*/ 318 w 536"/>
              <a:gd name="T41" fmla="*/ 104 h 656"/>
              <a:gd name="T42" fmla="*/ 306 w 536"/>
              <a:gd name="T43" fmla="*/ 106 h 656"/>
              <a:gd name="T44" fmla="*/ 304 w 536"/>
              <a:gd name="T45" fmla="*/ 102 h 656"/>
              <a:gd name="T46" fmla="*/ 320 w 536"/>
              <a:gd name="T47" fmla="*/ 74 h 656"/>
              <a:gd name="T48" fmla="*/ 332 w 536"/>
              <a:gd name="T49" fmla="*/ 64 h 656"/>
              <a:gd name="T50" fmla="*/ 330 w 536"/>
              <a:gd name="T51" fmla="*/ 50 h 656"/>
              <a:gd name="T52" fmla="*/ 312 w 536"/>
              <a:gd name="T53" fmla="*/ 12 h 656"/>
              <a:gd name="T54" fmla="*/ 270 w 536"/>
              <a:gd name="T55" fmla="*/ 56 h 656"/>
              <a:gd name="T56" fmla="*/ 222 w 536"/>
              <a:gd name="T57" fmla="*/ 58 h 656"/>
              <a:gd name="T58" fmla="*/ 202 w 536"/>
              <a:gd name="T59" fmla="*/ 70 h 656"/>
              <a:gd name="T60" fmla="*/ 198 w 536"/>
              <a:gd name="T61" fmla="*/ 26 h 656"/>
              <a:gd name="T62" fmla="*/ 192 w 536"/>
              <a:gd name="T63" fmla="*/ 2 h 656"/>
              <a:gd name="T64" fmla="*/ 164 w 536"/>
              <a:gd name="T65" fmla="*/ 20 h 656"/>
              <a:gd name="T66" fmla="*/ 136 w 536"/>
              <a:gd name="T67" fmla="*/ 20 h 656"/>
              <a:gd name="T68" fmla="*/ 130 w 536"/>
              <a:gd name="T69" fmla="*/ 46 h 656"/>
              <a:gd name="T70" fmla="*/ 142 w 536"/>
              <a:gd name="T71" fmla="*/ 56 h 656"/>
              <a:gd name="T72" fmla="*/ 106 w 536"/>
              <a:gd name="T73" fmla="*/ 72 h 656"/>
              <a:gd name="T74" fmla="*/ 68 w 536"/>
              <a:gd name="T75" fmla="*/ 82 h 656"/>
              <a:gd name="T76" fmla="*/ 48 w 536"/>
              <a:gd name="T77" fmla="*/ 158 h 656"/>
              <a:gd name="T78" fmla="*/ 6 w 536"/>
              <a:gd name="T79" fmla="*/ 194 h 656"/>
              <a:gd name="T80" fmla="*/ 4 w 536"/>
              <a:gd name="T81" fmla="*/ 224 h 656"/>
              <a:gd name="T82" fmla="*/ 46 w 536"/>
              <a:gd name="T83" fmla="*/ 240 h 656"/>
              <a:gd name="T84" fmla="*/ 74 w 536"/>
              <a:gd name="T85" fmla="*/ 284 h 656"/>
              <a:gd name="T86" fmla="*/ 116 w 536"/>
              <a:gd name="T87" fmla="*/ 274 h 656"/>
              <a:gd name="T88" fmla="*/ 148 w 536"/>
              <a:gd name="T89" fmla="*/ 296 h 656"/>
              <a:gd name="T90" fmla="*/ 186 w 536"/>
              <a:gd name="T91" fmla="*/ 316 h 656"/>
              <a:gd name="T92" fmla="*/ 210 w 536"/>
              <a:gd name="T93" fmla="*/ 364 h 656"/>
              <a:gd name="T94" fmla="*/ 218 w 536"/>
              <a:gd name="T95" fmla="*/ 416 h 656"/>
              <a:gd name="T96" fmla="*/ 246 w 536"/>
              <a:gd name="T97" fmla="*/ 452 h 656"/>
              <a:gd name="T98" fmla="*/ 260 w 536"/>
              <a:gd name="T99" fmla="*/ 486 h 656"/>
              <a:gd name="T100" fmla="*/ 270 w 536"/>
              <a:gd name="T101" fmla="*/ 514 h 656"/>
              <a:gd name="T102" fmla="*/ 260 w 536"/>
              <a:gd name="T103" fmla="*/ 550 h 656"/>
              <a:gd name="T104" fmla="*/ 234 w 536"/>
              <a:gd name="T105" fmla="*/ 584 h 656"/>
              <a:gd name="T106" fmla="*/ 262 w 536"/>
              <a:gd name="T107" fmla="*/ 620 h 656"/>
              <a:gd name="T108" fmla="*/ 288 w 536"/>
              <a:gd name="T109" fmla="*/ 650 h 656"/>
              <a:gd name="T110" fmla="*/ 306 w 536"/>
              <a:gd name="T111" fmla="*/ 614 h 656"/>
              <a:gd name="T112" fmla="*/ 314 w 536"/>
              <a:gd name="T113" fmla="*/ 620 h 656"/>
              <a:gd name="T114" fmla="*/ 340 w 536"/>
              <a:gd name="T115" fmla="*/ 576 h 656"/>
              <a:gd name="T116" fmla="*/ 342 w 536"/>
              <a:gd name="T117" fmla="*/ 542 h 656"/>
              <a:gd name="T118" fmla="*/ 342 w 536"/>
              <a:gd name="T119" fmla="*/ 51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56">
                <a:moveTo>
                  <a:pt x="342" y="516"/>
                </a:moveTo>
                <a:lnTo>
                  <a:pt x="342" y="516"/>
                </a:lnTo>
                <a:lnTo>
                  <a:pt x="350" y="512"/>
                </a:lnTo>
                <a:lnTo>
                  <a:pt x="356" y="508"/>
                </a:lnTo>
                <a:lnTo>
                  <a:pt x="356" y="508"/>
                </a:lnTo>
                <a:lnTo>
                  <a:pt x="360" y="504"/>
                </a:lnTo>
                <a:lnTo>
                  <a:pt x="360" y="504"/>
                </a:lnTo>
                <a:lnTo>
                  <a:pt x="366" y="502"/>
                </a:lnTo>
                <a:lnTo>
                  <a:pt x="372" y="500"/>
                </a:lnTo>
                <a:lnTo>
                  <a:pt x="372" y="500"/>
                </a:lnTo>
                <a:lnTo>
                  <a:pt x="374" y="496"/>
                </a:lnTo>
                <a:lnTo>
                  <a:pt x="374" y="492"/>
                </a:lnTo>
                <a:lnTo>
                  <a:pt x="374" y="492"/>
                </a:lnTo>
                <a:lnTo>
                  <a:pt x="380" y="490"/>
                </a:lnTo>
                <a:lnTo>
                  <a:pt x="386" y="490"/>
                </a:lnTo>
                <a:lnTo>
                  <a:pt x="386" y="490"/>
                </a:lnTo>
                <a:lnTo>
                  <a:pt x="388" y="488"/>
                </a:lnTo>
                <a:lnTo>
                  <a:pt x="388" y="488"/>
                </a:lnTo>
                <a:lnTo>
                  <a:pt x="392" y="486"/>
                </a:lnTo>
                <a:lnTo>
                  <a:pt x="398" y="486"/>
                </a:lnTo>
                <a:lnTo>
                  <a:pt x="398" y="486"/>
                </a:lnTo>
                <a:lnTo>
                  <a:pt x="396" y="480"/>
                </a:lnTo>
                <a:lnTo>
                  <a:pt x="396" y="480"/>
                </a:lnTo>
                <a:lnTo>
                  <a:pt x="398" y="480"/>
                </a:lnTo>
                <a:lnTo>
                  <a:pt x="398" y="480"/>
                </a:lnTo>
                <a:lnTo>
                  <a:pt x="402" y="476"/>
                </a:lnTo>
                <a:lnTo>
                  <a:pt x="402" y="476"/>
                </a:lnTo>
                <a:lnTo>
                  <a:pt x="404" y="478"/>
                </a:lnTo>
                <a:lnTo>
                  <a:pt x="406" y="478"/>
                </a:lnTo>
                <a:lnTo>
                  <a:pt x="406" y="478"/>
                </a:lnTo>
                <a:lnTo>
                  <a:pt x="410" y="474"/>
                </a:lnTo>
                <a:lnTo>
                  <a:pt x="410" y="474"/>
                </a:lnTo>
                <a:lnTo>
                  <a:pt x="414" y="474"/>
                </a:lnTo>
                <a:lnTo>
                  <a:pt x="420" y="474"/>
                </a:lnTo>
                <a:lnTo>
                  <a:pt x="420" y="474"/>
                </a:lnTo>
                <a:lnTo>
                  <a:pt x="420" y="470"/>
                </a:lnTo>
                <a:lnTo>
                  <a:pt x="420" y="470"/>
                </a:lnTo>
                <a:lnTo>
                  <a:pt x="422" y="470"/>
                </a:lnTo>
                <a:lnTo>
                  <a:pt x="422" y="472"/>
                </a:lnTo>
                <a:lnTo>
                  <a:pt x="422" y="472"/>
                </a:lnTo>
                <a:lnTo>
                  <a:pt x="424" y="474"/>
                </a:lnTo>
                <a:lnTo>
                  <a:pt x="424" y="474"/>
                </a:lnTo>
                <a:lnTo>
                  <a:pt x="432" y="474"/>
                </a:lnTo>
                <a:lnTo>
                  <a:pt x="432" y="474"/>
                </a:lnTo>
                <a:lnTo>
                  <a:pt x="436" y="470"/>
                </a:lnTo>
                <a:lnTo>
                  <a:pt x="436" y="470"/>
                </a:lnTo>
                <a:lnTo>
                  <a:pt x="436" y="464"/>
                </a:lnTo>
                <a:lnTo>
                  <a:pt x="442" y="460"/>
                </a:lnTo>
                <a:lnTo>
                  <a:pt x="442" y="460"/>
                </a:lnTo>
                <a:lnTo>
                  <a:pt x="442" y="458"/>
                </a:lnTo>
                <a:lnTo>
                  <a:pt x="444" y="456"/>
                </a:lnTo>
                <a:lnTo>
                  <a:pt x="442" y="456"/>
                </a:lnTo>
                <a:lnTo>
                  <a:pt x="442" y="456"/>
                </a:lnTo>
                <a:lnTo>
                  <a:pt x="442" y="448"/>
                </a:lnTo>
                <a:lnTo>
                  <a:pt x="442" y="448"/>
                </a:lnTo>
                <a:lnTo>
                  <a:pt x="440" y="448"/>
                </a:lnTo>
                <a:lnTo>
                  <a:pt x="442" y="448"/>
                </a:lnTo>
                <a:lnTo>
                  <a:pt x="442" y="448"/>
                </a:lnTo>
                <a:lnTo>
                  <a:pt x="442" y="444"/>
                </a:lnTo>
                <a:lnTo>
                  <a:pt x="442" y="444"/>
                </a:lnTo>
                <a:lnTo>
                  <a:pt x="446" y="442"/>
                </a:lnTo>
                <a:lnTo>
                  <a:pt x="446" y="442"/>
                </a:lnTo>
                <a:lnTo>
                  <a:pt x="446" y="438"/>
                </a:lnTo>
                <a:lnTo>
                  <a:pt x="446" y="434"/>
                </a:lnTo>
                <a:lnTo>
                  <a:pt x="446" y="434"/>
                </a:lnTo>
                <a:lnTo>
                  <a:pt x="450" y="430"/>
                </a:lnTo>
                <a:lnTo>
                  <a:pt x="454" y="426"/>
                </a:lnTo>
                <a:lnTo>
                  <a:pt x="454" y="426"/>
                </a:lnTo>
                <a:lnTo>
                  <a:pt x="454" y="422"/>
                </a:lnTo>
                <a:lnTo>
                  <a:pt x="454" y="422"/>
                </a:lnTo>
                <a:lnTo>
                  <a:pt x="456" y="420"/>
                </a:lnTo>
                <a:lnTo>
                  <a:pt x="456" y="420"/>
                </a:lnTo>
                <a:lnTo>
                  <a:pt x="456" y="418"/>
                </a:lnTo>
                <a:lnTo>
                  <a:pt x="456" y="418"/>
                </a:lnTo>
                <a:lnTo>
                  <a:pt x="460" y="414"/>
                </a:lnTo>
                <a:lnTo>
                  <a:pt x="466" y="410"/>
                </a:lnTo>
                <a:lnTo>
                  <a:pt x="466" y="410"/>
                </a:lnTo>
                <a:lnTo>
                  <a:pt x="466" y="402"/>
                </a:lnTo>
                <a:lnTo>
                  <a:pt x="466" y="392"/>
                </a:lnTo>
                <a:lnTo>
                  <a:pt x="466" y="392"/>
                </a:lnTo>
                <a:lnTo>
                  <a:pt x="470" y="388"/>
                </a:lnTo>
                <a:lnTo>
                  <a:pt x="474" y="384"/>
                </a:lnTo>
                <a:lnTo>
                  <a:pt x="474" y="384"/>
                </a:lnTo>
                <a:lnTo>
                  <a:pt x="472" y="376"/>
                </a:lnTo>
                <a:lnTo>
                  <a:pt x="470" y="370"/>
                </a:lnTo>
                <a:lnTo>
                  <a:pt x="472" y="366"/>
                </a:lnTo>
                <a:lnTo>
                  <a:pt x="472" y="366"/>
                </a:lnTo>
                <a:lnTo>
                  <a:pt x="476" y="364"/>
                </a:lnTo>
                <a:lnTo>
                  <a:pt x="476" y="364"/>
                </a:lnTo>
                <a:lnTo>
                  <a:pt x="476" y="360"/>
                </a:lnTo>
                <a:lnTo>
                  <a:pt x="476" y="354"/>
                </a:lnTo>
                <a:lnTo>
                  <a:pt x="476" y="354"/>
                </a:lnTo>
                <a:lnTo>
                  <a:pt x="476" y="350"/>
                </a:lnTo>
                <a:lnTo>
                  <a:pt x="478" y="346"/>
                </a:lnTo>
                <a:lnTo>
                  <a:pt x="476" y="340"/>
                </a:lnTo>
                <a:lnTo>
                  <a:pt x="476" y="340"/>
                </a:lnTo>
                <a:lnTo>
                  <a:pt x="474" y="328"/>
                </a:lnTo>
                <a:lnTo>
                  <a:pt x="476" y="318"/>
                </a:lnTo>
                <a:lnTo>
                  <a:pt x="476" y="318"/>
                </a:lnTo>
                <a:lnTo>
                  <a:pt x="472" y="316"/>
                </a:lnTo>
                <a:lnTo>
                  <a:pt x="472" y="316"/>
                </a:lnTo>
                <a:lnTo>
                  <a:pt x="476" y="312"/>
                </a:lnTo>
                <a:lnTo>
                  <a:pt x="476" y="312"/>
                </a:lnTo>
                <a:lnTo>
                  <a:pt x="476" y="308"/>
                </a:lnTo>
                <a:lnTo>
                  <a:pt x="476" y="304"/>
                </a:lnTo>
                <a:lnTo>
                  <a:pt x="476" y="304"/>
                </a:lnTo>
                <a:lnTo>
                  <a:pt x="478" y="302"/>
                </a:lnTo>
                <a:lnTo>
                  <a:pt x="480" y="300"/>
                </a:lnTo>
                <a:lnTo>
                  <a:pt x="480" y="300"/>
                </a:lnTo>
                <a:lnTo>
                  <a:pt x="480" y="292"/>
                </a:lnTo>
                <a:lnTo>
                  <a:pt x="480" y="292"/>
                </a:lnTo>
                <a:lnTo>
                  <a:pt x="486" y="294"/>
                </a:lnTo>
                <a:lnTo>
                  <a:pt x="488" y="298"/>
                </a:lnTo>
                <a:lnTo>
                  <a:pt x="488" y="298"/>
                </a:lnTo>
                <a:lnTo>
                  <a:pt x="492" y="292"/>
                </a:lnTo>
                <a:lnTo>
                  <a:pt x="492" y="292"/>
                </a:lnTo>
                <a:lnTo>
                  <a:pt x="492" y="288"/>
                </a:lnTo>
                <a:lnTo>
                  <a:pt x="492" y="288"/>
                </a:lnTo>
                <a:lnTo>
                  <a:pt x="496" y="286"/>
                </a:lnTo>
                <a:lnTo>
                  <a:pt x="496" y="286"/>
                </a:lnTo>
                <a:lnTo>
                  <a:pt x="496" y="282"/>
                </a:lnTo>
                <a:lnTo>
                  <a:pt x="498" y="278"/>
                </a:lnTo>
                <a:lnTo>
                  <a:pt x="498" y="278"/>
                </a:lnTo>
                <a:lnTo>
                  <a:pt x="500" y="274"/>
                </a:lnTo>
                <a:lnTo>
                  <a:pt x="502" y="270"/>
                </a:lnTo>
                <a:lnTo>
                  <a:pt x="502" y="270"/>
                </a:lnTo>
                <a:lnTo>
                  <a:pt x="504" y="264"/>
                </a:lnTo>
                <a:lnTo>
                  <a:pt x="504" y="264"/>
                </a:lnTo>
                <a:lnTo>
                  <a:pt x="514" y="254"/>
                </a:lnTo>
                <a:lnTo>
                  <a:pt x="514" y="254"/>
                </a:lnTo>
                <a:lnTo>
                  <a:pt x="518" y="254"/>
                </a:lnTo>
                <a:lnTo>
                  <a:pt x="518" y="254"/>
                </a:lnTo>
                <a:lnTo>
                  <a:pt x="520" y="250"/>
                </a:lnTo>
                <a:lnTo>
                  <a:pt x="520" y="250"/>
                </a:lnTo>
                <a:lnTo>
                  <a:pt x="526" y="246"/>
                </a:lnTo>
                <a:lnTo>
                  <a:pt x="526" y="246"/>
                </a:lnTo>
                <a:lnTo>
                  <a:pt x="526" y="242"/>
                </a:lnTo>
                <a:lnTo>
                  <a:pt x="526" y="242"/>
                </a:lnTo>
                <a:lnTo>
                  <a:pt x="528" y="240"/>
                </a:lnTo>
                <a:lnTo>
                  <a:pt x="528" y="240"/>
                </a:lnTo>
                <a:lnTo>
                  <a:pt x="534" y="226"/>
                </a:lnTo>
                <a:lnTo>
                  <a:pt x="536" y="224"/>
                </a:lnTo>
                <a:lnTo>
                  <a:pt x="536" y="224"/>
                </a:lnTo>
                <a:lnTo>
                  <a:pt x="536" y="218"/>
                </a:lnTo>
                <a:lnTo>
                  <a:pt x="536" y="214"/>
                </a:lnTo>
                <a:lnTo>
                  <a:pt x="536" y="214"/>
                </a:lnTo>
                <a:lnTo>
                  <a:pt x="536" y="210"/>
                </a:lnTo>
                <a:lnTo>
                  <a:pt x="536" y="204"/>
                </a:lnTo>
                <a:lnTo>
                  <a:pt x="534" y="202"/>
                </a:lnTo>
                <a:lnTo>
                  <a:pt x="534" y="202"/>
                </a:lnTo>
                <a:lnTo>
                  <a:pt x="534" y="198"/>
                </a:lnTo>
                <a:lnTo>
                  <a:pt x="534" y="192"/>
                </a:lnTo>
                <a:lnTo>
                  <a:pt x="534" y="192"/>
                </a:lnTo>
                <a:lnTo>
                  <a:pt x="532" y="188"/>
                </a:lnTo>
                <a:lnTo>
                  <a:pt x="528" y="186"/>
                </a:lnTo>
                <a:lnTo>
                  <a:pt x="528" y="186"/>
                </a:lnTo>
                <a:lnTo>
                  <a:pt x="528" y="182"/>
                </a:lnTo>
                <a:lnTo>
                  <a:pt x="528" y="182"/>
                </a:lnTo>
                <a:lnTo>
                  <a:pt x="526" y="182"/>
                </a:lnTo>
                <a:lnTo>
                  <a:pt x="526" y="182"/>
                </a:lnTo>
                <a:lnTo>
                  <a:pt x="524" y="172"/>
                </a:lnTo>
                <a:lnTo>
                  <a:pt x="522" y="170"/>
                </a:lnTo>
                <a:lnTo>
                  <a:pt x="518" y="168"/>
                </a:lnTo>
                <a:lnTo>
                  <a:pt x="518" y="168"/>
                </a:lnTo>
                <a:lnTo>
                  <a:pt x="514" y="168"/>
                </a:lnTo>
                <a:lnTo>
                  <a:pt x="512" y="170"/>
                </a:lnTo>
                <a:lnTo>
                  <a:pt x="512" y="170"/>
                </a:lnTo>
                <a:lnTo>
                  <a:pt x="512" y="166"/>
                </a:lnTo>
                <a:lnTo>
                  <a:pt x="512" y="166"/>
                </a:lnTo>
                <a:lnTo>
                  <a:pt x="510" y="164"/>
                </a:lnTo>
                <a:lnTo>
                  <a:pt x="510" y="164"/>
                </a:lnTo>
                <a:lnTo>
                  <a:pt x="506" y="164"/>
                </a:lnTo>
                <a:lnTo>
                  <a:pt x="504" y="164"/>
                </a:lnTo>
                <a:lnTo>
                  <a:pt x="502" y="168"/>
                </a:lnTo>
                <a:lnTo>
                  <a:pt x="502" y="168"/>
                </a:lnTo>
                <a:lnTo>
                  <a:pt x="502" y="166"/>
                </a:lnTo>
                <a:lnTo>
                  <a:pt x="502" y="164"/>
                </a:lnTo>
                <a:lnTo>
                  <a:pt x="502" y="164"/>
                </a:lnTo>
                <a:lnTo>
                  <a:pt x="498" y="162"/>
                </a:lnTo>
                <a:lnTo>
                  <a:pt x="498" y="162"/>
                </a:lnTo>
                <a:lnTo>
                  <a:pt x="498" y="160"/>
                </a:lnTo>
                <a:lnTo>
                  <a:pt x="492" y="152"/>
                </a:lnTo>
                <a:lnTo>
                  <a:pt x="492" y="152"/>
                </a:lnTo>
                <a:lnTo>
                  <a:pt x="490" y="152"/>
                </a:lnTo>
                <a:lnTo>
                  <a:pt x="490" y="152"/>
                </a:lnTo>
                <a:lnTo>
                  <a:pt x="482" y="146"/>
                </a:lnTo>
                <a:lnTo>
                  <a:pt x="476" y="140"/>
                </a:lnTo>
                <a:lnTo>
                  <a:pt x="476" y="140"/>
                </a:lnTo>
                <a:lnTo>
                  <a:pt x="468" y="138"/>
                </a:lnTo>
                <a:lnTo>
                  <a:pt x="468" y="138"/>
                </a:lnTo>
                <a:lnTo>
                  <a:pt x="464" y="134"/>
                </a:lnTo>
                <a:lnTo>
                  <a:pt x="464" y="134"/>
                </a:lnTo>
                <a:lnTo>
                  <a:pt x="456" y="134"/>
                </a:lnTo>
                <a:lnTo>
                  <a:pt x="450" y="134"/>
                </a:lnTo>
                <a:lnTo>
                  <a:pt x="450" y="134"/>
                </a:lnTo>
                <a:lnTo>
                  <a:pt x="440" y="130"/>
                </a:lnTo>
                <a:lnTo>
                  <a:pt x="436" y="130"/>
                </a:lnTo>
                <a:lnTo>
                  <a:pt x="432" y="132"/>
                </a:lnTo>
                <a:lnTo>
                  <a:pt x="432" y="132"/>
                </a:lnTo>
                <a:lnTo>
                  <a:pt x="430" y="128"/>
                </a:lnTo>
                <a:lnTo>
                  <a:pt x="426" y="124"/>
                </a:lnTo>
                <a:lnTo>
                  <a:pt x="426" y="124"/>
                </a:lnTo>
                <a:lnTo>
                  <a:pt x="422" y="124"/>
                </a:lnTo>
                <a:lnTo>
                  <a:pt x="420" y="126"/>
                </a:lnTo>
                <a:lnTo>
                  <a:pt x="420" y="126"/>
                </a:lnTo>
                <a:lnTo>
                  <a:pt x="416" y="124"/>
                </a:lnTo>
                <a:lnTo>
                  <a:pt x="416" y="124"/>
                </a:lnTo>
                <a:lnTo>
                  <a:pt x="414" y="130"/>
                </a:lnTo>
                <a:lnTo>
                  <a:pt x="412" y="132"/>
                </a:lnTo>
                <a:lnTo>
                  <a:pt x="408" y="134"/>
                </a:lnTo>
                <a:lnTo>
                  <a:pt x="408" y="134"/>
                </a:lnTo>
                <a:lnTo>
                  <a:pt x="406" y="132"/>
                </a:lnTo>
                <a:lnTo>
                  <a:pt x="406" y="130"/>
                </a:lnTo>
                <a:lnTo>
                  <a:pt x="408" y="126"/>
                </a:lnTo>
                <a:lnTo>
                  <a:pt x="408" y="126"/>
                </a:lnTo>
                <a:lnTo>
                  <a:pt x="404" y="124"/>
                </a:lnTo>
                <a:lnTo>
                  <a:pt x="404" y="124"/>
                </a:lnTo>
                <a:lnTo>
                  <a:pt x="406" y="122"/>
                </a:lnTo>
                <a:lnTo>
                  <a:pt x="406" y="122"/>
                </a:lnTo>
                <a:lnTo>
                  <a:pt x="404" y="118"/>
                </a:lnTo>
                <a:lnTo>
                  <a:pt x="404" y="116"/>
                </a:lnTo>
                <a:lnTo>
                  <a:pt x="404" y="116"/>
                </a:lnTo>
                <a:lnTo>
                  <a:pt x="402" y="116"/>
                </a:lnTo>
                <a:lnTo>
                  <a:pt x="402" y="116"/>
                </a:lnTo>
                <a:lnTo>
                  <a:pt x="400" y="116"/>
                </a:lnTo>
                <a:lnTo>
                  <a:pt x="400" y="116"/>
                </a:lnTo>
                <a:lnTo>
                  <a:pt x="400" y="114"/>
                </a:lnTo>
                <a:lnTo>
                  <a:pt x="402" y="112"/>
                </a:lnTo>
                <a:lnTo>
                  <a:pt x="402" y="112"/>
                </a:lnTo>
                <a:lnTo>
                  <a:pt x="400" y="110"/>
                </a:lnTo>
                <a:lnTo>
                  <a:pt x="400" y="108"/>
                </a:lnTo>
                <a:lnTo>
                  <a:pt x="400" y="108"/>
                </a:lnTo>
                <a:lnTo>
                  <a:pt x="394" y="108"/>
                </a:lnTo>
                <a:lnTo>
                  <a:pt x="394" y="108"/>
                </a:lnTo>
                <a:lnTo>
                  <a:pt x="390" y="112"/>
                </a:lnTo>
                <a:lnTo>
                  <a:pt x="390" y="112"/>
                </a:lnTo>
                <a:lnTo>
                  <a:pt x="392" y="106"/>
                </a:lnTo>
                <a:lnTo>
                  <a:pt x="392" y="106"/>
                </a:lnTo>
                <a:lnTo>
                  <a:pt x="384" y="104"/>
                </a:lnTo>
                <a:lnTo>
                  <a:pt x="384" y="104"/>
                </a:lnTo>
                <a:lnTo>
                  <a:pt x="384" y="100"/>
                </a:lnTo>
                <a:lnTo>
                  <a:pt x="384" y="100"/>
                </a:lnTo>
                <a:lnTo>
                  <a:pt x="382" y="100"/>
                </a:lnTo>
                <a:lnTo>
                  <a:pt x="380" y="102"/>
                </a:lnTo>
                <a:lnTo>
                  <a:pt x="380" y="102"/>
                </a:lnTo>
                <a:lnTo>
                  <a:pt x="376" y="98"/>
                </a:lnTo>
                <a:lnTo>
                  <a:pt x="374" y="96"/>
                </a:lnTo>
                <a:lnTo>
                  <a:pt x="370" y="94"/>
                </a:lnTo>
                <a:lnTo>
                  <a:pt x="370" y="94"/>
                </a:lnTo>
                <a:lnTo>
                  <a:pt x="364" y="94"/>
                </a:lnTo>
                <a:lnTo>
                  <a:pt x="358" y="96"/>
                </a:lnTo>
                <a:lnTo>
                  <a:pt x="350" y="102"/>
                </a:lnTo>
                <a:lnTo>
                  <a:pt x="350" y="102"/>
                </a:lnTo>
                <a:lnTo>
                  <a:pt x="354" y="106"/>
                </a:lnTo>
                <a:lnTo>
                  <a:pt x="354" y="106"/>
                </a:lnTo>
                <a:lnTo>
                  <a:pt x="348" y="106"/>
                </a:lnTo>
                <a:lnTo>
                  <a:pt x="344" y="112"/>
                </a:lnTo>
                <a:lnTo>
                  <a:pt x="344" y="112"/>
                </a:lnTo>
                <a:lnTo>
                  <a:pt x="344" y="114"/>
                </a:lnTo>
                <a:lnTo>
                  <a:pt x="342" y="114"/>
                </a:lnTo>
                <a:lnTo>
                  <a:pt x="340" y="114"/>
                </a:lnTo>
                <a:lnTo>
                  <a:pt x="342" y="112"/>
                </a:lnTo>
                <a:lnTo>
                  <a:pt x="342" y="112"/>
                </a:lnTo>
                <a:lnTo>
                  <a:pt x="334" y="114"/>
                </a:lnTo>
                <a:lnTo>
                  <a:pt x="324" y="114"/>
                </a:lnTo>
                <a:lnTo>
                  <a:pt x="324" y="114"/>
                </a:lnTo>
                <a:lnTo>
                  <a:pt x="320" y="108"/>
                </a:lnTo>
                <a:lnTo>
                  <a:pt x="320" y="108"/>
                </a:lnTo>
                <a:lnTo>
                  <a:pt x="326" y="112"/>
                </a:lnTo>
                <a:lnTo>
                  <a:pt x="332" y="110"/>
                </a:lnTo>
                <a:lnTo>
                  <a:pt x="332" y="110"/>
                </a:lnTo>
                <a:lnTo>
                  <a:pt x="340" y="112"/>
                </a:lnTo>
                <a:lnTo>
                  <a:pt x="340" y="112"/>
                </a:lnTo>
                <a:lnTo>
                  <a:pt x="340" y="110"/>
                </a:lnTo>
                <a:lnTo>
                  <a:pt x="340" y="110"/>
                </a:lnTo>
                <a:lnTo>
                  <a:pt x="344" y="108"/>
                </a:lnTo>
                <a:lnTo>
                  <a:pt x="344" y="106"/>
                </a:lnTo>
                <a:lnTo>
                  <a:pt x="344" y="106"/>
                </a:lnTo>
                <a:lnTo>
                  <a:pt x="348" y="106"/>
                </a:lnTo>
                <a:lnTo>
                  <a:pt x="348" y="106"/>
                </a:lnTo>
                <a:lnTo>
                  <a:pt x="348" y="104"/>
                </a:lnTo>
                <a:lnTo>
                  <a:pt x="348" y="100"/>
                </a:lnTo>
                <a:lnTo>
                  <a:pt x="350" y="100"/>
                </a:lnTo>
                <a:lnTo>
                  <a:pt x="350" y="100"/>
                </a:lnTo>
                <a:lnTo>
                  <a:pt x="350" y="96"/>
                </a:lnTo>
                <a:lnTo>
                  <a:pt x="350" y="92"/>
                </a:lnTo>
                <a:lnTo>
                  <a:pt x="350" y="92"/>
                </a:lnTo>
                <a:lnTo>
                  <a:pt x="350" y="90"/>
                </a:lnTo>
                <a:lnTo>
                  <a:pt x="350" y="88"/>
                </a:lnTo>
                <a:lnTo>
                  <a:pt x="350" y="86"/>
                </a:lnTo>
                <a:lnTo>
                  <a:pt x="350" y="84"/>
                </a:lnTo>
                <a:lnTo>
                  <a:pt x="350" y="84"/>
                </a:lnTo>
                <a:lnTo>
                  <a:pt x="340" y="84"/>
                </a:lnTo>
                <a:lnTo>
                  <a:pt x="340" y="84"/>
                </a:lnTo>
                <a:lnTo>
                  <a:pt x="340" y="84"/>
                </a:lnTo>
                <a:lnTo>
                  <a:pt x="342" y="82"/>
                </a:lnTo>
                <a:lnTo>
                  <a:pt x="340" y="80"/>
                </a:lnTo>
                <a:lnTo>
                  <a:pt x="340" y="78"/>
                </a:lnTo>
                <a:lnTo>
                  <a:pt x="340" y="78"/>
                </a:lnTo>
                <a:lnTo>
                  <a:pt x="336" y="80"/>
                </a:lnTo>
                <a:lnTo>
                  <a:pt x="332" y="82"/>
                </a:lnTo>
                <a:lnTo>
                  <a:pt x="330" y="86"/>
                </a:lnTo>
                <a:lnTo>
                  <a:pt x="330" y="86"/>
                </a:lnTo>
                <a:lnTo>
                  <a:pt x="326" y="86"/>
                </a:lnTo>
                <a:lnTo>
                  <a:pt x="324" y="88"/>
                </a:lnTo>
                <a:lnTo>
                  <a:pt x="324" y="88"/>
                </a:lnTo>
                <a:lnTo>
                  <a:pt x="322" y="94"/>
                </a:lnTo>
                <a:lnTo>
                  <a:pt x="322" y="94"/>
                </a:lnTo>
                <a:lnTo>
                  <a:pt x="320" y="94"/>
                </a:lnTo>
                <a:lnTo>
                  <a:pt x="318" y="96"/>
                </a:lnTo>
                <a:lnTo>
                  <a:pt x="318" y="96"/>
                </a:lnTo>
                <a:lnTo>
                  <a:pt x="318" y="102"/>
                </a:lnTo>
                <a:lnTo>
                  <a:pt x="320" y="106"/>
                </a:lnTo>
                <a:lnTo>
                  <a:pt x="318" y="104"/>
                </a:lnTo>
                <a:lnTo>
                  <a:pt x="318" y="104"/>
                </a:lnTo>
                <a:lnTo>
                  <a:pt x="316" y="100"/>
                </a:lnTo>
                <a:lnTo>
                  <a:pt x="316" y="100"/>
                </a:lnTo>
                <a:lnTo>
                  <a:pt x="312" y="104"/>
                </a:lnTo>
                <a:lnTo>
                  <a:pt x="312" y="104"/>
                </a:lnTo>
                <a:lnTo>
                  <a:pt x="308" y="104"/>
                </a:lnTo>
                <a:lnTo>
                  <a:pt x="308" y="104"/>
                </a:lnTo>
                <a:lnTo>
                  <a:pt x="308" y="110"/>
                </a:lnTo>
                <a:lnTo>
                  <a:pt x="308" y="116"/>
                </a:lnTo>
                <a:lnTo>
                  <a:pt x="308" y="116"/>
                </a:lnTo>
                <a:lnTo>
                  <a:pt x="306" y="122"/>
                </a:lnTo>
                <a:lnTo>
                  <a:pt x="306" y="122"/>
                </a:lnTo>
                <a:lnTo>
                  <a:pt x="306" y="116"/>
                </a:lnTo>
                <a:lnTo>
                  <a:pt x="306" y="116"/>
                </a:lnTo>
                <a:lnTo>
                  <a:pt x="306" y="110"/>
                </a:lnTo>
                <a:lnTo>
                  <a:pt x="306" y="106"/>
                </a:lnTo>
                <a:lnTo>
                  <a:pt x="306" y="106"/>
                </a:lnTo>
                <a:lnTo>
                  <a:pt x="306" y="102"/>
                </a:lnTo>
                <a:lnTo>
                  <a:pt x="306" y="102"/>
                </a:lnTo>
                <a:lnTo>
                  <a:pt x="300" y="102"/>
                </a:lnTo>
                <a:lnTo>
                  <a:pt x="300" y="102"/>
                </a:lnTo>
                <a:lnTo>
                  <a:pt x="296" y="106"/>
                </a:lnTo>
                <a:lnTo>
                  <a:pt x="292" y="108"/>
                </a:lnTo>
                <a:lnTo>
                  <a:pt x="292" y="108"/>
                </a:lnTo>
                <a:lnTo>
                  <a:pt x="284" y="108"/>
                </a:lnTo>
                <a:lnTo>
                  <a:pt x="284" y="108"/>
                </a:lnTo>
                <a:lnTo>
                  <a:pt x="292" y="104"/>
                </a:lnTo>
                <a:lnTo>
                  <a:pt x="300" y="102"/>
                </a:lnTo>
                <a:lnTo>
                  <a:pt x="300" y="102"/>
                </a:lnTo>
                <a:lnTo>
                  <a:pt x="304" y="102"/>
                </a:lnTo>
                <a:lnTo>
                  <a:pt x="304" y="102"/>
                </a:lnTo>
                <a:lnTo>
                  <a:pt x="304" y="98"/>
                </a:lnTo>
                <a:lnTo>
                  <a:pt x="306" y="94"/>
                </a:lnTo>
                <a:lnTo>
                  <a:pt x="306" y="94"/>
                </a:lnTo>
                <a:lnTo>
                  <a:pt x="308" y="90"/>
                </a:lnTo>
                <a:lnTo>
                  <a:pt x="310" y="86"/>
                </a:lnTo>
                <a:lnTo>
                  <a:pt x="310" y="86"/>
                </a:lnTo>
                <a:lnTo>
                  <a:pt x="310" y="82"/>
                </a:lnTo>
                <a:lnTo>
                  <a:pt x="310" y="82"/>
                </a:lnTo>
                <a:lnTo>
                  <a:pt x="316" y="78"/>
                </a:lnTo>
                <a:lnTo>
                  <a:pt x="316" y="78"/>
                </a:lnTo>
                <a:lnTo>
                  <a:pt x="318" y="76"/>
                </a:lnTo>
                <a:lnTo>
                  <a:pt x="320" y="74"/>
                </a:lnTo>
                <a:lnTo>
                  <a:pt x="320" y="74"/>
                </a:lnTo>
                <a:lnTo>
                  <a:pt x="320" y="74"/>
                </a:lnTo>
                <a:lnTo>
                  <a:pt x="320" y="74"/>
                </a:lnTo>
                <a:lnTo>
                  <a:pt x="320" y="76"/>
                </a:lnTo>
                <a:lnTo>
                  <a:pt x="320" y="76"/>
                </a:lnTo>
                <a:lnTo>
                  <a:pt x="320" y="82"/>
                </a:lnTo>
                <a:lnTo>
                  <a:pt x="320" y="82"/>
                </a:lnTo>
                <a:lnTo>
                  <a:pt x="326" y="82"/>
                </a:lnTo>
                <a:lnTo>
                  <a:pt x="328" y="82"/>
                </a:lnTo>
                <a:lnTo>
                  <a:pt x="330" y="80"/>
                </a:lnTo>
                <a:lnTo>
                  <a:pt x="330" y="80"/>
                </a:lnTo>
                <a:lnTo>
                  <a:pt x="328" y="78"/>
                </a:lnTo>
                <a:lnTo>
                  <a:pt x="328" y="78"/>
                </a:lnTo>
                <a:lnTo>
                  <a:pt x="328" y="72"/>
                </a:lnTo>
                <a:lnTo>
                  <a:pt x="330" y="74"/>
                </a:lnTo>
                <a:lnTo>
                  <a:pt x="330" y="74"/>
                </a:lnTo>
                <a:lnTo>
                  <a:pt x="332" y="64"/>
                </a:lnTo>
                <a:lnTo>
                  <a:pt x="332" y="64"/>
                </a:lnTo>
                <a:lnTo>
                  <a:pt x="328" y="64"/>
                </a:lnTo>
                <a:lnTo>
                  <a:pt x="328" y="64"/>
                </a:lnTo>
                <a:lnTo>
                  <a:pt x="324" y="68"/>
                </a:lnTo>
                <a:lnTo>
                  <a:pt x="324" y="68"/>
                </a:lnTo>
                <a:lnTo>
                  <a:pt x="326" y="68"/>
                </a:lnTo>
                <a:lnTo>
                  <a:pt x="326" y="70"/>
                </a:lnTo>
                <a:lnTo>
                  <a:pt x="326" y="70"/>
                </a:lnTo>
                <a:lnTo>
                  <a:pt x="322" y="70"/>
                </a:lnTo>
                <a:lnTo>
                  <a:pt x="322" y="70"/>
                </a:lnTo>
                <a:lnTo>
                  <a:pt x="326" y="64"/>
                </a:lnTo>
                <a:lnTo>
                  <a:pt x="326" y="62"/>
                </a:lnTo>
                <a:lnTo>
                  <a:pt x="322" y="60"/>
                </a:lnTo>
                <a:lnTo>
                  <a:pt x="322" y="60"/>
                </a:lnTo>
                <a:lnTo>
                  <a:pt x="328" y="56"/>
                </a:lnTo>
                <a:lnTo>
                  <a:pt x="330" y="50"/>
                </a:lnTo>
                <a:lnTo>
                  <a:pt x="330" y="50"/>
                </a:lnTo>
                <a:lnTo>
                  <a:pt x="320" y="50"/>
                </a:lnTo>
                <a:lnTo>
                  <a:pt x="320" y="50"/>
                </a:lnTo>
                <a:lnTo>
                  <a:pt x="322" y="44"/>
                </a:lnTo>
                <a:lnTo>
                  <a:pt x="320" y="38"/>
                </a:lnTo>
                <a:lnTo>
                  <a:pt x="320" y="38"/>
                </a:lnTo>
                <a:lnTo>
                  <a:pt x="318" y="36"/>
                </a:lnTo>
                <a:lnTo>
                  <a:pt x="318" y="36"/>
                </a:lnTo>
                <a:lnTo>
                  <a:pt x="318" y="30"/>
                </a:lnTo>
                <a:lnTo>
                  <a:pt x="318" y="26"/>
                </a:lnTo>
                <a:lnTo>
                  <a:pt x="318" y="26"/>
                </a:lnTo>
                <a:lnTo>
                  <a:pt x="312" y="16"/>
                </a:lnTo>
                <a:lnTo>
                  <a:pt x="312" y="16"/>
                </a:lnTo>
                <a:lnTo>
                  <a:pt x="312" y="12"/>
                </a:lnTo>
                <a:lnTo>
                  <a:pt x="312" y="12"/>
                </a:lnTo>
                <a:lnTo>
                  <a:pt x="308" y="10"/>
                </a:lnTo>
                <a:lnTo>
                  <a:pt x="304" y="22"/>
                </a:lnTo>
                <a:lnTo>
                  <a:pt x="300" y="30"/>
                </a:lnTo>
                <a:lnTo>
                  <a:pt x="300" y="30"/>
                </a:lnTo>
                <a:lnTo>
                  <a:pt x="298" y="44"/>
                </a:lnTo>
                <a:lnTo>
                  <a:pt x="298" y="44"/>
                </a:lnTo>
                <a:lnTo>
                  <a:pt x="294" y="52"/>
                </a:lnTo>
                <a:lnTo>
                  <a:pt x="290" y="56"/>
                </a:lnTo>
                <a:lnTo>
                  <a:pt x="284" y="52"/>
                </a:lnTo>
                <a:lnTo>
                  <a:pt x="278" y="54"/>
                </a:lnTo>
                <a:lnTo>
                  <a:pt x="278" y="54"/>
                </a:lnTo>
                <a:lnTo>
                  <a:pt x="274" y="56"/>
                </a:lnTo>
                <a:lnTo>
                  <a:pt x="272" y="56"/>
                </a:lnTo>
                <a:lnTo>
                  <a:pt x="270" y="56"/>
                </a:lnTo>
                <a:lnTo>
                  <a:pt x="270" y="56"/>
                </a:lnTo>
                <a:lnTo>
                  <a:pt x="266" y="52"/>
                </a:lnTo>
                <a:lnTo>
                  <a:pt x="266" y="48"/>
                </a:lnTo>
                <a:lnTo>
                  <a:pt x="260" y="48"/>
                </a:lnTo>
                <a:lnTo>
                  <a:pt x="258" y="46"/>
                </a:lnTo>
                <a:lnTo>
                  <a:pt x="254" y="48"/>
                </a:lnTo>
                <a:lnTo>
                  <a:pt x="244" y="44"/>
                </a:lnTo>
                <a:lnTo>
                  <a:pt x="242" y="52"/>
                </a:lnTo>
                <a:lnTo>
                  <a:pt x="246" y="56"/>
                </a:lnTo>
                <a:lnTo>
                  <a:pt x="244" y="62"/>
                </a:lnTo>
                <a:lnTo>
                  <a:pt x="234" y="58"/>
                </a:lnTo>
                <a:lnTo>
                  <a:pt x="228" y="60"/>
                </a:lnTo>
                <a:lnTo>
                  <a:pt x="228" y="60"/>
                </a:lnTo>
                <a:lnTo>
                  <a:pt x="226" y="60"/>
                </a:lnTo>
                <a:lnTo>
                  <a:pt x="222" y="58"/>
                </a:lnTo>
                <a:lnTo>
                  <a:pt x="222" y="58"/>
                </a:lnTo>
                <a:lnTo>
                  <a:pt x="220" y="58"/>
                </a:lnTo>
                <a:lnTo>
                  <a:pt x="218" y="60"/>
                </a:lnTo>
                <a:lnTo>
                  <a:pt x="218" y="60"/>
                </a:lnTo>
                <a:lnTo>
                  <a:pt x="216" y="62"/>
                </a:lnTo>
                <a:lnTo>
                  <a:pt x="216" y="62"/>
                </a:lnTo>
                <a:lnTo>
                  <a:pt x="214" y="62"/>
                </a:lnTo>
                <a:lnTo>
                  <a:pt x="214" y="64"/>
                </a:lnTo>
                <a:lnTo>
                  <a:pt x="214" y="66"/>
                </a:lnTo>
                <a:lnTo>
                  <a:pt x="212" y="66"/>
                </a:lnTo>
                <a:lnTo>
                  <a:pt x="212" y="66"/>
                </a:lnTo>
                <a:lnTo>
                  <a:pt x="210" y="66"/>
                </a:lnTo>
                <a:lnTo>
                  <a:pt x="208" y="68"/>
                </a:lnTo>
                <a:lnTo>
                  <a:pt x="206" y="70"/>
                </a:lnTo>
                <a:lnTo>
                  <a:pt x="206" y="70"/>
                </a:lnTo>
                <a:lnTo>
                  <a:pt x="202" y="70"/>
                </a:lnTo>
                <a:lnTo>
                  <a:pt x="200" y="66"/>
                </a:lnTo>
                <a:lnTo>
                  <a:pt x="200" y="66"/>
                </a:lnTo>
                <a:lnTo>
                  <a:pt x="200" y="64"/>
                </a:lnTo>
                <a:lnTo>
                  <a:pt x="198" y="64"/>
                </a:lnTo>
                <a:lnTo>
                  <a:pt x="194" y="60"/>
                </a:lnTo>
                <a:lnTo>
                  <a:pt x="194" y="60"/>
                </a:lnTo>
                <a:lnTo>
                  <a:pt x="192" y="58"/>
                </a:lnTo>
                <a:lnTo>
                  <a:pt x="190" y="54"/>
                </a:lnTo>
                <a:lnTo>
                  <a:pt x="190" y="52"/>
                </a:lnTo>
                <a:lnTo>
                  <a:pt x="190" y="52"/>
                </a:lnTo>
                <a:lnTo>
                  <a:pt x="192" y="40"/>
                </a:lnTo>
                <a:lnTo>
                  <a:pt x="192" y="32"/>
                </a:lnTo>
                <a:lnTo>
                  <a:pt x="192" y="32"/>
                </a:lnTo>
                <a:lnTo>
                  <a:pt x="198" y="26"/>
                </a:lnTo>
                <a:lnTo>
                  <a:pt x="198" y="26"/>
                </a:lnTo>
                <a:lnTo>
                  <a:pt x="200" y="22"/>
                </a:lnTo>
                <a:lnTo>
                  <a:pt x="198" y="20"/>
                </a:lnTo>
                <a:lnTo>
                  <a:pt x="198" y="20"/>
                </a:lnTo>
                <a:lnTo>
                  <a:pt x="198" y="18"/>
                </a:lnTo>
                <a:lnTo>
                  <a:pt x="198" y="16"/>
                </a:lnTo>
                <a:lnTo>
                  <a:pt x="200" y="14"/>
                </a:lnTo>
                <a:lnTo>
                  <a:pt x="198" y="14"/>
                </a:lnTo>
                <a:lnTo>
                  <a:pt x="198" y="14"/>
                </a:lnTo>
                <a:lnTo>
                  <a:pt x="192" y="10"/>
                </a:lnTo>
                <a:lnTo>
                  <a:pt x="196" y="6"/>
                </a:lnTo>
                <a:lnTo>
                  <a:pt x="196" y="6"/>
                </a:lnTo>
                <a:lnTo>
                  <a:pt x="196" y="4"/>
                </a:lnTo>
                <a:lnTo>
                  <a:pt x="194" y="2"/>
                </a:lnTo>
                <a:lnTo>
                  <a:pt x="192" y="2"/>
                </a:lnTo>
                <a:lnTo>
                  <a:pt x="192" y="2"/>
                </a:lnTo>
                <a:lnTo>
                  <a:pt x="186" y="2"/>
                </a:lnTo>
                <a:lnTo>
                  <a:pt x="182" y="0"/>
                </a:lnTo>
                <a:lnTo>
                  <a:pt x="182" y="4"/>
                </a:lnTo>
                <a:lnTo>
                  <a:pt x="182" y="10"/>
                </a:lnTo>
                <a:lnTo>
                  <a:pt x="182" y="10"/>
                </a:lnTo>
                <a:lnTo>
                  <a:pt x="174" y="10"/>
                </a:lnTo>
                <a:lnTo>
                  <a:pt x="174" y="10"/>
                </a:lnTo>
                <a:lnTo>
                  <a:pt x="174" y="12"/>
                </a:lnTo>
                <a:lnTo>
                  <a:pt x="172" y="12"/>
                </a:lnTo>
                <a:lnTo>
                  <a:pt x="170" y="14"/>
                </a:lnTo>
                <a:lnTo>
                  <a:pt x="170" y="16"/>
                </a:lnTo>
                <a:lnTo>
                  <a:pt x="170" y="16"/>
                </a:lnTo>
                <a:lnTo>
                  <a:pt x="166" y="18"/>
                </a:lnTo>
                <a:lnTo>
                  <a:pt x="166" y="20"/>
                </a:lnTo>
                <a:lnTo>
                  <a:pt x="164" y="20"/>
                </a:lnTo>
                <a:lnTo>
                  <a:pt x="164" y="20"/>
                </a:lnTo>
                <a:lnTo>
                  <a:pt x="156" y="18"/>
                </a:lnTo>
                <a:lnTo>
                  <a:pt x="156" y="18"/>
                </a:lnTo>
                <a:lnTo>
                  <a:pt x="154" y="18"/>
                </a:lnTo>
                <a:lnTo>
                  <a:pt x="152" y="20"/>
                </a:lnTo>
                <a:lnTo>
                  <a:pt x="152" y="20"/>
                </a:lnTo>
                <a:lnTo>
                  <a:pt x="150" y="22"/>
                </a:lnTo>
                <a:lnTo>
                  <a:pt x="152" y="24"/>
                </a:lnTo>
                <a:lnTo>
                  <a:pt x="152" y="24"/>
                </a:lnTo>
                <a:lnTo>
                  <a:pt x="152" y="24"/>
                </a:lnTo>
                <a:lnTo>
                  <a:pt x="150" y="24"/>
                </a:lnTo>
                <a:lnTo>
                  <a:pt x="144" y="22"/>
                </a:lnTo>
                <a:lnTo>
                  <a:pt x="144" y="22"/>
                </a:lnTo>
                <a:lnTo>
                  <a:pt x="140" y="20"/>
                </a:lnTo>
                <a:lnTo>
                  <a:pt x="136" y="20"/>
                </a:lnTo>
                <a:lnTo>
                  <a:pt x="136" y="20"/>
                </a:lnTo>
                <a:lnTo>
                  <a:pt x="132" y="20"/>
                </a:lnTo>
                <a:lnTo>
                  <a:pt x="126" y="18"/>
                </a:lnTo>
                <a:lnTo>
                  <a:pt x="126" y="18"/>
                </a:lnTo>
                <a:lnTo>
                  <a:pt x="122" y="18"/>
                </a:lnTo>
                <a:lnTo>
                  <a:pt x="124" y="20"/>
                </a:lnTo>
                <a:lnTo>
                  <a:pt x="124" y="20"/>
                </a:lnTo>
                <a:lnTo>
                  <a:pt x="126" y="20"/>
                </a:lnTo>
                <a:lnTo>
                  <a:pt x="126" y="22"/>
                </a:lnTo>
                <a:lnTo>
                  <a:pt x="128" y="26"/>
                </a:lnTo>
                <a:lnTo>
                  <a:pt x="128" y="26"/>
                </a:lnTo>
                <a:lnTo>
                  <a:pt x="130" y="34"/>
                </a:lnTo>
                <a:lnTo>
                  <a:pt x="130" y="34"/>
                </a:lnTo>
                <a:lnTo>
                  <a:pt x="130" y="40"/>
                </a:lnTo>
                <a:lnTo>
                  <a:pt x="130" y="46"/>
                </a:lnTo>
                <a:lnTo>
                  <a:pt x="130" y="46"/>
                </a:lnTo>
                <a:lnTo>
                  <a:pt x="132" y="48"/>
                </a:lnTo>
                <a:lnTo>
                  <a:pt x="134" y="50"/>
                </a:lnTo>
                <a:lnTo>
                  <a:pt x="134" y="50"/>
                </a:lnTo>
                <a:lnTo>
                  <a:pt x="138" y="50"/>
                </a:lnTo>
                <a:lnTo>
                  <a:pt x="144" y="48"/>
                </a:lnTo>
                <a:lnTo>
                  <a:pt x="144" y="48"/>
                </a:lnTo>
                <a:lnTo>
                  <a:pt x="146" y="50"/>
                </a:lnTo>
                <a:lnTo>
                  <a:pt x="148" y="50"/>
                </a:lnTo>
                <a:lnTo>
                  <a:pt x="150" y="54"/>
                </a:lnTo>
                <a:lnTo>
                  <a:pt x="150" y="54"/>
                </a:lnTo>
                <a:lnTo>
                  <a:pt x="148" y="54"/>
                </a:lnTo>
                <a:lnTo>
                  <a:pt x="144" y="56"/>
                </a:lnTo>
                <a:lnTo>
                  <a:pt x="144" y="56"/>
                </a:lnTo>
                <a:lnTo>
                  <a:pt x="142" y="56"/>
                </a:lnTo>
                <a:lnTo>
                  <a:pt x="140" y="60"/>
                </a:lnTo>
                <a:lnTo>
                  <a:pt x="138" y="62"/>
                </a:lnTo>
                <a:lnTo>
                  <a:pt x="136" y="64"/>
                </a:lnTo>
                <a:lnTo>
                  <a:pt x="136" y="64"/>
                </a:lnTo>
                <a:lnTo>
                  <a:pt x="134" y="66"/>
                </a:lnTo>
                <a:lnTo>
                  <a:pt x="130" y="68"/>
                </a:lnTo>
                <a:lnTo>
                  <a:pt x="130" y="68"/>
                </a:lnTo>
                <a:lnTo>
                  <a:pt x="128" y="68"/>
                </a:lnTo>
                <a:lnTo>
                  <a:pt x="126" y="70"/>
                </a:lnTo>
                <a:lnTo>
                  <a:pt x="124" y="72"/>
                </a:lnTo>
                <a:lnTo>
                  <a:pt x="122" y="74"/>
                </a:lnTo>
                <a:lnTo>
                  <a:pt x="122" y="74"/>
                </a:lnTo>
                <a:lnTo>
                  <a:pt x="116" y="76"/>
                </a:lnTo>
                <a:lnTo>
                  <a:pt x="114" y="78"/>
                </a:lnTo>
                <a:lnTo>
                  <a:pt x="106" y="72"/>
                </a:lnTo>
                <a:lnTo>
                  <a:pt x="102" y="72"/>
                </a:lnTo>
                <a:lnTo>
                  <a:pt x="102" y="66"/>
                </a:lnTo>
                <a:lnTo>
                  <a:pt x="96" y="64"/>
                </a:lnTo>
                <a:lnTo>
                  <a:pt x="94" y="72"/>
                </a:lnTo>
                <a:lnTo>
                  <a:pt x="90" y="72"/>
                </a:lnTo>
                <a:lnTo>
                  <a:pt x="86" y="70"/>
                </a:lnTo>
                <a:lnTo>
                  <a:pt x="86" y="74"/>
                </a:lnTo>
                <a:lnTo>
                  <a:pt x="86" y="74"/>
                </a:lnTo>
                <a:lnTo>
                  <a:pt x="72" y="74"/>
                </a:lnTo>
                <a:lnTo>
                  <a:pt x="72" y="74"/>
                </a:lnTo>
                <a:lnTo>
                  <a:pt x="66" y="74"/>
                </a:lnTo>
                <a:lnTo>
                  <a:pt x="64" y="72"/>
                </a:lnTo>
                <a:lnTo>
                  <a:pt x="62" y="78"/>
                </a:lnTo>
                <a:lnTo>
                  <a:pt x="70" y="80"/>
                </a:lnTo>
                <a:lnTo>
                  <a:pt x="68" y="82"/>
                </a:lnTo>
                <a:lnTo>
                  <a:pt x="60" y="82"/>
                </a:lnTo>
                <a:lnTo>
                  <a:pt x="60" y="88"/>
                </a:lnTo>
                <a:lnTo>
                  <a:pt x="64" y="90"/>
                </a:lnTo>
                <a:lnTo>
                  <a:pt x="64" y="90"/>
                </a:lnTo>
                <a:lnTo>
                  <a:pt x="70" y="104"/>
                </a:lnTo>
                <a:lnTo>
                  <a:pt x="70" y="104"/>
                </a:lnTo>
                <a:lnTo>
                  <a:pt x="70" y="106"/>
                </a:lnTo>
                <a:lnTo>
                  <a:pt x="68" y="110"/>
                </a:lnTo>
                <a:lnTo>
                  <a:pt x="66" y="116"/>
                </a:lnTo>
                <a:lnTo>
                  <a:pt x="66" y="116"/>
                </a:lnTo>
                <a:lnTo>
                  <a:pt x="52" y="154"/>
                </a:lnTo>
                <a:lnTo>
                  <a:pt x="52" y="154"/>
                </a:lnTo>
                <a:lnTo>
                  <a:pt x="52" y="156"/>
                </a:lnTo>
                <a:lnTo>
                  <a:pt x="50" y="158"/>
                </a:lnTo>
                <a:lnTo>
                  <a:pt x="48" y="158"/>
                </a:lnTo>
                <a:lnTo>
                  <a:pt x="48" y="158"/>
                </a:lnTo>
                <a:lnTo>
                  <a:pt x="38" y="160"/>
                </a:lnTo>
                <a:lnTo>
                  <a:pt x="38" y="160"/>
                </a:lnTo>
                <a:lnTo>
                  <a:pt x="32" y="162"/>
                </a:lnTo>
                <a:lnTo>
                  <a:pt x="26" y="164"/>
                </a:lnTo>
                <a:lnTo>
                  <a:pt x="26" y="164"/>
                </a:lnTo>
                <a:lnTo>
                  <a:pt x="18" y="170"/>
                </a:lnTo>
                <a:lnTo>
                  <a:pt x="14" y="174"/>
                </a:lnTo>
                <a:lnTo>
                  <a:pt x="14" y="174"/>
                </a:lnTo>
                <a:lnTo>
                  <a:pt x="12" y="180"/>
                </a:lnTo>
                <a:lnTo>
                  <a:pt x="10" y="186"/>
                </a:lnTo>
                <a:lnTo>
                  <a:pt x="10" y="186"/>
                </a:lnTo>
                <a:lnTo>
                  <a:pt x="8" y="190"/>
                </a:lnTo>
                <a:lnTo>
                  <a:pt x="6" y="194"/>
                </a:lnTo>
                <a:lnTo>
                  <a:pt x="6" y="194"/>
                </a:lnTo>
                <a:lnTo>
                  <a:pt x="6" y="202"/>
                </a:lnTo>
                <a:lnTo>
                  <a:pt x="6" y="202"/>
                </a:lnTo>
                <a:lnTo>
                  <a:pt x="4" y="200"/>
                </a:lnTo>
                <a:lnTo>
                  <a:pt x="2" y="200"/>
                </a:lnTo>
                <a:lnTo>
                  <a:pt x="0" y="202"/>
                </a:lnTo>
                <a:lnTo>
                  <a:pt x="0" y="202"/>
                </a:lnTo>
                <a:lnTo>
                  <a:pt x="2" y="206"/>
                </a:lnTo>
                <a:lnTo>
                  <a:pt x="2" y="210"/>
                </a:lnTo>
                <a:lnTo>
                  <a:pt x="4" y="210"/>
                </a:lnTo>
                <a:lnTo>
                  <a:pt x="4" y="210"/>
                </a:lnTo>
                <a:lnTo>
                  <a:pt x="4" y="212"/>
                </a:lnTo>
                <a:lnTo>
                  <a:pt x="6" y="214"/>
                </a:lnTo>
                <a:lnTo>
                  <a:pt x="6" y="218"/>
                </a:lnTo>
                <a:lnTo>
                  <a:pt x="4" y="224"/>
                </a:lnTo>
                <a:lnTo>
                  <a:pt x="4" y="224"/>
                </a:lnTo>
                <a:lnTo>
                  <a:pt x="6" y="226"/>
                </a:lnTo>
                <a:lnTo>
                  <a:pt x="10" y="228"/>
                </a:lnTo>
                <a:lnTo>
                  <a:pt x="12" y="230"/>
                </a:lnTo>
                <a:lnTo>
                  <a:pt x="12" y="230"/>
                </a:lnTo>
                <a:lnTo>
                  <a:pt x="14" y="234"/>
                </a:lnTo>
                <a:lnTo>
                  <a:pt x="16" y="236"/>
                </a:lnTo>
                <a:lnTo>
                  <a:pt x="20" y="238"/>
                </a:lnTo>
                <a:lnTo>
                  <a:pt x="20" y="240"/>
                </a:lnTo>
                <a:lnTo>
                  <a:pt x="20" y="240"/>
                </a:lnTo>
                <a:lnTo>
                  <a:pt x="22" y="244"/>
                </a:lnTo>
                <a:lnTo>
                  <a:pt x="24" y="246"/>
                </a:lnTo>
                <a:lnTo>
                  <a:pt x="36" y="246"/>
                </a:lnTo>
                <a:lnTo>
                  <a:pt x="36" y="246"/>
                </a:lnTo>
                <a:lnTo>
                  <a:pt x="46" y="240"/>
                </a:lnTo>
                <a:lnTo>
                  <a:pt x="46" y="240"/>
                </a:lnTo>
                <a:lnTo>
                  <a:pt x="48" y="238"/>
                </a:lnTo>
                <a:lnTo>
                  <a:pt x="48" y="240"/>
                </a:lnTo>
                <a:lnTo>
                  <a:pt x="48" y="242"/>
                </a:lnTo>
                <a:lnTo>
                  <a:pt x="46" y="282"/>
                </a:lnTo>
                <a:lnTo>
                  <a:pt x="60" y="288"/>
                </a:lnTo>
                <a:lnTo>
                  <a:pt x="60" y="288"/>
                </a:lnTo>
                <a:lnTo>
                  <a:pt x="62" y="288"/>
                </a:lnTo>
                <a:lnTo>
                  <a:pt x="66" y="288"/>
                </a:lnTo>
                <a:lnTo>
                  <a:pt x="66" y="288"/>
                </a:lnTo>
                <a:lnTo>
                  <a:pt x="70" y="290"/>
                </a:lnTo>
                <a:lnTo>
                  <a:pt x="72" y="288"/>
                </a:lnTo>
                <a:lnTo>
                  <a:pt x="74" y="288"/>
                </a:lnTo>
                <a:lnTo>
                  <a:pt x="74" y="286"/>
                </a:lnTo>
                <a:lnTo>
                  <a:pt x="74" y="286"/>
                </a:lnTo>
                <a:lnTo>
                  <a:pt x="74" y="284"/>
                </a:lnTo>
                <a:lnTo>
                  <a:pt x="76" y="282"/>
                </a:lnTo>
                <a:lnTo>
                  <a:pt x="76" y="282"/>
                </a:lnTo>
                <a:lnTo>
                  <a:pt x="82" y="280"/>
                </a:lnTo>
                <a:lnTo>
                  <a:pt x="82" y="280"/>
                </a:lnTo>
                <a:lnTo>
                  <a:pt x="86" y="272"/>
                </a:lnTo>
                <a:lnTo>
                  <a:pt x="90" y="268"/>
                </a:lnTo>
                <a:lnTo>
                  <a:pt x="96" y="264"/>
                </a:lnTo>
                <a:lnTo>
                  <a:pt x="96" y="264"/>
                </a:lnTo>
                <a:lnTo>
                  <a:pt x="104" y="262"/>
                </a:lnTo>
                <a:lnTo>
                  <a:pt x="112" y="260"/>
                </a:lnTo>
                <a:lnTo>
                  <a:pt x="118" y="260"/>
                </a:lnTo>
                <a:lnTo>
                  <a:pt x="120" y="264"/>
                </a:lnTo>
                <a:lnTo>
                  <a:pt x="120" y="264"/>
                </a:lnTo>
                <a:lnTo>
                  <a:pt x="118" y="270"/>
                </a:lnTo>
                <a:lnTo>
                  <a:pt x="116" y="274"/>
                </a:lnTo>
                <a:lnTo>
                  <a:pt x="116" y="278"/>
                </a:lnTo>
                <a:lnTo>
                  <a:pt x="116" y="278"/>
                </a:lnTo>
                <a:lnTo>
                  <a:pt x="118" y="282"/>
                </a:lnTo>
                <a:lnTo>
                  <a:pt x="122" y="286"/>
                </a:lnTo>
                <a:lnTo>
                  <a:pt x="122" y="286"/>
                </a:lnTo>
                <a:lnTo>
                  <a:pt x="128" y="288"/>
                </a:lnTo>
                <a:lnTo>
                  <a:pt x="128" y="288"/>
                </a:lnTo>
                <a:lnTo>
                  <a:pt x="130" y="288"/>
                </a:lnTo>
                <a:lnTo>
                  <a:pt x="132" y="286"/>
                </a:lnTo>
                <a:lnTo>
                  <a:pt x="134" y="286"/>
                </a:lnTo>
                <a:lnTo>
                  <a:pt x="138" y="288"/>
                </a:lnTo>
                <a:lnTo>
                  <a:pt x="138" y="288"/>
                </a:lnTo>
                <a:lnTo>
                  <a:pt x="142" y="292"/>
                </a:lnTo>
                <a:lnTo>
                  <a:pt x="148" y="296"/>
                </a:lnTo>
                <a:lnTo>
                  <a:pt x="148" y="296"/>
                </a:lnTo>
                <a:lnTo>
                  <a:pt x="152" y="300"/>
                </a:lnTo>
                <a:lnTo>
                  <a:pt x="154" y="302"/>
                </a:lnTo>
                <a:lnTo>
                  <a:pt x="154" y="302"/>
                </a:lnTo>
                <a:lnTo>
                  <a:pt x="158" y="306"/>
                </a:lnTo>
                <a:lnTo>
                  <a:pt x="162" y="308"/>
                </a:lnTo>
                <a:lnTo>
                  <a:pt x="164" y="308"/>
                </a:lnTo>
                <a:lnTo>
                  <a:pt x="164" y="308"/>
                </a:lnTo>
                <a:lnTo>
                  <a:pt x="170" y="310"/>
                </a:lnTo>
                <a:lnTo>
                  <a:pt x="174" y="310"/>
                </a:lnTo>
                <a:lnTo>
                  <a:pt x="174" y="310"/>
                </a:lnTo>
                <a:lnTo>
                  <a:pt x="180" y="310"/>
                </a:lnTo>
                <a:lnTo>
                  <a:pt x="182" y="310"/>
                </a:lnTo>
                <a:lnTo>
                  <a:pt x="184" y="310"/>
                </a:lnTo>
                <a:lnTo>
                  <a:pt x="184" y="310"/>
                </a:lnTo>
                <a:lnTo>
                  <a:pt x="186" y="316"/>
                </a:lnTo>
                <a:lnTo>
                  <a:pt x="188" y="322"/>
                </a:lnTo>
                <a:lnTo>
                  <a:pt x="188" y="322"/>
                </a:lnTo>
                <a:lnTo>
                  <a:pt x="192" y="332"/>
                </a:lnTo>
                <a:lnTo>
                  <a:pt x="192" y="332"/>
                </a:lnTo>
                <a:lnTo>
                  <a:pt x="186" y="338"/>
                </a:lnTo>
                <a:lnTo>
                  <a:pt x="186" y="338"/>
                </a:lnTo>
                <a:lnTo>
                  <a:pt x="186" y="344"/>
                </a:lnTo>
                <a:lnTo>
                  <a:pt x="188" y="348"/>
                </a:lnTo>
                <a:lnTo>
                  <a:pt x="188" y="348"/>
                </a:lnTo>
                <a:lnTo>
                  <a:pt x="190" y="354"/>
                </a:lnTo>
                <a:lnTo>
                  <a:pt x="192" y="356"/>
                </a:lnTo>
                <a:lnTo>
                  <a:pt x="212" y="356"/>
                </a:lnTo>
                <a:lnTo>
                  <a:pt x="212" y="356"/>
                </a:lnTo>
                <a:lnTo>
                  <a:pt x="210" y="358"/>
                </a:lnTo>
                <a:lnTo>
                  <a:pt x="210" y="364"/>
                </a:lnTo>
                <a:lnTo>
                  <a:pt x="210" y="364"/>
                </a:lnTo>
                <a:lnTo>
                  <a:pt x="212" y="370"/>
                </a:lnTo>
                <a:lnTo>
                  <a:pt x="216" y="374"/>
                </a:lnTo>
                <a:lnTo>
                  <a:pt x="216" y="374"/>
                </a:lnTo>
                <a:lnTo>
                  <a:pt x="220" y="378"/>
                </a:lnTo>
                <a:lnTo>
                  <a:pt x="222" y="382"/>
                </a:lnTo>
                <a:lnTo>
                  <a:pt x="222" y="382"/>
                </a:lnTo>
                <a:lnTo>
                  <a:pt x="222" y="386"/>
                </a:lnTo>
                <a:lnTo>
                  <a:pt x="222" y="390"/>
                </a:lnTo>
                <a:lnTo>
                  <a:pt x="222" y="390"/>
                </a:lnTo>
                <a:lnTo>
                  <a:pt x="220" y="400"/>
                </a:lnTo>
                <a:lnTo>
                  <a:pt x="218" y="408"/>
                </a:lnTo>
                <a:lnTo>
                  <a:pt x="220" y="412"/>
                </a:lnTo>
                <a:lnTo>
                  <a:pt x="216" y="414"/>
                </a:lnTo>
                <a:lnTo>
                  <a:pt x="218" y="416"/>
                </a:lnTo>
                <a:lnTo>
                  <a:pt x="218" y="416"/>
                </a:lnTo>
                <a:lnTo>
                  <a:pt x="222" y="422"/>
                </a:lnTo>
                <a:lnTo>
                  <a:pt x="222" y="422"/>
                </a:lnTo>
                <a:lnTo>
                  <a:pt x="224" y="428"/>
                </a:lnTo>
                <a:lnTo>
                  <a:pt x="222" y="436"/>
                </a:lnTo>
                <a:lnTo>
                  <a:pt x="222" y="436"/>
                </a:lnTo>
                <a:lnTo>
                  <a:pt x="222" y="438"/>
                </a:lnTo>
                <a:lnTo>
                  <a:pt x="224" y="442"/>
                </a:lnTo>
                <a:lnTo>
                  <a:pt x="224" y="446"/>
                </a:lnTo>
                <a:lnTo>
                  <a:pt x="224" y="446"/>
                </a:lnTo>
                <a:lnTo>
                  <a:pt x="226" y="448"/>
                </a:lnTo>
                <a:lnTo>
                  <a:pt x="232" y="450"/>
                </a:lnTo>
                <a:lnTo>
                  <a:pt x="240" y="450"/>
                </a:lnTo>
                <a:lnTo>
                  <a:pt x="244" y="448"/>
                </a:lnTo>
                <a:lnTo>
                  <a:pt x="246" y="452"/>
                </a:lnTo>
                <a:lnTo>
                  <a:pt x="246" y="452"/>
                </a:lnTo>
                <a:lnTo>
                  <a:pt x="246" y="454"/>
                </a:lnTo>
                <a:lnTo>
                  <a:pt x="248" y="456"/>
                </a:lnTo>
                <a:lnTo>
                  <a:pt x="250" y="456"/>
                </a:lnTo>
                <a:lnTo>
                  <a:pt x="250" y="456"/>
                </a:lnTo>
                <a:lnTo>
                  <a:pt x="254" y="458"/>
                </a:lnTo>
                <a:lnTo>
                  <a:pt x="256" y="460"/>
                </a:lnTo>
                <a:lnTo>
                  <a:pt x="256" y="464"/>
                </a:lnTo>
                <a:lnTo>
                  <a:pt x="256" y="464"/>
                </a:lnTo>
                <a:lnTo>
                  <a:pt x="256" y="478"/>
                </a:lnTo>
                <a:lnTo>
                  <a:pt x="256" y="478"/>
                </a:lnTo>
                <a:lnTo>
                  <a:pt x="258" y="484"/>
                </a:lnTo>
                <a:lnTo>
                  <a:pt x="258" y="486"/>
                </a:lnTo>
                <a:lnTo>
                  <a:pt x="260" y="486"/>
                </a:lnTo>
                <a:lnTo>
                  <a:pt x="260" y="486"/>
                </a:lnTo>
                <a:lnTo>
                  <a:pt x="264" y="484"/>
                </a:lnTo>
                <a:lnTo>
                  <a:pt x="266" y="484"/>
                </a:lnTo>
                <a:lnTo>
                  <a:pt x="268" y="484"/>
                </a:lnTo>
                <a:lnTo>
                  <a:pt x="268" y="484"/>
                </a:lnTo>
                <a:lnTo>
                  <a:pt x="266" y="490"/>
                </a:lnTo>
                <a:lnTo>
                  <a:pt x="266" y="498"/>
                </a:lnTo>
                <a:lnTo>
                  <a:pt x="266" y="498"/>
                </a:lnTo>
                <a:lnTo>
                  <a:pt x="264" y="506"/>
                </a:lnTo>
                <a:lnTo>
                  <a:pt x="264" y="514"/>
                </a:lnTo>
                <a:lnTo>
                  <a:pt x="264" y="514"/>
                </a:lnTo>
                <a:lnTo>
                  <a:pt x="268" y="516"/>
                </a:lnTo>
                <a:lnTo>
                  <a:pt x="270" y="516"/>
                </a:lnTo>
                <a:lnTo>
                  <a:pt x="270" y="516"/>
                </a:lnTo>
                <a:lnTo>
                  <a:pt x="270" y="516"/>
                </a:lnTo>
                <a:lnTo>
                  <a:pt x="270" y="514"/>
                </a:lnTo>
                <a:lnTo>
                  <a:pt x="272" y="514"/>
                </a:lnTo>
                <a:lnTo>
                  <a:pt x="276" y="514"/>
                </a:lnTo>
                <a:lnTo>
                  <a:pt x="276" y="514"/>
                </a:lnTo>
                <a:lnTo>
                  <a:pt x="276" y="526"/>
                </a:lnTo>
                <a:lnTo>
                  <a:pt x="276" y="526"/>
                </a:lnTo>
                <a:lnTo>
                  <a:pt x="276" y="540"/>
                </a:lnTo>
                <a:lnTo>
                  <a:pt x="276" y="540"/>
                </a:lnTo>
                <a:lnTo>
                  <a:pt x="276" y="542"/>
                </a:lnTo>
                <a:lnTo>
                  <a:pt x="276" y="542"/>
                </a:lnTo>
                <a:lnTo>
                  <a:pt x="272" y="546"/>
                </a:lnTo>
                <a:lnTo>
                  <a:pt x="272" y="546"/>
                </a:lnTo>
                <a:lnTo>
                  <a:pt x="270" y="546"/>
                </a:lnTo>
                <a:lnTo>
                  <a:pt x="266" y="548"/>
                </a:lnTo>
                <a:lnTo>
                  <a:pt x="262" y="548"/>
                </a:lnTo>
                <a:lnTo>
                  <a:pt x="260" y="550"/>
                </a:lnTo>
                <a:lnTo>
                  <a:pt x="260" y="550"/>
                </a:lnTo>
                <a:lnTo>
                  <a:pt x="258" y="556"/>
                </a:lnTo>
                <a:lnTo>
                  <a:pt x="254" y="560"/>
                </a:lnTo>
                <a:lnTo>
                  <a:pt x="254" y="560"/>
                </a:lnTo>
                <a:lnTo>
                  <a:pt x="250" y="562"/>
                </a:lnTo>
                <a:lnTo>
                  <a:pt x="248" y="566"/>
                </a:lnTo>
                <a:lnTo>
                  <a:pt x="248" y="566"/>
                </a:lnTo>
                <a:lnTo>
                  <a:pt x="246" y="568"/>
                </a:lnTo>
                <a:lnTo>
                  <a:pt x="242" y="568"/>
                </a:lnTo>
                <a:lnTo>
                  <a:pt x="240" y="570"/>
                </a:lnTo>
                <a:lnTo>
                  <a:pt x="238" y="572"/>
                </a:lnTo>
                <a:lnTo>
                  <a:pt x="238" y="572"/>
                </a:lnTo>
                <a:lnTo>
                  <a:pt x="238" y="578"/>
                </a:lnTo>
                <a:lnTo>
                  <a:pt x="234" y="584"/>
                </a:lnTo>
                <a:lnTo>
                  <a:pt x="234" y="584"/>
                </a:lnTo>
                <a:lnTo>
                  <a:pt x="230" y="586"/>
                </a:lnTo>
                <a:lnTo>
                  <a:pt x="228" y="590"/>
                </a:lnTo>
                <a:lnTo>
                  <a:pt x="228" y="590"/>
                </a:lnTo>
                <a:lnTo>
                  <a:pt x="226" y="600"/>
                </a:lnTo>
                <a:lnTo>
                  <a:pt x="236" y="596"/>
                </a:lnTo>
                <a:lnTo>
                  <a:pt x="246" y="604"/>
                </a:lnTo>
                <a:lnTo>
                  <a:pt x="246" y="604"/>
                </a:lnTo>
                <a:lnTo>
                  <a:pt x="250" y="612"/>
                </a:lnTo>
                <a:lnTo>
                  <a:pt x="250" y="612"/>
                </a:lnTo>
                <a:lnTo>
                  <a:pt x="252" y="614"/>
                </a:lnTo>
                <a:lnTo>
                  <a:pt x="254" y="614"/>
                </a:lnTo>
                <a:lnTo>
                  <a:pt x="256" y="614"/>
                </a:lnTo>
                <a:lnTo>
                  <a:pt x="258" y="616"/>
                </a:lnTo>
                <a:lnTo>
                  <a:pt x="258" y="616"/>
                </a:lnTo>
                <a:lnTo>
                  <a:pt x="262" y="620"/>
                </a:lnTo>
                <a:lnTo>
                  <a:pt x="266" y="624"/>
                </a:lnTo>
                <a:lnTo>
                  <a:pt x="266" y="624"/>
                </a:lnTo>
                <a:lnTo>
                  <a:pt x="272" y="626"/>
                </a:lnTo>
                <a:lnTo>
                  <a:pt x="274" y="628"/>
                </a:lnTo>
                <a:lnTo>
                  <a:pt x="276" y="630"/>
                </a:lnTo>
                <a:lnTo>
                  <a:pt x="276" y="630"/>
                </a:lnTo>
                <a:lnTo>
                  <a:pt x="278" y="634"/>
                </a:lnTo>
                <a:lnTo>
                  <a:pt x="282" y="638"/>
                </a:lnTo>
                <a:lnTo>
                  <a:pt x="282" y="638"/>
                </a:lnTo>
                <a:lnTo>
                  <a:pt x="286" y="642"/>
                </a:lnTo>
                <a:lnTo>
                  <a:pt x="288" y="642"/>
                </a:lnTo>
                <a:lnTo>
                  <a:pt x="282" y="652"/>
                </a:lnTo>
                <a:lnTo>
                  <a:pt x="282" y="656"/>
                </a:lnTo>
                <a:lnTo>
                  <a:pt x="282" y="656"/>
                </a:lnTo>
                <a:lnTo>
                  <a:pt x="288" y="650"/>
                </a:lnTo>
                <a:lnTo>
                  <a:pt x="292" y="646"/>
                </a:lnTo>
                <a:lnTo>
                  <a:pt x="292" y="646"/>
                </a:lnTo>
                <a:lnTo>
                  <a:pt x="290" y="640"/>
                </a:lnTo>
                <a:lnTo>
                  <a:pt x="288" y="636"/>
                </a:lnTo>
                <a:lnTo>
                  <a:pt x="288" y="636"/>
                </a:lnTo>
                <a:lnTo>
                  <a:pt x="294" y="630"/>
                </a:lnTo>
                <a:lnTo>
                  <a:pt x="298" y="624"/>
                </a:lnTo>
                <a:lnTo>
                  <a:pt x="298" y="624"/>
                </a:lnTo>
                <a:lnTo>
                  <a:pt x="298" y="620"/>
                </a:lnTo>
                <a:lnTo>
                  <a:pt x="298" y="620"/>
                </a:lnTo>
                <a:lnTo>
                  <a:pt x="300" y="618"/>
                </a:lnTo>
                <a:lnTo>
                  <a:pt x="304" y="618"/>
                </a:lnTo>
                <a:lnTo>
                  <a:pt x="304" y="616"/>
                </a:lnTo>
                <a:lnTo>
                  <a:pt x="304" y="616"/>
                </a:lnTo>
                <a:lnTo>
                  <a:pt x="306" y="614"/>
                </a:lnTo>
                <a:lnTo>
                  <a:pt x="308" y="610"/>
                </a:lnTo>
                <a:lnTo>
                  <a:pt x="308" y="602"/>
                </a:lnTo>
                <a:lnTo>
                  <a:pt x="308" y="602"/>
                </a:lnTo>
                <a:lnTo>
                  <a:pt x="312" y="604"/>
                </a:lnTo>
                <a:lnTo>
                  <a:pt x="312" y="606"/>
                </a:lnTo>
                <a:lnTo>
                  <a:pt x="312" y="606"/>
                </a:lnTo>
                <a:lnTo>
                  <a:pt x="316" y="606"/>
                </a:lnTo>
                <a:lnTo>
                  <a:pt x="316" y="606"/>
                </a:lnTo>
                <a:lnTo>
                  <a:pt x="316" y="604"/>
                </a:lnTo>
                <a:lnTo>
                  <a:pt x="318" y="604"/>
                </a:lnTo>
                <a:lnTo>
                  <a:pt x="318" y="604"/>
                </a:lnTo>
                <a:lnTo>
                  <a:pt x="318" y="608"/>
                </a:lnTo>
                <a:lnTo>
                  <a:pt x="318" y="608"/>
                </a:lnTo>
                <a:lnTo>
                  <a:pt x="316" y="614"/>
                </a:lnTo>
                <a:lnTo>
                  <a:pt x="314" y="620"/>
                </a:lnTo>
                <a:lnTo>
                  <a:pt x="314" y="620"/>
                </a:lnTo>
                <a:lnTo>
                  <a:pt x="312" y="622"/>
                </a:lnTo>
                <a:lnTo>
                  <a:pt x="312" y="622"/>
                </a:lnTo>
                <a:lnTo>
                  <a:pt x="312" y="626"/>
                </a:lnTo>
                <a:lnTo>
                  <a:pt x="314" y="624"/>
                </a:lnTo>
                <a:lnTo>
                  <a:pt x="318" y="618"/>
                </a:lnTo>
                <a:lnTo>
                  <a:pt x="318" y="618"/>
                </a:lnTo>
                <a:lnTo>
                  <a:pt x="324" y="602"/>
                </a:lnTo>
                <a:lnTo>
                  <a:pt x="324" y="602"/>
                </a:lnTo>
                <a:lnTo>
                  <a:pt x="326" y="594"/>
                </a:lnTo>
                <a:lnTo>
                  <a:pt x="330" y="586"/>
                </a:lnTo>
                <a:lnTo>
                  <a:pt x="330" y="586"/>
                </a:lnTo>
                <a:lnTo>
                  <a:pt x="338" y="576"/>
                </a:lnTo>
                <a:lnTo>
                  <a:pt x="338" y="576"/>
                </a:lnTo>
                <a:lnTo>
                  <a:pt x="340" y="576"/>
                </a:lnTo>
                <a:lnTo>
                  <a:pt x="342" y="576"/>
                </a:lnTo>
                <a:lnTo>
                  <a:pt x="342" y="576"/>
                </a:lnTo>
                <a:lnTo>
                  <a:pt x="342" y="572"/>
                </a:lnTo>
                <a:lnTo>
                  <a:pt x="342" y="570"/>
                </a:lnTo>
                <a:lnTo>
                  <a:pt x="342" y="570"/>
                </a:lnTo>
                <a:lnTo>
                  <a:pt x="344" y="568"/>
                </a:lnTo>
                <a:lnTo>
                  <a:pt x="344" y="568"/>
                </a:lnTo>
                <a:lnTo>
                  <a:pt x="344" y="564"/>
                </a:lnTo>
                <a:lnTo>
                  <a:pt x="344" y="560"/>
                </a:lnTo>
                <a:lnTo>
                  <a:pt x="344" y="548"/>
                </a:lnTo>
                <a:lnTo>
                  <a:pt x="344" y="548"/>
                </a:lnTo>
                <a:lnTo>
                  <a:pt x="342" y="546"/>
                </a:lnTo>
                <a:lnTo>
                  <a:pt x="342" y="546"/>
                </a:lnTo>
                <a:lnTo>
                  <a:pt x="342" y="544"/>
                </a:lnTo>
                <a:lnTo>
                  <a:pt x="342" y="542"/>
                </a:lnTo>
                <a:lnTo>
                  <a:pt x="340" y="542"/>
                </a:lnTo>
                <a:lnTo>
                  <a:pt x="340" y="542"/>
                </a:lnTo>
                <a:lnTo>
                  <a:pt x="340" y="538"/>
                </a:lnTo>
                <a:lnTo>
                  <a:pt x="340" y="538"/>
                </a:lnTo>
                <a:lnTo>
                  <a:pt x="342" y="538"/>
                </a:lnTo>
                <a:lnTo>
                  <a:pt x="342" y="536"/>
                </a:lnTo>
                <a:lnTo>
                  <a:pt x="342" y="536"/>
                </a:lnTo>
                <a:lnTo>
                  <a:pt x="342" y="528"/>
                </a:lnTo>
                <a:lnTo>
                  <a:pt x="342" y="528"/>
                </a:lnTo>
                <a:lnTo>
                  <a:pt x="340" y="528"/>
                </a:lnTo>
                <a:lnTo>
                  <a:pt x="340" y="526"/>
                </a:lnTo>
                <a:lnTo>
                  <a:pt x="340" y="526"/>
                </a:lnTo>
                <a:lnTo>
                  <a:pt x="342" y="522"/>
                </a:lnTo>
                <a:lnTo>
                  <a:pt x="342" y="522"/>
                </a:lnTo>
                <a:lnTo>
                  <a:pt x="342" y="518"/>
                </a:lnTo>
                <a:lnTo>
                  <a:pt x="342" y="516"/>
                </a:lnTo>
                <a:lnTo>
                  <a:pt x="342" y="51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5" name="Freeform 251">
            <a:extLst>
              <a:ext uri="{FF2B5EF4-FFF2-40B4-BE49-F238E27FC236}">
                <a16:creationId xmlns:a16="http://schemas.microsoft.com/office/drawing/2014/main" id="{18BC9F5F-27D7-4D35-8433-279EA109F43C}"/>
              </a:ext>
            </a:extLst>
          </p:cNvPr>
          <p:cNvSpPr>
            <a:spLocks/>
          </p:cNvSpPr>
          <p:nvPr userDrawn="1"/>
        </p:nvSpPr>
        <p:spPr bwMode="auto">
          <a:xfrm>
            <a:off x="4279551" y="3989525"/>
            <a:ext cx="270880" cy="343197"/>
          </a:xfrm>
          <a:custGeom>
            <a:avLst/>
            <a:gdLst>
              <a:gd name="T0" fmla="*/ 12 w 162"/>
              <a:gd name="T1" fmla="*/ 86 h 200"/>
              <a:gd name="T2" fmla="*/ 14 w 162"/>
              <a:gd name="T3" fmla="*/ 92 h 200"/>
              <a:gd name="T4" fmla="*/ 12 w 162"/>
              <a:gd name="T5" fmla="*/ 92 h 200"/>
              <a:gd name="T6" fmla="*/ 10 w 162"/>
              <a:gd name="T7" fmla="*/ 90 h 200"/>
              <a:gd name="T8" fmla="*/ 10 w 162"/>
              <a:gd name="T9" fmla="*/ 98 h 200"/>
              <a:gd name="T10" fmla="*/ 4 w 162"/>
              <a:gd name="T11" fmla="*/ 118 h 200"/>
              <a:gd name="T12" fmla="*/ 10 w 162"/>
              <a:gd name="T13" fmla="*/ 130 h 200"/>
              <a:gd name="T14" fmla="*/ 16 w 162"/>
              <a:gd name="T15" fmla="*/ 138 h 200"/>
              <a:gd name="T16" fmla="*/ 22 w 162"/>
              <a:gd name="T17" fmla="*/ 154 h 200"/>
              <a:gd name="T18" fmla="*/ 26 w 162"/>
              <a:gd name="T19" fmla="*/ 166 h 200"/>
              <a:gd name="T20" fmla="*/ 26 w 162"/>
              <a:gd name="T21" fmla="*/ 174 h 200"/>
              <a:gd name="T22" fmla="*/ 36 w 162"/>
              <a:gd name="T23" fmla="*/ 196 h 200"/>
              <a:gd name="T24" fmla="*/ 50 w 162"/>
              <a:gd name="T25" fmla="*/ 190 h 200"/>
              <a:gd name="T26" fmla="*/ 66 w 162"/>
              <a:gd name="T27" fmla="*/ 190 h 200"/>
              <a:gd name="T28" fmla="*/ 72 w 162"/>
              <a:gd name="T29" fmla="*/ 200 h 200"/>
              <a:gd name="T30" fmla="*/ 76 w 162"/>
              <a:gd name="T31" fmla="*/ 192 h 200"/>
              <a:gd name="T32" fmla="*/ 82 w 162"/>
              <a:gd name="T33" fmla="*/ 190 h 200"/>
              <a:gd name="T34" fmla="*/ 110 w 162"/>
              <a:gd name="T35" fmla="*/ 166 h 200"/>
              <a:gd name="T36" fmla="*/ 114 w 162"/>
              <a:gd name="T37" fmla="*/ 156 h 200"/>
              <a:gd name="T38" fmla="*/ 122 w 162"/>
              <a:gd name="T39" fmla="*/ 144 h 200"/>
              <a:gd name="T40" fmla="*/ 156 w 162"/>
              <a:gd name="T41" fmla="*/ 154 h 200"/>
              <a:gd name="T42" fmla="*/ 158 w 162"/>
              <a:gd name="T43" fmla="*/ 148 h 200"/>
              <a:gd name="T44" fmla="*/ 162 w 162"/>
              <a:gd name="T45" fmla="*/ 130 h 200"/>
              <a:gd name="T46" fmla="*/ 162 w 162"/>
              <a:gd name="T47" fmla="*/ 122 h 200"/>
              <a:gd name="T48" fmla="*/ 156 w 162"/>
              <a:gd name="T49" fmla="*/ 114 h 200"/>
              <a:gd name="T50" fmla="*/ 150 w 162"/>
              <a:gd name="T51" fmla="*/ 104 h 200"/>
              <a:gd name="T52" fmla="*/ 132 w 162"/>
              <a:gd name="T53" fmla="*/ 96 h 200"/>
              <a:gd name="T54" fmla="*/ 128 w 162"/>
              <a:gd name="T55" fmla="*/ 88 h 200"/>
              <a:gd name="T56" fmla="*/ 126 w 162"/>
              <a:gd name="T57" fmla="*/ 78 h 200"/>
              <a:gd name="T58" fmla="*/ 132 w 162"/>
              <a:gd name="T59" fmla="*/ 72 h 200"/>
              <a:gd name="T60" fmla="*/ 126 w 162"/>
              <a:gd name="T61" fmla="*/ 56 h 200"/>
              <a:gd name="T62" fmla="*/ 122 w 162"/>
              <a:gd name="T63" fmla="*/ 50 h 200"/>
              <a:gd name="T64" fmla="*/ 114 w 162"/>
              <a:gd name="T65" fmla="*/ 50 h 200"/>
              <a:gd name="T66" fmla="*/ 104 w 162"/>
              <a:gd name="T67" fmla="*/ 48 h 200"/>
              <a:gd name="T68" fmla="*/ 94 w 162"/>
              <a:gd name="T69" fmla="*/ 42 h 200"/>
              <a:gd name="T70" fmla="*/ 88 w 162"/>
              <a:gd name="T71" fmla="*/ 36 h 200"/>
              <a:gd name="T72" fmla="*/ 78 w 162"/>
              <a:gd name="T73" fmla="*/ 28 h 200"/>
              <a:gd name="T74" fmla="*/ 72 w 162"/>
              <a:gd name="T75" fmla="*/ 26 h 200"/>
              <a:gd name="T76" fmla="*/ 68 w 162"/>
              <a:gd name="T77" fmla="*/ 28 h 200"/>
              <a:gd name="T78" fmla="*/ 58 w 162"/>
              <a:gd name="T79" fmla="*/ 22 h 200"/>
              <a:gd name="T80" fmla="*/ 56 w 162"/>
              <a:gd name="T81" fmla="*/ 14 h 200"/>
              <a:gd name="T82" fmla="*/ 58 w 162"/>
              <a:gd name="T83" fmla="*/ 0 h 200"/>
              <a:gd name="T84" fmla="*/ 44 w 162"/>
              <a:gd name="T85" fmla="*/ 2 h 200"/>
              <a:gd name="T86" fmla="*/ 30 w 162"/>
              <a:gd name="T87" fmla="*/ 8 h 200"/>
              <a:gd name="T88" fmla="*/ 16 w 162"/>
              <a:gd name="T89" fmla="*/ 22 h 200"/>
              <a:gd name="T90" fmla="*/ 14 w 162"/>
              <a:gd name="T91" fmla="*/ 24 h 200"/>
              <a:gd name="T92" fmla="*/ 14 w 162"/>
              <a:gd name="T93" fmla="*/ 28 h 200"/>
              <a:gd name="T94" fmla="*/ 6 w 162"/>
              <a:gd name="T95" fmla="*/ 28 h 200"/>
              <a:gd name="T96" fmla="*/ 0 w 162"/>
              <a:gd name="T97" fmla="*/ 28 h 200"/>
              <a:gd name="T98" fmla="*/ 4 w 162"/>
              <a:gd name="T99" fmla="*/ 54 h 200"/>
              <a:gd name="T100" fmla="*/ 4 w 162"/>
              <a:gd name="T101" fmla="*/ 66 h 200"/>
              <a:gd name="T102" fmla="*/ 6 w 162"/>
              <a:gd name="T103" fmla="*/ 76 h 200"/>
              <a:gd name="T104" fmla="*/ 8 w 162"/>
              <a:gd name="T105" fmla="*/ 8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 h="200">
                <a:moveTo>
                  <a:pt x="10" y="86"/>
                </a:moveTo>
                <a:lnTo>
                  <a:pt x="10" y="86"/>
                </a:lnTo>
                <a:lnTo>
                  <a:pt x="12" y="86"/>
                </a:lnTo>
                <a:lnTo>
                  <a:pt x="12" y="86"/>
                </a:lnTo>
                <a:lnTo>
                  <a:pt x="14" y="90"/>
                </a:lnTo>
                <a:lnTo>
                  <a:pt x="14" y="92"/>
                </a:lnTo>
                <a:lnTo>
                  <a:pt x="14" y="92"/>
                </a:lnTo>
                <a:lnTo>
                  <a:pt x="12" y="92"/>
                </a:lnTo>
                <a:lnTo>
                  <a:pt x="12" y="92"/>
                </a:lnTo>
                <a:lnTo>
                  <a:pt x="10" y="90"/>
                </a:lnTo>
                <a:lnTo>
                  <a:pt x="10" y="90"/>
                </a:lnTo>
                <a:lnTo>
                  <a:pt x="10" y="90"/>
                </a:lnTo>
                <a:lnTo>
                  <a:pt x="10" y="94"/>
                </a:lnTo>
                <a:lnTo>
                  <a:pt x="12" y="96"/>
                </a:lnTo>
                <a:lnTo>
                  <a:pt x="10" y="98"/>
                </a:lnTo>
                <a:lnTo>
                  <a:pt x="10" y="98"/>
                </a:lnTo>
                <a:lnTo>
                  <a:pt x="2" y="110"/>
                </a:lnTo>
                <a:lnTo>
                  <a:pt x="4" y="118"/>
                </a:lnTo>
                <a:lnTo>
                  <a:pt x="4" y="118"/>
                </a:lnTo>
                <a:lnTo>
                  <a:pt x="8" y="124"/>
                </a:lnTo>
                <a:lnTo>
                  <a:pt x="10" y="130"/>
                </a:lnTo>
                <a:lnTo>
                  <a:pt x="12" y="132"/>
                </a:lnTo>
                <a:lnTo>
                  <a:pt x="12" y="132"/>
                </a:lnTo>
                <a:lnTo>
                  <a:pt x="16" y="138"/>
                </a:lnTo>
                <a:lnTo>
                  <a:pt x="18" y="140"/>
                </a:lnTo>
                <a:lnTo>
                  <a:pt x="18" y="140"/>
                </a:lnTo>
                <a:lnTo>
                  <a:pt x="22" y="154"/>
                </a:lnTo>
                <a:lnTo>
                  <a:pt x="22" y="154"/>
                </a:lnTo>
                <a:lnTo>
                  <a:pt x="22" y="160"/>
                </a:lnTo>
                <a:lnTo>
                  <a:pt x="26" y="166"/>
                </a:lnTo>
                <a:lnTo>
                  <a:pt x="26" y="166"/>
                </a:lnTo>
                <a:lnTo>
                  <a:pt x="26" y="170"/>
                </a:lnTo>
                <a:lnTo>
                  <a:pt x="26" y="174"/>
                </a:lnTo>
                <a:lnTo>
                  <a:pt x="26" y="180"/>
                </a:lnTo>
                <a:lnTo>
                  <a:pt x="28" y="192"/>
                </a:lnTo>
                <a:lnTo>
                  <a:pt x="36" y="196"/>
                </a:lnTo>
                <a:lnTo>
                  <a:pt x="46" y="188"/>
                </a:lnTo>
                <a:lnTo>
                  <a:pt x="46" y="188"/>
                </a:lnTo>
                <a:lnTo>
                  <a:pt x="50" y="190"/>
                </a:lnTo>
                <a:lnTo>
                  <a:pt x="58" y="190"/>
                </a:lnTo>
                <a:lnTo>
                  <a:pt x="66" y="190"/>
                </a:lnTo>
                <a:lnTo>
                  <a:pt x="66" y="190"/>
                </a:lnTo>
                <a:lnTo>
                  <a:pt x="72" y="198"/>
                </a:lnTo>
                <a:lnTo>
                  <a:pt x="72" y="198"/>
                </a:lnTo>
                <a:lnTo>
                  <a:pt x="72" y="200"/>
                </a:lnTo>
                <a:lnTo>
                  <a:pt x="72" y="200"/>
                </a:lnTo>
                <a:lnTo>
                  <a:pt x="76" y="192"/>
                </a:lnTo>
                <a:lnTo>
                  <a:pt x="76" y="192"/>
                </a:lnTo>
                <a:lnTo>
                  <a:pt x="78" y="190"/>
                </a:lnTo>
                <a:lnTo>
                  <a:pt x="80" y="188"/>
                </a:lnTo>
                <a:lnTo>
                  <a:pt x="82" y="190"/>
                </a:lnTo>
                <a:lnTo>
                  <a:pt x="100" y="190"/>
                </a:lnTo>
                <a:lnTo>
                  <a:pt x="110" y="172"/>
                </a:lnTo>
                <a:lnTo>
                  <a:pt x="110" y="166"/>
                </a:lnTo>
                <a:lnTo>
                  <a:pt x="110" y="166"/>
                </a:lnTo>
                <a:lnTo>
                  <a:pt x="112" y="162"/>
                </a:lnTo>
                <a:lnTo>
                  <a:pt x="114" y="156"/>
                </a:lnTo>
                <a:lnTo>
                  <a:pt x="114" y="156"/>
                </a:lnTo>
                <a:lnTo>
                  <a:pt x="118" y="150"/>
                </a:lnTo>
                <a:lnTo>
                  <a:pt x="122" y="144"/>
                </a:lnTo>
                <a:lnTo>
                  <a:pt x="138" y="144"/>
                </a:lnTo>
                <a:lnTo>
                  <a:pt x="150" y="146"/>
                </a:lnTo>
                <a:lnTo>
                  <a:pt x="156" y="154"/>
                </a:lnTo>
                <a:lnTo>
                  <a:pt x="160" y="152"/>
                </a:lnTo>
                <a:lnTo>
                  <a:pt x="158" y="148"/>
                </a:lnTo>
                <a:lnTo>
                  <a:pt x="158" y="148"/>
                </a:lnTo>
                <a:lnTo>
                  <a:pt x="160" y="140"/>
                </a:lnTo>
                <a:lnTo>
                  <a:pt x="162" y="130"/>
                </a:lnTo>
                <a:lnTo>
                  <a:pt x="162" y="130"/>
                </a:lnTo>
                <a:lnTo>
                  <a:pt x="162" y="126"/>
                </a:lnTo>
                <a:lnTo>
                  <a:pt x="162" y="122"/>
                </a:lnTo>
                <a:lnTo>
                  <a:pt x="162" y="122"/>
                </a:lnTo>
                <a:lnTo>
                  <a:pt x="160" y="118"/>
                </a:lnTo>
                <a:lnTo>
                  <a:pt x="156" y="114"/>
                </a:lnTo>
                <a:lnTo>
                  <a:pt x="156" y="114"/>
                </a:lnTo>
                <a:lnTo>
                  <a:pt x="152" y="110"/>
                </a:lnTo>
                <a:lnTo>
                  <a:pt x="150" y="104"/>
                </a:lnTo>
                <a:lnTo>
                  <a:pt x="150" y="104"/>
                </a:lnTo>
                <a:lnTo>
                  <a:pt x="150" y="98"/>
                </a:lnTo>
                <a:lnTo>
                  <a:pt x="152" y="96"/>
                </a:lnTo>
                <a:lnTo>
                  <a:pt x="132" y="96"/>
                </a:lnTo>
                <a:lnTo>
                  <a:pt x="132" y="96"/>
                </a:lnTo>
                <a:lnTo>
                  <a:pt x="130" y="94"/>
                </a:lnTo>
                <a:lnTo>
                  <a:pt x="128" y="88"/>
                </a:lnTo>
                <a:lnTo>
                  <a:pt x="128" y="88"/>
                </a:lnTo>
                <a:lnTo>
                  <a:pt x="126" y="84"/>
                </a:lnTo>
                <a:lnTo>
                  <a:pt x="126" y="78"/>
                </a:lnTo>
                <a:lnTo>
                  <a:pt x="126" y="78"/>
                </a:lnTo>
                <a:lnTo>
                  <a:pt x="132" y="72"/>
                </a:lnTo>
                <a:lnTo>
                  <a:pt x="132" y="72"/>
                </a:lnTo>
                <a:lnTo>
                  <a:pt x="128" y="62"/>
                </a:lnTo>
                <a:lnTo>
                  <a:pt x="128" y="62"/>
                </a:lnTo>
                <a:lnTo>
                  <a:pt x="126" y="56"/>
                </a:lnTo>
                <a:lnTo>
                  <a:pt x="124" y="50"/>
                </a:lnTo>
                <a:lnTo>
                  <a:pt x="124" y="50"/>
                </a:lnTo>
                <a:lnTo>
                  <a:pt x="122" y="50"/>
                </a:lnTo>
                <a:lnTo>
                  <a:pt x="120" y="50"/>
                </a:lnTo>
                <a:lnTo>
                  <a:pt x="114" y="50"/>
                </a:lnTo>
                <a:lnTo>
                  <a:pt x="114" y="50"/>
                </a:lnTo>
                <a:lnTo>
                  <a:pt x="110" y="50"/>
                </a:lnTo>
                <a:lnTo>
                  <a:pt x="104" y="48"/>
                </a:lnTo>
                <a:lnTo>
                  <a:pt x="104" y="48"/>
                </a:lnTo>
                <a:lnTo>
                  <a:pt x="102" y="48"/>
                </a:lnTo>
                <a:lnTo>
                  <a:pt x="98" y="46"/>
                </a:lnTo>
                <a:lnTo>
                  <a:pt x="94" y="42"/>
                </a:lnTo>
                <a:lnTo>
                  <a:pt x="94" y="42"/>
                </a:lnTo>
                <a:lnTo>
                  <a:pt x="92" y="40"/>
                </a:lnTo>
                <a:lnTo>
                  <a:pt x="88" y="36"/>
                </a:lnTo>
                <a:lnTo>
                  <a:pt x="88" y="36"/>
                </a:lnTo>
                <a:lnTo>
                  <a:pt x="82" y="32"/>
                </a:lnTo>
                <a:lnTo>
                  <a:pt x="78" y="28"/>
                </a:lnTo>
                <a:lnTo>
                  <a:pt x="78" y="28"/>
                </a:lnTo>
                <a:lnTo>
                  <a:pt x="74" y="26"/>
                </a:lnTo>
                <a:lnTo>
                  <a:pt x="72" y="26"/>
                </a:lnTo>
                <a:lnTo>
                  <a:pt x="70" y="28"/>
                </a:lnTo>
                <a:lnTo>
                  <a:pt x="68" y="28"/>
                </a:lnTo>
                <a:lnTo>
                  <a:pt x="68" y="28"/>
                </a:lnTo>
                <a:lnTo>
                  <a:pt x="62" y="26"/>
                </a:lnTo>
                <a:lnTo>
                  <a:pt x="62" y="26"/>
                </a:lnTo>
                <a:lnTo>
                  <a:pt x="58" y="22"/>
                </a:lnTo>
                <a:lnTo>
                  <a:pt x="56" y="18"/>
                </a:lnTo>
                <a:lnTo>
                  <a:pt x="56" y="18"/>
                </a:lnTo>
                <a:lnTo>
                  <a:pt x="56" y="14"/>
                </a:lnTo>
                <a:lnTo>
                  <a:pt x="58" y="10"/>
                </a:lnTo>
                <a:lnTo>
                  <a:pt x="60" y="4"/>
                </a:lnTo>
                <a:lnTo>
                  <a:pt x="58" y="0"/>
                </a:lnTo>
                <a:lnTo>
                  <a:pt x="52" y="0"/>
                </a:lnTo>
                <a:lnTo>
                  <a:pt x="52" y="0"/>
                </a:lnTo>
                <a:lnTo>
                  <a:pt x="44" y="2"/>
                </a:lnTo>
                <a:lnTo>
                  <a:pt x="36" y="4"/>
                </a:lnTo>
                <a:lnTo>
                  <a:pt x="36" y="4"/>
                </a:lnTo>
                <a:lnTo>
                  <a:pt x="30" y="8"/>
                </a:lnTo>
                <a:lnTo>
                  <a:pt x="26" y="12"/>
                </a:lnTo>
                <a:lnTo>
                  <a:pt x="22" y="20"/>
                </a:lnTo>
                <a:lnTo>
                  <a:pt x="16" y="22"/>
                </a:lnTo>
                <a:lnTo>
                  <a:pt x="16" y="22"/>
                </a:lnTo>
                <a:lnTo>
                  <a:pt x="16" y="22"/>
                </a:lnTo>
                <a:lnTo>
                  <a:pt x="14" y="24"/>
                </a:lnTo>
                <a:lnTo>
                  <a:pt x="14" y="26"/>
                </a:lnTo>
                <a:lnTo>
                  <a:pt x="14" y="26"/>
                </a:lnTo>
                <a:lnTo>
                  <a:pt x="14" y="28"/>
                </a:lnTo>
                <a:lnTo>
                  <a:pt x="12" y="28"/>
                </a:lnTo>
                <a:lnTo>
                  <a:pt x="10" y="30"/>
                </a:lnTo>
                <a:lnTo>
                  <a:pt x="6" y="28"/>
                </a:lnTo>
                <a:lnTo>
                  <a:pt x="6" y="28"/>
                </a:lnTo>
                <a:lnTo>
                  <a:pt x="2" y="28"/>
                </a:lnTo>
                <a:lnTo>
                  <a:pt x="0" y="28"/>
                </a:lnTo>
                <a:lnTo>
                  <a:pt x="8" y="44"/>
                </a:lnTo>
                <a:lnTo>
                  <a:pt x="4" y="54"/>
                </a:lnTo>
                <a:lnTo>
                  <a:pt x="4" y="54"/>
                </a:lnTo>
                <a:lnTo>
                  <a:pt x="4" y="60"/>
                </a:lnTo>
                <a:lnTo>
                  <a:pt x="4" y="66"/>
                </a:lnTo>
                <a:lnTo>
                  <a:pt x="4" y="66"/>
                </a:lnTo>
                <a:lnTo>
                  <a:pt x="8" y="74"/>
                </a:lnTo>
                <a:lnTo>
                  <a:pt x="8" y="74"/>
                </a:lnTo>
                <a:lnTo>
                  <a:pt x="6" y="76"/>
                </a:lnTo>
                <a:lnTo>
                  <a:pt x="6" y="80"/>
                </a:lnTo>
                <a:lnTo>
                  <a:pt x="6" y="80"/>
                </a:lnTo>
                <a:lnTo>
                  <a:pt x="8" y="84"/>
                </a:lnTo>
                <a:lnTo>
                  <a:pt x="8" y="86"/>
                </a:lnTo>
                <a:lnTo>
                  <a:pt x="10" y="8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6" name="Freeform 262">
            <a:extLst>
              <a:ext uri="{FF2B5EF4-FFF2-40B4-BE49-F238E27FC236}">
                <a16:creationId xmlns:a16="http://schemas.microsoft.com/office/drawing/2014/main" id="{65F2EC27-C0FA-4675-B2FB-5628A6976A39}"/>
              </a:ext>
            </a:extLst>
          </p:cNvPr>
          <p:cNvSpPr>
            <a:spLocks noEditPoints="1"/>
          </p:cNvSpPr>
          <p:nvPr userDrawn="1"/>
        </p:nvSpPr>
        <p:spPr bwMode="auto">
          <a:xfrm>
            <a:off x="4205253" y="4312131"/>
            <a:ext cx="436505" cy="1067344"/>
          </a:xfrm>
          <a:custGeom>
            <a:avLst/>
            <a:gdLst>
              <a:gd name="T0" fmla="*/ 116 w 260"/>
              <a:gd name="T1" fmla="*/ 10 h 622"/>
              <a:gd name="T2" fmla="*/ 80 w 260"/>
              <a:gd name="T3" fmla="*/ 16 h 622"/>
              <a:gd name="T4" fmla="*/ 76 w 260"/>
              <a:gd name="T5" fmla="*/ 40 h 622"/>
              <a:gd name="T6" fmla="*/ 70 w 260"/>
              <a:gd name="T7" fmla="*/ 74 h 622"/>
              <a:gd name="T8" fmla="*/ 62 w 260"/>
              <a:gd name="T9" fmla="*/ 102 h 622"/>
              <a:gd name="T10" fmla="*/ 50 w 260"/>
              <a:gd name="T11" fmla="*/ 148 h 622"/>
              <a:gd name="T12" fmla="*/ 46 w 260"/>
              <a:gd name="T13" fmla="*/ 192 h 622"/>
              <a:gd name="T14" fmla="*/ 38 w 260"/>
              <a:gd name="T15" fmla="*/ 236 h 622"/>
              <a:gd name="T16" fmla="*/ 32 w 260"/>
              <a:gd name="T17" fmla="*/ 258 h 622"/>
              <a:gd name="T18" fmla="*/ 30 w 260"/>
              <a:gd name="T19" fmla="*/ 292 h 622"/>
              <a:gd name="T20" fmla="*/ 16 w 260"/>
              <a:gd name="T21" fmla="*/ 326 h 622"/>
              <a:gd name="T22" fmla="*/ 18 w 260"/>
              <a:gd name="T23" fmla="*/ 352 h 622"/>
              <a:gd name="T24" fmla="*/ 20 w 260"/>
              <a:gd name="T25" fmla="*/ 388 h 622"/>
              <a:gd name="T26" fmla="*/ 24 w 260"/>
              <a:gd name="T27" fmla="*/ 412 h 622"/>
              <a:gd name="T28" fmla="*/ 18 w 260"/>
              <a:gd name="T29" fmla="*/ 432 h 622"/>
              <a:gd name="T30" fmla="*/ 18 w 260"/>
              <a:gd name="T31" fmla="*/ 462 h 622"/>
              <a:gd name="T32" fmla="*/ 14 w 260"/>
              <a:gd name="T33" fmla="*/ 488 h 622"/>
              <a:gd name="T34" fmla="*/ 0 w 260"/>
              <a:gd name="T35" fmla="*/ 518 h 622"/>
              <a:gd name="T36" fmla="*/ 10 w 260"/>
              <a:gd name="T37" fmla="*/ 530 h 622"/>
              <a:gd name="T38" fmla="*/ 22 w 260"/>
              <a:gd name="T39" fmla="*/ 564 h 622"/>
              <a:gd name="T40" fmla="*/ 56 w 260"/>
              <a:gd name="T41" fmla="*/ 554 h 622"/>
              <a:gd name="T42" fmla="*/ 58 w 260"/>
              <a:gd name="T43" fmla="*/ 534 h 622"/>
              <a:gd name="T44" fmla="*/ 58 w 260"/>
              <a:gd name="T45" fmla="*/ 520 h 622"/>
              <a:gd name="T46" fmla="*/ 76 w 260"/>
              <a:gd name="T47" fmla="*/ 520 h 622"/>
              <a:gd name="T48" fmla="*/ 82 w 260"/>
              <a:gd name="T49" fmla="*/ 500 h 622"/>
              <a:gd name="T50" fmla="*/ 102 w 260"/>
              <a:gd name="T51" fmla="*/ 482 h 622"/>
              <a:gd name="T52" fmla="*/ 92 w 260"/>
              <a:gd name="T53" fmla="*/ 464 h 622"/>
              <a:gd name="T54" fmla="*/ 74 w 260"/>
              <a:gd name="T55" fmla="*/ 444 h 622"/>
              <a:gd name="T56" fmla="*/ 104 w 260"/>
              <a:gd name="T57" fmla="*/ 424 h 622"/>
              <a:gd name="T58" fmla="*/ 108 w 260"/>
              <a:gd name="T59" fmla="*/ 402 h 622"/>
              <a:gd name="T60" fmla="*/ 112 w 260"/>
              <a:gd name="T61" fmla="*/ 378 h 622"/>
              <a:gd name="T62" fmla="*/ 124 w 260"/>
              <a:gd name="T63" fmla="*/ 382 h 622"/>
              <a:gd name="T64" fmla="*/ 124 w 260"/>
              <a:gd name="T65" fmla="*/ 368 h 622"/>
              <a:gd name="T66" fmla="*/ 114 w 260"/>
              <a:gd name="T67" fmla="*/ 358 h 622"/>
              <a:gd name="T68" fmla="*/ 112 w 260"/>
              <a:gd name="T69" fmla="*/ 344 h 622"/>
              <a:gd name="T70" fmla="*/ 132 w 260"/>
              <a:gd name="T71" fmla="*/ 352 h 622"/>
              <a:gd name="T72" fmla="*/ 148 w 260"/>
              <a:gd name="T73" fmla="*/ 336 h 622"/>
              <a:gd name="T74" fmla="*/ 144 w 260"/>
              <a:gd name="T75" fmla="*/ 310 h 622"/>
              <a:gd name="T76" fmla="*/ 152 w 260"/>
              <a:gd name="T77" fmla="*/ 306 h 622"/>
              <a:gd name="T78" fmla="*/ 188 w 260"/>
              <a:gd name="T79" fmla="*/ 300 h 622"/>
              <a:gd name="T80" fmla="*/ 222 w 260"/>
              <a:gd name="T81" fmla="*/ 258 h 622"/>
              <a:gd name="T82" fmla="*/ 210 w 260"/>
              <a:gd name="T83" fmla="*/ 250 h 622"/>
              <a:gd name="T84" fmla="*/ 200 w 260"/>
              <a:gd name="T85" fmla="*/ 230 h 622"/>
              <a:gd name="T86" fmla="*/ 194 w 260"/>
              <a:gd name="T87" fmla="*/ 212 h 622"/>
              <a:gd name="T88" fmla="*/ 202 w 260"/>
              <a:gd name="T89" fmla="*/ 180 h 622"/>
              <a:gd name="T90" fmla="*/ 208 w 260"/>
              <a:gd name="T91" fmla="*/ 154 h 622"/>
              <a:gd name="T92" fmla="*/ 222 w 260"/>
              <a:gd name="T93" fmla="*/ 124 h 622"/>
              <a:gd name="T94" fmla="*/ 244 w 260"/>
              <a:gd name="T95" fmla="*/ 102 h 622"/>
              <a:gd name="T96" fmla="*/ 260 w 260"/>
              <a:gd name="T97" fmla="*/ 92 h 622"/>
              <a:gd name="T98" fmla="*/ 252 w 260"/>
              <a:gd name="T99" fmla="*/ 68 h 622"/>
              <a:gd name="T100" fmla="*/ 244 w 260"/>
              <a:gd name="T101" fmla="*/ 86 h 622"/>
              <a:gd name="T102" fmla="*/ 216 w 260"/>
              <a:gd name="T103" fmla="*/ 96 h 622"/>
              <a:gd name="T104" fmla="*/ 194 w 260"/>
              <a:gd name="T105" fmla="*/ 94 h 622"/>
              <a:gd name="T106" fmla="*/ 204 w 260"/>
              <a:gd name="T107" fmla="*/ 60 h 622"/>
              <a:gd name="T108" fmla="*/ 180 w 260"/>
              <a:gd name="T109" fmla="*/ 42 h 622"/>
              <a:gd name="T110" fmla="*/ 162 w 260"/>
              <a:gd name="T111" fmla="*/ 20 h 622"/>
              <a:gd name="T112" fmla="*/ 80 w 260"/>
              <a:gd name="T113" fmla="*/ 620 h 622"/>
              <a:gd name="T114" fmla="*/ 102 w 260"/>
              <a:gd name="T115" fmla="*/ 620 h 622"/>
              <a:gd name="T116" fmla="*/ 80 w 260"/>
              <a:gd name="T117" fmla="*/ 606 h 622"/>
              <a:gd name="T118" fmla="*/ 62 w 260"/>
              <a:gd name="T119" fmla="*/ 586 h 622"/>
              <a:gd name="T120" fmla="*/ 60 w 260"/>
              <a:gd name="T121" fmla="*/ 574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622">
                <a:moveTo>
                  <a:pt x="144" y="2"/>
                </a:moveTo>
                <a:lnTo>
                  <a:pt x="126" y="2"/>
                </a:lnTo>
                <a:lnTo>
                  <a:pt x="126" y="2"/>
                </a:lnTo>
                <a:lnTo>
                  <a:pt x="124" y="0"/>
                </a:lnTo>
                <a:lnTo>
                  <a:pt x="122" y="2"/>
                </a:lnTo>
                <a:lnTo>
                  <a:pt x="120" y="4"/>
                </a:lnTo>
                <a:lnTo>
                  <a:pt x="120" y="4"/>
                </a:lnTo>
                <a:lnTo>
                  <a:pt x="116" y="12"/>
                </a:lnTo>
                <a:lnTo>
                  <a:pt x="116" y="12"/>
                </a:lnTo>
                <a:lnTo>
                  <a:pt x="116" y="10"/>
                </a:lnTo>
                <a:lnTo>
                  <a:pt x="116" y="10"/>
                </a:lnTo>
                <a:lnTo>
                  <a:pt x="110" y="2"/>
                </a:lnTo>
                <a:lnTo>
                  <a:pt x="102" y="2"/>
                </a:lnTo>
                <a:lnTo>
                  <a:pt x="102" y="2"/>
                </a:lnTo>
                <a:lnTo>
                  <a:pt x="94" y="2"/>
                </a:lnTo>
                <a:lnTo>
                  <a:pt x="90" y="0"/>
                </a:lnTo>
                <a:lnTo>
                  <a:pt x="80" y="8"/>
                </a:lnTo>
                <a:lnTo>
                  <a:pt x="80" y="8"/>
                </a:lnTo>
                <a:lnTo>
                  <a:pt x="80" y="12"/>
                </a:lnTo>
                <a:lnTo>
                  <a:pt x="80" y="16"/>
                </a:lnTo>
                <a:lnTo>
                  <a:pt x="82" y="18"/>
                </a:lnTo>
                <a:lnTo>
                  <a:pt x="82" y="18"/>
                </a:lnTo>
                <a:lnTo>
                  <a:pt x="86" y="22"/>
                </a:lnTo>
                <a:lnTo>
                  <a:pt x="86" y="24"/>
                </a:lnTo>
                <a:lnTo>
                  <a:pt x="84" y="32"/>
                </a:lnTo>
                <a:lnTo>
                  <a:pt x="84" y="32"/>
                </a:lnTo>
                <a:lnTo>
                  <a:pt x="84" y="36"/>
                </a:lnTo>
                <a:lnTo>
                  <a:pt x="80" y="36"/>
                </a:lnTo>
                <a:lnTo>
                  <a:pt x="78" y="38"/>
                </a:lnTo>
                <a:lnTo>
                  <a:pt x="76" y="40"/>
                </a:lnTo>
                <a:lnTo>
                  <a:pt x="76" y="40"/>
                </a:lnTo>
                <a:lnTo>
                  <a:pt x="74" y="44"/>
                </a:lnTo>
                <a:lnTo>
                  <a:pt x="70" y="46"/>
                </a:lnTo>
                <a:lnTo>
                  <a:pt x="68" y="46"/>
                </a:lnTo>
                <a:lnTo>
                  <a:pt x="66" y="48"/>
                </a:lnTo>
                <a:lnTo>
                  <a:pt x="66" y="48"/>
                </a:lnTo>
                <a:lnTo>
                  <a:pt x="66" y="64"/>
                </a:lnTo>
                <a:lnTo>
                  <a:pt x="66" y="64"/>
                </a:lnTo>
                <a:lnTo>
                  <a:pt x="70" y="72"/>
                </a:lnTo>
                <a:lnTo>
                  <a:pt x="70" y="74"/>
                </a:lnTo>
                <a:lnTo>
                  <a:pt x="68" y="76"/>
                </a:lnTo>
                <a:lnTo>
                  <a:pt x="68" y="76"/>
                </a:lnTo>
                <a:lnTo>
                  <a:pt x="66" y="78"/>
                </a:lnTo>
                <a:lnTo>
                  <a:pt x="66" y="80"/>
                </a:lnTo>
                <a:lnTo>
                  <a:pt x="68" y="84"/>
                </a:lnTo>
                <a:lnTo>
                  <a:pt x="68" y="84"/>
                </a:lnTo>
                <a:lnTo>
                  <a:pt x="68" y="90"/>
                </a:lnTo>
                <a:lnTo>
                  <a:pt x="66" y="96"/>
                </a:lnTo>
                <a:lnTo>
                  <a:pt x="66" y="96"/>
                </a:lnTo>
                <a:lnTo>
                  <a:pt x="62" y="102"/>
                </a:lnTo>
                <a:lnTo>
                  <a:pt x="60" y="108"/>
                </a:lnTo>
                <a:lnTo>
                  <a:pt x="60" y="108"/>
                </a:lnTo>
                <a:lnTo>
                  <a:pt x="58" y="112"/>
                </a:lnTo>
                <a:lnTo>
                  <a:pt x="56" y="114"/>
                </a:lnTo>
                <a:lnTo>
                  <a:pt x="54" y="116"/>
                </a:lnTo>
                <a:lnTo>
                  <a:pt x="52" y="122"/>
                </a:lnTo>
                <a:lnTo>
                  <a:pt x="52" y="122"/>
                </a:lnTo>
                <a:lnTo>
                  <a:pt x="50" y="140"/>
                </a:lnTo>
                <a:lnTo>
                  <a:pt x="50" y="140"/>
                </a:lnTo>
                <a:lnTo>
                  <a:pt x="50" y="148"/>
                </a:lnTo>
                <a:lnTo>
                  <a:pt x="50" y="154"/>
                </a:lnTo>
                <a:lnTo>
                  <a:pt x="50" y="154"/>
                </a:lnTo>
                <a:lnTo>
                  <a:pt x="48" y="158"/>
                </a:lnTo>
                <a:lnTo>
                  <a:pt x="46" y="166"/>
                </a:lnTo>
                <a:lnTo>
                  <a:pt x="46" y="166"/>
                </a:lnTo>
                <a:lnTo>
                  <a:pt x="46" y="174"/>
                </a:lnTo>
                <a:lnTo>
                  <a:pt x="46" y="180"/>
                </a:lnTo>
                <a:lnTo>
                  <a:pt x="46" y="180"/>
                </a:lnTo>
                <a:lnTo>
                  <a:pt x="46" y="188"/>
                </a:lnTo>
                <a:lnTo>
                  <a:pt x="46" y="192"/>
                </a:lnTo>
                <a:lnTo>
                  <a:pt x="46" y="192"/>
                </a:lnTo>
                <a:lnTo>
                  <a:pt x="42" y="198"/>
                </a:lnTo>
                <a:lnTo>
                  <a:pt x="44" y="204"/>
                </a:lnTo>
                <a:lnTo>
                  <a:pt x="44" y="204"/>
                </a:lnTo>
                <a:lnTo>
                  <a:pt x="44" y="210"/>
                </a:lnTo>
                <a:lnTo>
                  <a:pt x="44" y="216"/>
                </a:lnTo>
                <a:lnTo>
                  <a:pt x="44" y="216"/>
                </a:lnTo>
                <a:lnTo>
                  <a:pt x="42" y="226"/>
                </a:lnTo>
                <a:lnTo>
                  <a:pt x="38" y="236"/>
                </a:lnTo>
                <a:lnTo>
                  <a:pt x="38" y="236"/>
                </a:lnTo>
                <a:lnTo>
                  <a:pt x="36" y="242"/>
                </a:lnTo>
                <a:lnTo>
                  <a:pt x="38" y="246"/>
                </a:lnTo>
                <a:lnTo>
                  <a:pt x="38" y="246"/>
                </a:lnTo>
                <a:lnTo>
                  <a:pt x="38" y="252"/>
                </a:lnTo>
                <a:lnTo>
                  <a:pt x="38" y="256"/>
                </a:lnTo>
                <a:lnTo>
                  <a:pt x="38" y="256"/>
                </a:lnTo>
                <a:lnTo>
                  <a:pt x="36" y="258"/>
                </a:lnTo>
                <a:lnTo>
                  <a:pt x="34" y="258"/>
                </a:lnTo>
                <a:lnTo>
                  <a:pt x="32" y="258"/>
                </a:lnTo>
                <a:lnTo>
                  <a:pt x="32" y="258"/>
                </a:lnTo>
                <a:lnTo>
                  <a:pt x="30" y="262"/>
                </a:lnTo>
                <a:lnTo>
                  <a:pt x="28" y="264"/>
                </a:lnTo>
                <a:lnTo>
                  <a:pt x="26" y="268"/>
                </a:lnTo>
                <a:lnTo>
                  <a:pt x="26" y="268"/>
                </a:lnTo>
                <a:lnTo>
                  <a:pt x="26" y="274"/>
                </a:lnTo>
                <a:lnTo>
                  <a:pt x="26" y="282"/>
                </a:lnTo>
                <a:lnTo>
                  <a:pt x="26" y="282"/>
                </a:lnTo>
                <a:lnTo>
                  <a:pt x="26" y="284"/>
                </a:lnTo>
                <a:lnTo>
                  <a:pt x="28" y="286"/>
                </a:lnTo>
                <a:lnTo>
                  <a:pt x="30" y="292"/>
                </a:lnTo>
                <a:lnTo>
                  <a:pt x="30" y="292"/>
                </a:lnTo>
                <a:lnTo>
                  <a:pt x="28" y="294"/>
                </a:lnTo>
                <a:lnTo>
                  <a:pt x="28" y="294"/>
                </a:lnTo>
                <a:lnTo>
                  <a:pt x="26" y="296"/>
                </a:lnTo>
                <a:lnTo>
                  <a:pt x="26" y="296"/>
                </a:lnTo>
                <a:lnTo>
                  <a:pt x="22" y="306"/>
                </a:lnTo>
                <a:lnTo>
                  <a:pt x="20" y="316"/>
                </a:lnTo>
                <a:lnTo>
                  <a:pt x="20" y="316"/>
                </a:lnTo>
                <a:lnTo>
                  <a:pt x="20" y="322"/>
                </a:lnTo>
                <a:lnTo>
                  <a:pt x="16" y="326"/>
                </a:lnTo>
                <a:lnTo>
                  <a:pt x="16" y="326"/>
                </a:lnTo>
                <a:lnTo>
                  <a:pt x="14" y="330"/>
                </a:lnTo>
                <a:lnTo>
                  <a:pt x="16" y="332"/>
                </a:lnTo>
                <a:lnTo>
                  <a:pt x="16" y="336"/>
                </a:lnTo>
                <a:lnTo>
                  <a:pt x="18" y="340"/>
                </a:lnTo>
                <a:lnTo>
                  <a:pt x="18" y="340"/>
                </a:lnTo>
                <a:lnTo>
                  <a:pt x="16" y="346"/>
                </a:lnTo>
                <a:lnTo>
                  <a:pt x="16" y="350"/>
                </a:lnTo>
                <a:lnTo>
                  <a:pt x="18" y="352"/>
                </a:lnTo>
                <a:lnTo>
                  <a:pt x="18" y="352"/>
                </a:lnTo>
                <a:lnTo>
                  <a:pt x="22" y="352"/>
                </a:lnTo>
                <a:lnTo>
                  <a:pt x="22" y="356"/>
                </a:lnTo>
                <a:lnTo>
                  <a:pt x="22" y="356"/>
                </a:lnTo>
                <a:lnTo>
                  <a:pt x="22" y="368"/>
                </a:lnTo>
                <a:lnTo>
                  <a:pt x="22" y="368"/>
                </a:lnTo>
                <a:lnTo>
                  <a:pt x="18" y="376"/>
                </a:lnTo>
                <a:lnTo>
                  <a:pt x="18" y="380"/>
                </a:lnTo>
                <a:lnTo>
                  <a:pt x="18" y="382"/>
                </a:lnTo>
                <a:lnTo>
                  <a:pt x="18" y="382"/>
                </a:lnTo>
                <a:lnTo>
                  <a:pt x="20" y="388"/>
                </a:lnTo>
                <a:lnTo>
                  <a:pt x="22" y="390"/>
                </a:lnTo>
                <a:lnTo>
                  <a:pt x="22" y="392"/>
                </a:lnTo>
                <a:lnTo>
                  <a:pt x="22" y="392"/>
                </a:lnTo>
                <a:lnTo>
                  <a:pt x="22" y="396"/>
                </a:lnTo>
                <a:lnTo>
                  <a:pt x="22" y="402"/>
                </a:lnTo>
                <a:lnTo>
                  <a:pt x="22" y="402"/>
                </a:lnTo>
                <a:lnTo>
                  <a:pt x="24" y="408"/>
                </a:lnTo>
                <a:lnTo>
                  <a:pt x="24" y="410"/>
                </a:lnTo>
                <a:lnTo>
                  <a:pt x="24" y="412"/>
                </a:lnTo>
                <a:lnTo>
                  <a:pt x="24" y="412"/>
                </a:lnTo>
                <a:lnTo>
                  <a:pt x="22" y="416"/>
                </a:lnTo>
                <a:lnTo>
                  <a:pt x="22" y="420"/>
                </a:lnTo>
                <a:lnTo>
                  <a:pt x="22" y="420"/>
                </a:lnTo>
                <a:lnTo>
                  <a:pt x="24" y="424"/>
                </a:lnTo>
                <a:lnTo>
                  <a:pt x="24" y="424"/>
                </a:lnTo>
                <a:lnTo>
                  <a:pt x="22" y="426"/>
                </a:lnTo>
                <a:lnTo>
                  <a:pt x="22" y="426"/>
                </a:lnTo>
                <a:lnTo>
                  <a:pt x="20" y="426"/>
                </a:lnTo>
                <a:lnTo>
                  <a:pt x="20" y="428"/>
                </a:lnTo>
                <a:lnTo>
                  <a:pt x="18" y="432"/>
                </a:lnTo>
                <a:lnTo>
                  <a:pt x="18" y="432"/>
                </a:lnTo>
                <a:lnTo>
                  <a:pt x="18" y="432"/>
                </a:lnTo>
                <a:lnTo>
                  <a:pt x="18" y="434"/>
                </a:lnTo>
                <a:lnTo>
                  <a:pt x="20" y="440"/>
                </a:lnTo>
                <a:lnTo>
                  <a:pt x="20" y="440"/>
                </a:lnTo>
                <a:lnTo>
                  <a:pt x="20" y="444"/>
                </a:lnTo>
                <a:lnTo>
                  <a:pt x="20" y="450"/>
                </a:lnTo>
                <a:lnTo>
                  <a:pt x="20" y="450"/>
                </a:lnTo>
                <a:lnTo>
                  <a:pt x="18" y="456"/>
                </a:lnTo>
                <a:lnTo>
                  <a:pt x="18" y="462"/>
                </a:lnTo>
                <a:lnTo>
                  <a:pt x="18" y="462"/>
                </a:lnTo>
                <a:lnTo>
                  <a:pt x="18" y="466"/>
                </a:lnTo>
                <a:lnTo>
                  <a:pt x="18" y="468"/>
                </a:lnTo>
                <a:lnTo>
                  <a:pt x="18" y="468"/>
                </a:lnTo>
                <a:lnTo>
                  <a:pt x="14" y="472"/>
                </a:lnTo>
                <a:lnTo>
                  <a:pt x="14" y="472"/>
                </a:lnTo>
                <a:lnTo>
                  <a:pt x="12" y="478"/>
                </a:lnTo>
                <a:lnTo>
                  <a:pt x="12" y="482"/>
                </a:lnTo>
                <a:lnTo>
                  <a:pt x="12" y="482"/>
                </a:lnTo>
                <a:lnTo>
                  <a:pt x="14" y="488"/>
                </a:lnTo>
                <a:lnTo>
                  <a:pt x="10" y="492"/>
                </a:lnTo>
                <a:lnTo>
                  <a:pt x="10" y="492"/>
                </a:lnTo>
                <a:lnTo>
                  <a:pt x="4" y="496"/>
                </a:lnTo>
                <a:lnTo>
                  <a:pt x="2" y="498"/>
                </a:lnTo>
                <a:lnTo>
                  <a:pt x="2" y="500"/>
                </a:lnTo>
                <a:lnTo>
                  <a:pt x="2" y="500"/>
                </a:lnTo>
                <a:lnTo>
                  <a:pt x="4" y="508"/>
                </a:lnTo>
                <a:lnTo>
                  <a:pt x="2" y="512"/>
                </a:lnTo>
                <a:lnTo>
                  <a:pt x="2" y="512"/>
                </a:lnTo>
                <a:lnTo>
                  <a:pt x="0" y="518"/>
                </a:lnTo>
                <a:lnTo>
                  <a:pt x="0" y="524"/>
                </a:lnTo>
                <a:lnTo>
                  <a:pt x="0" y="524"/>
                </a:lnTo>
                <a:lnTo>
                  <a:pt x="0" y="530"/>
                </a:lnTo>
                <a:lnTo>
                  <a:pt x="0" y="532"/>
                </a:lnTo>
                <a:lnTo>
                  <a:pt x="2" y="532"/>
                </a:lnTo>
                <a:lnTo>
                  <a:pt x="2" y="532"/>
                </a:lnTo>
                <a:lnTo>
                  <a:pt x="4" y="532"/>
                </a:lnTo>
                <a:lnTo>
                  <a:pt x="6" y="530"/>
                </a:lnTo>
                <a:lnTo>
                  <a:pt x="8" y="530"/>
                </a:lnTo>
                <a:lnTo>
                  <a:pt x="10" y="530"/>
                </a:lnTo>
                <a:lnTo>
                  <a:pt x="10" y="530"/>
                </a:lnTo>
                <a:lnTo>
                  <a:pt x="12" y="536"/>
                </a:lnTo>
                <a:lnTo>
                  <a:pt x="10" y="540"/>
                </a:lnTo>
                <a:lnTo>
                  <a:pt x="10" y="540"/>
                </a:lnTo>
                <a:lnTo>
                  <a:pt x="8" y="542"/>
                </a:lnTo>
                <a:lnTo>
                  <a:pt x="8" y="544"/>
                </a:lnTo>
                <a:lnTo>
                  <a:pt x="10" y="550"/>
                </a:lnTo>
                <a:lnTo>
                  <a:pt x="10" y="550"/>
                </a:lnTo>
                <a:lnTo>
                  <a:pt x="18" y="558"/>
                </a:lnTo>
                <a:lnTo>
                  <a:pt x="22" y="564"/>
                </a:lnTo>
                <a:lnTo>
                  <a:pt x="22" y="564"/>
                </a:lnTo>
                <a:lnTo>
                  <a:pt x="40" y="562"/>
                </a:lnTo>
                <a:lnTo>
                  <a:pt x="40" y="562"/>
                </a:lnTo>
                <a:lnTo>
                  <a:pt x="64" y="564"/>
                </a:lnTo>
                <a:lnTo>
                  <a:pt x="64" y="564"/>
                </a:lnTo>
                <a:lnTo>
                  <a:pt x="60" y="556"/>
                </a:lnTo>
                <a:lnTo>
                  <a:pt x="60" y="556"/>
                </a:lnTo>
                <a:lnTo>
                  <a:pt x="52" y="556"/>
                </a:lnTo>
                <a:lnTo>
                  <a:pt x="52" y="556"/>
                </a:lnTo>
                <a:lnTo>
                  <a:pt x="56" y="554"/>
                </a:lnTo>
                <a:lnTo>
                  <a:pt x="56" y="552"/>
                </a:lnTo>
                <a:lnTo>
                  <a:pt x="54" y="544"/>
                </a:lnTo>
                <a:lnTo>
                  <a:pt x="54" y="544"/>
                </a:lnTo>
                <a:lnTo>
                  <a:pt x="52" y="546"/>
                </a:lnTo>
                <a:lnTo>
                  <a:pt x="52" y="544"/>
                </a:lnTo>
                <a:lnTo>
                  <a:pt x="52" y="544"/>
                </a:lnTo>
                <a:lnTo>
                  <a:pt x="56" y="542"/>
                </a:lnTo>
                <a:lnTo>
                  <a:pt x="56" y="542"/>
                </a:lnTo>
                <a:lnTo>
                  <a:pt x="56" y="536"/>
                </a:lnTo>
                <a:lnTo>
                  <a:pt x="58" y="534"/>
                </a:lnTo>
                <a:lnTo>
                  <a:pt x="60" y="534"/>
                </a:lnTo>
                <a:lnTo>
                  <a:pt x="60" y="532"/>
                </a:lnTo>
                <a:lnTo>
                  <a:pt x="60" y="532"/>
                </a:lnTo>
                <a:lnTo>
                  <a:pt x="64" y="532"/>
                </a:lnTo>
                <a:lnTo>
                  <a:pt x="64" y="532"/>
                </a:lnTo>
                <a:lnTo>
                  <a:pt x="64" y="528"/>
                </a:lnTo>
                <a:lnTo>
                  <a:pt x="64" y="528"/>
                </a:lnTo>
                <a:lnTo>
                  <a:pt x="58" y="524"/>
                </a:lnTo>
                <a:lnTo>
                  <a:pt x="58" y="524"/>
                </a:lnTo>
                <a:lnTo>
                  <a:pt x="58" y="520"/>
                </a:lnTo>
                <a:lnTo>
                  <a:pt x="58" y="520"/>
                </a:lnTo>
                <a:lnTo>
                  <a:pt x="60" y="518"/>
                </a:lnTo>
                <a:lnTo>
                  <a:pt x="60" y="518"/>
                </a:lnTo>
                <a:lnTo>
                  <a:pt x="64" y="520"/>
                </a:lnTo>
                <a:lnTo>
                  <a:pt x="64" y="520"/>
                </a:lnTo>
                <a:lnTo>
                  <a:pt x="66" y="526"/>
                </a:lnTo>
                <a:lnTo>
                  <a:pt x="66" y="526"/>
                </a:lnTo>
                <a:lnTo>
                  <a:pt x="72" y="524"/>
                </a:lnTo>
                <a:lnTo>
                  <a:pt x="76" y="520"/>
                </a:lnTo>
                <a:lnTo>
                  <a:pt x="76" y="520"/>
                </a:lnTo>
                <a:lnTo>
                  <a:pt x="76" y="516"/>
                </a:lnTo>
                <a:lnTo>
                  <a:pt x="76" y="514"/>
                </a:lnTo>
                <a:lnTo>
                  <a:pt x="76" y="512"/>
                </a:lnTo>
                <a:lnTo>
                  <a:pt x="76" y="512"/>
                </a:lnTo>
                <a:lnTo>
                  <a:pt x="74" y="512"/>
                </a:lnTo>
                <a:lnTo>
                  <a:pt x="72" y="512"/>
                </a:lnTo>
                <a:lnTo>
                  <a:pt x="72" y="510"/>
                </a:lnTo>
                <a:lnTo>
                  <a:pt x="72" y="510"/>
                </a:lnTo>
                <a:lnTo>
                  <a:pt x="76" y="506"/>
                </a:lnTo>
                <a:lnTo>
                  <a:pt x="82" y="500"/>
                </a:lnTo>
                <a:lnTo>
                  <a:pt x="82" y="500"/>
                </a:lnTo>
                <a:lnTo>
                  <a:pt x="82" y="496"/>
                </a:lnTo>
                <a:lnTo>
                  <a:pt x="82" y="496"/>
                </a:lnTo>
                <a:lnTo>
                  <a:pt x="86" y="496"/>
                </a:lnTo>
                <a:lnTo>
                  <a:pt x="86" y="496"/>
                </a:lnTo>
                <a:lnTo>
                  <a:pt x="90" y="490"/>
                </a:lnTo>
                <a:lnTo>
                  <a:pt x="90" y="490"/>
                </a:lnTo>
                <a:lnTo>
                  <a:pt x="92" y="490"/>
                </a:lnTo>
                <a:lnTo>
                  <a:pt x="92" y="490"/>
                </a:lnTo>
                <a:lnTo>
                  <a:pt x="102" y="482"/>
                </a:lnTo>
                <a:lnTo>
                  <a:pt x="102" y="482"/>
                </a:lnTo>
                <a:lnTo>
                  <a:pt x="96" y="478"/>
                </a:lnTo>
                <a:lnTo>
                  <a:pt x="96" y="478"/>
                </a:lnTo>
                <a:lnTo>
                  <a:pt x="96" y="478"/>
                </a:lnTo>
                <a:lnTo>
                  <a:pt x="98" y="476"/>
                </a:lnTo>
                <a:lnTo>
                  <a:pt x="98" y="472"/>
                </a:lnTo>
                <a:lnTo>
                  <a:pt x="98" y="466"/>
                </a:lnTo>
                <a:lnTo>
                  <a:pt x="98" y="466"/>
                </a:lnTo>
                <a:lnTo>
                  <a:pt x="96" y="464"/>
                </a:lnTo>
                <a:lnTo>
                  <a:pt x="92" y="464"/>
                </a:lnTo>
                <a:lnTo>
                  <a:pt x="86" y="464"/>
                </a:lnTo>
                <a:lnTo>
                  <a:pt x="86" y="464"/>
                </a:lnTo>
                <a:lnTo>
                  <a:pt x="84" y="458"/>
                </a:lnTo>
                <a:lnTo>
                  <a:pt x="84" y="458"/>
                </a:lnTo>
                <a:lnTo>
                  <a:pt x="80" y="456"/>
                </a:lnTo>
                <a:lnTo>
                  <a:pt x="80" y="456"/>
                </a:lnTo>
                <a:lnTo>
                  <a:pt x="78" y="454"/>
                </a:lnTo>
                <a:lnTo>
                  <a:pt x="76" y="450"/>
                </a:lnTo>
                <a:lnTo>
                  <a:pt x="76" y="450"/>
                </a:lnTo>
                <a:lnTo>
                  <a:pt x="74" y="444"/>
                </a:lnTo>
                <a:lnTo>
                  <a:pt x="78" y="440"/>
                </a:lnTo>
                <a:lnTo>
                  <a:pt x="80" y="440"/>
                </a:lnTo>
                <a:lnTo>
                  <a:pt x="80" y="440"/>
                </a:lnTo>
                <a:lnTo>
                  <a:pt x="80" y="436"/>
                </a:lnTo>
                <a:lnTo>
                  <a:pt x="80" y="436"/>
                </a:lnTo>
                <a:lnTo>
                  <a:pt x="86" y="432"/>
                </a:lnTo>
                <a:lnTo>
                  <a:pt x="86" y="432"/>
                </a:lnTo>
                <a:lnTo>
                  <a:pt x="92" y="424"/>
                </a:lnTo>
                <a:lnTo>
                  <a:pt x="96" y="424"/>
                </a:lnTo>
                <a:lnTo>
                  <a:pt x="104" y="424"/>
                </a:lnTo>
                <a:lnTo>
                  <a:pt x="104" y="424"/>
                </a:lnTo>
                <a:lnTo>
                  <a:pt x="104" y="418"/>
                </a:lnTo>
                <a:lnTo>
                  <a:pt x="104" y="418"/>
                </a:lnTo>
                <a:lnTo>
                  <a:pt x="102" y="418"/>
                </a:lnTo>
                <a:lnTo>
                  <a:pt x="102" y="414"/>
                </a:lnTo>
                <a:lnTo>
                  <a:pt x="108" y="410"/>
                </a:lnTo>
                <a:lnTo>
                  <a:pt x="108" y="410"/>
                </a:lnTo>
                <a:lnTo>
                  <a:pt x="108" y="404"/>
                </a:lnTo>
                <a:lnTo>
                  <a:pt x="108" y="402"/>
                </a:lnTo>
                <a:lnTo>
                  <a:pt x="108" y="402"/>
                </a:lnTo>
                <a:lnTo>
                  <a:pt x="110" y="392"/>
                </a:lnTo>
                <a:lnTo>
                  <a:pt x="112" y="386"/>
                </a:lnTo>
                <a:lnTo>
                  <a:pt x="114" y="384"/>
                </a:lnTo>
                <a:lnTo>
                  <a:pt x="114" y="384"/>
                </a:lnTo>
                <a:lnTo>
                  <a:pt x="120" y="382"/>
                </a:lnTo>
                <a:lnTo>
                  <a:pt x="120" y="382"/>
                </a:lnTo>
                <a:lnTo>
                  <a:pt x="120" y="378"/>
                </a:lnTo>
                <a:lnTo>
                  <a:pt x="120" y="378"/>
                </a:lnTo>
                <a:lnTo>
                  <a:pt x="112" y="378"/>
                </a:lnTo>
                <a:lnTo>
                  <a:pt x="112" y="378"/>
                </a:lnTo>
                <a:lnTo>
                  <a:pt x="112" y="378"/>
                </a:lnTo>
                <a:lnTo>
                  <a:pt x="112" y="378"/>
                </a:lnTo>
                <a:lnTo>
                  <a:pt x="112" y="378"/>
                </a:lnTo>
                <a:lnTo>
                  <a:pt x="116" y="376"/>
                </a:lnTo>
                <a:lnTo>
                  <a:pt x="122" y="376"/>
                </a:lnTo>
                <a:lnTo>
                  <a:pt x="122" y="376"/>
                </a:lnTo>
                <a:lnTo>
                  <a:pt x="124" y="378"/>
                </a:lnTo>
                <a:lnTo>
                  <a:pt x="124" y="378"/>
                </a:lnTo>
                <a:lnTo>
                  <a:pt x="124" y="382"/>
                </a:lnTo>
                <a:lnTo>
                  <a:pt x="124" y="382"/>
                </a:lnTo>
                <a:lnTo>
                  <a:pt x="128" y="380"/>
                </a:lnTo>
                <a:lnTo>
                  <a:pt x="130" y="378"/>
                </a:lnTo>
                <a:lnTo>
                  <a:pt x="132" y="376"/>
                </a:lnTo>
                <a:lnTo>
                  <a:pt x="132" y="376"/>
                </a:lnTo>
                <a:lnTo>
                  <a:pt x="132" y="372"/>
                </a:lnTo>
                <a:lnTo>
                  <a:pt x="132" y="372"/>
                </a:lnTo>
                <a:lnTo>
                  <a:pt x="130" y="370"/>
                </a:lnTo>
                <a:lnTo>
                  <a:pt x="130" y="368"/>
                </a:lnTo>
                <a:lnTo>
                  <a:pt x="130" y="368"/>
                </a:lnTo>
                <a:lnTo>
                  <a:pt x="124" y="368"/>
                </a:lnTo>
                <a:lnTo>
                  <a:pt x="124" y="368"/>
                </a:lnTo>
                <a:lnTo>
                  <a:pt x="124" y="372"/>
                </a:lnTo>
                <a:lnTo>
                  <a:pt x="124" y="372"/>
                </a:lnTo>
                <a:lnTo>
                  <a:pt x="122" y="372"/>
                </a:lnTo>
                <a:lnTo>
                  <a:pt x="122" y="372"/>
                </a:lnTo>
                <a:lnTo>
                  <a:pt x="116" y="368"/>
                </a:lnTo>
                <a:lnTo>
                  <a:pt x="116" y="368"/>
                </a:lnTo>
                <a:lnTo>
                  <a:pt x="114" y="368"/>
                </a:lnTo>
                <a:lnTo>
                  <a:pt x="114" y="368"/>
                </a:lnTo>
                <a:lnTo>
                  <a:pt x="114" y="358"/>
                </a:lnTo>
                <a:lnTo>
                  <a:pt x="114" y="358"/>
                </a:lnTo>
                <a:lnTo>
                  <a:pt x="108" y="358"/>
                </a:lnTo>
                <a:lnTo>
                  <a:pt x="108" y="358"/>
                </a:lnTo>
                <a:lnTo>
                  <a:pt x="108" y="356"/>
                </a:lnTo>
                <a:lnTo>
                  <a:pt x="108" y="354"/>
                </a:lnTo>
                <a:lnTo>
                  <a:pt x="108" y="354"/>
                </a:lnTo>
                <a:lnTo>
                  <a:pt x="110" y="352"/>
                </a:lnTo>
                <a:lnTo>
                  <a:pt x="110" y="350"/>
                </a:lnTo>
                <a:lnTo>
                  <a:pt x="112" y="344"/>
                </a:lnTo>
                <a:lnTo>
                  <a:pt x="112" y="344"/>
                </a:lnTo>
                <a:lnTo>
                  <a:pt x="114" y="342"/>
                </a:lnTo>
                <a:lnTo>
                  <a:pt x="116" y="342"/>
                </a:lnTo>
                <a:lnTo>
                  <a:pt x="116" y="342"/>
                </a:lnTo>
                <a:lnTo>
                  <a:pt x="116" y="344"/>
                </a:lnTo>
                <a:lnTo>
                  <a:pt x="116" y="344"/>
                </a:lnTo>
                <a:lnTo>
                  <a:pt x="120" y="344"/>
                </a:lnTo>
                <a:lnTo>
                  <a:pt x="120" y="344"/>
                </a:lnTo>
                <a:lnTo>
                  <a:pt x="124" y="350"/>
                </a:lnTo>
                <a:lnTo>
                  <a:pt x="126" y="352"/>
                </a:lnTo>
                <a:lnTo>
                  <a:pt x="132" y="352"/>
                </a:lnTo>
                <a:lnTo>
                  <a:pt x="132" y="352"/>
                </a:lnTo>
                <a:lnTo>
                  <a:pt x="136" y="350"/>
                </a:lnTo>
                <a:lnTo>
                  <a:pt x="140" y="348"/>
                </a:lnTo>
                <a:lnTo>
                  <a:pt x="140" y="348"/>
                </a:lnTo>
                <a:lnTo>
                  <a:pt x="140" y="346"/>
                </a:lnTo>
                <a:lnTo>
                  <a:pt x="140" y="346"/>
                </a:lnTo>
                <a:lnTo>
                  <a:pt x="144" y="344"/>
                </a:lnTo>
                <a:lnTo>
                  <a:pt x="146" y="342"/>
                </a:lnTo>
                <a:lnTo>
                  <a:pt x="146" y="342"/>
                </a:lnTo>
                <a:lnTo>
                  <a:pt x="148" y="336"/>
                </a:lnTo>
                <a:lnTo>
                  <a:pt x="146" y="332"/>
                </a:lnTo>
                <a:lnTo>
                  <a:pt x="146" y="326"/>
                </a:lnTo>
                <a:lnTo>
                  <a:pt x="146" y="322"/>
                </a:lnTo>
                <a:lnTo>
                  <a:pt x="148" y="322"/>
                </a:lnTo>
                <a:lnTo>
                  <a:pt x="148" y="322"/>
                </a:lnTo>
                <a:lnTo>
                  <a:pt x="150" y="314"/>
                </a:lnTo>
                <a:lnTo>
                  <a:pt x="150" y="314"/>
                </a:lnTo>
                <a:lnTo>
                  <a:pt x="146" y="314"/>
                </a:lnTo>
                <a:lnTo>
                  <a:pt x="144" y="310"/>
                </a:lnTo>
                <a:lnTo>
                  <a:pt x="144" y="310"/>
                </a:lnTo>
                <a:lnTo>
                  <a:pt x="144" y="306"/>
                </a:lnTo>
                <a:lnTo>
                  <a:pt x="144" y="306"/>
                </a:lnTo>
                <a:lnTo>
                  <a:pt x="144" y="304"/>
                </a:lnTo>
                <a:lnTo>
                  <a:pt x="146" y="304"/>
                </a:lnTo>
                <a:lnTo>
                  <a:pt x="148" y="304"/>
                </a:lnTo>
                <a:lnTo>
                  <a:pt x="152" y="310"/>
                </a:lnTo>
                <a:lnTo>
                  <a:pt x="152" y="310"/>
                </a:lnTo>
                <a:lnTo>
                  <a:pt x="154" y="308"/>
                </a:lnTo>
                <a:lnTo>
                  <a:pt x="154" y="308"/>
                </a:lnTo>
                <a:lnTo>
                  <a:pt x="152" y="306"/>
                </a:lnTo>
                <a:lnTo>
                  <a:pt x="152" y="306"/>
                </a:lnTo>
                <a:lnTo>
                  <a:pt x="156" y="306"/>
                </a:lnTo>
                <a:lnTo>
                  <a:pt x="156" y="306"/>
                </a:lnTo>
                <a:lnTo>
                  <a:pt x="166" y="304"/>
                </a:lnTo>
                <a:lnTo>
                  <a:pt x="166" y="304"/>
                </a:lnTo>
                <a:lnTo>
                  <a:pt x="178" y="304"/>
                </a:lnTo>
                <a:lnTo>
                  <a:pt x="178" y="304"/>
                </a:lnTo>
                <a:lnTo>
                  <a:pt x="188" y="302"/>
                </a:lnTo>
                <a:lnTo>
                  <a:pt x="188" y="302"/>
                </a:lnTo>
                <a:lnTo>
                  <a:pt x="188" y="300"/>
                </a:lnTo>
                <a:lnTo>
                  <a:pt x="188" y="300"/>
                </a:lnTo>
                <a:lnTo>
                  <a:pt x="196" y="298"/>
                </a:lnTo>
                <a:lnTo>
                  <a:pt x="202" y="296"/>
                </a:lnTo>
                <a:lnTo>
                  <a:pt x="202" y="296"/>
                </a:lnTo>
                <a:lnTo>
                  <a:pt x="208" y="290"/>
                </a:lnTo>
                <a:lnTo>
                  <a:pt x="214" y="280"/>
                </a:lnTo>
                <a:lnTo>
                  <a:pt x="220" y="270"/>
                </a:lnTo>
                <a:lnTo>
                  <a:pt x="222" y="260"/>
                </a:lnTo>
                <a:lnTo>
                  <a:pt x="222" y="260"/>
                </a:lnTo>
                <a:lnTo>
                  <a:pt x="222" y="258"/>
                </a:lnTo>
                <a:lnTo>
                  <a:pt x="222" y="258"/>
                </a:lnTo>
                <a:lnTo>
                  <a:pt x="218" y="258"/>
                </a:lnTo>
                <a:lnTo>
                  <a:pt x="214" y="256"/>
                </a:lnTo>
                <a:lnTo>
                  <a:pt x="214" y="256"/>
                </a:lnTo>
                <a:lnTo>
                  <a:pt x="214" y="256"/>
                </a:lnTo>
                <a:lnTo>
                  <a:pt x="214" y="254"/>
                </a:lnTo>
                <a:lnTo>
                  <a:pt x="214" y="254"/>
                </a:lnTo>
                <a:lnTo>
                  <a:pt x="212" y="254"/>
                </a:lnTo>
                <a:lnTo>
                  <a:pt x="212" y="254"/>
                </a:lnTo>
                <a:lnTo>
                  <a:pt x="210" y="250"/>
                </a:lnTo>
                <a:lnTo>
                  <a:pt x="210" y="246"/>
                </a:lnTo>
                <a:lnTo>
                  <a:pt x="210" y="246"/>
                </a:lnTo>
                <a:lnTo>
                  <a:pt x="214" y="244"/>
                </a:lnTo>
                <a:lnTo>
                  <a:pt x="214" y="244"/>
                </a:lnTo>
                <a:lnTo>
                  <a:pt x="214" y="242"/>
                </a:lnTo>
                <a:lnTo>
                  <a:pt x="214" y="242"/>
                </a:lnTo>
                <a:lnTo>
                  <a:pt x="208" y="234"/>
                </a:lnTo>
                <a:lnTo>
                  <a:pt x="208" y="234"/>
                </a:lnTo>
                <a:lnTo>
                  <a:pt x="204" y="232"/>
                </a:lnTo>
                <a:lnTo>
                  <a:pt x="200" y="230"/>
                </a:lnTo>
                <a:lnTo>
                  <a:pt x="200" y="230"/>
                </a:lnTo>
                <a:lnTo>
                  <a:pt x="200" y="226"/>
                </a:lnTo>
                <a:lnTo>
                  <a:pt x="198" y="224"/>
                </a:lnTo>
                <a:lnTo>
                  <a:pt x="196" y="222"/>
                </a:lnTo>
                <a:lnTo>
                  <a:pt x="196" y="222"/>
                </a:lnTo>
                <a:lnTo>
                  <a:pt x="196" y="220"/>
                </a:lnTo>
                <a:lnTo>
                  <a:pt x="196" y="218"/>
                </a:lnTo>
                <a:lnTo>
                  <a:pt x="196" y="218"/>
                </a:lnTo>
                <a:lnTo>
                  <a:pt x="196" y="216"/>
                </a:lnTo>
                <a:lnTo>
                  <a:pt x="194" y="212"/>
                </a:lnTo>
                <a:lnTo>
                  <a:pt x="198" y="212"/>
                </a:lnTo>
                <a:lnTo>
                  <a:pt x="198" y="212"/>
                </a:lnTo>
                <a:lnTo>
                  <a:pt x="198" y="196"/>
                </a:lnTo>
                <a:lnTo>
                  <a:pt x="200" y="196"/>
                </a:lnTo>
                <a:lnTo>
                  <a:pt x="200" y="196"/>
                </a:lnTo>
                <a:lnTo>
                  <a:pt x="200" y="192"/>
                </a:lnTo>
                <a:lnTo>
                  <a:pt x="200" y="184"/>
                </a:lnTo>
                <a:lnTo>
                  <a:pt x="200" y="184"/>
                </a:lnTo>
                <a:lnTo>
                  <a:pt x="200" y="182"/>
                </a:lnTo>
                <a:lnTo>
                  <a:pt x="202" y="180"/>
                </a:lnTo>
                <a:lnTo>
                  <a:pt x="202" y="176"/>
                </a:lnTo>
                <a:lnTo>
                  <a:pt x="202" y="172"/>
                </a:lnTo>
                <a:lnTo>
                  <a:pt x="202" y="172"/>
                </a:lnTo>
                <a:lnTo>
                  <a:pt x="204" y="170"/>
                </a:lnTo>
                <a:lnTo>
                  <a:pt x="204" y="168"/>
                </a:lnTo>
                <a:lnTo>
                  <a:pt x="206" y="166"/>
                </a:lnTo>
                <a:lnTo>
                  <a:pt x="206" y="162"/>
                </a:lnTo>
                <a:lnTo>
                  <a:pt x="206" y="162"/>
                </a:lnTo>
                <a:lnTo>
                  <a:pt x="206" y="158"/>
                </a:lnTo>
                <a:lnTo>
                  <a:pt x="208" y="154"/>
                </a:lnTo>
                <a:lnTo>
                  <a:pt x="210" y="152"/>
                </a:lnTo>
                <a:lnTo>
                  <a:pt x="210" y="152"/>
                </a:lnTo>
                <a:lnTo>
                  <a:pt x="212" y="142"/>
                </a:lnTo>
                <a:lnTo>
                  <a:pt x="212" y="142"/>
                </a:lnTo>
                <a:lnTo>
                  <a:pt x="214" y="138"/>
                </a:lnTo>
                <a:lnTo>
                  <a:pt x="218" y="136"/>
                </a:lnTo>
                <a:lnTo>
                  <a:pt x="218" y="136"/>
                </a:lnTo>
                <a:lnTo>
                  <a:pt x="222" y="130"/>
                </a:lnTo>
                <a:lnTo>
                  <a:pt x="222" y="124"/>
                </a:lnTo>
                <a:lnTo>
                  <a:pt x="222" y="124"/>
                </a:lnTo>
                <a:lnTo>
                  <a:pt x="224" y="122"/>
                </a:lnTo>
                <a:lnTo>
                  <a:pt x="226" y="120"/>
                </a:lnTo>
                <a:lnTo>
                  <a:pt x="230" y="120"/>
                </a:lnTo>
                <a:lnTo>
                  <a:pt x="232" y="118"/>
                </a:lnTo>
                <a:lnTo>
                  <a:pt x="232" y="118"/>
                </a:lnTo>
                <a:lnTo>
                  <a:pt x="234" y="114"/>
                </a:lnTo>
                <a:lnTo>
                  <a:pt x="238" y="112"/>
                </a:lnTo>
                <a:lnTo>
                  <a:pt x="238" y="112"/>
                </a:lnTo>
                <a:lnTo>
                  <a:pt x="242" y="108"/>
                </a:lnTo>
                <a:lnTo>
                  <a:pt x="244" y="102"/>
                </a:lnTo>
                <a:lnTo>
                  <a:pt x="244" y="102"/>
                </a:lnTo>
                <a:lnTo>
                  <a:pt x="246" y="100"/>
                </a:lnTo>
                <a:lnTo>
                  <a:pt x="250" y="100"/>
                </a:lnTo>
                <a:lnTo>
                  <a:pt x="254" y="98"/>
                </a:lnTo>
                <a:lnTo>
                  <a:pt x="256" y="98"/>
                </a:lnTo>
                <a:lnTo>
                  <a:pt x="256" y="98"/>
                </a:lnTo>
                <a:lnTo>
                  <a:pt x="260" y="94"/>
                </a:lnTo>
                <a:lnTo>
                  <a:pt x="260" y="94"/>
                </a:lnTo>
                <a:lnTo>
                  <a:pt x="260" y="92"/>
                </a:lnTo>
                <a:lnTo>
                  <a:pt x="260" y="92"/>
                </a:lnTo>
                <a:lnTo>
                  <a:pt x="260" y="78"/>
                </a:lnTo>
                <a:lnTo>
                  <a:pt x="260" y="78"/>
                </a:lnTo>
                <a:lnTo>
                  <a:pt x="260" y="66"/>
                </a:lnTo>
                <a:lnTo>
                  <a:pt x="260" y="66"/>
                </a:lnTo>
                <a:lnTo>
                  <a:pt x="256" y="66"/>
                </a:lnTo>
                <a:lnTo>
                  <a:pt x="254" y="66"/>
                </a:lnTo>
                <a:lnTo>
                  <a:pt x="254" y="68"/>
                </a:lnTo>
                <a:lnTo>
                  <a:pt x="254" y="68"/>
                </a:lnTo>
                <a:lnTo>
                  <a:pt x="254" y="68"/>
                </a:lnTo>
                <a:lnTo>
                  <a:pt x="252" y="68"/>
                </a:lnTo>
                <a:lnTo>
                  <a:pt x="248" y="66"/>
                </a:lnTo>
                <a:lnTo>
                  <a:pt x="248" y="66"/>
                </a:lnTo>
                <a:lnTo>
                  <a:pt x="246" y="68"/>
                </a:lnTo>
                <a:lnTo>
                  <a:pt x="244" y="70"/>
                </a:lnTo>
                <a:lnTo>
                  <a:pt x="246" y="72"/>
                </a:lnTo>
                <a:lnTo>
                  <a:pt x="246" y="72"/>
                </a:lnTo>
                <a:lnTo>
                  <a:pt x="246" y="80"/>
                </a:lnTo>
                <a:lnTo>
                  <a:pt x="246" y="84"/>
                </a:lnTo>
                <a:lnTo>
                  <a:pt x="244" y="86"/>
                </a:lnTo>
                <a:lnTo>
                  <a:pt x="244" y="86"/>
                </a:lnTo>
                <a:lnTo>
                  <a:pt x="240" y="90"/>
                </a:lnTo>
                <a:lnTo>
                  <a:pt x="238" y="94"/>
                </a:lnTo>
                <a:lnTo>
                  <a:pt x="238" y="94"/>
                </a:lnTo>
                <a:lnTo>
                  <a:pt x="236" y="96"/>
                </a:lnTo>
                <a:lnTo>
                  <a:pt x="236" y="96"/>
                </a:lnTo>
                <a:lnTo>
                  <a:pt x="234" y="98"/>
                </a:lnTo>
                <a:lnTo>
                  <a:pt x="228" y="98"/>
                </a:lnTo>
                <a:lnTo>
                  <a:pt x="228" y="98"/>
                </a:lnTo>
                <a:lnTo>
                  <a:pt x="222" y="96"/>
                </a:lnTo>
                <a:lnTo>
                  <a:pt x="216" y="96"/>
                </a:lnTo>
                <a:lnTo>
                  <a:pt x="216" y="96"/>
                </a:lnTo>
                <a:lnTo>
                  <a:pt x="212" y="98"/>
                </a:lnTo>
                <a:lnTo>
                  <a:pt x="208" y="96"/>
                </a:lnTo>
                <a:lnTo>
                  <a:pt x="208" y="96"/>
                </a:lnTo>
                <a:lnTo>
                  <a:pt x="202" y="94"/>
                </a:lnTo>
                <a:lnTo>
                  <a:pt x="198" y="94"/>
                </a:lnTo>
                <a:lnTo>
                  <a:pt x="198" y="94"/>
                </a:lnTo>
                <a:lnTo>
                  <a:pt x="194" y="94"/>
                </a:lnTo>
                <a:lnTo>
                  <a:pt x="194" y="94"/>
                </a:lnTo>
                <a:lnTo>
                  <a:pt x="194" y="94"/>
                </a:lnTo>
                <a:lnTo>
                  <a:pt x="194" y="90"/>
                </a:lnTo>
                <a:lnTo>
                  <a:pt x="198" y="84"/>
                </a:lnTo>
                <a:lnTo>
                  <a:pt x="198" y="84"/>
                </a:lnTo>
                <a:lnTo>
                  <a:pt x="202" y="78"/>
                </a:lnTo>
                <a:lnTo>
                  <a:pt x="204" y="70"/>
                </a:lnTo>
                <a:lnTo>
                  <a:pt x="204" y="70"/>
                </a:lnTo>
                <a:lnTo>
                  <a:pt x="206" y="64"/>
                </a:lnTo>
                <a:lnTo>
                  <a:pt x="206" y="62"/>
                </a:lnTo>
                <a:lnTo>
                  <a:pt x="204" y="60"/>
                </a:lnTo>
                <a:lnTo>
                  <a:pt x="204" y="60"/>
                </a:lnTo>
                <a:lnTo>
                  <a:pt x="198" y="54"/>
                </a:lnTo>
                <a:lnTo>
                  <a:pt x="196" y="50"/>
                </a:lnTo>
                <a:lnTo>
                  <a:pt x="196" y="50"/>
                </a:lnTo>
                <a:lnTo>
                  <a:pt x="190" y="46"/>
                </a:lnTo>
                <a:lnTo>
                  <a:pt x="190" y="46"/>
                </a:lnTo>
                <a:lnTo>
                  <a:pt x="188" y="44"/>
                </a:lnTo>
                <a:lnTo>
                  <a:pt x="186" y="44"/>
                </a:lnTo>
                <a:lnTo>
                  <a:pt x="184" y="44"/>
                </a:lnTo>
                <a:lnTo>
                  <a:pt x="180" y="42"/>
                </a:lnTo>
                <a:lnTo>
                  <a:pt x="180" y="42"/>
                </a:lnTo>
                <a:lnTo>
                  <a:pt x="178" y="36"/>
                </a:lnTo>
                <a:lnTo>
                  <a:pt x="172" y="36"/>
                </a:lnTo>
                <a:lnTo>
                  <a:pt x="172" y="36"/>
                </a:lnTo>
                <a:lnTo>
                  <a:pt x="170" y="34"/>
                </a:lnTo>
                <a:lnTo>
                  <a:pt x="170" y="32"/>
                </a:lnTo>
                <a:lnTo>
                  <a:pt x="166" y="26"/>
                </a:lnTo>
                <a:lnTo>
                  <a:pt x="166" y="26"/>
                </a:lnTo>
                <a:lnTo>
                  <a:pt x="164" y="22"/>
                </a:lnTo>
                <a:lnTo>
                  <a:pt x="162" y="20"/>
                </a:lnTo>
                <a:lnTo>
                  <a:pt x="162" y="20"/>
                </a:lnTo>
                <a:lnTo>
                  <a:pt x="158" y="18"/>
                </a:lnTo>
                <a:lnTo>
                  <a:pt x="156" y="14"/>
                </a:lnTo>
                <a:lnTo>
                  <a:pt x="156" y="14"/>
                </a:lnTo>
                <a:lnTo>
                  <a:pt x="152" y="8"/>
                </a:lnTo>
                <a:lnTo>
                  <a:pt x="144" y="2"/>
                </a:lnTo>
                <a:close/>
                <a:moveTo>
                  <a:pt x="72" y="618"/>
                </a:moveTo>
                <a:lnTo>
                  <a:pt x="74" y="618"/>
                </a:lnTo>
                <a:lnTo>
                  <a:pt x="74" y="618"/>
                </a:lnTo>
                <a:lnTo>
                  <a:pt x="78" y="618"/>
                </a:lnTo>
                <a:lnTo>
                  <a:pt x="80" y="620"/>
                </a:lnTo>
                <a:lnTo>
                  <a:pt x="80" y="618"/>
                </a:lnTo>
                <a:lnTo>
                  <a:pt x="80" y="618"/>
                </a:lnTo>
                <a:lnTo>
                  <a:pt x="84" y="622"/>
                </a:lnTo>
                <a:lnTo>
                  <a:pt x="84" y="622"/>
                </a:lnTo>
                <a:lnTo>
                  <a:pt x="92" y="620"/>
                </a:lnTo>
                <a:lnTo>
                  <a:pt x="92" y="618"/>
                </a:lnTo>
                <a:lnTo>
                  <a:pt x="92" y="618"/>
                </a:lnTo>
                <a:lnTo>
                  <a:pt x="102" y="618"/>
                </a:lnTo>
                <a:lnTo>
                  <a:pt x="102" y="618"/>
                </a:lnTo>
                <a:lnTo>
                  <a:pt x="102" y="620"/>
                </a:lnTo>
                <a:lnTo>
                  <a:pt x="102" y="620"/>
                </a:lnTo>
                <a:lnTo>
                  <a:pt x="102" y="620"/>
                </a:lnTo>
                <a:lnTo>
                  <a:pt x="106" y="616"/>
                </a:lnTo>
                <a:lnTo>
                  <a:pt x="106" y="616"/>
                </a:lnTo>
                <a:lnTo>
                  <a:pt x="92" y="612"/>
                </a:lnTo>
                <a:lnTo>
                  <a:pt x="92" y="612"/>
                </a:lnTo>
                <a:lnTo>
                  <a:pt x="86" y="612"/>
                </a:lnTo>
                <a:lnTo>
                  <a:pt x="86" y="612"/>
                </a:lnTo>
                <a:lnTo>
                  <a:pt x="82" y="608"/>
                </a:lnTo>
                <a:lnTo>
                  <a:pt x="80" y="606"/>
                </a:lnTo>
                <a:lnTo>
                  <a:pt x="80" y="606"/>
                </a:lnTo>
                <a:lnTo>
                  <a:pt x="76" y="604"/>
                </a:lnTo>
                <a:lnTo>
                  <a:pt x="76" y="604"/>
                </a:lnTo>
                <a:lnTo>
                  <a:pt x="74" y="600"/>
                </a:lnTo>
                <a:lnTo>
                  <a:pt x="74" y="598"/>
                </a:lnTo>
                <a:lnTo>
                  <a:pt x="74" y="598"/>
                </a:lnTo>
                <a:lnTo>
                  <a:pt x="70" y="596"/>
                </a:lnTo>
                <a:lnTo>
                  <a:pt x="70" y="596"/>
                </a:lnTo>
                <a:lnTo>
                  <a:pt x="66" y="592"/>
                </a:lnTo>
                <a:lnTo>
                  <a:pt x="62" y="586"/>
                </a:lnTo>
                <a:lnTo>
                  <a:pt x="62" y="586"/>
                </a:lnTo>
                <a:lnTo>
                  <a:pt x="62" y="586"/>
                </a:lnTo>
                <a:lnTo>
                  <a:pt x="62" y="584"/>
                </a:lnTo>
                <a:lnTo>
                  <a:pt x="64" y="582"/>
                </a:lnTo>
                <a:lnTo>
                  <a:pt x="64" y="582"/>
                </a:lnTo>
                <a:lnTo>
                  <a:pt x="60" y="574"/>
                </a:lnTo>
                <a:lnTo>
                  <a:pt x="60" y="574"/>
                </a:lnTo>
                <a:lnTo>
                  <a:pt x="60" y="574"/>
                </a:lnTo>
                <a:lnTo>
                  <a:pt x="60" y="574"/>
                </a:lnTo>
                <a:lnTo>
                  <a:pt x="60" y="574"/>
                </a:lnTo>
                <a:lnTo>
                  <a:pt x="58" y="574"/>
                </a:lnTo>
                <a:lnTo>
                  <a:pt x="62" y="620"/>
                </a:lnTo>
                <a:lnTo>
                  <a:pt x="62" y="620"/>
                </a:lnTo>
                <a:lnTo>
                  <a:pt x="66" y="618"/>
                </a:lnTo>
                <a:lnTo>
                  <a:pt x="72" y="618"/>
                </a:lnTo>
                <a:lnTo>
                  <a:pt x="72" y="61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7" name="Freeform 263">
            <a:extLst>
              <a:ext uri="{FF2B5EF4-FFF2-40B4-BE49-F238E27FC236}">
                <a16:creationId xmlns:a16="http://schemas.microsoft.com/office/drawing/2014/main" id="{9393D655-BACF-4ED4-A6A7-D02F058BEADA}"/>
              </a:ext>
            </a:extLst>
          </p:cNvPr>
          <p:cNvSpPr>
            <a:spLocks noEditPoints="1"/>
          </p:cNvSpPr>
          <p:nvPr userDrawn="1"/>
        </p:nvSpPr>
        <p:spPr bwMode="auto">
          <a:xfrm>
            <a:off x="6118446" y="3800766"/>
            <a:ext cx="281716" cy="404973"/>
          </a:xfrm>
          <a:custGeom>
            <a:avLst/>
            <a:gdLst>
              <a:gd name="T0" fmla="*/ 12 w 168"/>
              <a:gd name="T1" fmla="*/ 12 h 236"/>
              <a:gd name="T2" fmla="*/ 14 w 168"/>
              <a:gd name="T3" fmla="*/ 4 h 236"/>
              <a:gd name="T4" fmla="*/ 12 w 168"/>
              <a:gd name="T5" fmla="*/ 0 h 236"/>
              <a:gd name="T6" fmla="*/ 10 w 168"/>
              <a:gd name="T7" fmla="*/ 4 h 236"/>
              <a:gd name="T8" fmla="*/ 2 w 168"/>
              <a:gd name="T9" fmla="*/ 4 h 236"/>
              <a:gd name="T10" fmla="*/ 2 w 168"/>
              <a:gd name="T11" fmla="*/ 14 h 236"/>
              <a:gd name="T12" fmla="*/ 10 w 168"/>
              <a:gd name="T13" fmla="*/ 32 h 236"/>
              <a:gd name="T14" fmla="*/ 14 w 168"/>
              <a:gd name="T15" fmla="*/ 48 h 236"/>
              <a:gd name="T16" fmla="*/ 18 w 168"/>
              <a:gd name="T17" fmla="*/ 56 h 236"/>
              <a:gd name="T18" fmla="*/ 22 w 168"/>
              <a:gd name="T19" fmla="*/ 64 h 236"/>
              <a:gd name="T20" fmla="*/ 24 w 168"/>
              <a:gd name="T21" fmla="*/ 74 h 236"/>
              <a:gd name="T22" fmla="*/ 22 w 168"/>
              <a:gd name="T23" fmla="*/ 76 h 236"/>
              <a:gd name="T24" fmla="*/ 20 w 168"/>
              <a:gd name="T25" fmla="*/ 82 h 236"/>
              <a:gd name="T26" fmla="*/ 22 w 168"/>
              <a:gd name="T27" fmla="*/ 96 h 236"/>
              <a:gd name="T28" fmla="*/ 26 w 168"/>
              <a:gd name="T29" fmla="*/ 110 h 236"/>
              <a:gd name="T30" fmla="*/ 26 w 168"/>
              <a:gd name="T31" fmla="*/ 138 h 236"/>
              <a:gd name="T32" fmla="*/ 18 w 168"/>
              <a:gd name="T33" fmla="*/ 146 h 236"/>
              <a:gd name="T34" fmla="*/ 16 w 168"/>
              <a:gd name="T35" fmla="*/ 156 h 236"/>
              <a:gd name="T36" fmla="*/ 10 w 168"/>
              <a:gd name="T37" fmla="*/ 168 h 236"/>
              <a:gd name="T38" fmla="*/ 8 w 168"/>
              <a:gd name="T39" fmla="*/ 180 h 236"/>
              <a:gd name="T40" fmla="*/ 2 w 168"/>
              <a:gd name="T41" fmla="*/ 192 h 236"/>
              <a:gd name="T42" fmla="*/ 2 w 168"/>
              <a:gd name="T43" fmla="*/ 210 h 236"/>
              <a:gd name="T44" fmla="*/ 0 w 168"/>
              <a:gd name="T45" fmla="*/ 214 h 236"/>
              <a:gd name="T46" fmla="*/ 10 w 168"/>
              <a:gd name="T47" fmla="*/ 220 h 236"/>
              <a:gd name="T48" fmla="*/ 16 w 168"/>
              <a:gd name="T49" fmla="*/ 218 h 236"/>
              <a:gd name="T50" fmla="*/ 26 w 168"/>
              <a:gd name="T51" fmla="*/ 220 h 236"/>
              <a:gd name="T52" fmla="*/ 88 w 168"/>
              <a:gd name="T53" fmla="*/ 226 h 236"/>
              <a:gd name="T54" fmla="*/ 92 w 168"/>
              <a:gd name="T55" fmla="*/ 230 h 236"/>
              <a:gd name="T56" fmla="*/ 100 w 168"/>
              <a:gd name="T57" fmla="*/ 230 h 236"/>
              <a:gd name="T58" fmla="*/ 106 w 168"/>
              <a:gd name="T59" fmla="*/ 232 h 236"/>
              <a:gd name="T60" fmla="*/ 112 w 168"/>
              <a:gd name="T61" fmla="*/ 232 h 236"/>
              <a:gd name="T62" fmla="*/ 154 w 168"/>
              <a:gd name="T63" fmla="*/ 230 h 236"/>
              <a:gd name="T64" fmla="*/ 150 w 168"/>
              <a:gd name="T65" fmla="*/ 224 h 236"/>
              <a:gd name="T66" fmla="*/ 140 w 168"/>
              <a:gd name="T67" fmla="*/ 210 h 236"/>
              <a:gd name="T68" fmla="*/ 136 w 168"/>
              <a:gd name="T69" fmla="*/ 142 h 236"/>
              <a:gd name="T70" fmla="*/ 166 w 168"/>
              <a:gd name="T71" fmla="*/ 138 h 236"/>
              <a:gd name="T72" fmla="*/ 168 w 168"/>
              <a:gd name="T73" fmla="*/ 122 h 236"/>
              <a:gd name="T74" fmla="*/ 166 w 168"/>
              <a:gd name="T75" fmla="*/ 112 h 236"/>
              <a:gd name="T76" fmla="*/ 150 w 168"/>
              <a:gd name="T77" fmla="*/ 114 h 236"/>
              <a:gd name="T78" fmla="*/ 144 w 168"/>
              <a:gd name="T79" fmla="*/ 112 h 236"/>
              <a:gd name="T80" fmla="*/ 142 w 168"/>
              <a:gd name="T81" fmla="*/ 100 h 236"/>
              <a:gd name="T82" fmla="*/ 142 w 168"/>
              <a:gd name="T83" fmla="*/ 88 h 236"/>
              <a:gd name="T84" fmla="*/ 138 w 168"/>
              <a:gd name="T85" fmla="*/ 80 h 236"/>
              <a:gd name="T86" fmla="*/ 136 w 168"/>
              <a:gd name="T87" fmla="*/ 72 h 236"/>
              <a:gd name="T88" fmla="*/ 136 w 168"/>
              <a:gd name="T89" fmla="*/ 64 h 236"/>
              <a:gd name="T90" fmla="*/ 134 w 168"/>
              <a:gd name="T91" fmla="*/ 54 h 236"/>
              <a:gd name="T92" fmla="*/ 122 w 168"/>
              <a:gd name="T93" fmla="*/ 46 h 236"/>
              <a:gd name="T94" fmla="*/ 114 w 168"/>
              <a:gd name="T95" fmla="*/ 46 h 236"/>
              <a:gd name="T96" fmla="*/ 106 w 168"/>
              <a:gd name="T97" fmla="*/ 46 h 236"/>
              <a:gd name="T98" fmla="*/ 106 w 168"/>
              <a:gd name="T99" fmla="*/ 56 h 236"/>
              <a:gd name="T100" fmla="*/ 100 w 168"/>
              <a:gd name="T101" fmla="*/ 58 h 236"/>
              <a:gd name="T102" fmla="*/ 96 w 168"/>
              <a:gd name="T103" fmla="*/ 62 h 236"/>
              <a:gd name="T104" fmla="*/ 84 w 168"/>
              <a:gd name="T105" fmla="*/ 60 h 236"/>
              <a:gd name="T106" fmla="*/ 80 w 168"/>
              <a:gd name="T107" fmla="*/ 52 h 236"/>
              <a:gd name="T108" fmla="*/ 78 w 168"/>
              <a:gd name="T109" fmla="*/ 38 h 236"/>
              <a:gd name="T110" fmla="*/ 48 w 168"/>
              <a:gd name="T111" fmla="*/ 26 h 236"/>
              <a:gd name="T112" fmla="*/ 26 w 168"/>
              <a:gd name="T113" fmla="*/ 24 h 236"/>
              <a:gd name="T114" fmla="*/ 12 w 168"/>
              <a:gd name="T115" fmla="*/ 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236">
                <a:moveTo>
                  <a:pt x="6" y="16"/>
                </a:moveTo>
                <a:lnTo>
                  <a:pt x="12" y="12"/>
                </a:lnTo>
                <a:lnTo>
                  <a:pt x="12" y="12"/>
                </a:lnTo>
                <a:lnTo>
                  <a:pt x="12" y="12"/>
                </a:lnTo>
                <a:lnTo>
                  <a:pt x="12" y="8"/>
                </a:lnTo>
                <a:lnTo>
                  <a:pt x="12" y="8"/>
                </a:lnTo>
                <a:lnTo>
                  <a:pt x="12" y="6"/>
                </a:lnTo>
                <a:lnTo>
                  <a:pt x="14" y="4"/>
                </a:lnTo>
                <a:lnTo>
                  <a:pt x="16" y="2"/>
                </a:lnTo>
                <a:lnTo>
                  <a:pt x="16" y="2"/>
                </a:lnTo>
                <a:lnTo>
                  <a:pt x="14" y="0"/>
                </a:lnTo>
                <a:lnTo>
                  <a:pt x="12" y="0"/>
                </a:lnTo>
                <a:lnTo>
                  <a:pt x="10" y="0"/>
                </a:lnTo>
                <a:lnTo>
                  <a:pt x="10" y="0"/>
                </a:lnTo>
                <a:lnTo>
                  <a:pt x="8" y="4"/>
                </a:lnTo>
                <a:lnTo>
                  <a:pt x="10" y="4"/>
                </a:lnTo>
                <a:lnTo>
                  <a:pt x="10" y="4"/>
                </a:lnTo>
                <a:lnTo>
                  <a:pt x="6" y="4"/>
                </a:lnTo>
                <a:lnTo>
                  <a:pt x="6" y="4"/>
                </a:lnTo>
                <a:lnTo>
                  <a:pt x="2" y="4"/>
                </a:lnTo>
                <a:lnTo>
                  <a:pt x="2" y="6"/>
                </a:lnTo>
                <a:lnTo>
                  <a:pt x="2" y="6"/>
                </a:lnTo>
                <a:lnTo>
                  <a:pt x="2" y="10"/>
                </a:lnTo>
                <a:lnTo>
                  <a:pt x="2" y="14"/>
                </a:lnTo>
                <a:lnTo>
                  <a:pt x="2" y="14"/>
                </a:lnTo>
                <a:lnTo>
                  <a:pt x="6" y="16"/>
                </a:lnTo>
                <a:lnTo>
                  <a:pt x="6" y="16"/>
                </a:lnTo>
                <a:close/>
                <a:moveTo>
                  <a:pt x="10" y="32"/>
                </a:moveTo>
                <a:lnTo>
                  <a:pt x="10" y="32"/>
                </a:lnTo>
                <a:lnTo>
                  <a:pt x="10" y="38"/>
                </a:lnTo>
                <a:lnTo>
                  <a:pt x="10" y="38"/>
                </a:lnTo>
                <a:lnTo>
                  <a:pt x="14" y="48"/>
                </a:lnTo>
                <a:lnTo>
                  <a:pt x="14" y="48"/>
                </a:lnTo>
                <a:lnTo>
                  <a:pt x="18" y="52"/>
                </a:lnTo>
                <a:lnTo>
                  <a:pt x="18" y="52"/>
                </a:lnTo>
                <a:lnTo>
                  <a:pt x="18" y="56"/>
                </a:lnTo>
                <a:lnTo>
                  <a:pt x="18" y="60"/>
                </a:lnTo>
                <a:lnTo>
                  <a:pt x="18" y="60"/>
                </a:lnTo>
                <a:lnTo>
                  <a:pt x="22" y="64"/>
                </a:lnTo>
                <a:lnTo>
                  <a:pt x="22" y="64"/>
                </a:lnTo>
                <a:lnTo>
                  <a:pt x="22" y="66"/>
                </a:lnTo>
                <a:lnTo>
                  <a:pt x="20" y="70"/>
                </a:lnTo>
                <a:lnTo>
                  <a:pt x="20" y="70"/>
                </a:lnTo>
                <a:lnTo>
                  <a:pt x="24" y="74"/>
                </a:lnTo>
                <a:lnTo>
                  <a:pt x="24" y="74"/>
                </a:lnTo>
                <a:lnTo>
                  <a:pt x="24" y="76"/>
                </a:lnTo>
                <a:lnTo>
                  <a:pt x="22" y="76"/>
                </a:lnTo>
                <a:lnTo>
                  <a:pt x="22" y="76"/>
                </a:lnTo>
                <a:lnTo>
                  <a:pt x="22" y="78"/>
                </a:lnTo>
                <a:lnTo>
                  <a:pt x="22" y="80"/>
                </a:lnTo>
                <a:lnTo>
                  <a:pt x="22" y="80"/>
                </a:lnTo>
                <a:lnTo>
                  <a:pt x="20" y="82"/>
                </a:lnTo>
                <a:lnTo>
                  <a:pt x="20" y="82"/>
                </a:lnTo>
                <a:lnTo>
                  <a:pt x="20" y="92"/>
                </a:lnTo>
                <a:lnTo>
                  <a:pt x="22" y="96"/>
                </a:lnTo>
                <a:lnTo>
                  <a:pt x="22" y="96"/>
                </a:lnTo>
                <a:lnTo>
                  <a:pt x="22" y="100"/>
                </a:lnTo>
                <a:lnTo>
                  <a:pt x="20" y="102"/>
                </a:lnTo>
                <a:lnTo>
                  <a:pt x="20" y="102"/>
                </a:lnTo>
                <a:lnTo>
                  <a:pt x="26" y="110"/>
                </a:lnTo>
                <a:lnTo>
                  <a:pt x="26" y="110"/>
                </a:lnTo>
                <a:lnTo>
                  <a:pt x="28" y="116"/>
                </a:lnTo>
                <a:lnTo>
                  <a:pt x="28" y="124"/>
                </a:lnTo>
                <a:lnTo>
                  <a:pt x="26" y="138"/>
                </a:lnTo>
                <a:lnTo>
                  <a:pt x="26" y="138"/>
                </a:lnTo>
                <a:lnTo>
                  <a:pt x="22" y="144"/>
                </a:lnTo>
                <a:lnTo>
                  <a:pt x="18" y="146"/>
                </a:lnTo>
                <a:lnTo>
                  <a:pt x="18" y="146"/>
                </a:lnTo>
                <a:lnTo>
                  <a:pt x="18" y="150"/>
                </a:lnTo>
                <a:lnTo>
                  <a:pt x="18" y="152"/>
                </a:lnTo>
                <a:lnTo>
                  <a:pt x="18" y="152"/>
                </a:lnTo>
                <a:lnTo>
                  <a:pt x="16" y="156"/>
                </a:lnTo>
                <a:lnTo>
                  <a:pt x="12" y="158"/>
                </a:lnTo>
                <a:lnTo>
                  <a:pt x="12" y="158"/>
                </a:lnTo>
                <a:lnTo>
                  <a:pt x="10" y="164"/>
                </a:lnTo>
                <a:lnTo>
                  <a:pt x="10" y="168"/>
                </a:lnTo>
                <a:lnTo>
                  <a:pt x="10" y="178"/>
                </a:lnTo>
                <a:lnTo>
                  <a:pt x="10" y="178"/>
                </a:lnTo>
                <a:lnTo>
                  <a:pt x="8" y="180"/>
                </a:lnTo>
                <a:lnTo>
                  <a:pt x="8" y="180"/>
                </a:lnTo>
                <a:lnTo>
                  <a:pt x="6" y="182"/>
                </a:lnTo>
                <a:lnTo>
                  <a:pt x="6" y="186"/>
                </a:lnTo>
                <a:lnTo>
                  <a:pt x="6" y="186"/>
                </a:lnTo>
                <a:lnTo>
                  <a:pt x="2" y="192"/>
                </a:lnTo>
                <a:lnTo>
                  <a:pt x="0" y="198"/>
                </a:lnTo>
                <a:lnTo>
                  <a:pt x="0" y="198"/>
                </a:lnTo>
                <a:lnTo>
                  <a:pt x="0" y="204"/>
                </a:lnTo>
                <a:lnTo>
                  <a:pt x="2" y="210"/>
                </a:lnTo>
                <a:lnTo>
                  <a:pt x="2" y="210"/>
                </a:lnTo>
                <a:lnTo>
                  <a:pt x="0" y="212"/>
                </a:lnTo>
                <a:lnTo>
                  <a:pt x="0" y="214"/>
                </a:lnTo>
                <a:lnTo>
                  <a:pt x="0" y="214"/>
                </a:lnTo>
                <a:lnTo>
                  <a:pt x="0" y="220"/>
                </a:lnTo>
                <a:lnTo>
                  <a:pt x="0" y="220"/>
                </a:lnTo>
                <a:lnTo>
                  <a:pt x="4" y="220"/>
                </a:lnTo>
                <a:lnTo>
                  <a:pt x="10" y="220"/>
                </a:lnTo>
                <a:lnTo>
                  <a:pt x="10" y="220"/>
                </a:lnTo>
                <a:lnTo>
                  <a:pt x="12" y="220"/>
                </a:lnTo>
                <a:lnTo>
                  <a:pt x="14" y="218"/>
                </a:lnTo>
                <a:lnTo>
                  <a:pt x="16" y="218"/>
                </a:lnTo>
                <a:lnTo>
                  <a:pt x="18" y="216"/>
                </a:lnTo>
                <a:lnTo>
                  <a:pt x="18" y="216"/>
                </a:lnTo>
                <a:lnTo>
                  <a:pt x="22" y="218"/>
                </a:lnTo>
                <a:lnTo>
                  <a:pt x="26" y="220"/>
                </a:lnTo>
                <a:lnTo>
                  <a:pt x="84" y="222"/>
                </a:lnTo>
                <a:lnTo>
                  <a:pt x="84" y="222"/>
                </a:lnTo>
                <a:lnTo>
                  <a:pt x="86" y="224"/>
                </a:lnTo>
                <a:lnTo>
                  <a:pt x="88" y="226"/>
                </a:lnTo>
                <a:lnTo>
                  <a:pt x="90" y="228"/>
                </a:lnTo>
                <a:lnTo>
                  <a:pt x="90" y="228"/>
                </a:lnTo>
                <a:lnTo>
                  <a:pt x="92" y="228"/>
                </a:lnTo>
                <a:lnTo>
                  <a:pt x="92" y="230"/>
                </a:lnTo>
                <a:lnTo>
                  <a:pt x="94" y="230"/>
                </a:lnTo>
                <a:lnTo>
                  <a:pt x="96" y="230"/>
                </a:lnTo>
                <a:lnTo>
                  <a:pt x="96" y="230"/>
                </a:lnTo>
                <a:lnTo>
                  <a:pt x="100" y="230"/>
                </a:lnTo>
                <a:lnTo>
                  <a:pt x="102" y="232"/>
                </a:lnTo>
                <a:lnTo>
                  <a:pt x="104" y="232"/>
                </a:lnTo>
                <a:lnTo>
                  <a:pt x="106" y="232"/>
                </a:lnTo>
                <a:lnTo>
                  <a:pt x="106" y="232"/>
                </a:lnTo>
                <a:lnTo>
                  <a:pt x="110" y="232"/>
                </a:lnTo>
                <a:lnTo>
                  <a:pt x="110" y="232"/>
                </a:lnTo>
                <a:lnTo>
                  <a:pt x="112" y="232"/>
                </a:lnTo>
                <a:lnTo>
                  <a:pt x="112" y="232"/>
                </a:lnTo>
                <a:lnTo>
                  <a:pt x="118" y="234"/>
                </a:lnTo>
                <a:lnTo>
                  <a:pt x="122" y="236"/>
                </a:lnTo>
                <a:lnTo>
                  <a:pt x="122" y="236"/>
                </a:lnTo>
                <a:lnTo>
                  <a:pt x="154" y="230"/>
                </a:lnTo>
                <a:lnTo>
                  <a:pt x="154" y="230"/>
                </a:lnTo>
                <a:lnTo>
                  <a:pt x="152" y="230"/>
                </a:lnTo>
                <a:lnTo>
                  <a:pt x="150" y="226"/>
                </a:lnTo>
                <a:lnTo>
                  <a:pt x="150" y="224"/>
                </a:lnTo>
                <a:lnTo>
                  <a:pt x="146" y="220"/>
                </a:lnTo>
                <a:lnTo>
                  <a:pt x="146" y="220"/>
                </a:lnTo>
                <a:lnTo>
                  <a:pt x="142" y="214"/>
                </a:lnTo>
                <a:lnTo>
                  <a:pt x="140" y="210"/>
                </a:lnTo>
                <a:lnTo>
                  <a:pt x="140" y="210"/>
                </a:lnTo>
                <a:lnTo>
                  <a:pt x="138" y="204"/>
                </a:lnTo>
                <a:lnTo>
                  <a:pt x="136" y="202"/>
                </a:lnTo>
                <a:lnTo>
                  <a:pt x="136" y="142"/>
                </a:lnTo>
                <a:lnTo>
                  <a:pt x="166" y="142"/>
                </a:lnTo>
                <a:lnTo>
                  <a:pt x="166" y="142"/>
                </a:lnTo>
                <a:lnTo>
                  <a:pt x="166" y="138"/>
                </a:lnTo>
                <a:lnTo>
                  <a:pt x="166" y="138"/>
                </a:lnTo>
                <a:lnTo>
                  <a:pt x="166" y="130"/>
                </a:lnTo>
                <a:lnTo>
                  <a:pt x="166" y="130"/>
                </a:lnTo>
                <a:lnTo>
                  <a:pt x="166" y="126"/>
                </a:lnTo>
                <a:lnTo>
                  <a:pt x="168" y="122"/>
                </a:lnTo>
                <a:lnTo>
                  <a:pt x="168" y="122"/>
                </a:lnTo>
                <a:lnTo>
                  <a:pt x="168" y="116"/>
                </a:lnTo>
                <a:lnTo>
                  <a:pt x="166" y="112"/>
                </a:lnTo>
                <a:lnTo>
                  <a:pt x="166" y="112"/>
                </a:lnTo>
                <a:lnTo>
                  <a:pt x="156" y="112"/>
                </a:lnTo>
                <a:lnTo>
                  <a:pt x="156" y="112"/>
                </a:lnTo>
                <a:lnTo>
                  <a:pt x="154" y="112"/>
                </a:lnTo>
                <a:lnTo>
                  <a:pt x="150" y="114"/>
                </a:lnTo>
                <a:lnTo>
                  <a:pt x="150" y="114"/>
                </a:lnTo>
                <a:lnTo>
                  <a:pt x="148" y="116"/>
                </a:lnTo>
                <a:lnTo>
                  <a:pt x="144" y="112"/>
                </a:lnTo>
                <a:lnTo>
                  <a:pt x="144" y="112"/>
                </a:lnTo>
                <a:lnTo>
                  <a:pt x="142" y="108"/>
                </a:lnTo>
                <a:lnTo>
                  <a:pt x="142" y="104"/>
                </a:lnTo>
                <a:lnTo>
                  <a:pt x="142" y="104"/>
                </a:lnTo>
                <a:lnTo>
                  <a:pt x="142" y="100"/>
                </a:lnTo>
                <a:lnTo>
                  <a:pt x="142" y="96"/>
                </a:lnTo>
                <a:lnTo>
                  <a:pt x="142" y="96"/>
                </a:lnTo>
                <a:lnTo>
                  <a:pt x="144" y="92"/>
                </a:lnTo>
                <a:lnTo>
                  <a:pt x="142" y="88"/>
                </a:lnTo>
                <a:lnTo>
                  <a:pt x="142" y="88"/>
                </a:lnTo>
                <a:lnTo>
                  <a:pt x="140" y="86"/>
                </a:lnTo>
                <a:lnTo>
                  <a:pt x="140" y="84"/>
                </a:lnTo>
                <a:lnTo>
                  <a:pt x="138" y="80"/>
                </a:lnTo>
                <a:lnTo>
                  <a:pt x="138" y="80"/>
                </a:lnTo>
                <a:lnTo>
                  <a:pt x="136" y="76"/>
                </a:lnTo>
                <a:lnTo>
                  <a:pt x="136" y="72"/>
                </a:lnTo>
                <a:lnTo>
                  <a:pt x="136" y="72"/>
                </a:lnTo>
                <a:lnTo>
                  <a:pt x="136" y="66"/>
                </a:lnTo>
                <a:lnTo>
                  <a:pt x="136" y="64"/>
                </a:lnTo>
                <a:lnTo>
                  <a:pt x="136" y="64"/>
                </a:lnTo>
                <a:lnTo>
                  <a:pt x="136" y="64"/>
                </a:lnTo>
                <a:lnTo>
                  <a:pt x="134" y="62"/>
                </a:lnTo>
                <a:lnTo>
                  <a:pt x="134" y="60"/>
                </a:lnTo>
                <a:lnTo>
                  <a:pt x="134" y="54"/>
                </a:lnTo>
                <a:lnTo>
                  <a:pt x="134" y="54"/>
                </a:lnTo>
                <a:lnTo>
                  <a:pt x="132" y="50"/>
                </a:lnTo>
                <a:lnTo>
                  <a:pt x="128" y="50"/>
                </a:lnTo>
                <a:lnTo>
                  <a:pt x="122" y="50"/>
                </a:lnTo>
                <a:lnTo>
                  <a:pt x="122" y="46"/>
                </a:lnTo>
                <a:lnTo>
                  <a:pt x="122" y="46"/>
                </a:lnTo>
                <a:lnTo>
                  <a:pt x="122" y="46"/>
                </a:lnTo>
                <a:lnTo>
                  <a:pt x="120" y="46"/>
                </a:lnTo>
                <a:lnTo>
                  <a:pt x="114" y="46"/>
                </a:lnTo>
                <a:lnTo>
                  <a:pt x="114" y="46"/>
                </a:lnTo>
                <a:lnTo>
                  <a:pt x="108" y="44"/>
                </a:lnTo>
                <a:lnTo>
                  <a:pt x="106" y="46"/>
                </a:lnTo>
                <a:lnTo>
                  <a:pt x="106" y="46"/>
                </a:lnTo>
                <a:lnTo>
                  <a:pt x="104" y="48"/>
                </a:lnTo>
                <a:lnTo>
                  <a:pt x="104" y="52"/>
                </a:lnTo>
                <a:lnTo>
                  <a:pt x="106" y="56"/>
                </a:lnTo>
                <a:lnTo>
                  <a:pt x="106" y="56"/>
                </a:lnTo>
                <a:lnTo>
                  <a:pt x="106" y="58"/>
                </a:lnTo>
                <a:lnTo>
                  <a:pt x="104" y="60"/>
                </a:lnTo>
                <a:lnTo>
                  <a:pt x="102" y="60"/>
                </a:lnTo>
                <a:lnTo>
                  <a:pt x="100" y="58"/>
                </a:lnTo>
                <a:lnTo>
                  <a:pt x="100" y="58"/>
                </a:lnTo>
                <a:lnTo>
                  <a:pt x="100" y="58"/>
                </a:lnTo>
                <a:lnTo>
                  <a:pt x="98" y="60"/>
                </a:lnTo>
                <a:lnTo>
                  <a:pt x="96" y="62"/>
                </a:lnTo>
                <a:lnTo>
                  <a:pt x="94" y="62"/>
                </a:lnTo>
                <a:lnTo>
                  <a:pt x="94" y="62"/>
                </a:lnTo>
                <a:lnTo>
                  <a:pt x="88" y="62"/>
                </a:lnTo>
                <a:lnTo>
                  <a:pt x="84" y="60"/>
                </a:lnTo>
                <a:lnTo>
                  <a:pt x="84" y="60"/>
                </a:lnTo>
                <a:lnTo>
                  <a:pt x="82" y="58"/>
                </a:lnTo>
                <a:lnTo>
                  <a:pt x="80" y="52"/>
                </a:lnTo>
                <a:lnTo>
                  <a:pt x="80" y="52"/>
                </a:lnTo>
                <a:lnTo>
                  <a:pt x="80" y="46"/>
                </a:lnTo>
                <a:lnTo>
                  <a:pt x="78" y="42"/>
                </a:lnTo>
                <a:lnTo>
                  <a:pt x="78" y="42"/>
                </a:lnTo>
                <a:lnTo>
                  <a:pt x="78" y="38"/>
                </a:lnTo>
                <a:lnTo>
                  <a:pt x="78" y="34"/>
                </a:lnTo>
                <a:lnTo>
                  <a:pt x="78" y="34"/>
                </a:lnTo>
                <a:lnTo>
                  <a:pt x="76" y="24"/>
                </a:lnTo>
                <a:lnTo>
                  <a:pt x="48" y="26"/>
                </a:lnTo>
                <a:lnTo>
                  <a:pt x="48" y="26"/>
                </a:lnTo>
                <a:lnTo>
                  <a:pt x="32" y="24"/>
                </a:lnTo>
                <a:lnTo>
                  <a:pt x="32" y="24"/>
                </a:lnTo>
                <a:lnTo>
                  <a:pt x="26" y="24"/>
                </a:lnTo>
                <a:lnTo>
                  <a:pt x="22" y="26"/>
                </a:lnTo>
                <a:lnTo>
                  <a:pt x="18" y="28"/>
                </a:lnTo>
                <a:lnTo>
                  <a:pt x="18" y="28"/>
                </a:lnTo>
                <a:lnTo>
                  <a:pt x="12" y="32"/>
                </a:lnTo>
                <a:lnTo>
                  <a:pt x="10" y="32"/>
                </a:lnTo>
                <a:lnTo>
                  <a:pt x="10"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8" name="Freeform 264">
            <a:extLst>
              <a:ext uri="{FF2B5EF4-FFF2-40B4-BE49-F238E27FC236}">
                <a16:creationId xmlns:a16="http://schemas.microsoft.com/office/drawing/2014/main" id="{3D156F75-F8F9-48DB-9224-A775F7997550}"/>
              </a:ext>
            </a:extLst>
          </p:cNvPr>
          <p:cNvSpPr>
            <a:spLocks/>
          </p:cNvSpPr>
          <p:nvPr userDrawn="1"/>
        </p:nvSpPr>
        <p:spPr bwMode="auto">
          <a:xfrm>
            <a:off x="5889358" y="2424545"/>
            <a:ext cx="9287" cy="6864"/>
          </a:xfrm>
          <a:custGeom>
            <a:avLst/>
            <a:gdLst>
              <a:gd name="T0" fmla="*/ 6 w 6"/>
              <a:gd name="T1" fmla="*/ 2 h 4"/>
              <a:gd name="T2" fmla="*/ 2 w 6"/>
              <a:gd name="T3" fmla="*/ 4 h 4"/>
              <a:gd name="T4" fmla="*/ 0 w 6"/>
              <a:gd name="T5" fmla="*/ 0 h 4"/>
              <a:gd name="T6" fmla="*/ 0 w 6"/>
              <a:gd name="T7" fmla="*/ 0 h 4"/>
              <a:gd name="T8" fmla="*/ 2 w 6"/>
              <a:gd name="T9" fmla="*/ 0 h 4"/>
              <a:gd name="T10" fmla="*/ 4 w 6"/>
              <a:gd name="T11" fmla="*/ 0 h 4"/>
              <a:gd name="T12" fmla="*/ 4 w 6"/>
              <a:gd name="T13" fmla="*/ 0 h 4"/>
              <a:gd name="T14" fmla="*/ 6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6" y="2"/>
                </a:moveTo>
                <a:lnTo>
                  <a:pt x="2" y="4"/>
                </a:lnTo>
                <a:lnTo>
                  <a:pt x="0" y="0"/>
                </a:lnTo>
                <a:lnTo>
                  <a:pt x="0" y="0"/>
                </a:lnTo>
                <a:lnTo>
                  <a:pt x="2" y="0"/>
                </a:lnTo>
                <a:lnTo>
                  <a:pt x="4" y="0"/>
                </a:lnTo>
                <a:lnTo>
                  <a:pt x="4" y="0"/>
                </a:lnTo>
                <a:lnTo>
                  <a:pt x="6" y="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9" name="Freeform 265">
            <a:extLst>
              <a:ext uri="{FF2B5EF4-FFF2-40B4-BE49-F238E27FC236}">
                <a16:creationId xmlns:a16="http://schemas.microsoft.com/office/drawing/2014/main" id="{85634480-5DF9-455E-8E87-C55703CE1516}"/>
              </a:ext>
            </a:extLst>
          </p:cNvPr>
          <p:cNvSpPr>
            <a:spLocks/>
          </p:cNvSpPr>
          <p:nvPr userDrawn="1"/>
        </p:nvSpPr>
        <p:spPr bwMode="auto">
          <a:xfrm>
            <a:off x="5671105" y="2596144"/>
            <a:ext cx="441148" cy="535388"/>
          </a:xfrm>
          <a:custGeom>
            <a:avLst/>
            <a:gdLst>
              <a:gd name="T0" fmla="*/ 162 w 263"/>
              <a:gd name="T1" fmla="*/ 310 h 312"/>
              <a:gd name="T2" fmla="*/ 150 w 263"/>
              <a:gd name="T3" fmla="*/ 312 h 312"/>
              <a:gd name="T4" fmla="*/ 148 w 263"/>
              <a:gd name="T5" fmla="*/ 304 h 312"/>
              <a:gd name="T6" fmla="*/ 148 w 263"/>
              <a:gd name="T7" fmla="*/ 294 h 312"/>
              <a:gd name="T8" fmla="*/ 140 w 263"/>
              <a:gd name="T9" fmla="*/ 288 h 312"/>
              <a:gd name="T10" fmla="*/ 130 w 263"/>
              <a:gd name="T11" fmla="*/ 278 h 312"/>
              <a:gd name="T12" fmla="*/ 0 w 263"/>
              <a:gd name="T13" fmla="*/ 154 h 312"/>
              <a:gd name="T14" fmla="*/ 4 w 263"/>
              <a:gd name="T15" fmla="*/ 150 h 312"/>
              <a:gd name="T16" fmla="*/ 20 w 263"/>
              <a:gd name="T17" fmla="*/ 138 h 312"/>
              <a:gd name="T18" fmla="*/ 34 w 263"/>
              <a:gd name="T19" fmla="*/ 132 h 312"/>
              <a:gd name="T20" fmla="*/ 42 w 263"/>
              <a:gd name="T21" fmla="*/ 128 h 312"/>
              <a:gd name="T22" fmla="*/ 56 w 263"/>
              <a:gd name="T23" fmla="*/ 120 h 312"/>
              <a:gd name="T24" fmla="*/ 64 w 263"/>
              <a:gd name="T25" fmla="*/ 108 h 312"/>
              <a:gd name="T26" fmla="*/ 74 w 263"/>
              <a:gd name="T27" fmla="*/ 96 h 312"/>
              <a:gd name="T28" fmla="*/ 78 w 263"/>
              <a:gd name="T29" fmla="*/ 90 h 312"/>
              <a:gd name="T30" fmla="*/ 84 w 263"/>
              <a:gd name="T31" fmla="*/ 84 h 312"/>
              <a:gd name="T32" fmla="*/ 90 w 263"/>
              <a:gd name="T33" fmla="*/ 76 h 312"/>
              <a:gd name="T34" fmla="*/ 86 w 263"/>
              <a:gd name="T35" fmla="*/ 62 h 312"/>
              <a:gd name="T36" fmla="*/ 82 w 263"/>
              <a:gd name="T37" fmla="*/ 58 h 312"/>
              <a:gd name="T38" fmla="*/ 82 w 263"/>
              <a:gd name="T39" fmla="*/ 44 h 312"/>
              <a:gd name="T40" fmla="*/ 78 w 263"/>
              <a:gd name="T41" fmla="*/ 34 h 312"/>
              <a:gd name="T42" fmla="*/ 88 w 263"/>
              <a:gd name="T43" fmla="*/ 32 h 312"/>
              <a:gd name="T44" fmla="*/ 94 w 263"/>
              <a:gd name="T45" fmla="*/ 24 h 312"/>
              <a:gd name="T46" fmla="*/ 108 w 263"/>
              <a:gd name="T47" fmla="*/ 20 h 312"/>
              <a:gd name="T48" fmla="*/ 114 w 263"/>
              <a:gd name="T49" fmla="*/ 14 h 312"/>
              <a:gd name="T50" fmla="*/ 124 w 263"/>
              <a:gd name="T51" fmla="*/ 10 h 312"/>
              <a:gd name="T52" fmla="*/ 132 w 263"/>
              <a:gd name="T53" fmla="*/ 8 h 312"/>
              <a:gd name="T54" fmla="*/ 146 w 263"/>
              <a:gd name="T55" fmla="*/ 6 h 312"/>
              <a:gd name="T56" fmla="*/ 162 w 263"/>
              <a:gd name="T57" fmla="*/ 2 h 312"/>
              <a:gd name="T58" fmla="*/ 178 w 263"/>
              <a:gd name="T59" fmla="*/ 2 h 312"/>
              <a:gd name="T60" fmla="*/ 184 w 263"/>
              <a:gd name="T61" fmla="*/ 2 h 312"/>
              <a:gd name="T62" fmla="*/ 192 w 263"/>
              <a:gd name="T63" fmla="*/ 2 h 312"/>
              <a:gd name="T64" fmla="*/ 202 w 263"/>
              <a:gd name="T65" fmla="*/ 2 h 312"/>
              <a:gd name="T66" fmla="*/ 208 w 263"/>
              <a:gd name="T67" fmla="*/ 0 h 312"/>
              <a:gd name="T68" fmla="*/ 214 w 263"/>
              <a:gd name="T69" fmla="*/ 8 h 312"/>
              <a:gd name="T70" fmla="*/ 218 w 263"/>
              <a:gd name="T71" fmla="*/ 18 h 312"/>
              <a:gd name="T72" fmla="*/ 220 w 263"/>
              <a:gd name="T73" fmla="*/ 36 h 312"/>
              <a:gd name="T74" fmla="*/ 218 w 263"/>
              <a:gd name="T75" fmla="*/ 42 h 312"/>
              <a:gd name="T76" fmla="*/ 210 w 263"/>
              <a:gd name="T77" fmla="*/ 52 h 312"/>
              <a:gd name="T78" fmla="*/ 206 w 263"/>
              <a:gd name="T79" fmla="*/ 56 h 312"/>
              <a:gd name="T80" fmla="*/ 212 w 263"/>
              <a:gd name="T81" fmla="*/ 70 h 312"/>
              <a:gd name="T82" fmla="*/ 224 w 263"/>
              <a:gd name="T83" fmla="*/ 86 h 312"/>
              <a:gd name="T84" fmla="*/ 226 w 263"/>
              <a:gd name="T85" fmla="*/ 118 h 312"/>
              <a:gd name="T86" fmla="*/ 228 w 263"/>
              <a:gd name="T87" fmla="*/ 152 h 312"/>
              <a:gd name="T88" fmla="*/ 228 w 263"/>
              <a:gd name="T89" fmla="*/ 162 h 312"/>
              <a:gd name="T90" fmla="*/ 230 w 263"/>
              <a:gd name="T91" fmla="*/ 164 h 312"/>
              <a:gd name="T92" fmla="*/ 228 w 263"/>
              <a:gd name="T93" fmla="*/ 184 h 312"/>
              <a:gd name="T94" fmla="*/ 220 w 263"/>
              <a:gd name="T95" fmla="*/ 192 h 312"/>
              <a:gd name="T96" fmla="*/ 226 w 263"/>
              <a:gd name="T97" fmla="*/ 202 h 312"/>
              <a:gd name="T98" fmla="*/ 232 w 263"/>
              <a:gd name="T99" fmla="*/ 216 h 312"/>
              <a:gd name="T100" fmla="*/ 238 w 263"/>
              <a:gd name="T101" fmla="*/ 224 h 312"/>
              <a:gd name="T102" fmla="*/ 250 w 263"/>
              <a:gd name="T103" fmla="*/ 230 h 312"/>
              <a:gd name="T104" fmla="*/ 257 w 263"/>
              <a:gd name="T105" fmla="*/ 23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3" h="312">
                <a:moveTo>
                  <a:pt x="263" y="238"/>
                </a:moveTo>
                <a:lnTo>
                  <a:pt x="190" y="292"/>
                </a:lnTo>
                <a:lnTo>
                  <a:pt x="182" y="306"/>
                </a:lnTo>
                <a:lnTo>
                  <a:pt x="162" y="310"/>
                </a:lnTo>
                <a:lnTo>
                  <a:pt x="162" y="310"/>
                </a:lnTo>
                <a:lnTo>
                  <a:pt x="156" y="312"/>
                </a:lnTo>
                <a:lnTo>
                  <a:pt x="150" y="312"/>
                </a:lnTo>
                <a:lnTo>
                  <a:pt x="150" y="312"/>
                </a:lnTo>
                <a:lnTo>
                  <a:pt x="150" y="312"/>
                </a:lnTo>
                <a:lnTo>
                  <a:pt x="150" y="310"/>
                </a:lnTo>
                <a:lnTo>
                  <a:pt x="148" y="304"/>
                </a:lnTo>
                <a:lnTo>
                  <a:pt x="148" y="304"/>
                </a:lnTo>
                <a:lnTo>
                  <a:pt x="148" y="302"/>
                </a:lnTo>
                <a:lnTo>
                  <a:pt x="148" y="298"/>
                </a:lnTo>
                <a:lnTo>
                  <a:pt x="148" y="298"/>
                </a:lnTo>
                <a:lnTo>
                  <a:pt x="148" y="294"/>
                </a:lnTo>
                <a:lnTo>
                  <a:pt x="148" y="292"/>
                </a:lnTo>
                <a:lnTo>
                  <a:pt x="144" y="290"/>
                </a:lnTo>
                <a:lnTo>
                  <a:pt x="144" y="290"/>
                </a:lnTo>
                <a:lnTo>
                  <a:pt x="140" y="288"/>
                </a:lnTo>
                <a:lnTo>
                  <a:pt x="134" y="284"/>
                </a:lnTo>
                <a:lnTo>
                  <a:pt x="134" y="284"/>
                </a:lnTo>
                <a:lnTo>
                  <a:pt x="130" y="280"/>
                </a:lnTo>
                <a:lnTo>
                  <a:pt x="130" y="278"/>
                </a:lnTo>
                <a:lnTo>
                  <a:pt x="46" y="214"/>
                </a:lnTo>
                <a:lnTo>
                  <a:pt x="0" y="180"/>
                </a:lnTo>
                <a:lnTo>
                  <a:pt x="0" y="168"/>
                </a:lnTo>
                <a:lnTo>
                  <a:pt x="0" y="154"/>
                </a:lnTo>
                <a:lnTo>
                  <a:pt x="0" y="154"/>
                </a:lnTo>
                <a:lnTo>
                  <a:pt x="0" y="154"/>
                </a:lnTo>
                <a:lnTo>
                  <a:pt x="4" y="150"/>
                </a:lnTo>
                <a:lnTo>
                  <a:pt x="4" y="150"/>
                </a:lnTo>
                <a:lnTo>
                  <a:pt x="10" y="142"/>
                </a:lnTo>
                <a:lnTo>
                  <a:pt x="10" y="142"/>
                </a:lnTo>
                <a:lnTo>
                  <a:pt x="14" y="140"/>
                </a:lnTo>
                <a:lnTo>
                  <a:pt x="20" y="138"/>
                </a:lnTo>
                <a:lnTo>
                  <a:pt x="20" y="138"/>
                </a:lnTo>
                <a:lnTo>
                  <a:pt x="28" y="136"/>
                </a:lnTo>
                <a:lnTo>
                  <a:pt x="32" y="134"/>
                </a:lnTo>
                <a:lnTo>
                  <a:pt x="34" y="132"/>
                </a:lnTo>
                <a:lnTo>
                  <a:pt x="34" y="132"/>
                </a:lnTo>
                <a:lnTo>
                  <a:pt x="38" y="128"/>
                </a:lnTo>
                <a:lnTo>
                  <a:pt x="42" y="128"/>
                </a:lnTo>
                <a:lnTo>
                  <a:pt x="42" y="128"/>
                </a:lnTo>
                <a:lnTo>
                  <a:pt x="48" y="126"/>
                </a:lnTo>
                <a:lnTo>
                  <a:pt x="52" y="124"/>
                </a:lnTo>
                <a:lnTo>
                  <a:pt x="52" y="124"/>
                </a:lnTo>
                <a:lnTo>
                  <a:pt x="56" y="120"/>
                </a:lnTo>
                <a:lnTo>
                  <a:pt x="58" y="114"/>
                </a:lnTo>
                <a:lnTo>
                  <a:pt x="62" y="108"/>
                </a:lnTo>
                <a:lnTo>
                  <a:pt x="62" y="108"/>
                </a:lnTo>
                <a:lnTo>
                  <a:pt x="64" y="108"/>
                </a:lnTo>
                <a:lnTo>
                  <a:pt x="70" y="104"/>
                </a:lnTo>
                <a:lnTo>
                  <a:pt x="70" y="104"/>
                </a:lnTo>
                <a:lnTo>
                  <a:pt x="74" y="100"/>
                </a:lnTo>
                <a:lnTo>
                  <a:pt x="74" y="96"/>
                </a:lnTo>
                <a:lnTo>
                  <a:pt x="74" y="96"/>
                </a:lnTo>
                <a:lnTo>
                  <a:pt x="74" y="94"/>
                </a:lnTo>
                <a:lnTo>
                  <a:pt x="76" y="92"/>
                </a:lnTo>
                <a:lnTo>
                  <a:pt x="78" y="90"/>
                </a:lnTo>
                <a:lnTo>
                  <a:pt x="80" y="88"/>
                </a:lnTo>
                <a:lnTo>
                  <a:pt x="80" y="88"/>
                </a:lnTo>
                <a:lnTo>
                  <a:pt x="82" y="86"/>
                </a:lnTo>
                <a:lnTo>
                  <a:pt x="84" y="84"/>
                </a:lnTo>
                <a:lnTo>
                  <a:pt x="90" y="80"/>
                </a:lnTo>
                <a:lnTo>
                  <a:pt x="90" y="80"/>
                </a:lnTo>
                <a:lnTo>
                  <a:pt x="92" y="78"/>
                </a:lnTo>
                <a:lnTo>
                  <a:pt x="90" y="76"/>
                </a:lnTo>
                <a:lnTo>
                  <a:pt x="88" y="72"/>
                </a:lnTo>
                <a:lnTo>
                  <a:pt x="88" y="72"/>
                </a:lnTo>
                <a:lnTo>
                  <a:pt x="86" y="68"/>
                </a:lnTo>
                <a:lnTo>
                  <a:pt x="86" y="62"/>
                </a:lnTo>
                <a:lnTo>
                  <a:pt x="86" y="62"/>
                </a:lnTo>
                <a:lnTo>
                  <a:pt x="84" y="60"/>
                </a:lnTo>
                <a:lnTo>
                  <a:pt x="82" y="58"/>
                </a:lnTo>
                <a:lnTo>
                  <a:pt x="82" y="58"/>
                </a:lnTo>
                <a:lnTo>
                  <a:pt x="80" y="54"/>
                </a:lnTo>
                <a:lnTo>
                  <a:pt x="80" y="54"/>
                </a:lnTo>
                <a:lnTo>
                  <a:pt x="82" y="48"/>
                </a:lnTo>
                <a:lnTo>
                  <a:pt x="82" y="44"/>
                </a:lnTo>
                <a:lnTo>
                  <a:pt x="82" y="44"/>
                </a:lnTo>
                <a:lnTo>
                  <a:pt x="82" y="40"/>
                </a:lnTo>
                <a:lnTo>
                  <a:pt x="80" y="38"/>
                </a:lnTo>
                <a:lnTo>
                  <a:pt x="78" y="34"/>
                </a:lnTo>
                <a:lnTo>
                  <a:pt x="78" y="34"/>
                </a:lnTo>
                <a:lnTo>
                  <a:pt x="82" y="32"/>
                </a:lnTo>
                <a:lnTo>
                  <a:pt x="82" y="32"/>
                </a:lnTo>
                <a:lnTo>
                  <a:pt x="88" y="32"/>
                </a:lnTo>
                <a:lnTo>
                  <a:pt x="88" y="32"/>
                </a:lnTo>
                <a:lnTo>
                  <a:pt x="90" y="30"/>
                </a:lnTo>
                <a:lnTo>
                  <a:pt x="92" y="26"/>
                </a:lnTo>
                <a:lnTo>
                  <a:pt x="94" y="24"/>
                </a:lnTo>
                <a:lnTo>
                  <a:pt x="98" y="20"/>
                </a:lnTo>
                <a:lnTo>
                  <a:pt x="98" y="20"/>
                </a:lnTo>
                <a:lnTo>
                  <a:pt x="104" y="20"/>
                </a:lnTo>
                <a:lnTo>
                  <a:pt x="108" y="20"/>
                </a:lnTo>
                <a:lnTo>
                  <a:pt x="108" y="20"/>
                </a:lnTo>
                <a:lnTo>
                  <a:pt x="112" y="16"/>
                </a:lnTo>
                <a:lnTo>
                  <a:pt x="114" y="14"/>
                </a:lnTo>
                <a:lnTo>
                  <a:pt x="114" y="14"/>
                </a:lnTo>
                <a:lnTo>
                  <a:pt x="118" y="14"/>
                </a:lnTo>
                <a:lnTo>
                  <a:pt x="122" y="14"/>
                </a:lnTo>
                <a:lnTo>
                  <a:pt x="122" y="14"/>
                </a:lnTo>
                <a:lnTo>
                  <a:pt x="124" y="10"/>
                </a:lnTo>
                <a:lnTo>
                  <a:pt x="124" y="10"/>
                </a:lnTo>
                <a:lnTo>
                  <a:pt x="128" y="10"/>
                </a:lnTo>
                <a:lnTo>
                  <a:pt x="132" y="8"/>
                </a:lnTo>
                <a:lnTo>
                  <a:pt x="132" y="8"/>
                </a:lnTo>
                <a:lnTo>
                  <a:pt x="134" y="4"/>
                </a:lnTo>
                <a:lnTo>
                  <a:pt x="134" y="4"/>
                </a:lnTo>
                <a:lnTo>
                  <a:pt x="140" y="6"/>
                </a:lnTo>
                <a:lnTo>
                  <a:pt x="146" y="6"/>
                </a:lnTo>
                <a:lnTo>
                  <a:pt x="146" y="6"/>
                </a:lnTo>
                <a:lnTo>
                  <a:pt x="150" y="6"/>
                </a:lnTo>
                <a:lnTo>
                  <a:pt x="154" y="4"/>
                </a:lnTo>
                <a:lnTo>
                  <a:pt x="162" y="2"/>
                </a:lnTo>
                <a:lnTo>
                  <a:pt x="162" y="2"/>
                </a:lnTo>
                <a:lnTo>
                  <a:pt x="170" y="2"/>
                </a:lnTo>
                <a:lnTo>
                  <a:pt x="178" y="2"/>
                </a:lnTo>
                <a:lnTo>
                  <a:pt x="178" y="2"/>
                </a:lnTo>
                <a:lnTo>
                  <a:pt x="178" y="4"/>
                </a:lnTo>
                <a:lnTo>
                  <a:pt x="178" y="4"/>
                </a:lnTo>
                <a:lnTo>
                  <a:pt x="182" y="4"/>
                </a:lnTo>
                <a:lnTo>
                  <a:pt x="184" y="2"/>
                </a:lnTo>
                <a:lnTo>
                  <a:pt x="184" y="2"/>
                </a:lnTo>
                <a:lnTo>
                  <a:pt x="188" y="4"/>
                </a:lnTo>
                <a:lnTo>
                  <a:pt x="192" y="4"/>
                </a:lnTo>
                <a:lnTo>
                  <a:pt x="192" y="2"/>
                </a:lnTo>
                <a:lnTo>
                  <a:pt x="192" y="2"/>
                </a:lnTo>
                <a:lnTo>
                  <a:pt x="198" y="0"/>
                </a:lnTo>
                <a:lnTo>
                  <a:pt x="198" y="0"/>
                </a:lnTo>
                <a:lnTo>
                  <a:pt x="202" y="2"/>
                </a:lnTo>
                <a:lnTo>
                  <a:pt x="204" y="6"/>
                </a:lnTo>
                <a:lnTo>
                  <a:pt x="206" y="6"/>
                </a:lnTo>
                <a:lnTo>
                  <a:pt x="206" y="6"/>
                </a:lnTo>
                <a:lnTo>
                  <a:pt x="208" y="0"/>
                </a:lnTo>
                <a:lnTo>
                  <a:pt x="208" y="0"/>
                </a:lnTo>
                <a:lnTo>
                  <a:pt x="214" y="2"/>
                </a:lnTo>
                <a:lnTo>
                  <a:pt x="214" y="2"/>
                </a:lnTo>
                <a:lnTo>
                  <a:pt x="214" y="8"/>
                </a:lnTo>
                <a:lnTo>
                  <a:pt x="214" y="12"/>
                </a:lnTo>
                <a:lnTo>
                  <a:pt x="216" y="14"/>
                </a:lnTo>
                <a:lnTo>
                  <a:pt x="216" y="14"/>
                </a:lnTo>
                <a:lnTo>
                  <a:pt x="218" y="18"/>
                </a:lnTo>
                <a:lnTo>
                  <a:pt x="218" y="22"/>
                </a:lnTo>
                <a:lnTo>
                  <a:pt x="218" y="22"/>
                </a:lnTo>
                <a:lnTo>
                  <a:pt x="218" y="28"/>
                </a:lnTo>
                <a:lnTo>
                  <a:pt x="220" y="36"/>
                </a:lnTo>
                <a:lnTo>
                  <a:pt x="220" y="36"/>
                </a:lnTo>
                <a:lnTo>
                  <a:pt x="220" y="38"/>
                </a:lnTo>
                <a:lnTo>
                  <a:pt x="218" y="40"/>
                </a:lnTo>
                <a:lnTo>
                  <a:pt x="218" y="42"/>
                </a:lnTo>
                <a:lnTo>
                  <a:pt x="216" y="42"/>
                </a:lnTo>
                <a:lnTo>
                  <a:pt x="216" y="42"/>
                </a:lnTo>
                <a:lnTo>
                  <a:pt x="214" y="48"/>
                </a:lnTo>
                <a:lnTo>
                  <a:pt x="210" y="52"/>
                </a:lnTo>
                <a:lnTo>
                  <a:pt x="210" y="52"/>
                </a:lnTo>
                <a:lnTo>
                  <a:pt x="206" y="52"/>
                </a:lnTo>
                <a:lnTo>
                  <a:pt x="206" y="56"/>
                </a:lnTo>
                <a:lnTo>
                  <a:pt x="206" y="56"/>
                </a:lnTo>
                <a:lnTo>
                  <a:pt x="208" y="70"/>
                </a:lnTo>
                <a:lnTo>
                  <a:pt x="208" y="70"/>
                </a:lnTo>
                <a:lnTo>
                  <a:pt x="210" y="70"/>
                </a:lnTo>
                <a:lnTo>
                  <a:pt x="212" y="70"/>
                </a:lnTo>
                <a:lnTo>
                  <a:pt x="214" y="72"/>
                </a:lnTo>
                <a:lnTo>
                  <a:pt x="214" y="72"/>
                </a:lnTo>
                <a:lnTo>
                  <a:pt x="216" y="84"/>
                </a:lnTo>
                <a:lnTo>
                  <a:pt x="224" y="86"/>
                </a:lnTo>
                <a:lnTo>
                  <a:pt x="228" y="116"/>
                </a:lnTo>
                <a:lnTo>
                  <a:pt x="228" y="116"/>
                </a:lnTo>
                <a:lnTo>
                  <a:pt x="226" y="118"/>
                </a:lnTo>
                <a:lnTo>
                  <a:pt x="226" y="118"/>
                </a:lnTo>
                <a:lnTo>
                  <a:pt x="226" y="120"/>
                </a:lnTo>
                <a:lnTo>
                  <a:pt x="228" y="122"/>
                </a:lnTo>
                <a:lnTo>
                  <a:pt x="228" y="124"/>
                </a:lnTo>
                <a:lnTo>
                  <a:pt x="228" y="152"/>
                </a:lnTo>
                <a:lnTo>
                  <a:pt x="232" y="158"/>
                </a:lnTo>
                <a:lnTo>
                  <a:pt x="232" y="158"/>
                </a:lnTo>
                <a:lnTo>
                  <a:pt x="230" y="160"/>
                </a:lnTo>
                <a:lnTo>
                  <a:pt x="228" y="162"/>
                </a:lnTo>
                <a:lnTo>
                  <a:pt x="228" y="162"/>
                </a:lnTo>
                <a:lnTo>
                  <a:pt x="228" y="162"/>
                </a:lnTo>
                <a:lnTo>
                  <a:pt x="228" y="164"/>
                </a:lnTo>
                <a:lnTo>
                  <a:pt x="230" y="164"/>
                </a:lnTo>
                <a:lnTo>
                  <a:pt x="228" y="168"/>
                </a:lnTo>
                <a:lnTo>
                  <a:pt x="228" y="168"/>
                </a:lnTo>
                <a:lnTo>
                  <a:pt x="230" y="174"/>
                </a:lnTo>
                <a:lnTo>
                  <a:pt x="228" y="184"/>
                </a:lnTo>
                <a:lnTo>
                  <a:pt x="228" y="184"/>
                </a:lnTo>
                <a:lnTo>
                  <a:pt x="226" y="188"/>
                </a:lnTo>
                <a:lnTo>
                  <a:pt x="224" y="190"/>
                </a:lnTo>
                <a:lnTo>
                  <a:pt x="220" y="192"/>
                </a:lnTo>
                <a:lnTo>
                  <a:pt x="220" y="192"/>
                </a:lnTo>
                <a:lnTo>
                  <a:pt x="224" y="198"/>
                </a:lnTo>
                <a:lnTo>
                  <a:pt x="224" y="198"/>
                </a:lnTo>
                <a:lnTo>
                  <a:pt x="226" y="202"/>
                </a:lnTo>
                <a:lnTo>
                  <a:pt x="230" y="208"/>
                </a:lnTo>
                <a:lnTo>
                  <a:pt x="230" y="208"/>
                </a:lnTo>
                <a:lnTo>
                  <a:pt x="232" y="212"/>
                </a:lnTo>
                <a:lnTo>
                  <a:pt x="232" y="216"/>
                </a:lnTo>
                <a:lnTo>
                  <a:pt x="232" y="216"/>
                </a:lnTo>
                <a:lnTo>
                  <a:pt x="234" y="222"/>
                </a:lnTo>
                <a:lnTo>
                  <a:pt x="236" y="224"/>
                </a:lnTo>
                <a:lnTo>
                  <a:pt x="238" y="224"/>
                </a:lnTo>
                <a:lnTo>
                  <a:pt x="238" y="224"/>
                </a:lnTo>
                <a:lnTo>
                  <a:pt x="248" y="226"/>
                </a:lnTo>
                <a:lnTo>
                  <a:pt x="248" y="226"/>
                </a:lnTo>
                <a:lnTo>
                  <a:pt x="250" y="230"/>
                </a:lnTo>
                <a:lnTo>
                  <a:pt x="252" y="232"/>
                </a:lnTo>
                <a:lnTo>
                  <a:pt x="255" y="232"/>
                </a:lnTo>
                <a:lnTo>
                  <a:pt x="255" y="232"/>
                </a:lnTo>
                <a:lnTo>
                  <a:pt x="257" y="232"/>
                </a:lnTo>
                <a:lnTo>
                  <a:pt x="259" y="234"/>
                </a:lnTo>
                <a:lnTo>
                  <a:pt x="263" y="238"/>
                </a:lnTo>
                <a:lnTo>
                  <a:pt x="263" y="2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0" name="Freeform 266">
            <a:extLst>
              <a:ext uri="{FF2B5EF4-FFF2-40B4-BE49-F238E27FC236}">
                <a16:creationId xmlns:a16="http://schemas.microsoft.com/office/drawing/2014/main" id="{6CD7777E-66D5-4378-A953-C824A6A42753}"/>
              </a:ext>
            </a:extLst>
          </p:cNvPr>
          <p:cNvSpPr>
            <a:spLocks/>
          </p:cNvSpPr>
          <p:nvPr userDrawn="1"/>
        </p:nvSpPr>
        <p:spPr bwMode="auto">
          <a:xfrm>
            <a:off x="6285617" y="2424545"/>
            <a:ext cx="44889" cy="89231"/>
          </a:xfrm>
          <a:custGeom>
            <a:avLst/>
            <a:gdLst>
              <a:gd name="T0" fmla="*/ 0 w 26"/>
              <a:gd name="T1" fmla="*/ 10 h 52"/>
              <a:gd name="T2" fmla="*/ 0 w 26"/>
              <a:gd name="T3" fmla="*/ 10 h 52"/>
              <a:gd name="T4" fmla="*/ 2 w 26"/>
              <a:gd name="T5" fmla="*/ 12 h 52"/>
              <a:gd name="T6" fmla="*/ 2 w 26"/>
              <a:gd name="T7" fmla="*/ 12 h 52"/>
              <a:gd name="T8" fmla="*/ 6 w 26"/>
              <a:gd name="T9" fmla="*/ 12 h 52"/>
              <a:gd name="T10" fmla="*/ 6 w 26"/>
              <a:gd name="T11" fmla="*/ 12 h 52"/>
              <a:gd name="T12" fmla="*/ 4 w 26"/>
              <a:gd name="T13" fmla="*/ 20 h 52"/>
              <a:gd name="T14" fmla="*/ 6 w 26"/>
              <a:gd name="T15" fmla="*/ 22 h 52"/>
              <a:gd name="T16" fmla="*/ 6 w 26"/>
              <a:gd name="T17" fmla="*/ 24 h 52"/>
              <a:gd name="T18" fmla="*/ 6 w 26"/>
              <a:gd name="T19" fmla="*/ 24 h 52"/>
              <a:gd name="T20" fmla="*/ 4 w 26"/>
              <a:gd name="T21" fmla="*/ 30 h 52"/>
              <a:gd name="T22" fmla="*/ 4 w 26"/>
              <a:gd name="T23" fmla="*/ 38 h 52"/>
              <a:gd name="T24" fmla="*/ 4 w 26"/>
              <a:gd name="T25" fmla="*/ 38 h 52"/>
              <a:gd name="T26" fmla="*/ 4 w 26"/>
              <a:gd name="T27" fmla="*/ 42 h 52"/>
              <a:gd name="T28" fmla="*/ 8 w 26"/>
              <a:gd name="T29" fmla="*/ 44 h 52"/>
              <a:gd name="T30" fmla="*/ 14 w 26"/>
              <a:gd name="T31" fmla="*/ 48 h 52"/>
              <a:gd name="T32" fmla="*/ 14 w 26"/>
              <a:gd name="T33" fmla="*/ 48 h 52"/>
              <a:gd name="T34" fmla="*/ 14 w 26"/>
              <a:gd name="T35" fmla="*/ 52 h 52"/>
              <a:gd name="T36" fmla="*/ 14 w 26"/>
              <a:gd name="T37" fmla="*/ 52 h 52"/>
              <a:gd name="T38" fmla="*/ 18 w 26"/>
              <a:gd name="T39" fmla="*/ 52 h 52"/>
              <a:gd name="T40" fmla="*/ 18 w 26"/>
              <a:gd name="T41" fmla="*/ 52 h 52"/>
              <a:gd name="T42" fmla="*/ 20 w 26"/>
              <a:gd name="T43" fmla="*/ 52 h 52"/>
              <a:gd name="T44" fmla="*/ 20 w 26"/>
              <a:gd name="T45" fmla="*/ 52 h 52"/>
              <a:gd name="T46" fmla="*/ 20 w 26"/>
              <a:gd name="T47" fmla="*/ 50 h 52"/>
              <a:gd name="T48" fmla="*/ 20 w 26"/>
              <a:gd name="T49" fmla="*/ 50 h 52"/>
              <a:gd name="T50" fmla="*/ 20 w 26"/>
              <a:gd name="T51" fmla="*/ 50 h 52"/>
              <a:gd name="T52" fmla="*/ 24 w 26"/>
              <a:gd name="T53" fmla="*/ 48 h 52"/>
              <a:gd name="T54" fmla="*/ 24 w 26"/>
              <a:gd name="T55" fmla="*/ 48 h 52"/>
              <a:gd name="T56" fmla="*/ 26 w 26"/>
              <a:gd name="T57" fmla="*/ 42 h 52"/>
              <a:gd name="T58" fmla="*/ 26 w 26"/>
              <a:gd name="T59" fmla="*/ 36 h 52"/>
              <a:gd name="T60" fmla="*/ 26 w 26"/>
              <a:gd name="T61" fmla="*/ 36 h 52"/>
              <a:gd name="T62" fmla="*/ 24 w 26"/>
              <a:gd name="T63" fmla="*/ 34 h 52"/>
              <a:gd name="T64" fmla="*/ 22 w 26"/>
              <a:gd name="T65" fmla="*/ 30 h 52"/>
              <a:gd name="T66" fmla="*/ 22 w 26"/>
              <a:gd name="T67" fmla="*/ 30 h 52"/>
              <a:gd name="T68" fmla="*/ 20 w 26"/>
              <a:gd name="T69" fmla="*/ 26 h 52"/>
              <a:gd name="T70" fmla="*/ 22 w 26"/>
              <a:gd name="T71" fmla="*/ 24 h 52"/>
              <a:gd name="T72" fmla="*/ 22 w 26"/>
              <a:gd name="T73" fmla="*/ 24 h 52"/>
              <a:gd name="T74" fmla="*/ 22 w 26"/>
              <a:gd name="T75" fmla="*/ 18 h 52"/>
              <a:gd name="T76" fmla="*/ 22 w 26"/>
              <a:gd name="T77" fmla="*/ 16 h 52"/>
              <a:gd name="T78" fmla="*/ 20 w 26"/>
              <a:gd name="T79" fmla="*/ 8 h 52"/>
              <a:gd name="T80" fmla="*/ 14 w 26"/>
              <a:gd name="T81" fmla="*/ 2 h 52"/>
              <a:gd name="T82" fmla="*/ 12 w 26"/>
              <a:gd name="T83" fmla="*/ 6 h 52"/>
              <a:gd name="T84" fmla="*/ 10 w 26"/>
              <a:gd name="T85" fmla="*/ 0 h 52"/>
              <a:gd name="T86" fmla="*/ 2 w 26"/>
              <a:gd name="T87" fmla="*/ 4 h 52"/>
              <a:gd name="T88" fmla="*/ 0 w 26"/>
              <a:gd name="T89"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52">
                <a:moveTo>
                  <a:pt x="0" y="10"/>
                </a:moveTo>
                <a:lnTo>
                  <a:pt x="0" y="10"/>
                </a:lnTo>
                <a:lnTo>
                  <a:pt x="2" y="12"/>
                </a:lnTo>
                <a:lnTo>
                  <a:pt x="2" y="12"/>
                </a:lnTo>
                <a:lnTo>
                  <a:pt x="6" y="12"/>
                </a:lnTo>
                <a:lnTo>
                  <a:pt x="6" y="12"/>
                </a:lnTo>
                <a:lnTo>
                  <a:pt x="4" y="20"/>
                </a:lnTo>
                <a:lnTo>
                  <a:pt x="6" y="22"/>
                </a:lnTo>
                <a:lnTo>
                  <a:pt x="6" y="24"/>
                </a:lnTo>
                <a:lnTo>
                  <a:pt x="6" y="24"/>
                </a:lnTo>
                <a:lnTo>
                  <a:pt x="4" y="30"/>
                </a:lnTo>
                <a:lnTo>
                  <a:pt x="4" y="38"/>
                </a:lnTo>
                <a:lnTo>
                  <a:pt x="4" y="38"/>
                </a:lnTo>
                <a:lnTo>
                  <a:pt x="4" y="42"/>
                </a:lnTo>
                <a:lnTo>
                  <a:pt x="8" y="44"/>
                </a:lnTo>
                <a:lnTo>
                  <a:pt x="14" y="48"/>
                </a:lnTo>
                <a:lnTo>
                  <a:pt x="14" y="48"/>
                </a:lnTo>
                <a:lnTo>
                  <a:pt x="14" y="52"/>
                </a:lnTo>
                <a:lnTo>
                  <a:pt x="14" y="52"/>
                </a:lnTo>
                <a:lnTo>
                  <a:pt x="18" y="52"/>
                </a:lnTo>
                <a:lnTo>
                  <a:pt x="18" y="52"/>
                </a:lnTo>
                <a:lnTo>
                  <a:pt x="20" y="52"/>
                </a:lnTo>
                <a:lnTo>
                  <a:pt x="20" y="52"/>
                </a:lnTo>
                <a:lnTo>
                  <a:pt x="20" y="50"/>
                </a:lnTo>
                <a:lnTo>
                  <a:pt x="20" y="50"/>
                </a:lnTo>
                <a:lnTo>
                  <a:pt x="20" y="50"/>
                </a:lnTo>
                <a:lnTo>
                  <a:pt x="24" y="48"/>
                </a:lnTo>
                <a:lnTo>
                  <a:pt x="24" y="48"/>
                </a:lnTo>
                <a:lnTo>
                  <a:pt x="26" y="42"/>
                </a:lnTo>
                <a:lnTo>
                  <a:pt x="26" y="36"/>
                </a:lnTo>
                <a:lnTo>
                  <a:pt x="26" y="36"/>
                </a:lnTo>
                <a:lnTo>
                  <a:pt x="24" y="34"/>
                </a:lnTo>
                <a:lnTo>
                  <a:pt x="22" y="30"/>
                </a:lnTo>
                <a:lnTo>
                  <a:pt x="22" y="30"/>
                </a:lnTo>
                <a:lnTo>
                  <a:pt x="20" y="26"/>
                </a:lnTo>
                <a:lnTo>
                  <a:pt x="22" y="24"/>
                </a:lnTo>
                <a:lnTo>
                  <a:pt x="22" y="24"/>
                </a:lnTo>
                <a:lnTo>
                  <a:pt x="22" y="18"/>
                </a:lnTo>
                <a:lnTo>
                  <a:pt x="22" y="16"/>
                </a:lnTo>
                <a:lnTo>
                  <a:pt x="20" y="8"/>
                </a:lnTo>
                <a:lnTo>
                  <a:pt x="14" y="2"/>
                </a:lnTo>
                <a:lnTo>
                  <a:pt x="12" y="6"/>
                </a:lnTo>
                <a:lnTo>
                  <a:pt x="10" y="0"/>
                </a:lnTo>
                <a:lnTo>
                  <a:pt x="2" y="4"/>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1" name="Freeform 267">
            <a:extLst>
              <a:ext uri="{FF2B5EF4-FFF2-40B4-BE49-F238E27FC236}">
                <a16:creationId xmlns:a16="http://schemas.microsoft.com/office/drawing/2014/main" id="{32A9298B-7F9B-47FC-B99D-AE6B6A14C11C}"/>
              </a:ext>
            </a:extLst>
          </p:cNvPr>
          <p:cNvSpPr>
            <a:spLocks noEditPoints="1"/>
          </p:cNvSpPr>
          <p:nvPr userDrawn="1"/>
        </p:nvSpPr>
        <p:spPr bwMode="auto">
          <a:xfrm>
            <a:off x="2081546" y="1333177"/>
            <a:ext cx="2267660" cy="1619892"/>
          </a:xfrm>
          <a:custGeom>
            <a:avLst/>
            <a:gdLst>
              <a:gd name="T0" fmla="*/ 1058 w 1352"/>
              <a:gd name="T1" fmla="*/ 864 h 944"/>
              <a:gd name="T2" fmla="*/ 1076 w 1352"/>
              <a:gd name="T3" fmla="*/ 854 h 944"/>
              <a:gd name="T4" fmla="*/ 1134 w 1352"/>
              <a:gd name="T5" fmla="*/ 862 h 944"/>
              <a:gd name="T6" fmla="*/ 1166 w 1352"/>
              <a:gd name="T7" fmla="*/ 940 h 944"/>
              <a:gd name="T8" fmla="*/ 1168 w 1352"/>
              <a:gd name="T9" fmla="*/ 880 h 944"/>
              <a:gd name="T10" fmla="*/ 1184 w 1352"/>
              <a:gd name="T11" fmla="*/ 806 h 944"/>
              <a:gd name="T12" fmla="*/ 1234 w 1352"/>
              <a:gd name="T13" fmla="*/ 762 h 944"/>
              <a:gd name="T14" fmla="*/ 1216 w 1352"/>
              <a:gd name="T15" fmla="*/ 714 h 944"/>
              <a:gd name="T16" fmla="*/ 1226 w 1352"/>
              <a:gd name="T17" fmla="*/ 716 h 944"/>
              <a:gd name="T18" fmla="*/ 1252 w 1352"/>
              <a:gd name="T19" fmla="*/ 694 h 944"/>
              <a:gd name="T20" fmla="*/ 1294 w 1352"/>
              <a:gd name="T21" fmla="*/ 646 h 944"/>
              <a:gd name="T22" fmla="*/ 1318 w 1352"/>
              <a:gd name="T23" fmla="*/ 606 h 944"/>
              <a:gd name="T24" fmla="*/ 1350 w 1352"/>
              <a:gd name="T25" fmla="*/ 582 h 944"/>
              <a:gd name="T26" fmla="*/ 1312 w 1352"/>
              <a:gd name="T27" fmla="*/ 562 h 944"/>
              <a:gd name="T28" fmla="*/ 1220 w 1352"/>
              <a:gd name="T29" fmla="*/ 614 h 944"/>
              <a:gd name="T30" fmla="*/ 1140 w 1352"/>
              <a:gd name="T31" fmla="*/ 650 h 944"/>
              <a:gd name="T32" fmla="*/ 1130 w 1352"/>
              <a:gd name="T33" fmla="*/ 608 h 944"/>
              <a:gd name="T34" fmla="*/ 1104 w 1352"/>
              <a:gd name="T35" fmla="*/ 582 h 944"/>
              <a:gd name="T36" fmla="*/ 1080 w 1352"/>
              <a:gd name="T37" fmla="*/ 584 h 944"/>
              <a:gd name="T38" fmla="*/ 1116 w 1352"/>
              <a:gd name="T39" fmla="*/ 562 h 944"/>
              <a:gd name="T40" fmla="*/ 1072 w 1352"/>
              <a:gd name="T41" fmla="*/ 534 h 944"/>
              <a:gd name="T42" fmla="*/ 1044 w 1352"/>
              <a:gd name="T43" fmla="*/ 526 h 944"/>
              <a:gd name="T44" fmla="*/ 980 w 1352"/>
              <a:gd name="T45" fmla="*/ 500 h 944"/>
              <a:gd name="T46" fmla="*/ 592 w 1352"/>
              <a:gd name="T47" fmla="*/ 550 h 944"/>
              <a:gd name="T48" fmla="*/ 590 w 1352"/>
              <a:gd name="T49" fmla="*/ 658 h 944"/>
              <a:gd name="T50" fmla="*/ 612 w 1352"/>
              <a:gd name="T51" fmla="*/ 710 h 944"/>
              <a:gd name="T52" fmla="*/ 632 w 1352"/>
              <a:gd name="T53" fmla="*/ 762 h 944"/>
              <a:gd name="T54" fmla="*/ 832 w 1352"/>
              <a:gd name="T55" fmla="*/ 836 h 944"/>
              <a:gd name="T56" fmla="*/ 946 w 1352"/>
              <a:gd name="T57" fmla="*/ 932 h 944"/>
              <a:gd name="T58" fmla="*/ 962 w 1352"/>
              <a:gd name="T59" fmla="*/ 880 h 944"/>
              <a:gd name="T60" fmla="*/ 1016 w 1352"/>
              <a:gd name="T61" fmla="*/ 866 h 944"/>
              <a:gd name="T62" fmla="*/ 476 w 1352"/>
              <a:gd name="T63" fmla="*/ 310 h 944"/>
              <a:gd name="T64" fmla="*/ 406 w 1352"/>
              <a:gd name="T65" fmla="*/ 278 h 944"/>
              <a:gd name="T66" fmla="*/ 330 w 1352"/>
              <a:gd name="T67" fmla="*/ 26 h 944"/>
              <a:gd name="T68" fmla="*/ 248 w 1352"/>
              <a:gd name="T69" fmla="*/ 18 h 944"/>
              <a:gd name="T70" fmla="*/ 170 w 1352"/>
              <a:gd name="T71" fmla="*/ 8 h 944"/>
              <a:gd name="T72" fmla="*/ 94 w 1352"/>
              <a:gd name="T73" fmla="*/ 20 h 944"/>
              <a:gd name="T74" fmla="*/ 22 w 1352"/>
              <a:gd name="T75" fmla="*/ 78 h 944"/>
              <a:gd name="T76" fmla="*/ 72 w 1352"/>
              <a:gd name="T77" fmla="*/ 108 h 944"/>
              <a:gd name="T78" fmla="*/ 82 w 1352"/>
              <a:gd name="T79" fmla="*/ 130 h 944"/>
              <a:gd name="T80" fmla="*/ 6 w 1352"/>
              <a:gd name="T81" fmla="*/ 132 h 944"/>
              <a:gd name="T82" fmla="*/ 66 w 1352"/>
              <a:gd name="T83" fmla="*/ 166 h 944"/>
              <a:gd name="T84" fmla="*/ 44 w 1352"/>
              <a:gd name="T85" fmla="*/ 196 h 944"/>
              <a:gd name="T86" fmla="*/ 34 w 1352"/>
              <a:gd name="T87" fmla="*/ 236 h 944"/>
              <a:gd name="T88" fmla="*/ 56 w 1352"/>
              <a:gd name="T89" fmla="*/ 270 h 944"/>
              <a:gd name="T90" fmla="*/ 82 w 1352"/>
              <a:gd name="T91" fmla="*/ 292 h 944"/>
              <a:gd name="T92" fmla="*/ 130 w 1352"/>
              <a:gd name="T93" fmla="*/ 288 h 944"/>
              <a:gd name="T94" fmla="*/ 122 w 1352"/>
              <a:gd name="T95" fmla="*/ 336 h 944"/>
              <a:gd name="T96" fmla="*/ 70 w 1352"/>
              <a:gd name="T97" fmla="*/ 378 h 944"/>
              <a:gd name="T98" fmla="*/ 118 w 1352"/>
              <a:gd name="T99" fmla="*/ 350 h 944"/>
              <a:gd name="T100" fmla="*/ 164 w 1352"/>
              <a:gd name="T101" fmla="*/ 312 h 944"/>
              <a:gd name="T102" fmla="*/ 196 w 1352"/>
              <a:gd name="T103" fmla="*/ 264 h 944"/>
              <a:gd name="T104" fmla="*/ 242 w 1352"/>
              <a:gd name="T105" fmla="*/ 234 h 944"/>
              <a:gd name="T106" fmla="*/ 218 w 1352"/>
              <a:gd name="T107" fmla="*/ 282 h 944"/>
              <a:gd name="T108" fmla="*/ 266 w 1352"/>
              <a:gd name="T109" fmla="*/ 264 h 944"/>
              <a:gd name="T110" fmla="*/ 290 w 1352"/>
              <a:gd name="T111" fmla="*/ 244 h 944"/>
              <a:gd name="T112" fmla="*/ 350 w 1352"/>
              <a:gd name="T113" fmla="*/ 268 h 944"/>
              <a:gd name="T114" fmla="*/ 400 w 1352"/>
              <a:gd name="T115" fmla="*/ 280 h 944"/>
              <a:gd name="T116" fmla="*/ 444 w 1352"/>
              <a:gd name="T117" fmla="*/ 316 h 944"/>
              <a:gd name="T118" fmla="*/ 464 w 1352"/>
              <a:gd name="T119" fmla="*/ 320 h 944"/>
              <a:gd name="T120" fmla="*/ 488 w 1352"/>
              <a:gd name="T121" fmla="*/ 358 h 944"/>
              <a:gd name="T122" fmla="*/ 500 w 1352"/>
              <a:gd name="T123" fmla="*/ 38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2" h="944">
                <a:moveTo>
                  <a:pt x="1026" y="874"/>
                </a:moveTo>
                <a:lnTo>
                  <a:pt x="1026" y="874"/>
                </a:lnTo>
                <a:lnTo>
                  <a:pt x="1030" y="874"/>
                </a:lnTo>
                <a:lnTo>
                  <a:pt x="1034" y="874"/>
                </a:lnTo>
                <a:lnTo>
                  <a:pt x="1034" y="874"/>
                </a:lnTo>
                <a:lnTo>
                  <a:pt x="1036" y="872"/>
                </a:lnTo>
                <a:lnTo>
                  <a:pt x="1036" y="872"/>
                </a:lnTo>
                <a:lnTo>
                  <a:pt x="1038" y="872"/>
                </a:lnTo>
                <a:lnTo>
                  <a:pt x="1040" y="874"/>
                </a:lnTo>
                <a:lnTo>
                  <a:pt x="1040" y="874"/>
                </a:lnTo>
                <a:lnTo>
                  <a:pt x="1038" y="868"/>
                </a:lnTo>
                <a:lnTo>
                  <a:pt x="1040" y="864"/>
                </a:lnTo>
                <a:lnTo>
                  <a:pt x="1040" y="864"/>
                </a:lnTo>
                <a:lnTo>
                  <a:pt x="1050" y="868"/>
                </a:lnTo>
                <a:lnTo>
                  <a:pt x="1050" y="868"/>
                </a:lnTo>
                <a:lnTo>
                  <a:pt x="1050" y="868"/>
                </a:lnTo>
                <a:lnTo>
                  <a:pt x="1050" y="870"/>
                </a:lnTo>
                <a:lnTo>
                  <a:pt x="1050" y="872"/>
                </a:lnTo>
                <a:lnTo>
                  <a:pt x="1050" y="872"/>
                </a:lnTo>
                <a:lnTo>
                  <a:pt x="1056" y="872"/>
                </a:lnTo>
                <a:lnTo>
                  <a:pt x="1056" y="872"/>
                </a:lnTo>
                <a:lnTo>
                  <a:pt x="1056" y="876"/>
                </a:lnTo>
                <a:lnTo>
                  <a:pt x="1056" y="876"/>
                </a:lnTo>
                <a:lnTo>
                  <a:pt x="1058" y="876"/>
                </a:lnTo>
                <a:lnTo>
                  <a:pt x="1058" y="870"/>
                </a:lnTo>
                <a:lnTo>
                  <a:pt x="1058" y="870"/>
                </a:lnTo>
                <a:lnTo>
                  <a:pt x="1054" y="870"/>
                </a:lnTo>
                <a:lnTo>
                  <a:pt x="1054" y="870"/>
                </a:lnTo>
                <a:lnTo>
                  <a:pt x="1054" y="866"/>
                </a:lnTo>
                <a:lnTo>
                  <a:pt x="1054" y="866"/>
                </a:lnTo>
                <a:lnTo>
                  <a:pt x="1054" y="866"/>
                </a:lnTo>
                <a:lnTo>
                  <a:pt x="1054" y="866"/>
                </a:lnTo>
                <a:lnTo>
                  <a:pt x="1058" y="864"/>
                </a:lnTo>
                <a:lnTo>
                  <a:pt x="1058" y="860"/>
                </a:lnTo>
                <a:lnTo>
                  <a:pt x="1058" y="860"/>
                </a:lnTo>
                <a:lnTo>
                  <a:pt x="1058" y="860"/>
                </a:lnTo>
                <a:lnTo>
                  <a:pt x="1056" y="858"/>
                </a:lnTo>
                <a:lnTo>
                  <a:pt x="1056" y="858"/>
                </a:lnTo>
                <a:lnTo>
                  <a:pt x="1054" y="860"/>
                </a:lnTo>
                <a:lnTo>
                  <a:pt x="1052" y="856"/>
                </a:lnTo>
                <a:lnTo>
                  <a:pt x="1052" y="856"/>
                </a:lnTo>
                <a:lnTo>
                  <a:pt x="1048" y="858"/>
                </a:lnTo>
                <a:lnTo>
                  <a:pt x="1046" y="858"/>
                </a:lnTo>
                <a:lnTo>
                  <a:pt x="1046" y="856"/>
                </a:lnTo>
                <a:lnTo>
                  <a:pt x="1046" y="856"/>
                </a:lnTo>
                <a:lnTo>
                  <a:pt x="1044" y="854"/>
                </a:lnTo>
                <a:lnTo>
                  <a:pt x="1044" y="854"/>
                </a:lnTo>
                <a:lnTo>
                  <a:pt x="1044" y="852"/>
                </a:lnTo>
                <a:lnTo>
                  <a:pt x="1044" y="852"/>
                </a:lnTo>
                <a:lnTo>
                  <a:pt x="1048" y="854"/>
                </a:lnTo>
                <a:lnTo>
                  <a:pt x="1054" y="854"/>
                </a:lnTo>
                <a:lnTo>
                  <a:pt x="1054" y="854"/>
                </a:lnTo>
                <a:lnTo>
                  <a:pt x="1054" y="850"/>
                </a:lnTo>
                <a:lnTo>
                  <a:pt x="1054" y="850"/>
                </a:lnTo>
                <a:lnTo>
                  <a:pt x="1060" y="848"/>
                </a:lnTo>
                <a:lnTo>
                  <a:pt x="1060" y="848"/>
                </a:lnTo>
                <a:lnTo>
                  <a:pt x="1064" y="850"/>
                </a:lnTo>
                <a:lnTo>
                  <a:pt x="1068" y="852"/>
                </a:lnTo>
                <a:lnTo>
                  <a:pt x="1068" y="852"/>
                </a:lnTo>
                <a:lnTo>
                  <a:pt x="1072" y="852"/>
                </a:lnTo>
                <a:lnTo>
                  <a:pt x="1072" y="852"/>
                </a:lnTo>
                <a:lnTo>
                  <a:pt x="1072" y="848"/>
                </a:lnTo>
                <a:lnTo>
                  <a:pt x="1074" y="848"/>
                </a:lnTo>
                <a:lnTo>
                  <a:pt x="1074" y="848"/>
                </a:lnTo>
                <a:lnTo>
                  <a:pt x="1076" y="854"/>
                </a:lnTo>
                <a:lnTo>
                  <a:pt x="1076" y="854"/>
                </a:lnTo>
                <a:lnTo>
                  <a:pt x="1080" y="854"/>
                </a:lnTo>
                <a:lnTo>
                  <a:pt x="1084" y="848"/>
                </a:lnTo>
                <a:lnTo>
                  <a:pt x="1084" y="848"/>
                </a:lnTo>
                <a:lnTo>
                  <a:pt x="1086" y="850"/>
                </a:lnTo>
                <a:lnTo>
                  <a:pt x="1086" y="850"/>
                </a:lnTo>
                <a:lnTo>
                  <a:pt x="1086" y="852"/>
                </a:lnTo>
                <a:lnTo>
                  <a:pt x="1088" y="852"/>
                </a:lnTo>
                <a:lnTo>
                  <a:pt x="1090" y="852"/>
                </a:lnTo>
                <a:lnTo>
                  <a:pt x="1090" y="848"/>
                </a:lnTo>
                <a:lnTo>
                  <a:pt x="1090" y="848"/>
                </a:lnTo>
                <a:lnTo>
                  <a:pt x="1094" y="848"/>
                </a:lnTo>
                <a:lnTo>
                  <a:pt x="1094" y="848"/>
                </a:lnTo>
                <a:lnTo>
                  <a:pt x="1098" y="850"/>
                </a:lnTo>
                <a:lnTo>
                  <a:pt x="1098" y="850"/>
                </a:lnTo>
                <a:lnTo>
                  <a:pt x="1096" y="852"/>
                </a:lnTo>
                <a:lnTo>
                  <a:pt x="1096" y="854"/>
                </a:lnTo>
                <a:lnTo>
                  <a:pt x="1096" y="854"/>
                </a:lnTo>
                <a:lnTo>
                  <a:pt x="1098" y="856"/>
                </a:lnTo>
                <a:lnTo>
                  <a:pt x="1098" y="856"/>
                </a:lnTo>
                <a:lnTo>
                  <a:pt x="1106" y="856"/>
                </a:lnTo>
                <a:lnTo>
                  <a:pt x="1106" y="856"/>
                </a:lnTo>
                <a:lnTo>
                  <a:pt x="1106" y="858"/>
                </a:lnTo>
                <a:lnTo>
                  <a:pt x="1108" y="860"/>
                </a:lnTo>
                <a:lnTo>
                  <a:pt x="1108" y="860"/>
                </a:lnTo>
                <a:lnTo>
                  <a:pt x="1114" y="864"/>
                </a:lnTo>
                <a:lnTo>
                  <a:pt x="1120" y="866"/>
                </a:lnTo>
                <a:lnTo>
                  <a:pt x="1120" y="866"/>
                </a:lnTo>
                <a:lnTo>
                  <a:pt x="1122" y="862"/>
                </a:lnTo>
                <a:lnTo>
                  <a:pt x="1124" y="858"/>
                </a:lnTo>
                <a:lnTo>
                  <a:pt x="1124" y="858"/>
                </a:lnTo>
                <a:lnTo>
                  <a:pt x="1130" y="858"/>
                </a:lnTo>
                <a:lnTo>
                  <a:pt x="1130" y="858"/>
                </a:lnTo>
                <a:lnTo>
                  <a:pt x="1134" y="862"/>
                </a:lnTo>
                <a:lnTo>
                  <a:pt x="1134" y="862"/>
                </a:lnTo>
                <a:lnTo>
                  <a:pt x="1134" y="866"/>
                </a:lnTo>
                <a:lnTo>
                  <a:pt x="1136" y="870"/>
                </a:lnTo>
                <a:lnTo>
                  <a:pt x="1136" y="870"/>
                </a:lnTo>
                <a:lnTo>
                  <a:pt x="1138" y="872"/>
                </a:lnTo>
                <a:lnTo>
                  <a:pt x="1142" y="874"/>
                </a:lnTo>
                <a:lnTo>
                  <a:pt x="1142" y="874"/>
                </a:lnTo>
                <a:lnTo>
                  <a:pt x="1142" y="888"/>
                </a:lnTo>
                <a:lnTo>
                  <a:pt x="1140" y="890"/>
                </a:lnTo>
                <a:lnTo>
                  <a:pt x="1140" y="890"/>
                </a:lnTo>
                <a:lnTo>
                  <a:pt x="1140" y="896"/>
                </a:lnTo>
                <a:lnTo>
                  <a:pt x="1142" y="900"/>
                </a:lnTo>
                <a:lnTo>
                  <a:pt x="1142" y="900"/>
                </a:lnTo>
                <a:lnTo>
                  <a:pt x="1146" y="894"/>
                </a:lnTo>
                <a:lnTo>
                  <a:pt x="1146" y="894"/>
                </a:lnTo>
                <a:lnTo>
                  <a:pt x="1150" y="894"/>
                </a:lnTo>
                <a:lnTo>
                  <a:pt x="1150" y="894"/>
                </a:lnTo>
                <a:lnTo>
                  <a:pt x="1146" y="912"/>
                </a:lnTo>
                <a:lnTo>
                  <a:pt x="1146" y="912"/>
                </a:lnTo>
                <a:lnTo>
                  <a:pt x="1150" y="914"/>
                </a:lnTo>
                <a:lnTo>
                  <a:pt x="1154" y="916"/>
                </a:lnTo>
                <a:lnTo>
                  <a:pt x="1154" y="916"/>
                </a:lnTo>
                <a:lnTo>
                  <a:pt x="1156" y="922"/>
                </a:lnTo>
                <a:lnTo>
                  <a:pt x="1156" y="928"/>
                </a:lnTo>
                <a:lnTo>
                  <a:pt x="1156" y="928"/>
                </a:lnTo>
                <a:lnTo>
                  <a:pt x="1160" y="932"/>
                </a:lnTo>
                <a:lnTo>
                  <a:pt x="1160" y="932"/>
                </a:lnTo>
                <a:lnTo>
                  <a:pt x="1162" y="938"/>
                </a:lnTo>
                <a:lnTo>
                  <a:pt x="1162" y="938"/>
                </a:lnTo>
                <a:lnTo>
                  <a:pt x="1164" y="938"/>
                </a:lnTo>
                <a:lnTo>
                  <a:pt x="1166" y="938"/>
                </a:lnTo>
                <a:lnTo>
                  <a:pt x="1166" y="938"/>
                </a:lnTo>
                <a:lnTo>
                  <a:pt x="1166" y="940"/>
                </a:lnTo>
                <a:lnTo>
                  <a:pt x="1168" y="944"/>
                </a:lnTo>
                <a:lnTo>
                  <a:pt x="1168" y="944"/>
                </a:lnTo>
                <a:lnTo>
                  <a:pt x="1170" y="944"/>
                </a:lnTo>
                <a:lnTo>
                  <a:pt x="1172" y="944"/>
                </a:lnTo>
                <a:lnTo>
                  <a:pt x="1172" y="944"/>
                </a:lnTo>
                <a:lnTo>
                  <a:pt x="1172" y="940"/>
                </a:lnTo>
                <a:lnTo>
                  <a:pt x="1172" y="940"/>
                </a:lnTo>
                <a:lnTo>
                  <a:pt x="1172" y="938"/>
                </a:lnTo>
                <a:lnTo>
                  <a:pt x="1172" y="938"/>
                </a:lnTo>
                <a:lnTo>
                  <a:pt x="1172" y="936"/>
                </a:lnTo>
                <a:lnTo>
                  <a:pt x="1172" y="936"/>
                </a:lnTo>
                <a:lnTo>
                  <a:pt x="1176" y="932"/>
                </a:lnTo>
                <a:lnTo>
                  <a:pt x="1176" y="932"/>
                </a:lnTo>
                <a:lnTo>
                  <a:pt x="1176" y="922"/>
                </a:lnTo>
                <a:lnTo>
                  <a:pt x="1178" y="916"/>
                </a:lnTo>
                <a:lnTo>
                  <a:pt x="1178" y="916"/>
                </a:lnTo>
                <a:lnTo>
                  <a:pt x="1176" y="916"/>
                </a:lnTo>
                <a:lnTo>
                  <a:pt x="1176" y="914"/>
                </a:lnTo>
                <a:lnTo>
                  <a:pt x="1176" y="910"/>
                </a:lnTo>
                <a:lnTo>
                  <a:pt x="1174" y="910"/>
                </a:lnTo>
                <a:lnTo>
                  <a:pt x="1174" y="910"/>
                </a:lnTo>
                <a:lnTo>
                  <a:pt x="1174" y="904"/>
                </a:lnTo>
                <a:lnTo>
                  <a:pt x="1174" y="900"/>
                </a:lnTo>
                <a:lnTo>
                  <a:pt x="1174" y="900"/>
                </a:lnTo>
                <a:lnTo>
                  <a:pt x="1170" y="894"/>
                </a:lnTo>
                <a:lnTo>
                  <a:pt x="1170" y="894"/>
                </a:lnTo>
                <a:lnTo>
                  <a:pt x="1170" y="892"/>
                </a:lnTo>
                <a:lnTo>
                  <a:pt x="1170" y="888"/>
                </a:lnTo>
                <a:lnTo>
                  <a:pt x="1170" y="888"/>
                </a:lnTo>
                <a:lnTo>
                  <a:pt x="1168" y="886"/>
                </a:lnTo>
                <a:lnTo>
                  <a:pt x="1166" y="884"/>
                </a:lnTo>
                <a:lnTo>
                  <a:pt x="1166" y="884"/>
                </a:lnTo>
                <a:lnTo>
                  <a:pt x="1168" y="880"/>
                </a:lnTo>
                <a:lnTo>
                  <a:pt x="1168" y="880"/>
                </a:lnTo>
                <a:lnTo>
                  <a:pt x="1164" y="874"/>
                </a:lnTo>
                <a:lnTo>
                  <a:pt x="1162" y="868"/>
                </a:lnTo>
                <a:lnTo>
                  <a:pt x="1162" y="868"/>
                </a:lnTo>
                <a:lnTo>
                  <a:pt x="1162" y="862"/>
                </a:lnTo>
                <a:lnTo>
                  <a:pt x="1160" y="856"/>
                </a:lnTo>
                <a:lnTo>
                  <a:pt x="1160" y="856"/>
                </a:lnTo>
                <a:lnTo>
                  <a:pt x="1156" y="854"/>
                </a:lnTo>
                <a:lnTo>
                  <a:pt x="1156" y="852"/>
                </a:lnTo>
                <a:lnTo>
                  <a:pt x="1156" y="852"/>
                </a:lnTo>
                <a:lnTo>
                  <a:pt x="1160" y="848"/>
                </a:lnTo>
                <a:lnTo>
                  <a:pt x="1160" y="848"/>
                </a:lnTo>
                <a:lnTo>
                  <a:pt x="1160" y="844"/>
                </a:lnTo>
                <a:lnTo>
                  <a:pt x="1160" y="840"/>
                </a:lnTo>
                <a:lnTo>
                  <a:pt x="1162" y="840"/>
                </a:lnTo>
                <a:lnTo>
                  <a:pt x="1162" y="840"/>
                </a:lnTo>
                <a:lnTo>
                  <a:pt x="1164" y="830"/>
                </a:lnTo>
                <a:lnTo>
                  <a:pt x="1164" y="828"/>
                </a:lnTo>
                <a:lnTo>
                  <a:pt x="1170" y="824"/>
                </a:lnTo>
                <a:lnTo>
                  <a:pt x="1168" y="820"/>
                </a:lnTo>
                <a:lnTo>
                  <a:pt x="1168" y="820"/>
                </a:lnTo>
                <a:lnTo>
                  <a:pt x="1170" y="820"/>
                </a:lnTo>
                <a:lnTo>
                  <a:pt x="1174" y="818"/>
                </a:lnTo>
                <a:lnTo>
                  <a:pt x="1174" y="818"/>
                </a:lnTo>
                <a:lnTo>
                  <a:pt x="1174" y="816"/>
                </a:lnTo>
                <a:lnTo>
                  <a:pt x="1176" y="812"/>
                </a:lnTo>
                <a:lnTo>
                  <a:pt x="1176" y="812"/>
                </a:lnTo>
                <a:lnTo>
                  <a:pt x="1178" y="812"/>
                </a:lnTo>
                <a:lnTo>
                  <a:pt x="1180" y="812"/>
                </a:lnTo>
                <a:lnTo>
                  <a:pt x="1180" y="812"/>
                </a:lnTo>
                <a:lnTo>
                  <a:pt x="1184" y="808"/>
                </a:lnTo>
                <a:lnTo>
                  <a:pt x="1184" y="808"/>
                </a:lnTo>
                <a:lnTo>
                  <a:pt x="1184" y="806"/>
                </a:lnTo>
                <a:lnTo>
                  <a:pt x="1184" y="806"/>
                </a:lnTo>
                <a:lnTo>
                  <a:pt x="1188" y="806"/>
                </a:lnTo>
                <a:lnTo>
                  <a:pt x="1188" y="806"/>
                </a:lnTo>
                <a:lnTo>
                  <a:pt x="1190" y="798"/>
                </a:lnTo>
                <a:lnTo>
                  <a:pt x="1190" y="798"/>
                </a:lnTo>
                <a:lnTo>
                  <a:pt x="1192" y="798"/>
                </a:lnTo>
                <a:lnTo>
                  <a:pt x="1194" y="798"/>
                </a:lnTo>
                <a:lnTo>
                  <a:pt x="1194" y="798"/>
                </a:lnTo>
                <a:lnTo>
                  <a:pt x="1198" y="796"/>
                </a:lnTo>
                <a:lnTo>
                  <a:pt x="1200" y="794"/>
                </a:lnTo>
                <a:lnTo>
                  <a:pt x="1200" y="794"/>
                </a:lnTo>
                <a:lnTo>
                  <a:pt x="1202" y="794"/>
                </a:lnTo>
                <a:lnTo>
                  <a:pt x="1206" y="794"/>
                </a:lnTo>
                <a:lnTo>
                  <a:pt x="1212" y="784"/>
                </a:lnTo>
                <a:lnTo>
                  <a:pt x="1212" y="784"/>
                </a:lnTo>
                <a:lnTo>
                  <a:pt x="1212" y="782"/>
                </a:lnTo>
                <a:lnTo>
                  <a:pt x="1212" y="782"/>
                </a:lnTo>
                <a:lnTo>
                  <a:pt x="1218" y="778"/>
                </a:lnTo>
                <a:lnTo>
                  <a:pt x="1218" y="778"/>
                </a:lnTo>
                <a:lnTo>
                  <a:pt x="1216" y="772"/>
                </a:lnTo>
                <a:lnTo>
                  <a:pt x="1216" y="772"/>
                </a:lnTo>
                <a:lnTo>
                  <a:pt x="1220" y="772"/>
                </a:lnTo>
                <a:lnTo>
                  <a:pt x="1220" y="770"/>
                </a:lnTo>
                <a:lnTo>
                  <a:pt x="1222" y="770"/>
                </a:lnTo>
                <a:lnTo>
                  <a:pt x="1222" y="770"/>
                </a:lnTo>
                <a:lnTo>
                  <a:pt x="1218" y="764"/>
                </a:lnTo>
                <a:lnTo>
                  <a:pt x="1218" y="764"/>
                </a:lnTo>
                <a:lnTo>
                  <a:pt x="1226" y="762"/>
                </a:lnTo>
                <a:lnTo>
                  <a:pt x="1226" y="764"/>
                </a:lnTo>
                <a:lnTo>
                  <a:pt x="1226" y="764"/>
                </a:lnTo>
                <a:lnTo>
                  <a:pt x="1230" y="766"/>
                </a:lnTo>
                <a:lnTo>
                  <a:pt x="1230" y="766"/>
                </a:lnTo>
                <a:lnTo>
                  <a:pt x="1234" y="762"/>
                </a:lnTo>
                <a:lnTo>
                  <a:pt x="1234" y="760"/>
                </a:lnTo>
                <a:lnTo>
                  <a:pt x="1230" y="762"/>
                </a:lnTo>
                <a:lnTo>
                  <a:pt x="1230" y="762"/>
                </a:lnTo>
                <a:lnTo>
                  <a:pt x="1230" y="758"/>
                </a:lnTo>
                <a:lnTo>
                  <a:pt x="1222" y="756"/>
                </a:lnTo>
                <a:lnTo>
                  <a:pt x="1222" y="756"/>
                </a:lnTo>
                <a:lnTo>
                  <a:pt x="1222" y="752"/>
                </a:lnTo>
                <a:lnTo>
                  <a:pt x="1222" y="752"/>
                </a:lnTo>
                <a:lnTo>
                  <a:pt x="1226" y="752"/>
                </a:lnTo>
                <a:lnTo>
                  <a:pt x="1230" y="750"/>
                </a:lnTo>
                <a:lnTo>
                  <a:pt x="1230" y="750"/>
                </a:lnTo>
                <a:lnTo>
                  <a:pt x="1230" y="748"/>
                </a:lnTo>
                <a:lnTo>
                  <a:pt x="1230" y="748"/>
                </a:lnTo>
                <a:lnTo>
                  <a:pt x="1230" y="746"/>
                </a:lnTo>
                <a:lnTo>
                  <a:pt x="1228" y="744"/>
                </a:lnTo>
                <a:lnTo>
                  <a:pt x="1228" y="744"/>
                </a:lnTo>
                <a:lnTo>
                  <a:pt x="1230" y="744"/>
                </a:lnTo>
                <a:lnTo>
                  <a:pt x="1230" y="742"/>
                </a:lnTo>
                <a:lnTo>
                  <a:pt x="1220" y="738"/>
                </a:lnTo>
                <a:lnTo>
                  <a:pt x="1220" y="738"/>
                </a:lnTo>
                <a:lnTo>
                  <a:pt x="1220" y="734"/>
                </a:lnTo>
                <a:lnTo>
                  <a:pt x="1220" y="734"/>
                </a:lnTo>
                <a:lnTo>
                  <a:pt x="1218" y="732"/>
                </a:lnTo>
                <a:lnTo>
                  <a:pt x="1218" y="732"/>
                </a:lnTo>
                <a:lnTo>
                  <a:pt x="1226" y="730"/>
                </a:lnTo>
                <a:lnTo>
                  <a:pt x="1226" y="730"/>
                </a:lnTo>
                <a:lnTo>
                  <a:pt x="1224" y="726"/>
                </a:lnTo>
                <a:lnTo>
                  <a:pt x="1220" y="722"/>
                </a:lnTo>
                <a:lnTo>
                  <a:pt x="1220" y="722"/>
                </a:lnTo>
                <a:lnTo>
                  <a:pt x="1222" y="722"/>
                </a:lnTo>
                <a:lnTo>
                  <a:pt x="1222" y="720"/>
                </a:lnTo>
                <a:lnTo>
                  <a:pt x="1222" y="720"/>
                </a:lnTo>
                <a:lnTo>
                  <a:pt x="1216" y="714"/>
                </a:lnTo>
                <a:lnTo>
                  <a:pt x="1216" y="714"/>
                </a:lnTo>
                <a:lnTo>
                  <a:pt x="1218" y="712"/>
                </a:lnTo>
                <a:lnTo>
                  <a:pt x="1218" y="712"/>
                </a:lnTo>
                <a:lnTo>
                  <a:pt x="1218" y="706"/>
                </a:lnTo>
                <a:lnTo>
                  <a:pt x="1220" y="706"/>
                </a:lnTo>
                <a:lnTo>
                  <a:pt x="1220" y="706"/>
                </a:lnTo>
                <a:lnTo>
                  <a:pt x="1222" y="698"/>
                </a:lnTo>
                <a:lnTo>
                  <a:pt x="1222" y="688"/>
                </a:lnTo>
                <a:lnTo>
                  <a:pt x="1222" y="688"/>
                </a:lnTo>
                <a:lnTo>
                  <a:pt x="1226" y="688"/>
                </a:lnTo>
                <a:lnTo>
                  <a:pt x="1228" y="686"/>
                </a:lnTo>
                <a:lnTo>
                  <a:pt x="1228" y="686"/>
                </a:lnTo>
                <a:lnTo>
                  <a:pt x="1234" y="686"/>
                </a:lnTo>
                <a:lnTo>
                  <a:pt x="1234" y="686"/>
                </a:lnTo>
                <a:lnTo>
                  <a:pt x="1234" y="684"/>
                </a:lnTo>
                <a:lnTo>
                  <a:pt x="1236" y="682"/>
                </a:lnTo>
                <a:lnTo>
                  <a:pt x="1236" y="682"/>
                </a:lnTo>
                <a:lnTo>
                  <a:pt x="1236" y="686"/>
                </a:lnTo>
                <a:lnTo>
                  <a:pt x="1236" y="686"/>
                </a:lnTo>
                <a:lnTo>
                  <a:pt x="1228" y="696"/>
                </a:lnTo>
                <a:lnTo>
                  <a:pt x="1230" y="698"/>
                </a:lnTo>
                <a:lnTo>
                  <a:pt x="1230" y="698"/>
                </a:lnTo>
                <a:lnTo>
                  <a:pt x="1228" y="700"/>
                </a:lnTo>
                <a:lnTo>
                  <a:pt x="1224" y="702"/>
                </a:lnTo>
                <a:lnTo>
                  <a:pt x="1224" y="702"/>
                </a:lnTo>
                <a:lnTo>
                  <a:pt x="1226" y="704"/>
                </a:lnTo>
                <a:lnTo>
                  <a:pt x="1226" y="706"/>
                </a:lnTo>
                <a:lnTo>
                  <a:pt x="1226" y="706"/>
                </a:lnTo>
                <a:lnTo>
                  <a:pt x="1228" y="708"/>
                </a:lnTo>
                <a:lnTo>
                  <a:pt x="1226" y="708"/>
                </a:lnTo>
                <a:lnTo>
                  <a:pt x="1226" y="708"/>
                </a:lnTo>
                <a:lnTo>
                  <a:pt x="1226" y="712"/>
                </a:lnTo>
                <a:lnTo>
                  <a:pt x="1226" y="716"/>
                </a:lnTo>
                <a:lnTo>
                  <a:pt x="1226" y="716"/>
                </a:lnTo>
                <a:lnTo>
                  <a:pt x="1226" y="716"/>
                </a:lnTo>
                <a:lnTo>
                  <a:pt x="1234" y="714"/>
                </a:lnTo>
                <a:lnTo>
                  <a:pt x="1234" y="714"/>
                </a:lnTo>
                <a:lnTo>
                  <a:pt x="1234" y="720"/>
                </a:lnTo>
                <a:lnTo>
                  <a:pt x="1234" y="720"/>
                </a:lnTo>
                <a:lnTo>
                  <a:pt x="1242" y="718"/>
                </a:lnTo>
                <a:lnTo>
                  <a:pt x="1242" y="716"/>
                </a:lnTo>
                <a:lnTo>
                  <a:pt x="1242" y="716"/>
                </a:lnTo>
                <a:lnTo>
                  <a:pt x="1242" y="714"/>
                </a:lnTo>
                <a:lnTo>
                  <a:pt x="1242" y="712"/>
                </a:lnTo>
                <a:lnTo>
                  <a:pt x="1242" y="712"/>
                </a:lnTo>
                <a:lnTo>
                  <a:pt x="1242" y="710"/>
                </a:lnTo>
                <a:lnTo>
                  <a:pt x="1242" y="710"/>
                </a:lnTo>
                <a:lnTo>
                  <a:pt x="1244" y="710"/>
                </a:lnTo>
                <a:lnTo>
                  <a:pt x="1244" y="710"/>
                </a:lnTo>
                <a:lnTo>
                  <a:pt x="1244" y="706"/>
                </a:lnTo>
                <a:lnTo>
                  <a:pt x="1242" y="706"/>
                </a:lnTo>
                <a:lnTo>
                  <a:pt x="1242" y="706"/>
                </a:lnTo>
                <a:lnTo>
                  <a:pt x="1244" y="702"/>
                </a:lnTo>
                <a:lnTo>
                  <a:pt x="1244" y="700"/>
                </a:lnTo>
                <a:lnTo>
                  <a:pt x="1242" y="700"/>
                </a:lnTo>
                <a:lnTo>
                  <a:pt x="1242" y="700"/>
                </a:lnTo>
                <a:lnTo>
                  <a:pt x="1240" y="694"/>
                </a:lnTo>
                <a:lnTo>
                  <a:pt x="1240" y="694"/>
                </a:lnTo>
                <a:lnTo>
                  <a:pt x="1240" y="694"/>
                </a:lnTo>
                <a:lnTo>
                  <a:pt x="1240" y="688"/>
                </a:lnTo>
                <a:lnTo>
                  <a:pt x="1240" y="688"/>
                </a:lnTo>
                <a:lnTo>
                  <a:pt x="1244" y="690"/>
                </a:lnTo>
                <a:lnTo>
                  <a:pt x="1248" y="694"/>
                </a:lnTo>
                <a:lnTo>
                  <a:pt x="1248" y="694"/>
                </a:lnTo>
                <a:lnTo>
                  <a:pt x="1252" y="694"/>
                </a:lnTo>
                <a:lnTo>
                  <a:pt x="1252" y="694"/>
                </a:lnTo>
                <a:lnTo>
                  <a:pt x="1258" y="682"/>
                </a:lnTo>
                <a:lnTo>
                  <a:pt x="1260" y="684"/>
                </a:lnTo>
                <a:lnTo>
                  <a:pt x="1260" y="684"/>
                </a:lnTo>
                <a:lnTo>
                  <a:pt x="1262" y="678"/>
                </a:lnTo>
                <a:lnTo>
                  <a:pt x="1262" y="678"/>
                </a:lnTo>
                <a:lnTo>
                  <a:pt x="1262" y="668"/>
                </a:lnTo>
                <a:lnTo>
                  <a:pt x="1262" y="668"/>
                </a:lnTo>
                <a:lnTo>
                  <a:pt x="1260" y="668"/>
                </a:lnTo>
                <a:lnTo>
                  <a:pt x="1260" y="668"/>
                </a:lnTo>
                <a:lnTo>
                  <a:pt x="1260" y="664"/>
                </a:lnTo>
                <a:lnTo>
                  <a:pt x="1262" y="664"/>
                </a:lnTo>
                <a:lnTo>
                  <a:pt x="1262" y="662"/>
                </a:lnTo>
                <a:lnTo>
                  <a:pt x="1262" y="662"/>
                </a:lnTo>
                <a:lnTo>
                  <a:pt x="1270" y="654"/>
                </a:lnTo>
                <a:lnTo>
                  <a:pt x="1270" y="652"/>
                </a:lnTo>
                <a:lnTo>
                  <a:pt x="1270" y="652"/>
                </a:lnTo>
                <a:lnTo>
                  <a:pt x="1274" y="652"/>
                </a:lnTo>
                <a:lnTo>
                  <a:pt x="1274" y="652"/>
                </a:lnTo>
                <a:lnTo>
                  <a:pt x="1276" y="652"/>
                </a:lnTo>
                <a:lnTo>
                  <a:pt x="1278" y="650"/>
                </a:lnTo>
                <a:lnTo>
                  <a:pt x="1278" y="650"/>
                </a:lnTo>
                <a:lnTo>
                  <a:pt x="1282" y="650"/>
                </a:lnTo>
                <a:lnTo>
                  <a:pt x="1282" y="650"/>
                </a:lnTo>
                <a:lnTo>
                  <a:pt x="1284" y="646"/>
                </a:lnTo>
                <a:lnTo>
                  <a:pt x="1284" y="646"/>
                </a:lnTo>
                <a:lnTo>
                  <a:pt x="1288" y="646"/>
                </a:lnTo>
                <a:lnTo>
                  <a:pt x="1292" y="646"/>
                </a:lnTo>
                <a:lnTo>
                  <a:pt x="1292" y="648"/>
                </a:lnTo>
                <a:lnTo>
                  <a:pt x="1292" y="648"/>
                </a:lnTo>
                <a:lnTo>
                  <a:pt x="1294" y="648"/>
                </a:lnTo>
                <a:lnTo>
                  <a:pt x="1296" y="648"/>
                </a:lnTo>
                <a:lnTo>
                  <a:pt x="1296" y="648"/>
                </a:lnTo>
                <a:lnTo>
                  <a:pt x="1294" y="646"/>
                </a:lnTo>
                <a:lnTo>
                  <a:pt x="1294" y="644"/>
                </a:lnTo>
                <a:lnTo>
                  <a:pt x="1296" y="640"/>
                </a:lnTo>
                <a:lnTo>
                  <a:pt x="1296" y="640"/>
                </a:lnTo>
                <a:lnTo>
                  <a:pt x="1298" y="640"/>
                </a:lnTo>
                <a:lnTo>
                  <a:pt x="1302" y="640"/>
                </a:lnTo>
                <a:lnTo>
                  <a:pt x="1302" y="640"/>
                </a:lnTo>
                <a:lnTo>
                  <a:pt x="1302" y="644"/>
                </a:lnTo>
                <a:lnTo>
                  <a:pt x="1302" y="644"/>
                </a:lnTo>
                <a:lnTo>
                  <a:pt x="1302" y="644"/>
                </a:lnTo>
                <a:lnTo>
                  <a:pt x="1306" y="644"/>
                </a:lnTo>
                <a:lnTo>
                  <a:pt x="1306" y="644"/>
                </a:lnTo>
                <a:lnTo>
                  <a:pt x="1308" y="642"/>
                </a:lnTo>
                <a:lnTo>
                  <a:pt x="1308" y="642"/>
                </a:lnTo>
                <a:lnTo>
                  <a:pt x="1312" y="642"/>
                </a:lnTo>
                <a:lnTo>
                  <a:pt x="1312" y="642"/>
                </a:lnTo>
                <a:lnTo>
                  <a:pt x="1310" y="638"/>
                </a:lnTo>
                <a:lnTo>
                  <a:pt x="1310" y="638"/>
                </a:lnTo>
                <a:lnTo>
                  <a:pt x="1304" y="636"/>
                </a:lnTo>
                <a:lnTo>
                  <a:pt x="1302" y="634"/>
                </a:lnTo>
                <a:lnTo>
                  <a:pt x="1302" y="634"/>
                </a:lnTo>
                <a:lnTo>
                  <a:pt x="1302" y="632"/>
                </a:lnTo>
                <a:lnTo>
                  <a:pt x="1302" y="632"/>
                </a:lnTo>
                <a:lnTo>
                  <a:pt x="1308" y="630"/>
                </a:lnTo>
                <a:lnTo>
                  <a:pt x="1308" y="630"/>
                </a:lnTo>
                <a:lnTo>
                  <a:pt x="1306" y="624"/>
                </a:lnTo>
                <a:lnTo>
                  <a:pt x="1306" y="622"/>
                </a:lnTo>
                <a:lnTo>
                  <a:pt x="1312" y="616"/>
                </a:lnTo>
                <a:lnTo>
                  <a:pt x="1312" y="614"/>
                </a:lnTo>
                <a:lnTo>
                  <a:pt x="1310" y="614"/>
                </a:lnTo>
                <a:lnTo>
                  <a:pt x="1310" y="614"/>
                </a:lnTo>
                <a:lnTo>
                  <a:pt x="1314" y="606"/>
                </a:lnTo>
                <a:lnTo>
                  <a:pt x="1314" y="606"/>
                </a:lnTo>
                <a:lnTo>
                  <a:pt x="1318" y="606"/>
                </a:lnTo>
                <a:lnTo>
                  <a:pt x="1318" y="606"/>
                </a:lnTo>
                <a:lnTo>
                  <a:pt x="1318" y="608"/>
                </a:lnTo>
                <a:lnTo>
                  <a:pt x="1318" y="606"/>
                </a:lnTo>
                <a:lnTo>
                  <a:pt x="1320" y="604"/>
                </a:lnTo>
                <a:lnTo>
                  <a:pt x="1320" y="604"/>
                </a:lnTo>
                <a:lnTo>
                  <a:pt x="1322" y="606"/>
                </a:lnTo>
                <a:lnTo>
                  <a:pt x="1322" y="608"/>
                </a:lnTo>
                <a:lnTo>
                  <a:pt x="1324" y="608"/>
                </a:lnTo>
                <a:lnTo>
                  <a:pt x="1324" y="608"/>
                </a:lnTo>
                <a:lnTo>
                  <a:pt x="1324" y="604"/>
                </a:lnTo>
                <a:lnTo>
                  <a:pt x="1324" y="604"/>
                </a:lnTo>
                <a:lnTo>
                  <a:pt x="1328" y="606"/>
                </a:lnTo>
                <a:lnTo>
                  <a:pt x="1328" y="606"/>
                </a:lnTo>
                <a:lnTo>
                  <a:pt x="1332" y="594"/>
                </a:lnTo>
                <a:lnTo>
                  <a:pt x="1332" y="594"/>
                </a:lnTo>
                <a:lnTo>
                  <a:pt x="1334" y="600"/>
                </a:lnTo>
                <a:lnTo>
                  <a:pt x="1338" y="600"/>
                </a:lnTo>
                <a:lnTo>
                  <a:pt x="1338" y="600"/>
                </a:lnTo>
                <a:lnTo>
                  <a:pt x="1338" y="596"/>
                </a:lnTo>
                <a:lnTo>
                  <a:pt x="1338" y="596"/>
                </a:lnTo>
                <a:lnTo>
                  <a:pt x="1342" y="600"/>
                </a:lnTo>
                <a:lnTo>
                  <a:pt x="1342" y="600"/>
                </a:lnTo>
                <a:lnTo>
                  <a:pt x="1344" y="598"/>
                </a:lnTo>
                <a:lnTo>
                  <a:pt x="1346" y="598"/>
                </a:lnTo>
                <a:lnTo>
                  <a:pt x="1346" y="598"/>
                </a:lnTo>
                <a:lnTo>
                  <a:pt x="1348" y="594"/>
                </a:lnTo>
                <a:lnTo>
                  <a:pt x="1348" y="594"/>
                </a:lnTo>
                <a:lnTo>
                  <a:pt x="1352" y="592"/>
                </a:lnTo>
                <a:lnTo>
                  <a:pt x="1352" y="592"/>
                </a:lnTo>
                <a:lnTo>
                  <a:pt x="1350" y="582"/>
                </a:lnTo>
                <a:lnTo>
                  <a:pt x="1350" y="582"/>
                </a:lnTo>
                <a:lnTo>
                  <a:pt x="1350" y="582"/>
                </a:lnTo>
                <a:lnTo>
                  <a:pt x="1350" y="582"/>
                </a:lnTo>
                <a:lnTo>
                  <a:pt x="1350" y="580"/>
                </a:lnTo>
                <a:lnTo>
                  <a:pt x="1350" y="580"/>
                </a:lnTo>
                <a:lnTo>
                  <a:pt x="1348" y="580"/>
                </a:lnTo>
                <a:lnTo>
                  <a:pt x="1348" y="580"/>
                </a:lnTo>
                <a:lnTo>
                  <a:pt x="1348" y="578"/>
                </a:lnTo>
                <a:lnTo>
                  <a:pt x="1346" y="576"/>
                </a:lnTo>
                <a:lnTo>
                  <a:pt x="1348" y="572"/>
                </a:lnTo>
                <a:lnTo>
                  <a:pt x="1348" y="572"/>
                </a:lnTo>
                <a:lnTo>
                  <a:pt x="1346" y="570"/>
                </a:lnTo>
                <a:lnTo>
                  <a:pt x="1344" y="570"/>
                </a:lnTo>
                <a:lnTo>
                  <a:pt x="1342" y="570"/>
                </a:lnTo>
                <a:lnTo>
                  <a:pt x="1342" y="570"/>
                </a:lnTo>
                <a:lnTo>
                  <a:pt x="1342" y="564"/>
                </a:lnTo>
                <a:lnTo>
                  <a:pt x="1342" y="550"/>
                </a:lnTo>
                <a:lnTo>
                  <a:pt x="1342" y="550"/>
                </a:lnTo>
                <a:lnTo>
                  <a:pt x="1342" y="546"/>
                </a:lnTo>
                <a:lnTo>
                  <a:pt x="1340" y="544"/>
                </a:lnTo>
                <a:lnTo>
                  <a:pt x="1334" y="540"/>
                </a:lnTo>
                <a:lnTo>
                  <a:pt x="1334" y="540"/>
                </a:lnTo>
                <a:lnTo>
                  <a:pt x="1330" y="540"/>
                </a:lnTo>
                <a:lnTo>
                  <a:pt x="1328" y="544"/>
                </a:lnTo>
                <a:lnTo>
                  <a:pt x="1326" y="546"/>
                </a:lnTo>
                <a:lnTo>
                  <a:pt x="1326" y="544"/>
                </a:lnTo>
                <a:lnTo>
                  <a:pt x="1326" y="544"/>
                </a:lnTo>
                <a:lnTo>
                  <a:pt x="1324" y="540"/>
                </a:lnTo>
                <a:lnTo>
                  <a:pt x="1322" y="540"/>
                </a:lnTo>
                <a:lnTo>
                  <a:pt x="1320" y="542"/>
                </a:lnTo>
                <a:lnTo>
                  <a:pt x="1318" y="550"/>
                </a:lnTo>
                <a:lnTo>
                  <a:pt x="1318" y="550"/>
                </a:lnTo>
                <a:lnTo>
                  <a:pt x="1314" y="554"/>
                </a:lnTo>
                <a:lnTo>
                  <a:pt x="1314" y="560"/>
                </a:lnTo>
                <a:lnTo>
                  <a:pt x="1314" y="560"/>
                </a:lnTo>
                <a:lnTo>
                  <a:pt x="1312" y="562"/>
                </a:lnTo>
                <a:lnTo>
                  <a:pt x="1308" y="566"/>
                </a:lnTo>
                <a:lnTo>
                  <a:pt x="1302" y="572"/>
                </a:lnTo>
                <a:lnTo>
                  <a:pt x="1302" y="572"/>
                </a:lnTo>
                <a:lnTo>
                  <a:pt x="1298" y="574"/>
                </a:lnTo>
                <a:lnTo>
                  <a:pt x="1298" y="576"/>
                </a:lnTo>
                <a:lnTo>
                  <a:pt x="1298" y="576"/>
                </a:lnTo>
                <a:lnTo>
                  <a:pt x="1280" y="580"/>
                </a:lnTo>
                <a:lnTo>
                  <a:pt x="1258" y="582"/>
                </a:lnTo>
                <a:lnTo>
                  <a:pt x="1258" y="582"/>
                </a:lnTo>
                <a:lnTo>
                  <a:pt x="1254" y="580"/>
                </a:lnTo>
                <a:lnTo>
                  <a:pt x="1244" y="586"/>
                </a:lnTo>
                <a:lnTo>
                  <a:pt x="1244" y="586"/>
                </a:lnTo>
                <a:lnTo>
                  <a:pt x="1234" y="592"/>
                </a:lnTo>
                <a:lnTo>
                  <a:pt x="1232" y="594"/>
                </a:lnTo>
                <a:lnTo>
                  <a:pt x="1232" y="594"/>
                </a:lnTo>
                <a:lnTo>
                  <a:pt x="1232" y="596"/>
                </a:lnTo>
                <a:lnTo>
                  <a:pt x="1236" y="592"/>
                </a:lnTo>
                <a:lnTo>
                  <a:pt x="1236" y="592"/>
                </a:lnTo>
                <a:lnTo>
                  <a:pt x="1236" y="594"/>
                </a:lnTo>
                <a:lnTo>
                  <a:pt x="1236" y="598"/>
                </a:lnTo>
                <a:lnTo>
                  <a:pt x="1236" y="598"/>
                </a:lnTo>
                <a:lnTo>
                  <a:pt x="1230" y="600"/>
                </a:lnTo>
                <a:lnTo>
                  <a:pt x="1230" y="600"/>
                </a:lnTo>
                <a:lnTo>
                  <a:pt x="1232" y="602"/>
                </a:lnTo>
                <a:lnTo>
                  <a:pt x="1232" y="606"/>
                </a:lnTo>
                <a:lnTo>
                  <a:pt x="1232" y="606"/>
                </a:lnTo>
                <a:lnTo>
                  <a:pt x="1228" y="608"/>
                </a:lnTo>
                <a:lnTo>
                  <a:pt x="1228" y="608"/>
                </a:lnTo>
                <a:lnTo>
                  <a:pt x="1230" y="610"/>
                </a:lnTo>
                <a:lnTo>
                  <a:pt x="1228" y="612"/>
                </a:lnTo>
                <a:lnTo>
                  <a:pt x="1228" y="612"/>
                </a:lnTo>
                <a:lnTo>
                  <a:pt x="1224" y="612"/>
                </a:lnTo>
                <a:lnTo>
                  <a:pt x="1220" y="614"/>
                </a:lnTo>
                <a:lnTo>
                  <a:pt x="1220" y="614"/>
                </a:lnTo>
                <a:lnTo>
                  <a:pt x="1218" y="616"/>
                </a:lnTo>
                <a:lnTo>
                  <a:pt x="1218" y="616"/>
                </a:lnTo>
                <a:lnTo>
                  <a:pt x="1216" y="616"/>
                </a:lnTo>
                <a:lnTo>
                  <a:pt x="1212" y="616"/>
                </a:lnTo>
                <a:lnTo>
                  <a:pt x="1210" y="618"/>
                </a:lnTo>
                <a:lnTo>
                  <a:pt x="1210" y="618"/>
                </a:lnTo>
                <a:lnTo>
                  <a:pt x="1200" y="616"/>
                </a:lnTo>
                <a:lnTo>
                  <a:pt x="1190" y="616"/>
                </a:lnTo>
                <a:lnTo>
                  <a:pt x="1190" y="616"/>
                </a:lnTo>
                <a:lnTo>
                  <a:pt x="1190" y="618"/>
                </a:lnTo>
                <a:lnTo>
                  <a:pt x="1188" y="620"/>
                </a:lnTo>
                <a:lnTo>
                  <a:pt x="1188" y="620"/>
                </a:lnTo>
                <a:lnTo>
                  <a:pt x="1192" y="624"/>
                </a:lnTo>
                <a:lnTo>
                  <a:pt x="1192" y="624"/>
                </a:lnTo>
                <a:lnTo>
                  <a:pt x="1186" y="630"/>
                </a:lnTo>
                <a:lnTo>
                  <a:pt x="1180" y="636"/>
                </a:lnTo>
                <a:lnTo>
                  <a:pt x="1180" y="636"/>
                </a:lnTo>
                <a:lnTo>
                  <a:pt x="1174" y="636"/>
                </a:lnTo>
                <a:lnTo>
                  <a:pt x="1174" y="636"/>
                </a:lnTo>
                <a:lnTo>
                  <a:pt x="1170" y="640"/>
                </a:lnTo>
                <a:lnTo>
                  <a:pt x="1170" y="640"/>
                </a:lnTo>
                <a:lnTo>
                  <a:pt x="1164" y="640"/>
                </a:lnTo>
                <a:lnTo>
                  <a:pt x="1158" y="642"/>
                </a:lnTo>
                <a:lnTo>
                  <a:pt x="1158" y="644"/>
                </a:lnTo>
                <a:lnTo>
                  <a:pt x="1158" y="644"/>
                </a:lnTo>
                <a:lnTo>
                  <a:pt x="1154" y="648"/>
                </a:lnTo>
                <a:lnTo>
                  <a:pt x="1146" y="652"/>
                </a:lnTo>
                <a:lnTo>
                  <a:pt x="1146" y="652"/>
                </a:lnTo>
                <a:lnTo>
                  <a:pt x="1142" y="652"/>
                </a:lnTo>
                <a:lnTo>
                  <a:pt x="1138" y="650"/>
                </a:lnTo>
                <a:lnTo>
                  <a:pt x="1138" y="650"/>
                </a:lnTo>
                <a:lnTo>
                  <a:pt x="1140" y="650"/>
                </a:lnTo>
                <a:lnTo>
                  <a:pt x="1140" y="648"/>
                </a:lnTo>
                <a:lnTo>
                  <a:pt x="1140" y="648"/>
                </a:lnTo>
                <a:lnTo>
                  <a:pt x="1138" y="648"/>
                </a:lnTo>
                <a:lnTo>
                  <a:pt x="1138" y="648"/>
                </a:lnTo>
                <a:lnTo>
                  <a:pt x="1136" y="646"/>
                </a:lnTo>
                <a:lnTo>
                  <a:pt x="1136" y="644"/>
                </a:lnTo>
                <a:lnTo>
                  <a:pt x="1136" y="644"/>
                </a:lnTo>
                <a:lnTo>
                  <a:pt x="1132" y="646"/>
                </a:lnTo>
                <a:lnTo>
                  <a:pt x="1132" y="642"/>
                </a:lnTo>
                <a:lnTo>
                  <a:pt x="1132" y="642"/>
                </a:lnTo>
                <a:lnTo>
                  <a:pt x="1138" y="638"/>
                </a:lnTo>
                <a:lnTo>
                  <a:pt x="1138" y="638"/>
                </a:lnTo>
                <a:lnTo>
                  <a:pt x="1138" y="636"/>
                </a:lnTo>
                <a:lnTo>
                  <a:pt x="1138" y="636"/>
                </a:lnTo>
                <a:lnTo>
                  <a:pt x="1142" y="632"/>
                </a:lnTo>
                <a:lnTo>
                  <a:pt x="1144" y="630"/>
                </a:lnTo>
                <a:lnTo>
                  <a:pt x="1144" y="628"/>
                </a:lnTo>
                <a:lnTo>
                  <a:pt x="1144" y="628"/>
                </a:lnTo>
                <a:lnTo>
                  <a:pt x="1146" y="622"/>
                </a:lnTo>
                <a:lnTo>
                  <a:pt x="1146" y="618"/>
                </a:lnTo>
                <a:lnTo>
                  <a:pt x="1146" y="618"/>
                </a:lnTo>
                <a:lnTo>
                  <a:pt x="1144" y="620"/>
                </a:lnTo>
                <a:lnTo>
                  <a:pt x="1144" y="620"/>
                </a:lnTo>
                <a:lnTo>
                  <a:pt x="1146" y="620"/>
                </a:lnTo>
                <a:lnTo>
                  <a:pt x="1144" y="614"/>
                </a:lnTo>
                <a:lnTo>
                  <a:pt x="1144" y="614"/>
                </a:lnTo>
                <a:lnTo>
                  <a:pt x="1142" y="606"/>
                </a:lnTo>
                <a:lnTo>
                  <a:pt x="1140" y="604"/>
                </a:lnTo>
                <a:lnTo>
                  <a:pt x="1134" y="602"/>
                </a:lnTo>
                <a:lnTo>
                  <a:pt x="1134" y="602"/>
                </a:lnTo>
                <a:lnTo>
                  <a:pt x="1132" y="606"/>
                </a:lnTo>
                <a:lnTo>
                  <a:pt x="1132" y="606"/>
                </a:lnTo>
                <a:lnTo>
                  <a:pt x="1130" y="608"/>
                </a:lnTo>
                <a:lnTo>
                  <a:pt x="1130" y="608"/>
                </a:lnTo>
                <a:lnTo>
                  <a:pt x="1128" y="608"/>
                </a:lnTo>
                <a:lnTo>
                  <a:pt x="1126" y="606"/>
                </a:lnTo>
                <a:lnTo>
                  <a:pt x="1126" y="604"/>
                </a:lnTo>
                <a:lnTo>
                  <a:pt x="1130" y="604"/>
                </a:lnTo>
                <a:lnTo>
                  <a:pt x="1130" y="604"/>
                </a:lnTo>
                <a:lnTo>
                  <a:pt x="1132" y="596"/>
                </a:lnTo>
                <a:lnTo>
                  <a:pt x="1134" y="590"/>
                </a:lnTo>
                <a:lnTo>
                  <a:pt x="1134" y="586"/>
                </a:lnTo>
                <a:lnTo>
                  <a:pt x="1134" y="586"/>
                </a:lnTo>
                <a:lnTo>
                  <a:pt x="1130" y="582"/>
                </a:lnTo>
                <a:lnTo>
                  <a:pt x="1130" y="582"/>
                </a:lnTo>
                <a:lnTo>
                  <a:pt x="1130" y="580"/>
                </a:lnTo>
                <a:lnTo>
                  <a:pt x="1132" y="578"/>
                </a:lnTo>
                <a:lnTo>
                  <a:pt x="1132" y="578"/>
                </a:lnTo>
                <a:lnTo>
                  <a:pt x="1128" y="574"/>
                </a:lnTo>
                <a:lnTo>
                  <a:pt x="1128" y="574"/>
                </a:lnTo>
                <a:lnTo>
                  <a:pt x="1124" y="574"/>
                </a:lnTo>
                <a:lnTo>
                  <a:pt x="1124" y="574"/>
                </a:lnTo>
                <a:lnTo>
                  <a:pt x="1120" y="570"/>
                </a:lnTo>
                <a:lnTo>
                  <a:pt x="1118" y="568"/>
                </a:lnTo>
                <a:lnTo>
                  <a:pt x="1118" y="568"/>
                </a:lnTo>
                <a:lnTo>
                  <a:pt x="1114" y="568"/>
                </a:lnTo>
                <a:lnTo>
                  <a:pt x="1114" y="568"/>
                </a:lnTo>
                <a:lnTo>
                  <a:pt x="1112" y="570"/>
                </a:lnTo>
                <a:lnTo>
                  <a:pt x="1112" y="570"/>
                </a:lnTo>
                <a:lnTo>
                  <a:pt x="1112" y="574"/>
                </a:lnTo>
                <a:lnTo>
                  <a:pt x="1112" y="574"/>
                </a:lnTo>
                <a:lnTo>
                  <a:pt x="1110" y="576"/>
                </a:lnTo>
                <a:lnTo>
                  <a:pt x="1108" y="576"/>
                </a:lnTo>
                <a:lnTo>
                  <a:pt x="1108" y="576"/>
                </a:lnTo>
                <a:lnTo>
                  <a:pt x="1106" y="578"/>
                </a:lnTo>
                <a:lnTo>
                  <a:pt x="1104" y="582"/>
                </a:lnTo>
                <a:lnTo>
                  <a:pt x="1104" y="582"/>
                </a:lnTo>
                <a:lnTo>
                  <a:pt x="1098" y="584"/>
                </a:lnTo>
                <a:lnTo>
                  <a:pt x="1098" y="584"/>
                </a:lnTo>
                <a:lnTo>
                  <a:pt x="1096" y="598"/>
                </a:lnTo>
                <a:lnTo>
                  <a:pt x="1096" y="598"/>
                </a:lnTo>
                <a:lnTo>
                  <a:pt x="1094" y="598"/>
                </a:lnTo>
                <a:lnTo>
                  <a:pt x="1092" y="600"/>
                </a:lnTo>
                <a:lnTo>
                  <a:pt x="1092" y="600"/>
                </a:lnTo>
                <a:lnTo>
                  <a:pt x="1092" y="606"/>
                </a:lnTo>
                <a:lnTo>
                  <a:pt x="1092" y="614"/>
                </a:lnTo>
                <a:lnTo>
                  <a:pt x="1096" y="616"/>
                </a:lnTo>
                <a:lnTo>
                  <a:pt x="1096" y="616"/>
                </a:lnTo>
                <a:lnTo>
                  <a:pt x="1096" y="626"/>
                </a:lnTo>
                <a:lnTo>
                  <a:pt x="1086" y="644"/>
                </a:lnTo>
                <a:lnTo>
                  <a:pt x="1086" y="644"/>
                </a:lnTo>
                <a:lnTo>
                  <a:pt x="1082" y="644"/>
                </a:lnTo>
                <a:lnTo>
                  <a:pt x="1080" y="644"/>
                </a:lnTo>
                <a:lnTo>
                  <a:pt x="1080" y="644"/>
                </a:lnTo>
                <a:lnTo>
                  <a:pt x="1076" y="642"/>
                </a:lnTo>
                <a:lnTo>
                  <a:pt x="1076" y="642"/>
                </a:lnTo>
                <a:lnTo>
                  <a:pt x="1076" y="636"/>
                </a:lnTo>
                <a:lnTo>
                  <a:pt x="1074" y="632"/>
                </a:lnTo>
                <a:lnTo>
                  <a:pt x="1074" y="632"/>
                </a:lnTo>
                <a:lnTo>
                  <a:pt x="1072" y="616"/>
                </a:lnTo>
                <a:lnTo>
                  <a:pt x="1074" y="608"/>
                </a:lnTo>
                <a:lnTo>
                  <a:pt x="1076" y="602"/>
                </a:lnTo>
                <a:lnTo>
                  <a:pt x="1076" y="602"/>
                </a:lnTo>
                <a:lnTo>
                  <a:pt x="1080" y="594"/>
                </a:lnTo>
                <a:lnTo>
                  <a:pt x="1080" y="594"/>
                </a:lnTo>
                <a:lnTo>
                  <a:pt x="1082" y="588"/>
                </a:lnTo>
                <a:lnTo>
                  <a:pt x="1082" y="582"/>
                </a:lnTo>
                <a:lnTo>
                  <a:pt x="1082" y="582"/>
                </a:lnTo>
                <a:lnTo>
                  <a:pt x="1080" y="584"/>
                </a:lnTo>
                <a:lnTo>
                  <a:pt x="1076" y="586"/>
                </a:lnTo>
                <a:lnTo>
                  <a:pt x="1076" y="586"/>
                </a:lnTo>
                <a:lnTo>
                  <a:pt x="1076" y="590"/>
                </a:lnTo>
                <a:lnTo>
                  <a:pt x="1076" y="590"/>
                </a:lnTo>
                <a:lnTo>
                  <a:pt x="1074" y="592"/>
                </a:lnTo>
                <a:lnTo>
                  <a:pt x="1072" y="592"/>
                </a:lnTo>
                <a:lnTo>
                  <a:pt x="1072" y="592"/>
                </a:lnTo>
                <a:lnTo>
                  <a:pt x="1072" y="586"/>
                </a:lnTo>
                <a:lnTo>
                  <a:pt x="1072" y="586"/>
                </a:lnTo>
                <a:lnTo>
                  <a:pt x="1074" y="584"/>
                </a:lnTo>
                <a:lnTo>
                  <a:pt x="1078" y="582"/>
                </a:lnTo>
                <a:lnTo>
                  <a:pt x="1078" y="582"/>
                </a:lnTo>
                <a:lnTo>
                  <a:pt x="1078" y="576"/>
                </a:lnTo>
                <a:lnTo>
                  <a:pt x="1078" y="576"/>
                </a:lnTo>
                <a:lnTo>
                  <a:pt x="1084" y="566"/>
                </a:lnTo>
                <a:lnTo>
                  <a:pt x="1084" y="566"/>
                </a:lnTo>
                <a:lnTo>
                  <a:pt x="1088" y="568"/>
                </a:lnTo>
                <a:lnTo>
                  <a:pt x="1090" y="568"/>
                </a:lnTo>
                <a:lnTo>
                  <a:pt x="1090" y="564"/>
                </a:lnTo>
                <a:lnTo>
                  <a:pt x="1090" y="564"/>
                </a:lnTo>
                <a:lnTo>
                  <a:pt x="1096" y="566"/>
                </a:lnTo>
                <a:lnTo>
                  <a:pt x="1102" y="564"/>
                </a:lnTo>
                <a:lnTo>
                  <a:pt x="1102" y="564"/>
                </a:lnTo>
                <a:lnTo>
                  <a:pt x="1104" y="560"/>
                </a:lnTo>
                <a:lnTo>
                  <a:pt x="1104" y="560"/>
                </a:lnTo>
                <a:lnTo>
                  <a:pt x="1106" y="560"/>
                </a:lnTo>
                <a:lnTo>
                  <a:pt x="1108" y="562"/>
                </a:lnTo>
                <a:lnTo>
                  <a:pt x="1112" y="564"/>
                </a:lnTo>
                <a:lnTo>
                  <a:pt x="1112" y="564"/>
                </a:lnTo>
                <a:lnTo>
                  <a:pt x="1116" y="564"/>
                </a:lnTo>
                <a:lnTo>
                  <a:pt x="1116" y="564"/>
                </a:lnTo>
                <a:lnTo>
                  <a:pt x="1116" y="562"/>
                </a:lnTo>
                <a:lnTo>
                  <a:pt x="1116" y="562"/>
                </a:lnTo>
                <a:lnTo>
                  <a:pt x="1116" y="562"/>
                </a:lnTo>
                <a:lnTo>
                  <a:pt x="1120" y="562"/>
                </a:lnTo>
                <a:lnTo>
                  <a:pt x="1120" y="564"/>
                </a:lnTo>
                <a:lnTo>
                  <a:pt x="1120" y="564"/>
                </a:lnTo>
                <a:lnTo>
                  <a:pt x="1124" y="564"/>
                </a:lnTo>
                <a:lnTo>
                  <a:pt x="1124" y="564"/>
                </a:lnTo>
                <a:lnTo>
                  <a:pt x="1124" y="562"/>
                </a:lnTo>
                <a:lnTo>
                  <a:pt x="1124" y="562"/>
                </a:lnTo>
                <a:lnTo>
                  <a:pt x="1120" y="556"/>
                </a:lnTo>
                <a:lnTo>
                  <a:pt x="1112" y="556"/>
                </a:lnTo>
                <a:lnTo>
                  <a:pt x="1112" y="556"/>
                </a:lnTo>
                <a:lnTo>
                  <a:pt x="1110" y="546"/>
                </a:lnTo>
                <a:lnTo>
                  <a:pt x="1110" y="546"/>
                </a:lnTo>
                <a:lnTo>
                  <a:pt x="1096" y="552"/>
                </a:lnTo>
                <a:lnTo>
                  <a:pt x="1086" y="554"/>
                </a:lnTo>
                <a:lnTo>
                  <a:pt x="1078" y="552"/>
                </a:lnTo>
                <a:lnTo>
                  <a:pt x="1078" y="552"/>
                </a:lnTo>
                <a:lnTo>
                  <a:pt x="1076" y="544"/>
                </a:lnTo>
                <a:lnTo>
                  <a:pt x="1076" y="544"/>
                </a:lnTo>
                <a:lnTo>
                  <a:pt x="1066" y="546"/>
                </a:lnTo>
                <a:lnTo>
                  <a:pt x="1066" y="546"/>
                </a:lnTo>
                <a:lnTo>
                  <a:pt x="1064" y="544"/>
                </a:lnTo>
                <a:lnTo>
                  <a:pt x="1064" y="542"/>
                </a:lnTo>
                <a:lnTo>
                  <a:pt x="1064" y="542"/>
                </a:lnTo>
                <a:lnTo>
                  <a:pt x="1064" y="540"/>
                </a:lnTo>
                <a:lnTo>
                  <a:pt x="1064" y="540"/>
                </a:lnTo>
                <a:lnTo>
                  <a:pt x="1066" y="540"/>
                </a:lnTo>
                <a:lnTo>
                  <a:pt x="1068" y="540"/>
                </a:lnTo>
                <a:lnTo>
                  <a:pt x="1068" y="540"/>
                </a:lnTo>
                <a:lnTo>
                  <a:pt x="1072" y="538"/>
                </a:lnTo>
                <a:lnTo>
                  <a:pt x="1074" y="534"/>
                </a:lnTo>
                <a:lnTo>
                  <a:pt x="1074" y="534"/>
                </a:lnTo>
                <a:lnTo>
                  <a:pt x="1072" y="534"/>
                </a:lnTo>
                <a:lnTo>
                  <a:pt x="1068" y="532"/>
                </a:lnTo>
                <a:lnTo>
                  <a:pt x="1068" y="534"/>
                </a:lnTo>
                <a:lnTo>
                  <a:pt x="1068" y="534"/>
                </a:lnTo>
                <a:lnTo>
                  <a:pt x="1062" y="536"/>
                </a:lnTo>
                <a:lnTo>
                  <a:pt x="1062" y="538"/>
                </a:lnTo>
                <a:lnTo>
                  <a:pt x="1054" y="544"/>
                </a:lnTo>
                <a:lnTo>
                  <a:pt x="1054" y="544"/>
                </a:lnTo>
                <a:lnTo>
                  <a:pt x="1046" y="546"/>
                </a:lnTo>
                <a:lnTo>
                  <a:pt x="1046" y="546"/>
                </a:lnTo>
                <a:lnTo>
                  <a:pt x="1044" y="550"/>
                </a:lnTo>
                <a:lnTo>
                  <a:pt x="1044" y="550"/>
                </a:lnTo>
                <a:lnTo>
                  <a:pt x="1040" y="550"/>
                </a:lnTo>
                <a:lnTo>
                  <a:pt x="1038" y="550"/>
                </a:lnTo>
                <a:lnTo>
                  <a:pt x="1034" y="546"/>
                </a:lnTo>
                <a:lnTo>
                  <a:pt x="1034" y="544"/>
                </a:lnTo>
                <a:lnTo>
                  <a:pt x="1034" y="544"/>
                </a:lnTo>
                <a:lnTo>
                  <a:pt x="1028" y="546"/>
                </a:lnTo>
                <a:lnTo>
                  <a:pt x="1024" y="546"/>
                </a:lnTo>
                <a:lnTo>
                  <a:pt x="1024" y="546"/>
                </a:lnTo>
                <a:lnTo>
                  <a:pt x="1018" y="546"/>
                </a:lnTo>
                <a:lnTo>
                  <a:pt x="1018" y="546"/>
                </a:lnTo>
                <a:lnTo>
                  <a:pt x="1026" y="540"/>
                </a:lnTo>
                <a:lnTo>
                  <a:pt x="1026" y="540"/>
                </a:lnTo>
                <a:lnTo>
                  <a:pt x="1028" y="536"/>
                </a:lnTo>
                <a:lnTo>
                  <a:pt x="1028" y="536"/>
                </a:lnTo>
                <a:lnTo>
                  <a:pt x="1032" y="536"/>
                </a:lnTo>
                <a:lnTo>
                  <a:pt x="1032" y="536"/>
                </a:lnTo>
                <a:lnTo>
                  <a:pt x="1038" y="530"/>
                </a:lnTo>
                <a:lnTo>
                  <a:pt x="1038" y="530"/>
                </a:lnTo>
                <a:lnTo>
                  <a:pt x="1042" y="530"/>
                </a:lnTo>
                <a:lnTo>
                  <a:pt x="1042" y="530"/>
                </a:lnTo>
                <a:lnTo>
                  <a:pt x="1044" y="526"/>
                </a:lnTo>
                <a:lnTo>
                  <a:pt x="1044" y="526"/>
                </a:lnTo>
                <a:lnTo>
                  <a:pt x="1050" y="522"/>
                </a:lnTo>
                <a:lnTo>
                  <a:pt x="1050" y="522"/>
                </a:lnTo>
                <a:lnTo>
                  <a:pt x="1048" y="522"/>
                </a:lnTo>
                <a:lnTo>
                  <a:pt x="1044" y="520"/>
                </a:lnTo>
                <a:lnTo>
                  <a:pt x="1044" y="520"/>
                </a:lnTo>
                <a:lnTo>
                  <a:pt x="1042" y="518"/>
                </a:lnTo>
                <a:lnTo>
                  <a:pt x="1040" y="518"/>
                </a:lnTo>
                <a:lnTo>
                  <a:pt x="1036" y="518"/>
                </a:lnTo>
                <a:lnTo>
                  <a:pt x="1036" y="518"/>
                </a:lnTo>
                <a:lnTo>
                  <a:pt x="1028" y="518"/>
                </a:lnTo>
                <a:lnTo>
                  <a:pt x="1028" y="518"/>
                </a:lnTo>
                <a:lnTo>
                  <a:pt x="1024" y="518"/>
                </a:lnTo>
                <a:lnTo>
                  <a:pt x="1020" y="518"/>
                </a:lnTo>
                <a:lnTo>
                  <a:pt x="1020" y="518"/>
                </a:lnTo>
                <a:lnTo>
                  <a:pt x="1016" y="514"/>
                </a:lnTo>
                <a:lnTo>
                  <a:pt x="1010" y="512"/>
                </a:lnTo>
                <a:lnTo>
                  <a:pt x="1010" y="512"/>
                </a:lnTo>
                <a:lnTo>
                  <a:pt x="1006" y="512"/>
                </a:lnTo>
                <a:lnTo>
                  <a:pt x="1004" y="512"/>
                </a:lnTo>
                <a:lnTo>
                  <a:pt x="1004" y="514"/>
                </a:lnTo>
                <a:lnTo>
                  <a:pt x="1004" y="514"/>
                </a:lnTo>
                <a:lnTo>
                  <a:pt x="1002" y="516"/>
                </a:lnTo>
                <a:lnTo>
                  <a:pt x="1000" y="516"/>
                </a:lnTo>
                <a:lnTo>
                  <a:pt x="994" y="512"/>
                </a:lnTo>
                <a:lnTo>
                  <a:pt x="994" y="512"/>
                </a:lnTo>
                <a:lnTo>
                  <a:pt x="990" y="512"/>
                </a:lnTo>
                <a:lnTo>
                  <a:pt x="988" y="512"/>
                </a:lnTo>
                <a:lnTo>
                  <a:pt x="988" y="512"/>
                </a:lnTo>
                <a:lnTo>
                  <a:pt x="986" y="506"/>
                </a:lnTo>
                <a:lnTo>
                  <a:pt x="984" y="500"/>
                </a:lnTo>
                <a:lnTo>
                  <a:pt x="982" y="498"/>
                </a:lnTo>
                <a:lnTo>
                  <a:pt x="982" y="498"/>
                </a:lnTo>
                <a:lnTo>
                  <a:pt x="980" y="500"/>
                </a:lnTo>
                <a:lnTo>
                  <a:pt x="980" y="502"/>
                </a:lnTo>
                <a:lnTo>
                  <a:pt x="978" y="506"/>
                </a:lnTo>
                <a:lnTo>
                  <a:pt x="612" y="500"/>
                </a:lnTo>
                <a:lnTo>
                  <a:pt x="612" y="500"/>
                </a:lnTo>
                <a:lnTo>
                  <a:pt x="610" y="504"/>
                </a:lnTo>
                <a:lnTo>
                  <a:pt x="610" y="504"/>
                </a:lnTo>
                <a:lnTo>
                  <a:pt x="606" y="506"/>
                </a:lnTo>
                <a:lnTo>
                  <a:pt x="606" y="508"/>
                </a:lnTo>
                <a:lnTo>
                  <a:pt x="606" y="508"/>
                </a:lnTo>
                <a:lnTo>
                  <a:pt x="610" y="512"/>
                </a:lnTo>
                <a:lnTo>
                  <a:pt x="610" y="512"/>
                </a:lnTo>
                <a:lnTo>
                  <a:pt x="604" y="514"/>
                </a:lnTo>
                <a:lnTo>
                  <a:pt x="604" y="516"/>
                </a:lnTo>
                <a:lnTo>
                  <a:pt x="604" y="516"/>
                </a:lnTo>
                <a:lnTo>
                  <a:pt x="592" y="514"/>
                </a:lnTo>
                <a:lnTo>
                  <a:pt x="578" y="512"/>
                </a:lnTo>
                <a:lnTo>
                  <a:pt x="578" y="512"/>
                </a:lnTo>
                <a:lnTo>
                  <a:pt x="580" y="518"/>
                </a:lnTo>
                <a:lnTo>
                  <a:pt x="580" y="522"/>
                </a:lnTo>
                <a:lnTo>
                  <a:pt x="580" y="522"/>
                </a:lnTo>
                <a:lnTo>
                  <a:pt x="584" y="526"/>
                </a:lnTo>
                <a:lnTo>
                  <a:pt x="586" y="528"/>
                </a:lnTo>
                <a:lnTo>
                  <a:pt x="586" y="528"/>
                </a:lnTo>
                <a:lnTo>
                  <a:pt x="588" y="532"/>
                </a:lnTo>
                <a:lnTo>
                  <a:pt x="588" y="538"/>
                </a:lnTo>
                <a:lnTo>
                  <a:pt x="590" y="538"/>
                </a:lnTo>
                <a:lnTo>
                  <a:pt x="590" y="538"/>
                </a:lnTo>
                <a:lnTo>
                  <a:pt x="590" y="540"/>
                </a:lnTo>
                <a:lnTo>
                  <a:pt x="590" y="542"/>
                </a:lnTo>
                <a:lnTo>
                  <a:pt x="590" y="542"/>
                </a:lnTo>
                <a:lnTo>
                  <a:pt x="592" y="542"/>
                </a:lnTo>
                <a:lnTo>
                  <a:pt x="592" y="542"/>
                </a:lnTo>
                <a:lnTo>
                  <a:pt x="592" y="550"/>
                </a:lnTo>
                <a:lnTo>
                  <a:pt x="590" y="548"/>
                </a:lnTo>
                <a:lnTo>
                  <a:pt x="590" y="548"/>
                </a:lnTo>
                <a:lnTo>
                  <a:pt x="590" y="554"/>
                </a:lnTo>
                <a:lnTo>
                  <a:pt x="592" y="556"/>
                </a:lnTo>
                <a:lnTo>
                  <a:pt x="592" y="556"/>
                </a:lnTo>
                <a:lnTo>
                  <a:pt x="592" y="558"/>
                </a:lnTo>
                <a:lnTo>
                  <a:pt x="592" y="558"/>
                </a:lnTo>
                <a:lnTo>
                  <a:pt x="590" y="558"/>
                </a:lnTo>
                <a:lnTo>
                  <a:pt x="590" y="558"/>
                </a:lnTo>
                <a:lnTo>
                  <a:pt x="590" y="572"/>
                </a:lnTo>
                <a:lnTo>
                  <a:pt x="590" y="584"/>
                </a:lnTo>
                <a:lnTo>
                  <a:pt x="588" y="586"/>
                </a:lnTo>
                <a:lnTo>
                  <a:pt x="588" y="586"/>
                </a:lnTo>
                <a:lnTo>
                  <a:pt x="588" y="592"/>
                </a:lnTo>
                <a:lnTo>
                  <a:pt x="588" y="592"/>
                </a:lnTo>
                <a:lnTo>
                  <a:pt x="590" y="592"/>
                </a:lnTo>
                <a:lnTo>
                  <a:pt x="588" y="592"/>
                </a:lnTo>
                <a:lnTo>
                  <a:pt x="588" y="592"/>
                </a:lnTo>
                <a:lnTo>
                  <a:pt x="588" y="612"/>
                </a:lnTo>
                <a:lnTo>
                  <a:pt x="588" y="612"/>
                </a:lnTo>
                <a:lnTo>
                  <a:pt x="586" y="612"/>
                </a:lnTo>
                <a:lnTo>
                  <a:pt x="586" y="612"/>
                </a:lnTo>
                <a:lnTo>
                  <a:pt x="586" y="624"/>
                </a:lnTo>
                <a:lnTo>
                  <a:pt x="586" y="624"/>
                </a:lnTo>
                <a:lnTo>
                  <a:pt x="586" y="632"/>
                </a:lnTo>
                <a:lnTo>
                  <a:pt x="592" y="638"/>
                </a:lnTo>
                <a:lnTo>
                  <a:pt x="592" y="638"/>
                </a:lnTo>
                <a:lnTo>
                  <a:pt x="590" y="640"/>
                </a:lnTo>
                <a:lnTo>
                  <a:pt x="590" y="640"/>
                </a:lnTo>
                <a:lnTo>
                  <a:pt x="590" y="646"/>
                </a:lnTo>
                <a:lnTo>
                  <a:pt x="592" y="652"/>
                </a:lnTo>
                <a:lnTo>
                  <a:pt x="592" y="652"/>
                </a:lnTo>
                <a:lnTo>
                  <a:pt x="590" y="658"/>
                </a:lnTo>
                <a:lnTo>
                  <a:pt x="590" y="666"/>
                </a:lnTo>
                <a:lnTo>
                  <a:pt x="590" y="666"/>
                </a:lnTo>
                <a:lnTo>
                  <a:pt x="588" y="666"/>
                </a:lnTo>
                <a:lnTo>
                  <a:pt x="586" y="668"/>
                </a:lnTo>
                <a:lnTo>
                  <a:pt x="586" y="670"/>
                </a:lnTo>
                <a:lnTo>
                  <a:pt x="586" y="670"/>
                </a:lnTo>
                <a:lnTo>
                  <a:pt x="592" y="680"/>
                </a:lnTo>
                <a:lnTo>
                  <a:pt x="592" y="680"/>
                </a:lnTo>
                <a:lnTo>
                  <a:pt x="594" y="682"/>
                </a:lnTo>
                <a:lnTo>
                  <a:pt x="594" y="682"/>
                </a:lnTo>
                <a:lnTo>
                  <a:pt x="594" y="686"/>
                </a:lnTo>
                <a:lnTo>
                  <a:pt x="596" y="686"/>
                </a:lnTo>
                <a:lnTo>
                  <a:pt x="596" y="686"/>
                </a:lnTo>
                <a:lnTo>
                  <a:pt x="596" y="692"/>
                </a:lnTo>
                <a:lnTo>
                  <a:pt x="596" y="698"/>
                </a:lnTo>
                <a:lnTo>
                  <a:pt x="596" y="698"/>
                </a:lnTo>
                <a:lnTo>
                  <a:pt x="598" y="698"/>
                </a:lnTo>
                <a:lnTo>
                  <a:pt x="600" y="700"/>
                </a:lnTo>
                <a:lnTo>
                  <a:pt x="600" y="700"/>
                </a:lnTo>
                <a:lnTo>
                  <a:pt x="602" y="704"/>
                </a:lnTo>
                <a:lnTo>
                  <a:pt x="604" y="704"/>
                </a:lnTo>
                <a:lnTo>
                  <a:pt x="604" y="704"/>
                </a:lnTo>
                <a:lnTo>
                  <a:pt x="604" y="712"/>
                </a:lnTo>
                <a:lnTo>
                  <a:pt x="604" y="712"/>
                </a:lnTo>
                <a:lnTo>
                  <a:pt x="608" y="714"/>
                </a:lnTo>
                <a:lnTo>
                  <a:pt x="608" y="714"/>
                </a:lnTo>
                <a:lnTo>
                  <a:pt x="610" y="712"/>
                </a:lnTo>
                <a:lnTo>
                  <a:pt x="610" y="712"/>
                </a:lnTo>
                <a:lnTo>
                  <a:pt x="608" y="708"/>
                </a:lnTo>
                <a:lnTo>
                  <a:pt x="608" y="708"/>
                </a:lnTo>
                <a:lnTo>
                  <a:pt x="612" y="708"/>
                </a:lnTo>
                <a:lnTo>
                  <a:pt x="612" y="708"/>
                </a:lnTo>
                <a:lnTo>
                  <a:pt x="612" y="710"/>
                </a:lnTo>
                <a:lnTo>
                  <a:pt x="614" y="710"/>
                </a:lnTo>
                <a:lnTo>
                  <a:pt x="616" y="710"/>
                </a:lnTo>
                <a:lnTo>
                  <a:pt x="616" y="710"/>
                </a:lnTo>
                <a:lnTo>
                  <a:pt x="614" y="710"/>
                </a:lnTo>
                <a:lnTo>
                  <a:pt x="612" y="712"/>
                </a:lnTo>
                <a:lnTo>
                  <a:pt x="612" y="712"/>
                </a:lnTo>
                <a:lnTo>
                  <a:pt x="614" y="718"/>
                </a:lnTo>
                <a:lnTo>
                  <a:pt x="616" y="720"/>
                </a:lnTo>
                <a:lnTo>
                  <a:pt x="616" y="720"/>
                </a:lnTo>
                <a:lnTo>
                  <a:pt x="612" y="718"/>
                </a:lnTo>
                <a:lnTo>
                  <a:pt x="612" y="718"/>
                </a:lnTo>
                <a:lnTo>
                  <a:pt x="610" y="718"/>
                </a:lnTo>
                <a:lnTo>
                  <a:pt x="610" y="718"/>
                </a:lnTo>
                <a:lnTo>
                  <a:pt x="610" y="724"/>
                </a:lnTo>
                <a:lnTo>
                  <a:pt x="610" y="724"/>
                </a:lnTo>
                <a:lnTo>
                  <a:pt x="614" y="726"/>
                </a:lnTo>
                <a:lnTo>
                  <a:pt x="620" y="730"/>
                </a:lnTo>
                <a:lnTo>
                  <a:pt x="622" y="734"/>
                </a:lnTo>
                <a:lnTo>
                  <a:pt x="622" y="734"/>
                </a:lnTo>
                <a:lnTo>
                  <a:pt x="618" y="734"/>
                </a:lnTo>
                <a:lnTo>
                  <a:pt x="618" y="734"/>
                </a:lnTo>
                <a:lnTo>
                  <a:pt x="618" y="738"/>
                </a:lnTo>
                <a:lnTo>
                  <a:pt x="620" y="742"/>
                </a:lnTo>
                <a:lnTo>
                  <a:pt x="620" y="742"/>
                </a:lnTo>
                <a:lnTo>
                  <a:pt x="622" y="746"/>
                </a:lnTo>
                <a:lnTo>
                  <a:pt x="624" y="748"/>
                </a:lnTo>
                <a:lnTo>
                  <a:pt x="624" y="748"/>
                </a:lnTo>
                <a:lnTo>
                  <a:pt x="624" y="752"/>
                </a:lnTo>
                <a:lnTo>
                  <a:pt x="626" y="754"/>
                </a:lnTo>
                <a:lnTo>
                  <a:pt x="626" y="754"/>
                </a:lnTo>
                <a:lnTo>
                  <a:pt x="628" y="756"/>
                </a:lnTo>
                <a:lnTo>
                  <a:pt x="628" y="756"/>
                </a:lnTo>
                <a:lnTo>
                  <a:pt x="632" y="762"/>
                </a:lnTo>
                <a:lnTo>
                  <a:pt x="632" y="762"/>
                </a:lnTo>
                <a:lnTo>
                  <a:pt x="632" y="764"/>
                </a:lnTo>
                <a:lnTo>
                  <a:pt x="632" y="766"/>
                </a:lnTo>
                <a:lnTo>
                  <a:pt x="632" y="766"/>
                </a:lnTo>
                <a:lnTo>
                  <a:pt x="636" y="766"/>
                </a:lnTo>
                <a:lnTo>
                  <a:pt x="636" y="766"/>
                </a:lnTo>
                <a:lnTo>
                  <a:pt x="636" y="778"/>
                </a:lnTo>
                <a:lnTo>
                  <a:pt x="636" y="778"/>
                </a:lnTo>
                <a:lnTo>
                  <a:pt x="642" y="778"/>
                </a:lnTo>
                <a:lnTo>
                  <a:pt x="648" y="780"/>
                </a:lnTo>
                <a:lnTo>
                  <a:pt x="660" y="782"/>
                </a:lnTo>
                <a:lnTo>
                  <a:pt x="660" y="782"/>
                </a:lnTo>
                <a:lnTo>
                  <a:pt x="662" y="790"/>
                </a:lnTo>
                <a:lnTo>
                  <a:pt x="662" y="790"/>
                </a:lnTo>
                <a:lnTo>
                  <a:pt x="666" y="788"/>
                </a:lnTo>
                <a:lnTo>
                  <a:pt x="666" y="788"/>
                </a:lnTo>
                <a:lnTo>
                  <a:pt x="674" y="798"/>
                </a:lnTo>
                <a:lnTo>
                  <a:pt x="674" y="798"/>
                </a:lnTo>
                <a:lnTo>
                  <a:pt x="676" y="800"/>
                </a:lnTo>
                <a:lnTo>
                  <a:pt x="678" y="802"/>
                </a:lnTo>
                <a:lnTo>
                  <a:pt x="678" y="802"/>
                </a:lnTo>
                <a:lnTo>
                  <a:pt x="680" y="804"/>
                </a:lnTo>
                <a:lnTo>
                  <a:pt x="678" y="808"/>
                </a:lnTo>
                <a:lnTo>
                  <a:pt x="680" y="810"/>
                </a:lnTo>
                <a:lnTo>
                  <a:pt x="680" y="810"/>
                </a:lnTo>
                <a:lnTo>
                  <a:pt x="682" y="814"/>
                </a:lnTo>
                <a:lnTo>
                  <a:pt x="718" y="810"/>
                </a:lnTo>
                <a:lnTo>
                  <a:pt x="718" y="816"/>
                </a:lnTo>
                <a:lnTo>
                  <a:pt x="754" y="834"/>
                </a:lnTo>
                <a:lnTo>
                  <a:pt x="798" y="836"/>
                </a:lnTo>
                <a:lnTo>
                  <a:pt x="798" y="828"/>
                </a:lnTo>
                <a:lnTo>
                  <a:pt x="826" y="828"/>
                </a:lnTo>
                <a:lnTo>
                  <a:pt x="832" y="836"/>
                </a:lnTo>
                <a:lnTo>
                  <a:pt x="836" y="840"/>
                </a:lnTo>
                <a:lnTo>
                  <a:pt x="838" y="842"/>
                </a:lnTo>
                <a:lnTo>
                  <a:pt x="842" y="846"/>
                </a:lnTo>
                <a:lnTo>
                  <a:pt x="846" y="852"/>
                </a:lnTo>
                <a:lnTo>
                  <a:pt x="850" y="858"/>
                </a:lnTo>
                <a:lnTo>
                  <a:pt x="850" y="862"/>
                </a:lnTo>
                <a:lnTo>
                  <a:pt x="854" y="866"/>
                </a:lnTo>
                <a:lnTo>
                  <a:pt x="858" y="872"/>
                </a:lnTo>
                <a:lnTo>
                  <a:pt x="862" y="874"/>
                </a:lnTo>
                <a:lnTo>
                  <a:pt x="866" y="874"/>
                </a:lnTo>
                <a:lnTo>
                  <a:pt x="870" y="874"/>
                </a:lnTo>
                <a:lnTo>
                  <a:pt x="874" y="872"/>
                </a:lnTo>
                <a:lnTo>
                  <a:pt x="878" y="866"/>
                </a:lnTo>
                <a:lnTo>
                  <a:pt x="884" y="864"/>
                </a:lnTo>
                <a:lnTo>
                  <a:pt x="888" y="864"/>
                </a:lnTo>
                <a:lnTo>
                  <a:pt x="892" y="866"/>
                </a:lnTo>
                <a:lnTo>
                  <a:pt x="896" y="870"/>
                </a:lnTo>
                <a:lnTo>
                  <a:pt x="900" y="874"/>
                </a:lnTo>
                <a:lnTo>
                  <a:pt x="902" y="880"/>
                </a:lnTo>
                <a:lnTo>
                  <a:pt x="904" y="882"/>
                </a:lnTo>
                <a:lnTo>
                  <a:pt x="906" y="888"/>
                </a:lnTo>
                <a:lnTo>
                  <a:pt x="910" y="896"/>
                </a:lnTo>
                <a:lnTo>
                  <a:pt x="912" y="900"/>
                </a:lnTo>
                <a:lnTo>
                  <a:pt x="916" y="904"/>
                </a:lnTo>
                <a:lnTo>
                  <a:pt x="920" y="908"/>
                </a:lnTo>
                <a:lnTo>
                  <a:pt x="922" y="918"/>
                </a:lnTo>
                <a:lnTo>
                  <a:pt x="922" y="924"/>
                </a:lnTo>
                <a:lnTo>
                  <a:pt x="928" y="926"/>
                </a:lnTo>
                <a:lnTo>
                  <a:pt x="932" y="928"/>
                </a:lnTo>
                <a:lnTo>
                  <a:pt x="938" y="930"/>
                </a:lnTo>
                <a:lnTo>
                  <a:pt x="942" y="932"/>
                </a:lnTo>
                <a:lnTo>
                  <a:pt x="948" y="932"/>
                </a:lnTo>
                <a:lnTo>
                  <a:pt x="946" y="932"/>
                </a:lnTo>
                <a:lnTo>
                  <a:pt x="946" y="932"/>
                </a:lnTo>
                <a:lnTo>
                  <a:pt x="946" y="930"/>
                </a:lnTo>
                <a:lnTo>
                  <a:pt x="946" y="930"/>
                </a:lnTo>
                <a:lnTo>
                  <a:pt x="946" y="928"/>
                </a:lnTo>
                <a:lnTo>
                  <a:pt x="946" y="928"/>
                </a:lnTo>
                <a:lnTo>
                  <a:pt x="946" y="924"/>
                </a:lnTo>
                <a:lnTo>
                  <a:pt x="944" y="924"/>
                </a:lnTo>
                <a:lnTo>
                  <a:pt x="944" y="924"/>
                </a:lnTo>
                <a:lnTo>
                  <a:pt x="944" y="920"/>
                </a:lnTo>
                <a:lnTo>
                  <a:pt x="942" y="920"/>
                </a:lnTo>
                <a:lnTo>
                  <a:pt x="942" y="920"/>
                </a:lnTo>
                <a:lnTo>
                  <a:pt x="940" y="914"/>
                </a:lnTo>
                <a:lnTo>
                  <a:pt x="942" y="906"/>
                </a:lnTo>
                <a:lnTo>
                  <a:pt x="942" y="906"/>
                </a:lnTo>
                <a:lnTo>
                  <a:pt x="940" y="904"/>
                </a:lnTo>
                <a:lnTo>
                  <a:pt x="940" y="904"/>
                </a:lnTo>
                <a:lnTo>
                  <a:pt x="940" y="904"/>
                </a:lnTo>
                <a:lnTo>
                  <a:pt x="944" y="902"/>
                </a:lnTo>
                <a:lnTo>
                  <a:pt x="944" y="902"/>
                </a:lnTo>
                <a:lnTo>
                  <a:pt x="944" y="894"/>
                </a:lnTo>
                <a:lnTo>
                  <a:pt x="944" y="894"/>
                </a:lnTo>
                <a:lnTo>
                  <a:pt x="948" y="894"/>
                </a:lnTo>
                <a:lnTo>
                  <a:pt x="948" y="894"/>
                </a:lnTo>
                <a:lnTo>
                  <a:pt x="950" y="890"/>
                </a:lnTo>
                <a:lnTo>
                  <a:pt x="950" y="890"/>
                </a:lnTo>
                <a:lnTo>
                  <a:pt x="954" y="890"/>
                </a:lnTo>
                <a:lnTo>
                  <a:pt x="954" y="890"/>
                </a:lnTo>
                <a:lnTo>
                  <a:pt x="958" y="888"/>
                </a:lnTo>
                <a:lnTo>
                  <a:pt x="958" y="886"/>
                </a:lnTo>
                <a:lnTo>
                  <a:pt x="958" y="882"/>
                </a:lnTo>
                <a:lnTo>
                  <a:pt x="958" y="882"/>
                </a:lnTo>
                <a:lnTo>
                  <a:pt x="962" y="882"/>
                </a:lnTo>
                <a:lnTo>
                  <a:pt x="962" y="880"/>
                </a:lnTo>
                <a:lnTo>
                  <a:pt x="962" y="880"/>
                </a:lnTo>
                <a:lnTo>
                  <a:pt x="968" y="880"/>
                </a:lnTo>
                <a:lnTo>
                  <a:pt x="968" y="880"/>
                </a:lnTo>
                <a:lnTo>
                  <a:pt x="972" y="876"/>
                </a:lnTo>
                <a:lnTo>
                  <a:pt x="972" y="876"/>
                </a:lnTo>
                <a:lnTo>
                  <a:pt x="972" y="878"/>
                </a:lnTo>
                <a:lnTo>
                  <a:pt x="974" y="878"/>
                </a:lnTo>
                <a:lnTo>
                  <a:pt x="974" y="878"/>
                </a:lnTo>
                <a:lnTo>
                  <a:pt x="974" y="872"/>
                </a:lnTo>
                <a:lnTo>
                  <a:pt x="974" y="872"/>
                </a:lnTo>
                <a:lnTo>
                  <a:pt x="978" y="870"/>
                </a:lnTo>
                <a:lnTo>
                  <a:pt x="978" y="870"/>
                </a:lnTo>
                <a:lnTo>
                  <a:pt x="978" y="864"/>
                </a:lnTo>
                <a:lnTo>
                  <a:pt x="978" y="864"/>
                </a:lnTo>
                <a:lnTo>
                  <a:pt x="986" y="866"/>
                </a:lnTo>
                <a:lnTo>
                  <a:pt x="994" y="864"/>
                </a:lnTo>
                <a:lnTo>
                  <a:pt x="994" y="864"/>
                </a:lnTo>
                <a:lnTo>
                  <a:pt x="994" y="860"/>
                </a:lnTo>
                <a:lnTo>
                  <a:pt x="994" y="860"/>
                </a:lnTo>
                <a:lnTo>
                  <a:pt x="994" y="860"/>
                </a:lnTo>
                <a:lnTo>
                  <a:pt x="996" y="862"/>
                </a:lnTo>
                <a:lnTo>
                  <a:pt x="996" y="862"/>
                </a:lnTo>
                <a:lnTo>
                  <a:pt x="998" y="862"/>
                </a:lnTo>
                <a:lnTo>
                  <a:pt x="1000" y="860"/>
                </a:lnTo>
                <a:lnTo>
                  <a:pt x="1000" y="860"/>
                </a:lnTo>
                <a:lnTo>
                  <a:pt x="1002" y="860"/>
                </a:lnTo>
                <a:lnTo>
                  <a:pt x="1004" y="862"/>
                </a:lnTo>
                <a:lnTo>
                  <a:pt x="1004" y="862"/>
                </a:lnTo>
                <a:lnTo>
                  <a:pt x="1010" y="864"/>
                </a:lnTo>
                <a:lnTo>
                  <a:pt x="1016" y="860"/>
                </a:lnTo>
                <a:lnTo>
                  <a:pt x="1016" y="860"/>
                </a:lnTo>
                <a:lnTo>
                  <a:pt x="1016" y="866"/>
                </a:lnTo>
                <a:lnTo>
                  <a:pt x="1016" y="866"/>
                </a:lnTo>
                <a:lnTo>
                  <a:pt x="1022" y="866"/>
                </a:lnTo>
                <a:lnTo>
                  <a:pt x="1026" y="868"/>
                </a:lnTo>
                <a:lnTo>
                  <a:pt x="1026" y="868"/>
                </a:lnTo>
                <a:lnTo>
                  <a:pt x="1026" y="870"/>
                </a:lnTo>
                <a:lnTo>
                  <a:pt x="1026" y="874"/>
                </a:lnTo>
                <a:lnTo>
                  <a:pt x="1026" y="874"/>
                </a:lnTo>
                <a:close/>
                <a:moveTo>
                  <a:pt x="516" y="360"/>
                </a:moveTo>
                <a:lnTo>
                  <a:pt x="516" y="360"/>
                </a:lnTo>
                <a:lnTo>
                  <a:pt x="516" y="358"/>
                </a:lnTo>
                <a:lnTo>
                  <a:pt x="514" y="356"/>
                </a:lnTo>
                <a:lnTo>
                  <a:pt x="514" y="352"/>
                </a:lnTo>
                <a:lnTo>
                  <a:pt x="512" y="350"/>
                </a:lnTo>
                <a:lnTo>
                  <a:pt x="512" y="350"/>
                </a:lnTo>
                <a:lnTo>
                  <a:pt x="510" y="350"/>
                </a:lnTo>
                <a:lnTo>
                  <a:pt x="508" y="346"/>
                </a:lnTo>
                <a:lnTo>
                  <a:pt x="508" y="346"/>
                </a:lnTo>
                <a:lnTo>
                  <a:pt x="506" y="340"/>
                </a:lnTo>
                <a:lnTo>
                  <a:pt x="504" y="334"/>
                </a:lnTo>
                <a:lnTo>
                  <a:pt x="504" y="334"/>
                </a:lnTo>
                <a:lnTo>
                  <a:pt x="504" y="334"/>
                </a:lnTo>
                <a:lnTo>
                  <a:pt x="502" y="334"/>
                </a:lnTo>
                <a:lnTo>
                  <a:pt x="498" y="336"/>
                </a:lnTo>
                <a:lnTo>
                  <a:pt x="494" y="334"/>
                </a:lnTo>
                <a:lnTo>
                  <a:pt x="494" y="334"/>
                </a:lnTo>
                <a:lnTo>
                  <a:pt x="492" y="332"/>
                </a:lnTo>
                <a:lnTo>
                  <a:pt x="490" y="330"/>
                </a:lnTo>
                <a:lnTo>
                  <a:pt x="488" y="326"/>
                </a:lnTo>
                <a:lnTo>
                  <a:pt x="486" y="324"/>
                </a:lnTo>
                <a:lnTo>
                  <a:pt x="486" y="324"/>
                </a:lnTo>
                <a:lnTo>
                  <a:pt x="482" y="322"/>
                </a:lnTo>
                <a:lnTo>
                  <a:pt x="480" y="318"/>
                </a:lnTo>
                <a:lnTo>
                  <a:pt x="476" y="310"/>
                </a:lnTo>
                <a:lnTo>
                  <a:pt x="476" y="310"/>
                </a:lnTo>
                <a:lnTo>
                  <a:pt x="460" y="292"/>
                </a:lnTo>
                <a:lnTo>
                  <a:pt x="460" y="292"/>
                </a:lnTo>
                <a:lnTo>
                  <a:pt x="456" y="286"/>
                </a:lnTo>
                <a:lnTo>
                  <a:pt x="452" y="282"/>
                </a:lnTo>
                <a:lnTo>
                  <a:pt x="448" y="282"/>
                </a:lnTo>
                <a:lnTo>
                  <a:pt x="448" y="282"/>
                </a:lnTo>
                <a:lnTo>
                  <a:pt x="446" y="280"/>
                </a:lnTo>
                <a:lnTo>
                  <a:pt x="444" y="278"/>
                </a:lnTo>
                <a:lnTo>
                  <a:pt x="444" y="274"/>
                </a:lnTo>
                <a:lnTo>
                  <a:pt x="444" y="274"/>
                </a:lnTo>
                <a:lnTo>
                  <a:pt x="442" y="272"/>
                </a:lnTo>
                <a:lnTo>
                  <a:pt x="440" y="270"/>
                </a:lnTo>
                <a:lnTo>
                  <a:pt x="436" y="268"/>
                </a:lnTo>
                <a:lnTo>
                  <a:pt x="434" y="266"/>
                </a:lnTo>
                <a:lnTo>
                  <a:pt x="434" y="266"/>
                </a:lnTo>
                <a:lnTo>
                  <a:pt x="432" y="264"/>
                </a:lnTo>
                <a:lnTo>
                  <a:pt x="428" y="264"/>
                </a:lnTo>
                <a:lnTo>
                  <a:pt x="422" y="266"/>
                </a:lnTo>
                <a:lnTo>
                  <a:pt x="422" y="266"/>
                </a:lnTo>
                <a:lnTo>
                  <a:pt x="420" y="266"/>
                </a:lnTo>
                <a:lnTo>
                  <a:pt x="422" y="268"/>
                </a:lnTo>
                <a:lnTo>
                  <a:pt x="422" y="272"/>
                </a:lnTo>
                <a:lnTo>
                  <a:pt x="422" y="274"/>
                </a:lnTo>
                <a:lnTo>
                  <a:pt x="422" y="274"/>
                </a:lnTo>
                <a:lnTo>
                  <a:pt x="420" y="276"/>
                </a:lnTo>
                <a:lnTo>
                  <a:pt x="418" y="278"/>
                </a:lnTo>
                <a:lnTo>
                  <a:pt x="410" y="280"/>
                </a:lnTo>
                <a:lnTo>
                  <a:pt x="410" y="280"/>
                </a:lnTo>
                <a:lnTo>
                  <a:pt x="406" y="284"/>
                </a:lnTo>
                <a:lnTo>
                  <a:pt x="406" y="284"/>
                </a:lnTo>
                <a:lnTo>
                  <a:pt x="406" y="282"/>
                </a:lnTo>
                <a:lnTo>
                  <a:pt x="406" y="278"/>
                </a:lnTo>
                <a:lnTo>
                  <a:pt x="406" y="278"/>
                </a:lnTo>
                <a:lnTo>
                  <a:pt x="402" y="274"/>
                </a:lnTo>
                <a:lnTo>
                  <a:pt x="398" y="270"/>
                </a:lnTo>
                <a:lnTo>
                  <a:pt x="392" y="266"/>
                </a:lnTo>
                <a:lnTo>
                  <a:pt x="390" y="264"/>
                </a:lnTo>
                <a:lnTo>
                  <a:pt x="390" y="264"/>
                </a:lnTo>
                <a:lnTo>
                  <a:pt x="386" y="254"/>
                </a:lnTo>
                <a:lnTo>
                  <a:pt x="386" y="254"/>
                </a:lnTo>
                <a:lnTo>
                  <a:pt x="384" y="246"/>
                </a:lnTo>
                <a:lnTo>
                  <a:pt x="384" y="246"/>
                </a:lnTo>
                <a:lnTo>
                  <a:pt x="384" y="246"/>
                </a:lnTo>
                <a:lnTo>
                  <a:pt x="378" y="250"/>
                </a:lnTo>
                <a:lnTo>
                  <a:pt x="378" y="250"/>
                </a:lnTo>
                <a:lnTo>
                  <a:pt x="378" y="250"/>
                </a:lnTo>
                <a:lnTo>
                  <a:pt x="374" y="250"/>
                </a:lnTo>
                <a:lnTo>
                  <a:pt x="370" y="246"/>
                </a:lnTo>
                <a:lnTo>
                  <a:pt x="370" y="246"/>
                </a:lnTo>
                <a:lnTo>
                  <a:pt x="368" y="246"/>
                </a:lnTo>
                <a:lnTo>
                  <a:pt x="364" y="248"/>
                </a:lnTo>
                <a:lnTo>
                  <a:pt x="358" y="250"/>
                </a:lnTo>
                <a:lnTo>
                  <a:pt x="354" y="34"/>
                </a:lnTo>
                <a:lnTo>
                  <a:pt x="354" y="34"/>
                </a:lnTo>
                <a:lnTo>
                  <a:pt x="354" y="34"/>
                </a:lnTo>
                <a:lnTo>
                  <a:pt x="352" y="32"/>
                </a:lnTo>
                <a:lnTo>
                  <a:pt x="352" y="32"/>
                </a:lnTo>
                <a:lnTo>
                  <a:pt x="344" y="28"/>
                </a:lnTo>
                <a:lnTo>
                  <a:pt x="342" y="26"/>
                </a:lnTo>
                <a:lnTo>
                  <a:pt x="342" y="26"/>
                </a:lnTo>
                <a:lnTo>
                  <a:pt x="338" y="28"/>
                </a:lnTo>
                <a:lnTo>
                  <a:pt x="334" y="28"/>
                </a:lnTo>
                <a:lnTo>
                  <a:pt x="332" y="28"/>
                </a:lnTo>
                <a:lnTo>
                  <a:pt x="332" y="28"/>
                </a:lnTo>
                <a:lnTo>
                  <a:pt x="330" y="26"/>
                </a:lnTo>
                <a:lnTo>
                  <a:pt x="330" y="26"/>
                </a:lnTo>
                <a:lnTo>
                  <a:pt x="326" y="26"/>
                </a:lnTo>
                <a:lnTo>
                  <a:pt x="326" y="26"/>
                </a:lnTo>
                <a:lnTo>
                  <a:pt x="324" y="30"/>
                </a:lnTo>
                <a:lnTo>
                  <a:pt x="324" y="30"/>
                </a:lnTo>
                <a:lnTo>
                  <a:pt x="324" y="30"/>
                </a:lnTo>
                <a:lnTo>
                  <a:pt x="324" y="30"/>
                </a:lnTo>
                <a:lnTo>
                  <a:pt x="322" y="32"/>
                </a:lnTo>
                <a:lnTo>
                  <a:pt x="322" y="32"/>
                </a:lnTo>
                <a:lnTo>
                  <a:pt x="320" y="30"/>
                </a:lnTo>
                <a:lnTo>
                  <a:pt x="318" y="28"/>
                </a:lnTo>
                <a:lnTo>
                  <a:pt x="318" y="28"/>
                </a:lnTo>
                <a:lnTo>
                  <a:pt x="316" y="30"/>
                </a:lnTo>
                <a:lnTo>
                  <a:pt x="314" y="30"/>
                </a:lnTo>
                <a:lnTo>
                  <a:pt x="314" y="30"/>
                </a:lnTo>
                <a:lnTo>
                  <a:pt x="314" y="28"/>
                </a:lnTo>
                <a:lnTo>
                  <a:pt x="314" y="28"/>
                </a:lnTo>
                <a:lnTo>
                  <a:pt x="296" y="26"/>
                </a:lnTo>
                <a:lnTo>
                  <a:pt x="296" y="24"/>
                </a:lnTo>
                <a:lnTo>
                  <a:pt x="296" y="24"/>
                </a:lnTo>
                <a:lnTo>
                  <a:pt x="290" y="24"/>
                </a:lnTo>
                <a:lnTo>
                  <a:pt x="286" y="24"/>
                </a:lnTo>
                <a:lnTo>
                  <a:pt x="286" y="24"/>
                </a:lnTo>
                <a:lnTo>
                  <a:pt x="276" y="24"/>
                </a:lnTo>
                <a:lnTo>
                  <a:pt x="266" y="24"/>
                </a:lnTo>
                <a:lnTo>
                  <a:pt x="264" y="22"/>
                </a:lnTo>
                <a:lnTo>
                  <a:pt x="264" y="22"/>
                </a:lnTo>
                <a:lnTo>
                  <a:pt x="262" y="22"/>
                </a:lnTo>
                <a:lnTo>
                  <a:pt x="258" y="22"/>
                </a:lnTo>
                <a:lnTo>
                  <a:pt x="258" y="22"/>
                </a:lnTo>
                <a:lnTo>
                  <a:pt x="252" y="16"/>
                </a:lnTo>
                <a:lnTo>
                  <a:pt x="252" y="16"/>
                </a:lnTo>
                <a:lnTo>
                  <a:pt x="250" y="18"/>
                </a:lnTo>
                <a:lnTo>
                  <a:pt x="248" y="18"/>
                </a:lnTo>
                <a:lnTo>
                  <a:pt x="246" y="16"/>
                </a:lnTo>
                <a:lnTo>
                  <a:pt x="246" y="16"/>
                </a:lnTo>
                <a:lnTo>
                  <a:pt x="242" y="18"/>
                </a:lnTo>
                <a:lnTo>
                  <a:pt x="238" y="20"/>
                </a:lnTo>
                <a:lnTo>
                  <a:pt x="238" y="20"/>
                </a:lnTo>
                <a:lnTo>
                  <a:pt x="232" y="20"/>
                </a:lnTo>
                <a:lnTo>
                  <a:pt x="232" y="20"/>
                </a:lnTo>
                <a:lnTo>
                  <a:pt x="230" y="22"/>
                </a:lnTo>
                <a:lnTo>
                  <a:pt x="230" y="22"/>
                </a:lnTo>
                <a:lnTo>
                  <a:pt x="218" y="16"/>
                </a:lnTo>
                <a:lnTo>
                  <a:pt x="218" y="16"/>
                </a:lnTo>
                <a:lnTo>
                  <a:pt x="212" y="16"/>
                </a:lnTo>
                <a:lnTo>
                  <a:pt x="210" y="14"/>
                </a:lnTo>
                <a:lnTo>
                  <a:pt x="210" y="14"/>
                </a:lnTo>
                <a:lnTo>
                  <a:pt x="206" y="16"/>
                </a:lnTo>
                <a:lnTo>
                  <a:pt x="202" y="14"/>
                </a:lnTo>
                <a:lnTo>
                  <a:pt x="202" y="12"/>
                </a:lnTo>
                <a:lnTo>
                  <a:pt x="202" y="12"/>
                </a:lnTo>
                <a:lnTo>
                  <a:pt x="204" y="12"/>
                </a:lnTo>
                <a:lnTo>
                  <a:pt x="204" y="12"/>
                </a:lnTo>
                <a:lnTo>
                  <a:pt x="202" y="10"/>
                </a:lnTo>
                <a:lnTo>
                  <a:pt x="202" y="10"/>
                </a:lnTo>
                <a:lnTo>
                  <a:pt x="196" y="10"/>
                </a:lnTo>
                <a:lnTo>
                  <a:pt x="196" y="10"/>
                </a:lnTo>
                <a:lnTo>
                  <a:pt x="186" y="12"/>
                </a:lnTo>
                <a:lnTo>
                  <a:pt x="182" y="12"/>
                </a:lnTo>
                <a:lnTo>
                  <a:pt x="178" y="12"/>
                </a:lnTo>
                <a:lnTo>
                  <a:pt x="178" y="12"/>
                </a:lnTo>
                <a:lnTo>
                  <a:pt x="176" y="12"/>
                </a:lnTo>
                <a:lnTo>
                  <a:pt x="176" y="10"/>
                </a:lnTo>
                <a:lnTo>
                  <a:pt x="174" y="6"/>
                </a:lnTo>
                <a:lnTo>
                  <a:pt x="174" y="6"/>
                </a:lnTo>
                <a:lnTo>
                  <a:pt x="170" y="8"/>
                </a:lnTo>
                <a:lnTo>
                  <a:pt x="170" y="8"/>
                </a:lnTo>
                <a:lnTo>
                  <a:pt x="166" y="8"/>
                </a:lnTo>
                <a:lnTo>
                  <a:pt x="166" y="8"/>
                </a:lnTo>
                <a:lnTo>
                  <a:pt x="160" y="12"/>
                </a:lnTo>
                <a:lnTo>
                  <a:pt x="160" y="12"/>
                </a:lnTo>
                <a:lnTo>
                  <a:pt x="162" y="4"/>
                </a:lnTo>
                <a:lnTo>
                  <a:pt x="162" y="4"/>
                </a:lnTo>
                <a:lnTo>
                  <a:pt x="154" y="2"/>
                </a:lnTo>
                <a:lnTo>
                  <a:pt x="148" y="0"/>
                </a:lnTo>
                <a:lnTo>
                  <a:pt x="144" y="0"/>
                </a:lnTo>
                <a:lnTo>
                  <a:pt x="144" y="2"/>
                </a:lnTo>
                <a:lnTo>
                  <a:pt x="144" y="2"/>
                </a:lnTo>
                <a:lnTo>
                  <a:pt x="136" y="8"/>
                </a:lnTo>
                <a:lnTo>
                  <a:pt x="128" y="12"/>
                </a:lnTo>
                <a:lnTo>
                  <a:pt x="128" y="12"/>
                </a:lnTo>
                <a:lnTo>
                  <a:pt x="122" y="12"/>
                </a:lnTo>
                <a:lnTo>
                  <a:pt x="118" y="12"/>
                </a:lnTo>
                <a:lnTo>
                  <a:pt x="118" y="12"/>
                </a:lnTo>
                <a:lnTo>
                  <a:pt x="114" y="14"/>
                </a:lnTo>
                <a:lnTo>
                  <a:pt x="114" y="14"/>
                </a:lnTo>
                <a:lnTo>
                  <a:pt x="112" y="10"/>
                </a:lnTo>
                <a:lnTo>
                  <a:pt x="112" y="10"/>
                </a:lnTo>
                <a:lnTo>
                  <a:pt x="110" y="16"/>
                </a:lnTo>
                <a:lnTo>
                  <a:pt x="108" y="16"/>
                </a:lnTo>
                <a:lnTo>
                  <a:pt x="108" y="16"/>
                </a:lnTo>
                <a:lnTo>
                  <a:pt x="106" y="16"/>
                </a:lnTo>
                <a:lnTo>
                  <a:pt x="104" y="14"/>
                </a:lnTo>
                <a:lnTo>
                  <a:pt x="104" y="14"/>
                </a:lnTo>
                <a:lnTo>
                  <a:pt x="104" y="18"/>
                </a:lnTo>
                <a:lnTo>
                  <a:pt x="104" y="18"/>
                </a:lnTo>
                <a:lnTo>
                  <a:pt x="100" y="20"/>
                </a:lnTo>
                <a:lnTo>
                  <a:pt x="100" y="20"/>
                </a:lnTo>
                <a:lnTo>
                  <a:pt x="94" y="20"/>
                </a:lnTo>
                <a:lnTo>
                  <a:pt x="90" y="20"/>
                </a:lnTo>
                <a:lnTo>
                  <a:pt x="90" y="20"/>
                </a:lnTo>
                <a:lnTo>
                  <a:pt x="86" y="22"/>
                </a:lnTo>
                <a:lnTo>
                  <a:pt x="84" y="24"/>
                </a:lnTo>
                <a:lnTo>
                  <a:pt x="84" y="24"/>
                </a:lnTo>
                <a:lnTo>
                  <a:pt x="80" y="24"/>
                </a:lnTo>
                <a:lnTo>
                  <a:pt x="80" y="24"/>
                </a:lnTo>
                <a:lnTo>
                  <a:pt x="78" y="28"/>
                </a:lnTo>
                <a:lnTo>
                  <a:pt x="76" y="34"/>
                </a:lnTo>
                <a:lnTo>
                  <a:pt x="76" y="34"/>
                </a:lnTo>
                <a:lnTo>
                  <a:pt x="72" y="34"/>
                </a:lnTo>
                <a:lnTo>
                  <a:pt x="70" y="36"/>
                </a:lnTo>
                <a:lnTo>
                  <a:pt x="70" y="36"/>
                </a:lnTo>
                <a:lnTo>
                  <a:pt x="68" y="40"/>
                </a:lnTo>
                <a:lnTo>
                  <a:pt x="68" y="44"/>
                </a:lnTo>
                <a:lnTo>
                  <a:pt x="68" y="44"/>
                </a:lnTo>
                <a:lnTo>
                  <a:pt x="64" y="48"/>
                </a:lnTo>
                <a:lnTo>
                  <a:pt x="64" y="48"/>
                </a:lnTo>
                <a:lnTo>
                  <a:pt x="62" y="60"/>
                </a:lnTo>
                <a:lnTo>
                  <a:pt x="62" y="60"/>
                </a:lnTo>
                <a:lnTo>
                  <a:pt x="54" y="62"/>
                </a:lnTo>
                <a:lnTo>
                  <a:pt x="46" y="64"/>
                </a:lnTo>
                <a:lnTo>
                  <a:pt x="46" y="64"/>
                </a:lnTo>
                <a:lnTo>
                  <a:pt x="44" y="64"/>
                </a:lnTo>
                <a:lnTo>
                  <a:pt x="40" y="64"/>
                </a:lnTo>
                <a:lnTo>
                  <a:pt x="38" y="66"/>
                </a:lnTo>
                <a:lnTo>
                  <a:pt x="38" y="66"/>
                </a:lnTo>
                <a:lnTo>
                  <a:pt x="30" y="66"/>
                </a:lnTo>
                <a:lnTo>
                  <a:pt x="22" y="64"/>
                </a:lnTo>
                <a:lnTo>
                  <a:pt x="22" y="64"/>
                </a:lnTo>
                <a:lnTo>
                  <a:pt x="24" y="76"/>
                </a:lnTo>
                <a:lnTo>
                  <a:pt x="24" y="76"/>
                </a:lnTo>
                <a:lnTo>
                  <a:pt x="22" y="78"/>
                </a:lnTo>
                <a:lnTo>
                  <a:pt x="22" y="80"/>
                </a:lnTo>
                <a:lnTo>
                  <a:pt x="22" y="80"/>
                </a:lnTo>
                <a:lnTo>
                  <a:pt x="20" y="80"/>
                </a:lnTo>
                <a:lnTo>
                  <a:pt x="18" y="80"/>
                </a:lnTo>
                <a:lnTo>
                  <a:pt x="18" y="80"/>
                </a:lnTo>
                <a:lnTo>
                  <a:pt x="26" y="82"/>
                </a:lnTo>
                <a:lnTo>
                  <a:pt x="26" y="82"/>
                </a:lnTo>
                <a:lnTo>
                  <a:pt x="28" y="84"/>
                </a:lnTo>
                <a:lnTo>
                  <a:pt x="32" y="88"/>
                </a:lnTo>
                <a:lnTo>
                  <a:pt x="32" y="88"/>
                </a:lnTo>
                <a:lnTo>
                  <a:pt x="34" y="88"/>
                </a:lnTo>
                <a:lnTo>
                  <a:pt x="38" y="88"/>
                </a:lnTo>
                <a:lnTo>
                  <a:pt x="38" y="88"/>
                </a:lnTo>
                <a:lnTo>
                  <a:pt x="48" y="98"/>
                </a:lnTo>
                <a:lnTo>
                  <a:pt x="48" y="98"/>
                </a:lnTo>
                <a:lnTo>
                  <a:pt x="54" y="98"/>
                </a:lnTo>
                <a:lnTo>
                  <a:pt x="54" y="98"/>
                </a:lnTo>
                <a:lnTo>
                  <a:pt x="56" y="98"/>
                </a:lnTo>
                <a:lnTo>
                  <a:pt x="56" y="100"/>
                </a:lnTo>
                <a:lnTo>
                  <a:pt x="54" y="100"/>
                </a:lnTo>
                <a:lnTo>
                  <a:pt x="54" y="100"/>
                </a:lnTo>
                <a:lnTo>
                  <a:pt x="56" y="106"/>
                </a:lnTo>
                <a:lnTo>
                  <a:pt x="56" y="106"/>
                </a:lnTo>
                <a:lnTo>
                  <a:pt x="58" y="108"/>
                </a:lnTo>
                <a:lnTo>
                  <a:pt x="62" y="108"/>
                </a:lnTo>
                <a:lnTo>
                  <a:pt x="62" y="106"/>
                </a:lnTo>
                <a:lnTo>
                  <a:pt x="62" y="106"/>
                </a:lnTo>
                <a:lnTo>
                  <a:pt x="66" y="104"/>
                </a:lnTo>
                <a:lnTo>
                  <a:pt x="70" y="104"/>
                </a:lnTo>
                <a:lnTo>
                  <a:pt x="70" y="106"/>
                </a:lnTo>
                <a:lnTo>
                  <a:pt x="70" y="106"/>
                </a:lnTo>
                <a:lnTo>
                  <a:pt x="72" y="108"/>
                </a:lnTo>
                <a:lnTo>
                  <a:pt x="72" y="108"/>
                </a:lnTo>
                <a:lnTo>
                  <a:pt x="76" y="108"/>
                </a:lnTo>
                <a:lnTo>
                  <a:pt x="82" y="106"/>
                </a:lnTo>
                <a:lnTo>
                  <a:pt x="82" y="106"/>
                </a:lnTo>
                <a:lnTo>
                  <a:pt x="82" y="108"/>
                </a:lnTo>
                <a:lnTo>
                  <a:pt x="82" y="110"/>
                </a:lnTo>
                <a:lnTo>
                  <a:pt x="80" y="110"/>
                </a:lnTo>
                <a:lnTo>
                  <a:pt x="80" y="110"/>
                </a:lnTo>
                <a:lnTo>
                  <a:pt x="78" y="112"/>
                </a:lnTo>
                <a:lnTo>
                  <a:pt x="78" y="114"/>
                </a:lnTo>
                <a:lnTo>
                  <a:pt x="78" y="114"/>
                </a:lnTo>
                <a:lnTo>
                  <a:pt x="82" y="114"/>
                </a:lnTo>
                <a:lnTo>
                  <a:pt x="82" y="114"/>
                </a:lnTo>
                <a:lnTo>
                  <a:pt x="84" y="116"/>
                </a:lnTo>
                <a:lnTo>
                  <a:pt x="84" y="116"/>
                </a:lnTo>
                <a:lnTo>
                  <a:pt x="90" y="116"/>
                </a:lnTo>
                <a:lnTo>
                  <a:pt x="96" y="116"/>
                </a:lnTo>
                <a:lnTo>
                  <a:pt x="96" y="116"/>
                </a:lnTo>
                <a:lnTo>
                  <a:pt x="96" y="118"/>
                </a:lnTo>
                <a:lnTo>
                  <a:pt x="96" y="122"/>
                </a:lnTo>
                <a:lnTo>
                  <a:pt x="96" y="122"/>
                </a:lnTo>
                <a:lnTo>
                  <a:pt x="84" y="122"/>
                </a:lnTo>
                <a:lnTo>
                  <a:pt x="78" y="122"/>
                </a:lnTo>
                <a:lnTo>
                  <a:pt x="78" y="124"/>
                </a:lnTo>
                <a:lnTo>
                  <a:pt x="82" y="126"/>
                </a:lnTo>
                <a:lnTo>
                  <a:pt x="82" y="126"/>
                </a:lnTo>
                <a:lnTo>
                  <a:pt x="82" y="124"/>
                </a:lnTo>
                <a:lnTo>
                  <a:pt x="84" y="124"/>
                </a:lnTo>
                <a:lnTo>
                  <a:pt x="84" y="124"/>
                </a:lnTo>
                <a:lnTo>
                  <a:pt x="86" y="126"/>
                </a:lnTo>
                <a:lnTo>
                  <a:pt x="88" y="126"/>
                </a:lnTo>
                <a:lnTo>
                  <a:pt x="88" y="132"/>
                </a:lnTo>
                <a:lnTo>
                  <a:pt x="88" y="132"/>
                </a:lnTo>
                <a:lnTo>
                  <a:pt x="82" y="130"/>
                </a:lnTo>
                <a:lnTo>
                  <a:pt x="78" y="134"/>
                </a:lnTo>
                <a:lnTo>
                  <a:pt x="78" y="132"/>
                </a:lnTo>
                <a:lnTo>
                  <a:pt x="78" y="132"/>
                </a:lnTo>
                <a:lnTo>
                  <a:pt x="68" y="132"/>
                </a:lnTo>
                <a:lnTo>
                  <a:pt x="58" y="132"/>
                </a:lnTo>
                <a:lnTo>
                  <a:pt x="58" y="132"/>
                </a:lnTo>
                <a:lnTo>
                  <a:pt x="56" y="128"/>
                </a:lnTo>
                <a:lnTo>
                  <a:pt x="56" y="128"/>
                </a:lnTo>
                <a:lnTo>
                  <a:pt x="50" y="128"/>
                </a:lnTo>
                <a:lnTo>
                  <a:pt x="50" y="128"/>
                </a:lnTo>
                <a:lnTo>
                  <a:pt x="50" y="126"/>
                </a:lnTo>
                <a:lnTo>
                  <a:pt x="52" y="126"/>
                </a:lnTo>
                <a:lnTo>
                  <a:pt x="52" y="126"/>
                </a:lnTo>
                <a:lnTo>
                  <a:pt x="52" y="120"/>
                </a:lnTo>
                <a:lnTo>
                  <a:pt x="52" y="116"/>
                </a:lnTo>
                <a:lnTo>
                  <a:pt x="52" y="116"/>
                </a:lnTo>
                <a:lnTo>
                  <a:pt x="50" y="114"/>
                </a:lnTo>
                <a:lnTo>
                  <a:pt x="50" y="114"/>
                </a:lnTo>
                <a:lnTo>
                  <a:pt x="44" y="114"/>
                </a:lnTo>
                <a:lnTo>
                  <a:pt x="44" y="114"/>
                </a:lnTo>
                <a:lnTo>
                  <a:pt x="42" y="116"/>
                </a:lnTo>
                <a:lnTo>
                  <a:pt x="42" y="116"/>
                </a:lnTo>
                <a:lnTo>
                  <a:pt x="34" y="120"/>
                </a:lnTo>
                <a:lnTo>
                  <a:pt x="26" y="124"/>
                </a:lnTo>
                <a:lnTo>
                  <a:pt x="26" y="124"/>
                </a:lnTo>
                <a:lnTo>
                  <a:pt x="26" y="130"/>
                </a:lnTo>
                <a:lnTo>
                  <a:pt x="26" y="130"/>
                </a:lnTo>
                <a:lnTo>
                  <a:pt x="26" y="130"/>
                </a:lnTo>
                <a:lnTo>
                  <a:pt x="24" y="130"/>
                </a:lnTo>
                <a:lnTo>
                  <a:pt x="24" y="130"/>
                </a:lnTo>
                <a:lnTo>
                  <a:pt x="14" y="130"/>
                </a:lnTo>
                <a:lnTo>
                  <a:pt x="6" y="132"/>
                </a:lnTo>
                <a:lnTo>
                  <a:pt x="6" y="132"/>
                </a:lnTo>
                <a:lnTo>
                  <a:pt x="0" y="138"/>
                </a:lnTo>
                <a:lnTo>
                  <a:pt x="0" y="142"/>
                </a:lnTo>
                <a:lnTo>
                  <a:pt x="0" y="142"/>
                </a:lnTo>
                <a:lnTo>
                  <a:pt x="8" y="142"/>
                </a:lnTo>
                <a:lnTo>
                  <a:pt x="14" y="144"/>
                </a:lnTo>
                <a:lnTo>
                  <a:pt x="14" y="144"/>
                </a:lnTo>
                <a:lnTo>
                  <a:pt x="20" y="144"/>
                </a:lnTo>
                <a:lnTo>
                  <a:pt x="20" y="146"/>
                </a:lnTo>
                <a:lnTo>
                  <a:pt x="20" y="146"/>
                </a:lnTo>
                <a:lnTo>
                  <a:pt x="12" y="148"/>
                </a:lnTo>
                <a:lnTo>
                  <a:pt x="12" y="148"/>
                </a:lnTo>
                <a:lnTo>
                  <a:pt x="12" y="150"/>
                </a:lnTo>
                <a:lnTo>
                  <a:pt x="12" y="150"/>
                </a:lnTo>
                <a:lnTo>
                  <a:pt x="12" y="150"/>
                </a:lnTo>
                <a:lnTo>
                  <a:pt x="18" y="156"/>
                </a:lnTo>
                <a:lnTo>
                  <a:pt x="18" y="156"/>
                </a:lnTo>
                <a:lnTo>
                  <a:pt x="18" y="158"/>
                </a:lnTo>
                <a:lnTo>
                  <a:pt x="20" y="162"/>
                </a:lnTo>
                <a:lnTo>
                  <a:pt x="34" y="166"/>
                </a:lnTo>
                <a:lnTo>
                  <a:pt x="34" y="166"/>
                </a:lnTo>
                <a:lnTo>
                  <a:pt x="38" y="164"/>
                </a:lnTo>
                <a:lnTo>
                  <a:pt x="40" y="162"/>
                </a:lnTo>
                <a:lnTo>
                  <a:pt x="40" y="162"/>
                </a:lnTo>
                <a:lnTo>
                  <a:pt x="50" y="160"/>
                </a:lnTo>
                <a:lnTo>
                  <a:pt x="60" y="162"/>
                </a:lnTo>
                <a:lnTo>
                  <a:pt x="60" y="162"/>
                </a:lnTo>
                <a:lnTo>
                  <a:pt x="60" y="160"/>
                </a:lnTo>
                <a:lnTo>
                  <a:pt x="62" y="158"/>
                </a:lnTo>
                <a:lnTo>
                  <a:pt x="62" y="158"/>
                </a:lnTo>
                <a:lnTo>
                  <a:pt x="66" y="164"/>
                </a:lnTo>
                <a:lnTo>
                  <a:pt x="66" y="164"/>
                </a:lnTo>
                <a:lnTo>
                  <a:pt x="66" y="166"/>
                </a:lnTo>
                <a:lnTo>
                  <a:pt x="66" y="166"/>
                </a:lnTo>
                <a:lnTo>
                  <a:pt x="70" y="168"/>
                </a:lnTo>
                <a:lnTo>
                  <a:pt x="70" y="168"/>
                </a:lnTo>
                <a:lnTo>
                  <a:pt x="74" y="162"/>
                </a:lnTo>
                <a:lnTo>
                  <a:pt x="74" y="162"/>
                </a:lnTo>
                <a:lnTo>
                  <a:pt x="86" y="160"/>
                </a:lnTo>
                <a:lnTo>
                  <a:pt x="96" y="160"/>
                </a:lnTo>
                <a:lnTo>
                  <a:pt x="96" y="160"/>
                </a:lnTo>
                <a:lnTo>
                  <a:pt x="96" y="164"/>
                </a:lnTo>
                <a:lnTo>
                  <a:pt x="96" y="164"/>
                </a:lnTo>
                <a:lnTo>
                  <a:pt x="92" y="168"/>
                </a:lnTo>
                <a:lnTo>
                  <a:pt x="92" y="168"/>
                </a:lnTo>
                <a:lnTo>
                  <a:pt x="92" y="172"/>
                </a:lnTo>
                <a:lnTo>
                  <a:pt x="94" y="178"/>
                </a:lnTo>
                <a:lnTo>
                  <a:pt x="94" y="178"/>
                </a:lnTo>
                <a:lnTo>
                  <a:pt x="94" y="186"/>
                </a:lnTo>
                <a:lnTo>
                  <a:pt x="94" y="186"/>
                </a:lnTo>
                <a:lnTo>
                  <a:pt x="88" y="190"/>
                </a:lnTo>
                <a:lnTo>
                  <a:pt x="82" y="192"/>
                </a:lnTo>
                <a:lnTo>
                  <a:pt x="82" y="192"/>
                </a:lnTo>
                <a:lnTo>
                  <a:pt x="80" y="190"/>
                </a:lnTo>
                <a:lnTo>
                  <a:pt x="76" y="190"/>
                </a:lnTo>
                <a:lnTo>
                  <a:pt x="76" y="190"/>
                </a:lnTo>
                <a:lnTo>
                  <a:pt x="76" y="194"/>
                </a:lnTo>
                <a:lnTo>
                  <a:pt x="76" y="194"/>
                </a:lnTo>
                <a:lnTo>
                  <a:pt x="70" y="198"/>
                </a:lnTo>
                <a:lnTo>
                  <a:pt x="64" y="198"/>
                </a:lnTo>
                <a:lnTo>
                  <a:pt x="60" y="198"/>
                </a:lnTo>
                <a:lnTo>
                  <a:pt x="60" y="198"/>
                </a:lnTo>
                <a:lnTo>
                  <a:pt x="56" y="194"/>
                </a:lnTo>
                <a:lnTo>
                  <a:pt x="54" y="192"/>
                </a:lnTo>
                <a:lnTo>
                  <a:pt x="50" y="192"/>
                </a:lnTo>
                <a:lnTo>
                  <a:pt x="50" y="192"/>
                </a:lnTo>
                <a:lnTo>
                  <a:pt x="44" y="196"/>
                </a:lnTo>
                <a:lnTo>
                  <a:pt x="44" y="196"/>
                </a:lnTo>
                <a:lnTo>
                  <a:pt x="44" y="198"/>
                </a:lnTo>
                <a:lnTo>
                  <a:pt x="44" y="198"/>
                </a:lnTo>
                <a:lnTo>
                  <a:pt x="44" y="198"/>
                </a:lnTo>
                <a:lnTo>
                  <a:pt x="44" y="198"/>
                </a:lnTo>
                <a:lnTo>
                  <a:pt x="44" y="200"/>
                </a:lnTo>
                <a:lnTo>
                  <a:pt x="46" y="200"/>
                </a:lnTo>
                <a:lnTo>
                  <a:pt x="46" y="200"/>
                </a:lnTo>
                <a:lnTo>
                  <a:pt x="48" y="204"/>
                </a:lnTo>
                <a:lnTo>
                  <a:pt x="48" y="210"/>
                </a:lnTo>
                <a:lnTo>
                  <a:pt x="48" y="210"/>
                </a:lnTo>
                <a:lnTo>
                  <a:pt x="48" y="210"/>
                </a:lnTo>
                <a:lnTo>
                  <a:pt x="48" y="208"/>
                </a:lnTo>
                <a:lnTo>
                  <a:pt x="48" y="208"/>
                </a:lnTo>
                <a:lnTo>
                  <a:pt x="42" y="206"/>
                </a:lnTo>
                <a:lnTo>
                  <a:pt x="40" y="214"/>
                </a:lnTo>
                <a:lnTo>
                  <a:pt x="40" y="214"/>
                </a:lnTo>
                <a:lnTo>
                  <a:pt x="38" y="214"/>
                </a:lnTo>
                <a:lnTo>
                  <a:pt x="38" y="214"/>
                </a:lnTo>
                <a:lnTo>
                  <a:pt x="30" y="220"/>
                </a:lnTo>
                <a:lnTo>
                  <a:pt x="30" y="220"/>
                </a:lnTo>
                <a:lnTo>
                  <a:pt x="30" y="224"/>
                </a:lnTo>
                <a:lnTo>
                  <a:pt x="30" y="226"/>
                </a:lnTo>
                <a:lnTo>
                  <a:pt x="30" y="226"/>
                </a:lnTo>
                <a:lnTo>
                  <a:pt x="26" y="228"/>
                </a:lnTo>
                <a:lnTo>
                  <a:pt x="26" y="228"/>
                </a:lnTo>
                <a:lnTo>
                  <a:pt x="24" y="232"/>
                </a:lnTo>
                <a:lnTo>
                  <a:pt x="24" y="232"/>
                </a:lnTo>
                <a:lnTo>
                  <a:pt x="28" y="232"/>
                </a:lnTo>
                <a:lnTo>
                  <a:pt x="28" y="232"/>
                </a:lnTo>
                <a:lnTo>
                  <a:pt x="28" y="236"/>
                </a:lnTo>
                <a:lnTo>
                  <a:pt x="28" y="236"/>
                </a:lnTo>
                <a:lnTo>
                  <a:pt x="34" y="236"/>
                </a:lnTo>
                <a:lnTo>
                  <a:pt x="34" y="236"/>
                </a:lnTo>
                <a:lnTo>
                  <a:pt x="34" y="240"/>
                </a:lnTo>
                <a:lnTo>
                  <a:pt x="34" y="240"/>
                </a:lnTo>
                <a:lnTo>
                  <a:pt x="36" y="240"/>
                </a:lnTo>
                <a:lnTo>
                  <a:pt x="36" y="242"/>
                </a:lnTo>
                <a:lnTo>
                  <a:pt x="36" y="242"/>
                </a:lnTo>
                <a:lnTo>
                  <a:pt x="44" y="242"/>
                </a:lnTo>
                <a:lnTo>
                  <a:pt x="50" y="244"/>
                </a:lnTo>
                <a:lnTo>
                  <a:pt x="50" y="244"/>
                </a:lnTo>
                <a:lnTo>
                  <a:pt x="50" y="242"/>
                </a:lnTo>
                <a:lnTo>
                  <a:pt x="50" y="242"/>
                </a:lnTo>
                <a:lnTo>
                  <a:pt x="56" y="242"/>
                </a:lnTo>
                <a:lnTo>
                  <a:pt x="56" y="244"/>
                </a:lnTo>
                <a:lnTo>
                  <a:pt x="56" y="244"/>
                </a:lnTo>
                <a:lnTo>
                  <a:pt x="52" y="246"/>
                </a:lnTo>
                <a:lnTo>
                  <a:pt x="52" y="246"/>
                </a:lnTo>
                <a:lnTo>
                  <a:pt x="50" y="250"/>
                </a:lnTo>
                <a:lnTo>
                  <a:pt x="50" y="250"/>
                </a:lnTo>
                <a:lnTo>
                  <a:pt x="48" y="252"/>
                </a:lnTo>
                <a:lnTo>
                  <a:pt x="48" y="252"/>
                </a:lnTo>
                <a:lnTo>
                  <a:pt x="48" y="256"/>
                </a:lnTo>
                <a:lnTo>
                  <a:pt x="48" y="256"/>
                </a:lnTo>
                <a:lnTo>
                  <a:pt x="46" y="260"/>
                </a:lnTo>
                <a:lnTo>
                  <a:pt x="46" y="260"/>
                </a:lnTo>
                <a:lnTo>
                  <a:pt x="48" y="260"/>
                </a:lnTo>
                <a:lnTo>
                  <a:pt x="48" y="262"/>
                </a:lnTo>
                <a:lnTo>
                  <a:pt x="48" y="262"/>
                </a:lnTo>
                <a:lnTo>
                  <a:pt x="52" y="262"/>
                </a:lnTo>
                <a:lnTo>
                  <a:pt x="52" y="262"/>
                </a:lnTo>
                <a:lnTo>
                  <a:pt x="52" y="266"/>
                </a:lnTo>
                <a:lnTo>
                  <a:pt x="52" y="266"/>
                </a:lnTo>
                <a:lnTo>
                  <a:pt x="56" y="270"/>
                </a:lnTo>
                <a:lnTo>
                  <a:pt x="56" y="270"/>
                </a:lnTo>
                <a:lnTo>
                  <a:pt x="64" y="268"/>
                </a:lnTo>
                <a:lnTo>
                  <a:pt x="68" y="266"/>
                </a:lnTo>
                <a:lnTo>
                  <a:pt x="70" y="264"/>
                </a:lnTo>
                <a:lnTo>
                  <a:pt x="70" y="264"/>
                </a:lnTo>
                <a:lnTo>
                  <a:pt x="70" y="260"/>
                </a:lnTo>
                <a:lnTo>
                  <a:pt x="70" y="258"/>
                </a:lnTo>
                <a:lnTo>
                  <a:pt x="72" y="254"/>
                </a:lnTo>
                <a:lnTo>
                  <a:pt x="74" y="254"/>
                </a:lnTo>
                <a:lnTo>
                  <a:pt x="74" y="254"/>
                </a:lnTo>
                <a:lnTo>
                  <a:pt x="76" y="258"/>
                </a:lnTo>
                <a:lnTo>
                  <a:pt x="76" y="260"/>
                </a:lnTo>
                <a:lnTo>
                  <a:pt x="74" y="260"/>
                </a:lnTo>
                <a:lnTo>
                  <a:pt x="74" y="260"/>
                </a:lnTo>
                <a:lnTo>
                  <a:pt x="74" y="266"/>
                </a:lnTo>
                <a:lnTo>
                  <a:pt x="74" y="266"/>
                </a:lnTo>
                <a:lnTo>
                  <a:pt x="78" y="268"/>
                </a:lnTo>
                <a:lnTo>
                  <a:pt x="78" y="268"/>
                </a:lnTo>
                <a:lnTo>
                  <a:pt x="80" y="274"/>
                </a:lnTo>
                <a:lnTo>
                  <a:pt x="80" y="278"/>
                </a:lnTo>
                <a:lnTo>
                  <a:pt x="80" y="278"/>
                </a:lnTo>
                <a:lnTo>
                  <a:pt x="78" y="280"/>
                </a:lnTo>
                <a:lnTo>
                  <a:pt x="78" y="284"/>
                </a:lnTo>
                <a:lnTo>
                  <a:pt x="78" y="284"/>
                </a:lnTo>
                <a:lnTo>
                  <a:pt x="84" y="284"/>
                </a:lnTo>
                <a:lnTo>
                  <a:pt x="84" y="284"/>
                </a:lnTo>
                <a:lnTo>
                  <a:pt x="82" y="286"/>
                </a:lnTo>
                <a:lnTo>
                  <a:pt x="82" y="286"/>
                </a:lnTo>
                <a:lnTo>
                  <a:pt x="80" y="290"/>
                </a:lnTo>
                <a:lnTo>
                  <a:pt x="80" y="290"/>
                </a:lnTo>
                <a:lnTo>
                  <a:pt x="82" y="290"/>
                </a:lnTo>
                <a:lnTo>
                  <a:pt x="82" y="290"/>
                </a:lnTo>
                <a:lnTo>
                  <a:pt x="82" y="292"/>
                </a:lnTo>
                <a:lnTo>
                  <a:pt x="82" y="292"/>
                </a:lnTo>
                <a:lnTo>
                  <a:pt x="82" y="292"/>
                </a:lnTo>
                <a:lnTo>
                  <a:pt x="82" y="292"/>
                </a:lnTo>
                <a:lnTo>
                  <a:pt x="82" y="296"/>
                </a:lnTo>
                <a:lnTo>
                  <a:pt x="82" y="296"/>
                </a:lnTo>
                <a:lnTo>
                  <a:pt x="86" y="294"/>
                </a:lnTo>
                <a:lnTo>
                  <a:pt x="88" y="292"/>
                </a:lnTo>
                <a:lnTo>
                  <a:pt x="92" y="288"/>
                </a:lnTo>
                <a:lnTo>
                  <a:pt x="92" y="288"/>
                </a:lnTo>
                <a:lnTo>
                  <a:pt x="102" y="282"/>
                </a:lnTo>
                <a:lnTo>
                  <a:pt x="104" y="282"/>
                </a:lnTo>
                <a:lnTo>
                  <a:pt x="104" y="282"/>
                </a:lnTo>
                <a:lnTo>
                  <a:pt x="106" y="284"/>
                </a:lnTo>
                <a:lnTo>
                  <a:pt x="108" y="288"/>
                </a:lnTo>
                <a:lnTo>
                  <a:pt x="108" y="288"/>
                </a:lnTo>
                <a:lnTo>
                  <a:pt x="108" y="288"/>
                </a:lnTo>
                <a:lnTo>
                  <a:pt x="114" y="286"/>
                </a:lnTo>
                <a:lnTo>
                  <a:pt x="114" y="286"/>
                </a:lnTo>
                <a:lnTo>
                  <a:pt x="116" y="290"/>
                </a:lnTo>
                <a:lnTo>
                  <a:pt x="118" y="294"/>
                </a:lnTo>
                <a:lnTo>
                  <a:pt x="118" y="294"/>
                </a:lnTo>
                <a:lnTo>
                  <a:pt x="120" y="296"/>
                </a:lnTo>
                <a:lnTo>
                  <a:pt x="120" y="296"/>
                </a:lnTo>
                <a:lnTo>
                  <a:pt x="122" y="298"/>
                </a:lnTo>
                <a:lnTo>
                  <a:pt x="122" y="298"/>
                </a:lnTo>
                <a:lnTo>
                  <a:pt x="124" y="296"/>
                </a:lnTo>
                <a:lnTo>
                  <a:pt x="124" y="296"/>
                </a:lnTo>
                <a:lnTo>
                  <a:pt x="122" y="294"/>
                </a:lnTo>
                <a:lnTo>
                  <a:pt x="124" y="292"/>
                </a:lnTo>
                <a:lnTo>
                  <a:pt x="124" y="292"/>
                </a:lnTo>
                <a:lnTo>
                  <a:pt x="128" y="292"/>
                </a:lnTo>
                <a:lnTo>
                  <a:pt x="128" y="292"/>
                </a:lnTo>
                <a:lnTo>
                  <a:pt x="130" y="288"/>
                </a:lnTo>
                <a:lnTo>
                  <a:pt x="130" y="288"/>
                </a:lnTo>
                <a:lnTo>
                  <a:pt x="132" y="294"/>
                </a:lnTo>
                <a:lnTo>
                  <a:pt x="132" y="294"/>
                </a:lnTo>
                <a:lnTo>
                  <a:pt x="138" y="292"/>
                </a:lnTo>
                <a:lnTo>
                  <a:pt x="144" y="290"/>
                </a:lnTo>
                <a:lnTo>
                  <a:pt x="144" y="290"/>
                </a:lnTo>
                <a:lnTo>
                  <a:pt x="146" y="286"/>
                </a:lnTo>
                <a:lnTo>
                  <a:pt x="146" y="286"/>
                </a:lnTo>
                <a:lnTo>
                  <a:pt x="150" y="286"/>
                </a:lnTo>
                <a:lnTo>
                  <a:pt x="150" y="286"/>
                </a:lnTo>
                <a:lnTo>
                  <a:pt x="148" y="292"/>
                </a:lnTo>
                <a:lnTo>
                  <a:pt x="146" y="296"/>
                </a:lnTo>
                <a:lnTo>
                  <a:pt x="146" y="296"/>
                </a:lnTo>
                <a:lnTo>
                  <a:pt x="144" y="298"/>
                </a:lnTo>
                <a:lnTo>
                  <a:pt x="140" y="302"/>
                </a:lnTo>
                <a:lnTo>
                  <a:pt x="140" y="302"/>
                </a:lnTo>
                <a:lnTo>
                  <a:pt x="140" y="304"/>
                </a:lnTo>
                <a:lnTo>
                  <a:pt x="140" y="308"/>
                </a:lnTo>
                <a:lnTo>
                  <a:pt x="136" y="308"/>
                </a:lnTo>
                <a:lnTo>
                  <a:pt x="136" y="308"/>
                </a:lnTo>
                <a:lnTo>
                  <a:pt x="136" y="320"/>
                </a:lnTo>
                <a:lnTo>
                  <a:pt x="136" y="320"/>
                </a:lnTo>
                <a:lnTo>
                  <a:pt x="134" y="320"/>
                </a:lnTo>
                <a:lnTo>
                  <a:pt x="134" y="320"/>
                </a:lnTo>
                <a:lnTo>
                  <a:pt x="132" y="324"/>
                </a:lnTo>
                <a:lnTo>
                  <a:pt x="132" y="326"/>
                </a:lnTo>
                <a:lnTo>
                  <a:pt x="132" y="326"/>
                </a:lnTo>
                <a:lnTo>
                  <a:pt x="128" y="330"/>
                </a:lnTo>
                <a:lnTo>
                  <a:pt x="126" y="332"/>
                </a:lnTo>
                <a:lnTo>
                  <a:pt x="126" y="332"/>
                </a:lnTo>
                <a:lnTo>
                  <a:pt x="126" y="336"/>
                </a:lnTo>
                <a:lnTo>
                  <a:pt x="126" y="336"/>
                </a:lnTo>
                <a:lnTo>
                  <a:pt x="122" y="336"/>
                </a:lnTo>
                <a:lnTo>
                  <a:pt x="122" y="336"/>
                </a:lnTo>
                <a:lnTo>
                  <a:pt x="120" y="338"/>
                </a:lnTo>
                <a:lnTo>
                  <a:pt x="116" y="342"/>
                </a:lnTo>
                <a:lnTo>
                  <a:pt x="116" y="342"/>
                </a:lnTo>
                <a:lnTo>
                  <a:pt x="114" y="342"/>
                </a:lnTo>
                <a:lnTo>
                  <a:pt x="114" y="342"/>
                </a:lnTo>
                <a:lnTo>
                  <a:pt x="108" y="344"/>
                </a:lnTo>
                <a:lnTo>
                  <a:pt x="104" y="346"/>
                </a:lnTo>
                <a:lnTo>
                  <a:pt x="102" y="350"/>
                </a:lnTo>
                <a:lnTo>
                  <a:pt x="102" y="356"/>
                </a:lnTo>
                <a:lnTo>
                  <a:pt x="102" y="356"/>
                </a:lnTo>
                <a:lnTo>
                  <a:pt x="94" y="358"/>
                </a:lnTo>
                <a:lnTo>
                  <a:pt x="94" y="358"/>
                </a:lnTo>
                <a:lnTo>
                  <a:pt x="96" y="354"/>
                </a:lnTo>
                <a:lnTo>
                  <a:pt x="96" y="354"/>
                </a:lnTo>
                <a:lnTo>
                  <a:pt x="86" y="356"/>
                </a:lnTo>
                <a:lnTo>
                  <a:pt x="78" y="358"/>
                </a:lnTo>
                <a:lnTo>
                  <a:pt x="78" y="358"/>
                </a:lnTo>
                <a:lnTo>
                  <a:pt x="78" y="360"/>
                </a:lnTo>
                <a:lnTo>
                  <a:pt x="78" y="364"/>
                </a:lnTo>
                <a:lnTo>
                  <a:pt x="78" y="364"/>
                </a:lnTo>
                <a:lnTo>
                  <a:pt x="74" y="366"/>
                </a:lnTo>
                <a:lnTo>
                  <a:pt x="74" y="366"/>
                </a:lnTo>
                <a:lnTo>
                  <a:pt x="72" y="370"/>
                </a:lnTo>
                <a:lnTo>
                  <a:pt x="72" y="370"/>
                </a:lnTo>
                <a:lnTo>
                  <a:pt x="68" y="374"/>
                </a:lnTo>
                <a:lnTo>
                  <a:pt x="64" y="376"/>
                </a:lnTo>
                <a:lnTo>
                  <a:pt x="64" y="376"/>
                </a:lnTo>
                <a:lnTo>
                  <a:pt x="64" y="378"/>
                </a:lnTo>
                <a:lnTo>
                  <a:pt x="64" y="378"/>
                </a:lnTo>
                <a:lnTo>
                  <a:pt x="66" y="376"/>
                </a:lnTo>
                <a:lnTo>
                  <a:pt x="66" y="376"/>
                </a:lnTo>
                <a:lnTo>
                  <a:pt x="66" y="378"/>
                </a:lnTo>
                <a:lnTo>
                  <a:pt x="70" y="378"/>
                </a:lnTo>
                <a:lnTo>
                  <a:pt x="70" y="374"/>
                </a:lnTo>
                <a:lnTo>
                  <a:pt x="72" y="374"/>
                </a:lnTo>
                <a:lnTo>
                  <a:pt x="72" y="374"/>
                </a:lnTo>
                <a:lnTo>
                  <a:pt x="74" y="376"/>
                </a:lnTo>
                <a:lnTo>
                  <a:pt x="76" y="378"/>
                </a:lnTo>
                <a:lnTo>
                  <a:pt x="76" y="378"/>
                </a:lnTo>
                <a:lnTo>
                  <a:pt x="84" y="362"/>
                </a:lnTo>
                <a:lnTo>
                  <a:pt x="84" y="362"/>
                </a:lnTo>
                <a:lnTo>
                  <a:pt x="90" y="362"/>
                </a:lnTo>
                <a:lnTo>
                  <a:pt x="90" y="362"/>
                </a:lnTo>
                <a:lnTo>
                  <a:pt x="90" y="362"/>
                </a:lnTo>
                <a:lnTo>
                  <a:pt x="88" y="364"/>
                </a:lnTo>
                <a:lnTo>
                  <a:pt x="86" y="366"/>
                </a:lnTo>
                <a:lnTo>
                  <a:pt x="86" y="366"/>
                </a:lnTo>
                <a:lnTo>
                  <a:pt x="94" y="366"/>
                </a:lnTo>
                <a:lnTo>
                  <a:pt x="94" y="364"/>
                </a:lnTo>
                <a:lnTo>
                  <a:pt x="94" y="364"/>
                </a:lnTo>
                <a:lnTo>
                  <a:pt x="102" y="362"/>
                </a:lnTo>
                <a:lnTo>
                  <a:pt x="106" y="358"/>
                </a:lnTo>
                <a:lnTo>
                  <a:pt x="106" y="358"/>
                </a:lnTo>
                <a:lnTo>
                  <a:pt x="110" y="358"/>
                </a:lnTo>
                <a:lnTo>
                  <a:pt x="110" y="358"/>
                </a:lnTo>
                <a:lnTo>
                  <a:pt x="110" y="362"/>
                </a:lnTo>
                <a:lnTo>
                  <a:pt x="110" y="362"/>
                </a:lnTo>
                <a:lnTo>
                  <a:pt x="112" y="360"/>
                </a:lnTo>
                <a:lnTo>
                  <a:pt x="112" y="356"/>
                </a:lnTo>
                <a:lnTo>
                  <a:pt x="112" y="356"/>
                </a:lnTo>
                <a:lnTo>
                  <a:pt x="114" y="358"/>
                </a:lnTo>
                <a:lnTo>
                  <a:pt x="116" y="358"/>
                </a:lnTo>
                <a:lnTo>
                  <a:pt x="116" y="358"/>
                </a:lnTo>
                <a:lnTo>
                  <a:pt x="118" y="354"/>
                </a:lnTo>
                <a:lnTo>
                  <a:pt x="118" y="350"/>
                </a:lnTo>
                <a:lnTo>
                  <a:pt x="118" y="350"/>
                </a:lnTo>
                <a:lnTo>
                  <a:pt x="122" y="354"/>
                </a:lnTo>
                <a:lnTo>
                  <a:pt x="124" y="348"/>
                </a:lnTo>
                <a:lnTo>
                  <a:pt x="124" y="348"/>
                </a:lnTo>
                <a:lnTo>
                  <a:pt x="122" y="348"/>
                </a:lnTo>
                <a:lnTo>
                  <a:pt x="122" y="346"/>
                </a:lnTo>
                <a:lnTo>
                  <a:pt x="122" y="346"/>
                </a:lnTo>
                <a:lnTo>
                  <a:pt x="124" y="346"/>
                </a:lnTo>
                <a:lnTo>
                  <a:pt x="124" y="346"/>
                </a:lnTo>
                <a:lnTo>
                  <a:pt x="124" y="346"/>
                </a:lnTo>
                <a:lnTo>
                  <a:pt x="124" y="346"/>
                </a:lnTo>
                <a:lnTo>
                  <a:pt x="132" y="342"/>
                </a:lnTo>
                <a:lnTo>
                  <a:pt x="132" y="342"/>
                </a:lnTo>
                <a:lnTo>
                  <a:pt x="130" y="342"/>
                </a:lnTo>
                <a:lnTo>
                  <a:pt x="130" y="340"/>
                </a:lnTo>
                <a:lnTo>
                  <a:pt x="130" y="340"/>
                </a:lnTo>
                <a:lnTo>
                  <a:pt x="134" y="340"/>
                </a:lnTo>
                <a:lnTo>
                  <a:pt x="136" y="340"/>
                </a:lnTo>
                <a:lnTo>
                  <a:pt x="136" y="340"/>
                </a:lnTo>
                <a:lnTo>
                  <a:pt x="138" y="334"/>
                </a:lnTo>
                <a:lnTo>
                  <a:pt x="138" y="334"/>
                </a:lnTo>
                <a:lnTo>
                  <a:pt x="142" y="336"/>
                </a:lnTo>
                <a:lnTo>
                  <a:pt x="142" y="336"/>
                </a:lnTo>
                <a:lnTo>
                  <a:pt x="148" y="330"/>
                </a:lnTo>
                <a:lnTo>
                  <a:pt x="148" y="330"/>
                </a:lnTo>
                <a:lnTo>
                  <a:pt x="148" y="324"/>
                </a:lnTo>
                <a:lnTo>
                  <a:pt x="148" y="324"/>
                </a:lnTo>
                <a:lnTo>
                  <a:pt x="154" y="322"/>
                </a:lnTo>
                <a:lnTo>
                  <a:pt x="154" y="320"/>
                </a:lnTo>
                <a:lnTo>
                  <a:pt x="154" y="320"/>
                </a:lnTo>
                <a:lnTo>
                  <a:pt x="156" y="320"/>
                </a:lnTo>
                <a:lnTo>
                  <a:pt x="156" y="320"/>
                </a:lnTo>
                <a:lnTo>
                  <a:pt x="160" y="316"/>
                </a:lnTo>
                <a:lnTo>
                  <a:pt x="164" y="312"/>
                </a:lnTo>
                <a:lnTo>
                  <a:pt x="164" y="312"/>
                </a:lnTo>
                <a:lnTo>
                  <a:pt x="168" y="310"/>
                </a:lnTo>
                <a:lnTo>
                  <a:pt x="168" y="310"/>
                </a:lnTo>
                <a:lnTo>
                  <a:pt x="168" y="308"/>
                </a:lnTo>
                <a:lnTo>
                  <a:pt x="172" y="304"/>
                </a:lnTo>
                <a:lnTo>
                  <a:pt x="172" y="304"/>
                </a:lnTo>
                <a:lnTo>
                  <a:pt x="180" y="302"/>
                </a:lnTo>
                <a:lnTo>
                  <a:pt x="180" y="302"/>
                </a:lnTo>
                <a:lnTo>
                  <a:pt x="182" y="300"/>
                </a:lnTo>
                <a:lnTo>
                  <a:pt x="182" y="300"/>
                </a:lnTo>
                <a:lnTo>
                  <a:pt x="182" y="296"/>
                </a:lnTo>
                <a:lnTo>
                  <a:pt x="182" y="296"/>
                </a:lnTo>
                <a:lnTo>
                  <a:pt x="184" y="294"/>
                </a:lnTo>
                <a:lnTo>
                  <a:pt x="186" y="292"/>
                </a:lnTo>
                <a:lnTo>
                  <a:pt x="186" y="290"/>
                </a:lnTo>
                <a:lnTo>
                  <a:pt x="186" y="290"/>
                </a:lnTo>
                <a:lnTo>
                  <a:pt x="190" y="288"/>
                </a:lnTo>
                <a:lnTo>
                  <a:pt x="190" y="288"/>
                </a:lnTo>
                <a:lnTo>
                  <a:pt x="190" y="284"/>
                </a:lnTo>
                <a:lnTo>
                  <a:pt x="190" y="284"/>
                </a:lnTo>
                <a:lnTo>
                  <a:pt x="182" y="284"/>
                </a:lnTo>
                <a:lnTo>
                  <a:pt x="182" y="284"/>
                </a:lnTo>
                <a:lnTo>
                  <a:pt x="182" y="280"/>
                </a:lnTo>
                <a:lnTo>
                  <a:pt x="182" y="276"/>
                </a:lnTo>
                <a:lnTo>
                  <a:pt x="182" y="276"/>
                </a:lnTo>
                <a:lnTo>
                  <a:pt x="186" y="272"/>
                </a:lnTo>
                <a:lnTo>
                  <a:pt x="186" y="272"/>
                </a:lnTo>
                <a:lnTo>
                  <a:pt x="186" y="268"/>
                </a:lnTo>
                <a:lnTo>
                  <a:pt x="186" y="268"/>
                </a:lnTo>
                <a:lnTo>
                  <a:pt x="194" y="268"/>
                </a:lnTo>
                <a:lnTo>
                  <a:pt x="194" y="268"/>
                </a:lnTo>
                <a:lnTo>
                  <a:pt x="196" y="264"/>
                </a:lnTo>
                <a:lnTo>
                  <a:pt x="196" y="264"/>
                </a:lnTo>
                <a:lnTo>
                  <a:pt x="200" y="262"/>
                </a:lnTo>
                <a:lnTo>
                  <a:pt x="200" y="262"/>
                </a:lnTo>
                <a:lnTo>
                  <a:pt x="198" y="258"/>
                </a:lnTo>
                <a:lnTo>
                  <a:pt x="198" y="258"/>
                </a:lnTo>
                <a:lnTo>
                  <a:pt x="202" y="260"/>
                </a:lnTo>
                <a:lnTo>
                  <a:pt x="202" y="260"/>
                </a:lnTo>
                <a:lnTo>
                  <a:pt x="204" y="258"/>
                </a:lnTo>
                <a:lnTo>
                  <a:pt x="206" y="258"/>
                </a:lnTo>
                <a:lnTo>
                  <a:pt x="206" y="258"/>
                </a:lnTo>
                <a:lnTo>
                  <a:pt x="208" y="252"/>
                </a:lnTo>
                <a:lnTo>
                  <a:pt x="208" y="248"/>
                </a:lnTo>
                <a:lnTo>
                  <a:pt x="212" y="246"/>
                </a:lnTo>
                <a:lnTo>
                  <a:pt x="212" y="246"/>
                </a:lnTo>
                <a:lnTo>
                  <a:pt x="214" y="246"/>
                </a:lnTo>
                <a:lnTo>
                  <a:pt x="216" y="246"/>
                </a:lnTo>
                <a:lnTo>
                  <a:pt x="216" y="246"/>
                </a:lnTo>
                <a:lnTo>
                  <a:pt x="218" y="240"/>
                </a:lnTo>
                <a:lnTo>
                  <a:pt x="218" y="240"/>
                </a:lnTo>
                <a:lnTo>
                  <a:pt x="220" y="238"/>
                </a:lnTo>
                <a:lnTo>
                  <a:pt x="224" y="238"/>
                </a:lnTo>
                <a:lnTo>
                  <a:pt x="224" y="238"/>
                </a:lnTo>
                <a:lnTo>
                  <a:pt x="232" y="230"/>
                </a:lnTo>
                <a:lnTo>
                  <a:pt x="232" y="230"/>
                </a:lnTo>
                <a:lnTo>
                  <a:pt x="234" y="234"/>
                </a:lnTo>
                <a:lnTo>
                  <a:pt x="234" y="234"/>
                </a:lnTo>
                <a:lnTo>
                  <a:pt x="242" y="232"/>
                </a:lnTo>
                <a:lnTo>
                  <a:pt x="242" y="232"/>
                </a:lnTo>
                <a:lnTo>
                  <a:pt x="244" y="230"/>
                </a:lnTo>
                <a:lnTo>
                  <a:pt x="244" y="230"/>
                </a:lnTo>
                <a:lnTo>
                  <a:pt x="246" y="230"/>
                </a:lnTo>
                <a:lnTo>
                  <a:pt x="244" y="234"/>
                </a:lnTo>
                <a:lnTo>
                  <a:pt x="244" y="234"/>
                </a:lnTo>
                <a:lnTo>
                  <a:pt x="242" y="234"/>
                </a:lnTo>
                <a:lnTo>
                  <a:pt x="242" y="236"/>
                </a:lnTo>
                <a:lnTo>
                  <a:pt x="242" y="236"/>
                </a:lnTo>
                <a:lnTo>
                  <a:pt x="242" y="236"/>
                </a:lnTo>
                <a:lnTo>
                  <a:pt x="246" y="240"/>
                </a:lnTo>
                <a:lnTo>
                  <a:pt x="246" y="240"/>
                </a:lnTo>
                <a:lnTo>
                  <a:pt x="246" y="242"/>
                </a:lnTo>
                <a:lnTo>
                  <a:pt x="244" y="242"/>
                </a:lnTo>
                <a:lnTo>
                  <a:pt x="240" y="242"/>
                </a:lnTo>
                <a:lnTo>
                  <a:pt x="232" y="240"/>
                </a:lnTo>
                <a:lnTo>
                  <a:pt x="232" y="240"/>
                </a:lnTo>
                <a:lnTo>
                  <a:pt x="230" y="242"/>
                </a:lnTo>
                <a:lnTo>
                  <a:pt x="230" y="242"/>
                </a:lnTo>
                <a:lnTo>
                  <a:pt x="220" y="246"/>
                </a:lnTo>
                <a:lnTo>
                  <a:pt x="220" y="246"/>
                </a:lnTo>
                <a:lnTo>
                  <a:pt x="222" y="262"/>
                </a:lnTo>
                <a:lnTo>
                  <a:pt x="222" y="262"/>
                </a:lnTo>
                <a:lnTo>
                  <a:pt x="216" y="266"/>
                </a:lnTo>
                <a:lnTo>
                  <a:pt x="216" y="266"/>
                </a:lnTo>
                <a:lnTo>
                  <a:pt x="218" y="270"/>
                </a:lnTo>
                <a:lnTo>
                  <a:pt x="218" y="272"/>
                </a:lnTo>
                <a:lnTo>
                  <a:pt x="218" y="272"/>
                </a:lnTo>
                <a:lnTo>
                  <a:pt x="220" y="272"/>
                </a:lnTo>
                <a:lnTo>
                  <a:pt x="222" y="272"/>
                </a:lnTo>
                <a:lnTo>
                  <a:pt x="222" y="272"/>
                </a:lnTo>
                <a:lnTo>
                  <a:pt x="224" y="272"/>
                </a:lnTo>
                <a:lnTo>
                  <a:pt x="224" y="272"/>
                </a:lnTo>
                <a:lnTo>
                  <a:pt x="222" y="276"/>
                </a:lnTo>
                <a:lnTo>
                  <a:pt x="222" y="276"/>
                </a:lnTo>
                <a:lnTo>
                  <a:pt x="216" y="276"/>
                </a:lnTo>
                <a:lnTo>
                  <a:pt x="216" y="276"/>
                </a:lnTo>
                <a:lnTo>
                  <a:pt x="214" y="282"/>
                </a:lnTo>
                <a:lnTo>
                  <a:pt x="214" y="282"/>
                </a:lnTo>
                <a:lnTo>
                  <a:pt x="218" y="282"/>
                </a:lnTo>
                <a:lnTo>
                  <a:pt x="222" y="282"/>
                </a:lnTo>
                <a:lnTo>
                  <a:pt x="222" y="282"/>
                </a:lnTo>
                <a:lnTo>
                  <a:pt x="224" y="280"/>
                </a:lnTo>
                <a:lnTo>
                  <a:pt x="224" y="280"/>
                </a:lnTo>
                <a:lnTo>
                  <a:pt x="228" y="280"/>
                </a:lnTo>
                <a:lnTo>
                  <a:pt x="230" y="280"/>
                </a:lnTo>
                <a:lnTo>
                  <a:pt x="230" y="278"/>
                </a:lnTo>
                <a:lnTo>
                  <a:pt x="230" y="278"/>
                </a:lnTo>
                <a:lnTo>
                  <a:pt x="232" y="278"/>
                </a:lnTo>
                <a:lnTo>
                  <a:pt x="236" y="276"/>
                </a:lnTo>
                <a:lnTo>
                  <a:pt x="236" y="276"/>
                </a:lnTo>
                <a:lnTo>
                  <a:pt x="236" y="272"/>
                </a:lnTo>
                <a:lnTo>
                  <a:pt x="236" y="272"/>
                </a:lnTo>
                <a:lnTo>
                  <a:pt x="240" y="272"/>
                </a:lnTo>
                <a:lnTo>
                  <a:pt x="244" y="270"/>
                </a:lnTo>
                <a:lnTo>
                  <a:pt x="244" y="270"/>
                </a:lnTo>
                <a:lnTo>
                  <a:pt x="242" y="268"/>
                </a:lnTo>
                <a:lnTo>
                  <a:pt x="244" y="266"/>
                </a:lnTo>
                <a:lnTo>
                  <a:pt x="244" y="266"/>
                </a:lnTo>
                <a:lnTo>
                  <a:pt x="246" y="266"/>
                </a:lnTo>
                <a:lnTo>
                  <a:pt x="248" y="268"/>
                </a:lnTo>
                <a:lnTo>
                  <a:pt x="248" y="268"/>
                </a:lnTo>
                <a:lnTo>
                  <a:pt x="248" y="264"/>
                </a:lnTo>
                <a:lnTo>
                  <a:pt x="248" y="264"/>
                </a:lnTo>
                <a:lnTo>
                  <a:pt x="250" y="260"/>
                </a:lnTo>
                <a:lnTo>
                  <a:pt x="250" y="260"/>
                </a:lnTo>
                <a:lnTo>
                  <a:pt x="252" y="262"/>
                </a:lnTo>
                <a:lnTo>
                  <a:pt x="252" y="264"/>
                </a:lnTo>
                <a:lnTo>
                  <a:pt x="252" y="264"/>
                </a:lnTo>
                <a:lnTo>
                  <a:pt x="254" y="262"/>
                </a:lnTo>
                <a:lnTo>
                  <a:pt x="254" y="262"/>
                </a:lnTo>
                <a:lnTo>
                  <a:pt x="266" y="264"/>
                </a:lnTo>
                <a:lnTo>
                  <a:pt x="266" y="264"/>
                </a:lnTo>
                <a:lnTo>
                  <a:pt x="266" y="258"/>
                </a:lnTo>
                <a:lnTo>
                  <a:pt x="266" y="258"/>
                </a:lnTo>
                <a:lnTo>
                  <a:pt x="270" y="258"/>
                </a:lnTo>
                <a:lnTo>
                  <a:pt x="270" y="258"/>
                </a:lnTo>
                <a:lnTo>
                  <a:pt x="270" y="254"/>
                </a:lnTo>
                <a:lnTo>
                  <a:pt x="270" y="248"/>
                </a:lnTo>
                <a:lnTo>
                  <a:pt x="270" y="248"/>
                </a:lnTo>
                <a:lnTo>
                  <a:pt x="268" y="250"/>
                </a:lnTo>
                <a:lnTo>
                  <a:pt x="266" y="250"/>
                </a:lnTo>
                <a:lnTo>
                  <a:pt x="266" y="248"/>
                </a:lnTo>
                <a:lnTo>
                  <a:pt x="266" y="248"/>
                </a:lnTo>
                <a:lnTo>
                  <a:pt x="264" y="248"/>
                </a:lnTo>
                <a:lnTo>
                  <a:pt x="264" y="248"/>
                </a:lnTo>
                <a:lnTo>
                  <a:pt x="262" y="238"/>
                </a:lnTo>
                <a:lnTo>
                  <a:pt x="262" y="238"/>
                </a:lnTo>
                <a:lnTo>
                  <a:pt x="270" y="240"/>
                </a:lnTo>
                <a:lnTo>
                  <a:pt x="276" y="242"/>
                </a:lnTo>
                <a:lnTo>
                  <a:pt x="276" y="242"/>
                </a:lnTo>
                <a:lnTo>
                  <a:pt x="276" y="238"/>
                </a:lnTo>
                <a:lnTo>
                  <a:pt x="276" y="238"/>
                </a:lnTo>
                <a:lnTo>
                  <a:pt x="278" y="240"/>
                </a:lnTo>
                <a:lnTo>
                  <a:pt x="278" y="240"/>
                </a:lnTo>
                <a:lnTo>
                  <a:pt x="278" y="240"/>
                </a:lnTo>
                <a:lnTo>
                  <a:pt x="284" y="240"/>
                </a:lnTo>
                <a:lnTo>
                  <a:pt x="284" y="240"/>
                </a:lnTo>
                <a:lnTo>
                  <a:pt x="286" y="236"/>
                </a:lnTo>
                <a:lnTo>
                  <a:pt x="286" y="236"/>
                </a:lnTo>
                <a:lnTo>
                  <a:pt x="286" y="240"/>
                </a:lnTo>
                <a:lnTo>
                  <a:pt x="286" y="240"/>
                </a:lnTo>
                <a:lnTo>
                  <a:pt x="286" y="240"/>
                </a:lnTo>
                <a:lnTo>
                  <a:pt x="286" y="242"/>
                </a:lnTo>
                <a:lnTo>
                  <a:pt x="286" y="242"/>
                </a:lnTo>
                <a:lnTo>
                  <a:pt x="290" y="244"/>
                </a:lnTo>
                <a:lnTo>
                  <a:pt x="290" y="244"/>
                </a:lnTo>
                <a:lnTo>
                  <a:pt x="286" y="246"/>
                </a:lnTo>
                <a:lnTo>
                  <a:pt x="286" y="246"/>
                </a:lnTo>
                <a:lnTo>
                  <a:pt x="292" y="246"/>
                </a:lnTo>
                <a:lnTo>
                  <a:pt x="292" y="248"/>
                </a:lnTo>
                <a:lnTo>
                  <a:pt x="292" y="248"/>
                </a:lnTo>
                <a:lnTo>
                  <a:pt x="298" y="248"/>
                </a:lnTo>
                <a:lnTo>
                  <a:pt x="298" y="248"/>
                </a:lnTo>
                <a:lnTo>
                  <a:pt x="296" y="252"/>
                </a:lnTo>
                <a:lnTo>
                  <a:pt x="296" y="252"/>
                </a:lnTo>
                <a:lnTo>
                  <a:pt x="296" y="252"/>
                </a:lnTo>
                <a:lnTo>
                  <a:pt x="296" y="256"/>
                </a:lnTo>
                <a:lnTo>
                  <a:pt x="296" y="256"/>
                </a:lnTo>
                <a:lnTo>
                  <a:pt x="302" y="254"/>
                </a:lnTo>
                <a:lnTo>
                  <a:pt x="302" y="254"/>
                </a:lnTo>
                <a:lnTo>
                  <a:pt x="306" y="252"/>
                </a:lnTo>
                <a:lnTo>
                  <a:pt x="306" y="252"/>
                </a:lnTo>
                <a:lnTo>
                  <a:pt x="306" y="258"/>
                </a:lnTo>
                <a:lnTo>
                  <a:pt x="306" y="258"/>
                </a:lnTo>
                <a:lnTo>
                  <a:pt x="310" y="260"/>
                </a:lnTo>
                <a:lnTo>
                  <a:pt x="310" y="260"/>
                </a:lnTo>
                <a:lnTo>
                  <a:pt x="314" y="260"/>
                </a:lnTo>
                <a:lnTo>
                  <a:pt x="314" y="260"/>
                </a:lnTo>
                <a:lnTo>
                  <a:pt x="318" y="264"/>
                </a:lnTo>
                <a:lnTo>
                  <a:pt x="318" y="264"/>
                </a:lnTo>
                <a:lnTo>
                  <a:pt x="332" y="268"/>
                </a:lnTo>
                <a:lnTo>
                  <a:pt x="332" y="268"/>
                </a:lnTo>
                <a:lnTo>
                  <a:pt x="336" y="266"/>
                </a:lnTo>
                <a:lnTo>
                  <a:pt x="340" y="264"/>
                </a:lnTo>
                <a:lnTo>
                  <a:pt x="342" y="264"/>
                </a:lnTo>
                <a:lnTo>
                  <a:pt x="342" y="264"/>
                </a:lnTo>
                <a:lnTo>
                  <a:pt x="346" y="266"/>
                </a:lnTo>
                <a:lnTo>
                  <a:pt x="350" y="268"/>
                </a:lnTo>
                <a:lnTo>
                  <a:pt x="350" y="268"/>
                </a:lnTo>
                <a:lnTo>
                  <a:pt x="352" y="266"/>
                </a:lnTo>
                <a:lnTo>
                  <a:pt x="354" y="266"/>
                </a:lnTo>
                <a:lnTo>
                  <a:pt x="354" y="266"/>
                </a:lnTo>
                <a:lnTo>
                  <a:pt x="356" y="270"/>
                </a:lnTo>
                <a:lnTo>
                  <a:pt x="356" y="270"/>
                </a:lnTo>
                <a:lnTo>
                  <a:pt x="366" y="272"/>
                </a:lnTo>
                <a:lnTo>
                  <a:pt x="372" y="272"/>
                </a:lnTo>
                <a:lnTo>
                  <a:pt x="378" y="272"/>
                </a:lnTo>
                <a:lnTo>
                  <a:pt x="378" y="272"/>
                </a:lnTo>
                <a:lnTo>
                  <a:pt x="382" y="268"/>
                </a:lnTo>
                <a:lnTo>
                  <a:pt x="382" y="268"/>
                </a:lnTo>
                <a:lnTo>
                  <a:pt x="382" y="276"/>
                </a:lnTo>
                <a:lnTo>
                  <a:pt x="382" y="276"/>
                </a:lnTo>
                <a:lnTo>
                  <a:pt x="378" y="278"/>
                </a:lnTo>
                <a:lnTo>
                  <a:pt x="378" y="278"/>
                </a:lnTo>
                <a:lnTo>
                  <a:pt x="382" y="280"/>
                </a:lnTo>
                <a:lnTo>
                  <a:pt x="382" y="280"/>
                </a:lnTo>
                <a:lnTo>
                  <a:pt x="386" y="280"/>
                </a:lnTo>
                <a:lnTo>
                  <a:pt x="386" y="280"/>
                </a:lnTo>
                <a:lnTo>
                  <a:pt x="388" y="284"/>
                </a:lnTo>
                <a:lnTo>
                  <a:pt x="388" y="284"/>
                </a:lnTo>
                <a:lnTo>
                  <a:pt x="392" y="284"/>
                </a:lnTo>
                <a:lnTo>
                  <a:pt x="392" y="284"/>
                </a:lnTo>
                <a:lnTo>
                  <a:pt x="394" y="284"/>
                </a:lnTo>
                <a:lnTo>
                  <a:pt x="394" y="284"/>
                </a:lnTo>
                <a:lnTo>
                  <a:pt x="394" y="284"/>
                </a:lnTo>
                <a:lnTo>
                  <a:pt x="394" y="282"/>
                </a:lnTo>
                <a:lnTo>
                  <a:pt x="394" y="282"/>
                </a:lnTo>
                <a:lnTo>
                  <a:pt x="394" y="280"/>
                </a:lnTo>
                <a:lnTo>
                  <a:pt x="394" y="280"/>
                </a:lnTo>
                <a:lnTo>
                  <a:pt x="400" y="280"/>
                </a:lnTo>
                <a:lnTo>
                  <a:pt x="400" y="280"/>
                </a:lnTo>
                <a:lnTo>
                  <a:pt x="396" y="288"/>
                </a:lnTo>
                <a:lnTo>
                  <a:pt x="396" y="288"/>
                </a:lnTo>
                <a:lnTo>
                  <a:pt x="408" y="302"/>
                </a:lnTo>
                <a:lnTo>
                  <a:pt x="408" y="302"/>
                </a:lnTo>
                <a:lnTo>
                  <a:pt x="414" y="302"/>
                </a:lnTo>
                <a:lnTo>
                  <a:pt x="416" y="302"/>
                </a:lnTo>
                <a:lnTo>
                  <a:pt x="416" y="302"/>
                </a:lnTo>
                <a:lnTo>
                  <a:pt x="416" y="306"/>
                </a:lnTo>
                <a:lnTo>
                  <a:pt x="416" y="306"/>
                </a:lnTo>
                <a:lnTo>
                  <a:pt x="420" y="306"/>
                </a:lnTo>
                <a:lnTo>
                  <a:pt x="424" y="312"/>
                </a:lnTo>
                <a:lnTo>
                  <a:pt x="424" y="312"/>
                </a:lnTo>
                <a:lnTo>
                  <a:pt x="424" y="316"/>
                </a:lnTo>
                <a:lnTo>
                  <a:pt x="424" y="318"/>
                </a:lnTo>
                <a:lnTo>
                  <a:pt x="424" y="318"/>
                </a:lnTo>
                <a:lnTo>
                  <a:pt x="428" y="320"/>
                </a:lnTo>
                <a:lnTo>
                  <a:pt x="430" y="320"/>
                </a:lnTo>
                <a:lnTo>
                  <a:pt x="430" y="320"/>
                </a:lnTo>
                <a:lnTo>
                  <a:pt x="434" y="326"/>
                </a:lnTo>
                <a:lnTo>
                  <a:pt x="434" y="326"/>
                </a:lnTo>
                <a:lnTo>
                  <a:pt x="436" y="326"/>
                </a:lnTo>
                <a:lnTo>
                  <a:pt x="436" y="326"/>
                </a:lnTo>
                <a:lnTo>
                  <a:pt x="436" y="320"/>
                </a:lnTo>
                <a:lnTo>
                  <a:pt x="436" y="320"/>
                </a:lnTo>
                <a:lnTo>
                  <a:pt x="442" y="326"/>
                </a:lnTo>
                <a:lnTo>
                  <a:pt x="442" y="326"/>
                </a:lnTo>
                <a:lnTo>
                  <a:pt x="446" y="326"/>
                </a:lnTo>
                <a:lnTo>
                  <a:pt x="446" y="326"/>
                </a:lnTo>
                <a:lnTo>
                  <a:pt x="446" y="318"/>
                </a:lnTo>
                <a:lnTo>
                  <a:pt x="446" y="318"/>
                </a:lnTo>
                <a:lnTo>
                  <a:pt x="442" y="318"/>
                </a:lnTo>
                <a:lnTo>
                  <a:pt x="442" y="318"/>
                </a:lnTo>
                <a:lnTo>
                  <a:pt x="444" y="316"/>
                </a:lnTo>
                <a:lnTo>
                  <a:pt x="444" y="314"/>
                </a:lnTo>
                <a:lnTo>
                  <a:pt x="440" y="312"/>
                </a:lnTo>
                <a:lnTo>
                  <a:pt x="424" y="310"/>
                </a:lnTo>
                <a:lnTo>
                  <a:pt x="424" y="310"/>
                </a:lnTo>
                <a:lnTo>
                  <a:pt x="424" y="306"/>
                </a:lnTo>
                <a:lnTo>
                  <a:pt x="424" y="306"/>
                </a:lnTo>
                <a:lnTo>
                  <a:pt x="426" y="308"/>
                </a:lnTo>
                <a:lnTo>
                  <a:pt x="426" y="308"/>
                </a:lnTo>
                <a:lnTo>
                  <a:pt x="432" y="306"/>
                </a:lnTo>
                <a:lnTo>
                  <a:pt x="438" y="302"/>
                </a:lnTo>
                <a:lnTo>
                  <a:pt x="438" y="302"/>
                </a:lnTo>
                <a:lnTo>
                  <a:pt x="440" y="306"/>
                </a:lnTo>
                <a:lnTo>
                  <a:pt x="442" y="306"/>
                </a:lnTo>
                <a:lnTo>
                  <a:pt x="442" y="306"/>
                </a:lnTo>
                <a:lnTo>
                  <a:pt x="440" y="300"/>
                </a:lnTo>
                <a:lnTo>
                  <a:pt x="442" y="292"/>
                </a:lnTo>
                <a:lnTo>
                  <a:pt x="442" y="292"/>
                </a:lnTo>
                <a:lnTo>
                  <a:pt x="444" y="294"/>
                </a:lnTo>
                <a:lnTo>
                  <a:pt x="444" y="294"/>
                </a:lnTo>
                <a:lnTo>
                  <a:pt x="444" y="300"/>
                </a:lnTo>
                <a:lnTo>
                  <a:pt x="446" y="304"/>
                </a:lnTo>
                <a:lnTo>
                  <a:pt x="450" y="306"/>
                </a:lnTo>
                <a:lnTo>
                  <a:pt x="450" y="306"/>
                </a:lnTo>
                <a:lnTo>
                  <a:pt x="454" y="304"/>
                </a:lnTo>
                <a:lnTo>
                  <a:pt x="454" y="304"/>
                </a:lnTo>
                <a:lnTo>
                  <a:pt x="456" y="310"/>
                </a:lnTo>
                <a:lnTo>
                  <a:pt x="456" y="310"/>
                </a:lnTo>
                <a:lnTo>
                  <a:pt x="458" y="310"/>
                </a:lnTo>
                <a:lnTo>
                  <a:pt x="460" y="310"/>
                </a:lnTo>
                <a:lnTo>
                  <a:pt x="460" y="310"/>
                </a:lnTo>
                <a:lnTo>
                  <a:pt x="460" y="312"/>
                </a:lnTo>
                <a:lnTo>
                  <a:pt x="460" y="316"/>
                </a:lnTo>
                <a:lnTo>
                  <a:pt x="464" y="320"/>
                </a:lnTo>
                <a:lnTo>
                  <a:pt x="464" y="320"/>
                </a:lnTo>
                <a:lnTo>
                  <a:pt x="464" y="324"/>
                </a:lnTo>
                <a:lnTo>
                  <a:pt x="466" y="332"/>
                </a:lnTo>
                <a:lnTo>
                  <a:pt x="466" y="332"/>
                </a:lnTo>
                <a:lnTo>
                  <a:pt x="472" y="334"/>
                </a:lnTo>
                <a:lnTo>
                  <a:pt x="472" y="334"/>
                </a:lnTo>
                <a:lnTo>
                  <a:pt x="472" y="336"/>
                </a:lnTo>
                <a:lnTo>
                  <a:pt x="472" y="340"/>
                </a:lnTo>
                <a:lnTo>
                  <a:pt x="472" y="340"/>
                </a:lnTo>
                <a:lnTo>
                  <a:pt x="472" y="340"/>
                </a:lnTo>
                <a:lnTo>
                  <a:pt x="474" y="342"/>
                </a:lnTo>
                <a:lnTo>
                  <a:pt x="474" y="342"/>
                </a:lnTo>
                <a:lnTo>
                  <a:pt x="476" y="342"/>
                </a:lnTo>
                <a:lnTo>
                  <a:pt x="476" y="342"/>
                </a:lnTo>
                <a:lnTo>
                  <a:pt x="482" y="348"/>
                </a:lnTo>
                <a:lnTo>
                  <a:pt x="482" y="348"/>
                </a:lnTo>
                <a:lnTo>
                  <a:pt x="480" y="348"/>
                </a:lnTo>
                <a:lnTo>
                  <a:pt x="480" y="350"/>
                </a:lnTo>
                <a:lnTo>
                  <a:pt x="480" y="350"/>
                </a:lnTo>
                <a:lnTo>
                  <a:pt x="482" y="352"/>
                </a:lnTo>
                <a:lnTo>
                  <a:pt x="482" y="352"/>
                </a:lnTo>
                <a:lnTo>
                  <a:pt x="482" y="350"/>
                </a:lnTo>
                <a:lnTo>
                  <a:pt x="484" y="348"/>
                </a:lnTo>
                <a:lnTo>
                  <a:pt x="484" y="348"/>
                </a:lnTo>
                <a:lnTo>
                  <a:pt x="486" y="350"/>
                </a:lnTo>
                <a:lnTo>
                  <a:pt x="486" y="350"/>
                </a:lnTo>
                <a:lnTo>
                  <a:pt x="484" y="364"/>
                </a:lnTo>
                <a:lnTo>
                  <a:pt x="484" y="364"/>
                </a:lnTo>
                <a:lnTo>
                  <a:pt x="486" y="364"/>
                </a:lnTo>
                <a:lnTo>
                  <a:pt x="488" y="364"/>
                </a:lnTo>
                <a:lnTo>
                  <a:pt x="488" y="364"/>
                </a:lnTo>
                <a:lnTo>
                  <a:pt x="488" y="358"/>
                </a:lnTo>
                <a:lnTo>
                  <a:pt x="488" y="358"/>
                </a:lnTo>
                <a:lnTo>
                  <a:pt x="494" y="356"/>
                </a:lnTo>
                <a:lnTo>
                  <a:pt x="494" y="356"/>
                </a:lnTo>
                <a:lnTo>
                  <a:pt x="494" y="360"/>
                </a:lnTo>
                <a:lnTo>
                  <a:pt x="494" y="360"/>
                </a:lnTo>
                <a:lnTo>
                  <a:pt x="492" y="360"/>
                </a:lnTo>
                <a:lnTo>
                  <a:pt x="492" y="360"/>
                </a:lnTo>
                <a:lnTo>
                  <a:pt x="490" y="366"/>
                </a:lnTo>
                <a:lnTo>
                  <a:pt x="490" y="366"/>
                </a:lnTo>
                <a:lnTo>
                  <a:pt x="492" y="372"/>
                </a:lnTo>
                <a:lnTo>
                  <a:pt x="492" y="372"/>
                </a:lnTo>
                <a:lnTo>
                  <a:pt x="498" y="372"/>
                </a:lnTo>
                <a:lnTo>
                  <a:pt x="498" y="364"/>
                </a:lnTo>
                <a:lnTo>
                  <a:pt x="498" y="364"/>
                </a:lnTo>
                <a:lnTo>
                  <a:pt x="500" y="366"/>
                </a:lnTo>
                <a:lnTo>
                  <a:pt x="500" y="366"/>
                </a:lnTo>
                <a:lnTo>
                  <a:pt x="502" y="372"/>
                </a:lnTo>
                <a:lnTo>
                  <a:pt x="502" y="372"/>
                </a:lnTo>
                <a:lnTo>
                  <a:pt x="502" y="374"/>
                </a:lnTo>
                <a:lnTo>
                  <a:pt x="502" y="376"/>
                </a:lnTo>
                <a:lnTo>
                  <a:pt x="502" y="376"/>
                </a:lnTo>
                <a:lnTo>
                  <a:pt x="498" y="376"/>
                </a:lnTo>
                <a:lnTo>
                  <a:pt x="496" y="376"/>
                </a:lnTo>
                <a:lnTo>
                  <a:pt x="496" y="376"/>
                </a:lnTo>
                <a:lnTo>
                  <a:pt x="496" y="376"/>
                </a:lnTo>
                <a:lnTo>
                  <a:pt x="498" y="378"/>
                </a:lnTo>
                <a:lnTo>
                  <a:pt x="498" y="378"/>
                </a:lnTo>
                <a:lnTo>
                  <a:pt x="498" y="378"/>
                </a:lnTo>
                <a:lnTo>
                  <a:pt x="498" y="380"/>
                </a:lnTo>
                <a:lnTo>
                  <a:pt x="500" y="380"/>
                </a:lnTo>
                <a:lnTo>
                  <a:pt x="502" y="380"/>
                </a:lnTo>
                <a:lnTo>
                  <a:pt x="502" y="380"/>
                </a:lnTo>
                <a:lnTo>
                  <a:pt x="498" y="382"/>
                </a:lnTo>
                <a:lnTo>
                  <a:pt x="500" y="384"/>
                </a:lnTo>
                <a:lnTo>
                  <a:pt x="500" y="384"/>
                </a:lnTo>
                <a:lnTo>
                  <a:pt x="502" y="384"/>
                </a:lnTo>
                <a:lnTo>
                  <a:pt x="506" y="386"/>
                </a:lnTo>
                <a:lnTo>
                  <a:pt x="506" y="386"/>
                </a:lnTo>
                <a:lnTo>
                  <a:pt x="508" y="382"/>
                </a:lnTo>
                <a:lnTo>
                  <a:pt x="510" y="378"/>
                </a:lnTo>
                <a:lnTo>
                  <a:pt x="510" y="378"/>
                </a:lnTo>
                <a:lnTo>
                  <a:pt x="512" y="378"/>
                </a:lnTo>
                <a:lnTo>
                  <a:pt x="512" y="378"/>
                </a:lnTo>
                <a:lnTo>
                  <a:pt x="512" y="376"/>
                </a:lnTo>
                <a:lnTo>
                  <a:pt x="512" y="376"/>
                </a:lnTo>
                <a:lnTo>
                  <a:pt x="514" y="372"/>
                </a:lnTo>
                <a:lnTo>
                  <a:pt x="514" y="372"/>
                </a:lnTo>
                <a:lnTo>
                  <a:pt x="516" y="370"/>
                </a:lnTo>
                <a:lnTo>
                  <a:pt x="514" y="366"/>
                </a:lnTo>
                <a:lnTo>
                  <a:pt x="514" y="366"/>
                </a:lnTo>
                <a:lnTo>
                  <a:pt x="514" y="364"/>
                </a:lnTo>
                <a:lnTo>
                  <a:pt x="516" y="362"/>
                </a:lnTo>
                <a:lnTo>
                  <a:pt x="518" y="360"/>
                </a:lnTo>
                <a:lnTo>
                  <a:pt x="516" y="360"/>
                </a:lnTo>
                <a:lnTo>
                  <a:pt x="516" y="36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2" name="Freeform 268">
            <a:extLst>
              <a:ext uri="{FF2B5EF4-FFF2-40B4-BE49-F238E27FC236}">
                <a16:creationId xmlns:a16="http://schemas.microsoft.com/office/drawing/2014/main" id="{125D072A-D848-4204-8AE6-D236B3AE7C6F}"/>
              </a:ext>
            </a:extLst>
          </p:cNvPr>
          <p:cNvSpPr>
            <a:spLocks/>
          </p:cNvSpPr>
          <p:nvPr userDrawn="1"/>
        </p:nvSpPr>
        <p:spPr bwMode="auto">
          <a:xfrm>
            <a:off x="7218996" y="2578984"/>
            <a:ext cx="298743" cy="243670"/>
          </a:xfrm>
          <a:custGeom>
            <a:avLst/>
            <a:gdLst>
              <a:gd name="T0" fmla="*/ 178 w 178"/>
              <a:gd name="T1" fmla="*/ 18 h 142"/>
              <a:gd name="T2" fmla="*/ 170 w 178"/>
              <a:gd name="T3" fmla="*/ 22 h 142"/>
              <a:gd name="T4" fmla="*/ 154 w 178"/>
              <a:gd name="T5" fmla="*/ 24 h 142"/>
              <a:gd name="T6" fmla="*/ 130 w 178"/>
              <a:gd name="T7" fmla="*/ 36 h 142"/>
              <a:gd name="T8" fmla="*/ 126 w 178"/>
              <a:gd name="T9" fmla="*/ 46 h 142"/>
              <a:gd name="T10" fmla="*/ 126 w 178"/>
              <a:gd name="T11" fmla="*/ 60 h 142"/>
              <a:gd name="T12" fmla="*/ 114 w 178"/>
              <a:gd name="T13" fmla="*/ 60 h 142"/>
              <a:gd name="T14" fmla="*/ 116 w 178"/>
              <a:gd name="T15" fmla="*/ 70 h 142"/>
              <a:gd name="T16" fmla="*/ 110 w 178"/>
              <a:gd name="T17" fmla="*/ 82 h 142"/>
              <a:gd name="T18" fmla="*/ 108 w 178"/>
              <a:gd name="T19" fmla="*/ 94 h 142"/>
              <a:gd name="T20" fmla="*/ 98 w 178"/>
              <a:gd name="T21" fmla="*/ 94 h 142"/>
              <a:gd name="T22" fmla="*/ 92 w 178"/>
              <a:gd name="T23" fmla="*/ 94 h 142"/>
              <a:gd name="T24" fmla="*/ 90 w 178"/>
              <a:gd name="T25" fmla="*/ 104 h 142"/>
              <a:gd name="T26" fmla="*/ 84 w 178"/>
              <a:gd name="T27" fmla="*/ 110 h 142"/>
              <a:gd name="T28" fmla="*/ 72 w 178"/>
              <a:gd name="T29" fmla="*/ 120 h 142"/>
              <a:gd name="T30" fmla="*/ 64 w 178"/>
              <a:gd name="T31" fmla="*/ 130 h 142"/>
              <a:gd name="T32" fmla="*/ 54 w 178"/>
              <a:gd name="T33" fmla="*/ 138 h 142"/>
              <a:gd name="T34" fmla="*/ 46 w 178"/>
              <a:gd name="T35" fmla="*/ 140 h 142"/>
              <a:gd name="T36" fmla="*/ 28 w 178"/>
              <a:gd name="T37" fmla="*/ 140 h 142"/>
              <a:gd name="T38" fmla="*/ 10 w 178"/>
              <a:gd name="T39" fmla="*/ 134 h 142"/>
              <a:gd name="T40" fmla="*/ 24 w 178"/>
              <a:gd name="T41" fmla="*/ 114 h 142"/>
              <a:gd name="T42" fmla="*/ 10 w 178"/>
              <a:gd name="T43" fmla="*/ 108 h 142"/>
              <a:gd name="T44" fmla="*/ 8 w 178"/>
              <a:gd name="T45" fmla="*/ 98 h 142"/>
              <a:gd name="T46" fmla="*/ 0 w 178"/>
              <a:gd name="T47" fmla="*/ 84 h 142"/>
              <a:gd name="T48" fmla="*/ 4 w 178"/>
              <a:gd name="T49" fmla="*/ 74 h 142"/>
              <a:gd name="T50" fmla="*/ 0 w 178"/>
              <a:gd name="T51" fmla="*/ 68 h 142"/>
              <a:gd name="T52" fmla="*/ 4 w 178"/>
              <a:gd name="T53" fmla="*/ 52 h 142"/>
              <a:gd name="T54" fmla="*/ 12 w 178"/>
              <a:gd name="T55" fmla="*/ 50 h 142"/>
              <a:gd name="T56" fmla="*/ 16 w 178"/>
              <a:gd name="T57" fmla="*/ 38 h 142"/>
              <a:gd name="T58" fmla="*/ 26 w 178"/>
              <a:gd name="T59" fmla="*/ 38 h 142"/>
              <a:gd name="T60" fmla="*/ 42 w 178"/>
              <a:gd name="T61" fmla="*/ 34 h 142"/>
              <a:gd name="T62" fmla="*/ 48 w 178"/>
              <a:gd name="T63" fmla="*/ 20 h 142"/>
              <a:gd name="T64" fmla="*/ 50 w 178"/>
              <a:gd name="T65" fmla="*/ 8 h 142"/>
              <a:gd name="T66" fmla="*/ 54 w 178"/>
              <a:gd name="T67" fmla="*/ 0 h 142"/>
              <a:gd name="T68" fmla="*/ 64 w 178"/>
              <a:gd name="T69" fmla="*/ 4 h 142"/>
              <a:gd name="T70" fmla="*/ 76 w 178"/>
              <a:gd name="T71" fmla="*/ 6 h 142"/>
              <a:gd name="T72" fmla="*/ 86 w 178"/>
              <a:gd name="T73" fmla="*/ 10 h 142"/>
              <a:gd name="T74" fmla="*/ 100 w 178"/>
              <a:gd name="T75" fmla="*/ 10 h 142"/>
              <a:gd name="T76" fmla="*/ 108 w 178"/>
              <a:gd name="T77" fmla="*/ 4 h 142"/>
              <a:gd name="T78" fmla="*/ 116 w 178"/>
              <a:gd name="T79" fmla="*/ 2 h 142"/>
              <a:gd name="T80" fmla="*/ 122 w 178"/>
              <a:gd name="T81" fmla="*/ 12 h 142"/>
              <a:gd name="T82" fmla="*/ 118 w 178"/>
              <a:gd name="T83" fmla="*/ 26 h 142"/>
              <a:gd name="T84" fmla="*/ 130 w 178"/>
              <a:gd name="T85" fmla="*/ 30 h 142"/>
              <a:gd name="T86" fmla="*/ 140 w 178"/>
              <a:gd name="T87" fmla="*/ 20 h 142"/>
              <a:gd name="T88" fmla="*/ 154 w 178"/>
              <a:gd name="T89" fmla="*/ 14 h 142"/>
              <a:gd name="T90" fmla="*/ 168 w 178"/>
              <a:gd name="T91" fmla="*/ 1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8" h="142">
                <a:moveTo>
                  <a:pt x="178" y="14"/>
                </a:moveTo>
                <a:lnTo>
                  <a:pt x="178" y="18"/>
                </a:lnTo>
                <a:lnTo>
                  <a:pt x="176" y="22"/>
                </a:lnTo>
                <a:lnTo>
                  <a:pt x="170" y="22"/>
                </a:lnTo>
                <a:lnTo>
                  <a:pt x="162" y="22"/>
                </a:lnTo>
                <a:lnTo>
                  <a:pt x="154" y="24"/>
                </a:lnTo>
                <a:lnTo>
                  <a:pt x="144" y="26"/>
                </a:lnTo>
                <a:lnTo>
                  <a:pt x="130" y="36"/>
                </a:lnTo>
                <a:lnTo>
                  <a:pt x="130" y="44"/>
                </a:lnTo>
                <a:lnTo>
                  <a:pt x="126" y="46"/>
                </a:lnTo>
                <a:lnTo>
                  <a:pt x="128" y="52"/>
                </a:lnTo>
                <a:lnTo>
                  <a:pt x="126" y="60"/>
                </a:lnTo>
                <a:lnTo>
                  <a:pt x="120" y="62"/>
                </a:lnTo>
                <a:lnTo>
                  <a:pt x="114" y="60"/>
                </a:lnTo>
                <a:lnTo>
                  <a:pt x="112" y="66"/>
                </a:lnTo>
                <a:lnTo>
                  <a:pt x="116" y="70"/>
                </a:lnTo>
                <a:lnTo>
                  <a:pt x="116" y="78"/>
                </a:lnTo>
                <a:lnTo>
                  <a:pt x="110" y="82"/>
                </a:lnTo>
                <a:lnTo>
                  <a:pt x="110" y="88"/>
                </a:lnTo>
                <a:lnTo>
                  <a:pt x="108" y="94"/>
                </a:lnTo>
                <a:lnTo>
                  <a:pt x="104" y="96"/>
                </a:lnTo>
                <a:lnTo>
                  <a:pt x="98" y="94"/>
                </a:lnTo>
                <a:lnTo>
                  <a:pt x="96" y="90"/>
                </a:lnTo>
                <a:lnTo>
                  <a:pt x="92" y="94"/>
                </a:lnTo>
                <a:lnTo>
                  <a:pt x="86" y="98"/>
                </a:lnTo>
                <a:lnTo>
                  <a:pt x="90" y="104"/>
                </a:lnTo>
                <a:lnTo>
                  <a:pt x="88" y="108"/>
                </a:lnTo>
                <a:lnTo>
                  <a:pt x="84" y="110"/>
                </a:lnTo>
                <a:lnTo>
                  <a:pt x="80" y="108"/>
                </a:lnTo>
                <a:lnTo>
                  <a:pt x="72" y="120"/>
                </a:lnTo>
                <a:lnTo>
                  <a:pt x="64" y="124"/>
                </a:lnTo>
                <a:lnTo>
                  <a:pt x="64" y="130"/>
                </a:lnTo>
                <a:lnTo>
                  <a:pt x="62" y="136"/>
                </a:lnTo>
                <a:lnTo>
                  <a:pt x="54" y="138"/>
                </a:lnTo>
                <a:lnTo>
                  <a:pt x="52" y="142"/>
                </a:lnTo>
                <a:lnTo>
                  <a:pt x="46" y="140"/>
                </a:lnTo>
                <a:lnTo>
                  <a:pt x="34" y="140"/>
                </a:lnTo>
                <a:lnTo>
                  <a:pt x="28" y="140"/>
                </a:lnTo>
                <a:lnTo>
                  <a:pt x="24" y="142"/>
                </a:lnTo>
                <a:lnTo>
                  <a:pt x="10" y="134"/>
                </a:lnTo>
                <a:lnTo>
                  <a:pt x="24" y="118"/>
                </a:lnTo>
                <a:lnTo>
                  <a:pt x="24" y="114"/>
                </a:lnTo>
                <a:lnTo>
                  <a:pt x="22" y="110"/>
                </a:lnTo>
                <a:lnTo>
                  <a:pt x="10" y="108"/>
                </a:lnTo>
                <a:lnTo>
                  <a:pt x="8" y="106"/>
                </a:lnTo>
                <a:lnTo>
                  <a:pt x="8" y="98"/>
                </a:lnTo>
                <a:lnTo>
                  <a:pt x="6" y="90"/>
                </a:lnTo>
                <a:lnTo>
                  <a:pt x="0" y="84"/>
                </a:lnTo>
                <a:lnTo>
                  <a:pt x="0" y="78"/>
                </a:lnTo>
                <a:lnTo>
                  <a:pt x="4" y="74"/>
                </a:lnTo>
                <a:lnTo>
                  <a:pt x="0" y="72"/>
                </a:lnTo>
                <a:lnTo>
                  <a:pt x="0" y="68"/>
                </a:lnTo>
                <a:lnTo>
                  <a:pt x="0" y="58"/>
                </a:lnTo>
                <a:lnTo>
                  <a:pt x="4" y="52"/>
                </a:lnTo>
                <a:lnTo>
                  <a:pt x="6" y="50"/>
                </a:lnTo>
                <a:lnTo>
                  <a:pt x="12" y="50"/>
                </a:lnTo>
                <a:lnTo>
                  <a:pt x="14" y="44"/>
                </a:lnTo>
                <a:lnTo>
                  <a:pt x="16" y="38"/>
                </a:lnTo>
                <a:lnTo>
                  <a:pt x="22" y="40"/>
                </a:lnTo>
                <a:lnTo>
                  <a:pt x="26" y="38"/>
                </a:lnTo>
                <a:lnTo>
                  <a:pt x="30" y="40"/>
                </a:lnTo>
                <a:lnTo>
                  <a:pt x="42" y="34"/>
                </a:lnTo>
                <a:lnTo>
                  <a:pt x="40" y="28"/>
                </a:lnTo>
                <a:lnTo>
                  <a:pt x="48" y="20"/>
                </a:lnTo>
                <a:lnTo>
                  <a:pt x="50" y="16"/>
                </a:lnTo>
                <a:lnTo>
                  <a:pt x="50" y="8"/>
                </a:lnTo>
                <a:lnTo>
                  <a:pt x="52" y="4"/>
                </a:lnTo>
                <a:lnTo>
                  <a:pt x="54" y="0"/>
                </a:lnTo>
                <a:lnTo>
                  <a:pt x="60" y="2"/>
                </a:lnTo>
                <a:lnTo>
                  <a:pt x="64" y="4"/>
                </a:lnTo>
                <a:lnTo>
                  <a:pt x="70" y="6"/>
                </a:lnTo>
                <a:lnTo>
                  <a:pt x="76" y="6"/>
                </a:lnTo>
                <a:lnTo>
                  <a:pt x="80" y="12"/>
                </a:lnTo>
                <a:lnTo>
                  <a:pt x="86" y="10"/>
                </a:lnTo>
                <a:lnTo>
                  <a:pt x="96" y="8"/>
                </a:lnTo>
                <a:lnTo>
                  <a:pt x="100" y="10"/>
                </a:lnTo>
                <a:lnTo>
                  <a:pt x="106" y="6"/>
                </a:lnTo>
                <a:lnTo>
                  <a:pt x="108" y="4"/>
                </a:lnTo>
                <a:lnTo>
                  <a:pt x="112" y="0"/>
                </a:lnTo>
                <a:lnTo>
                  <a:pt x="116" y="2"/>
                </a:lnTo>
                <a:lnTo>
                  <a:pt x="118" y="6"/>
                </a:lnTo>
                <a:lnTo>
                  <a:pt x="122" y="12"/>
                </a:lnTo>
                <a:lnTo>
                  <a:pt x="120" y="16"/>
                </a:lnTo>
                <a:lnTo>
                  <a:pt x="118" y="26"/>
                </a:lnTo>
                <a:lnTo>
                  <a:pt x="124" y="32"/>
                </a:lnTo>
                <a:lnTo>
                  <a:pt x="130" y="30"/>
                </a:lnTo>
                <a:lnTo>
                  <a:pt x="136" y="24"/>
                </a:lnTo>
                <a:lnTo>
                  <a:pt x="140" y="20"/>
                </a:lnTo>
                <a:lnTo>
                  <a:pt x="144" y="18"/>
                </a:lnTo>
                <a:lnTo>
                  <a:pt x="154" y="14"/>
                </a:lnTo>
                <a:lnTo>
                  <a:pt x="158" y="12"/>
                </a:lnTo>
                <a:lnTo>
                  <a:pt x="168" y="14"/>
                </a:lnTo>
                <a:lnTo>
                  <a:pt x="178"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 name="TextBox 1">
            <a:extLst>
              <a:ext uri="{FF2B5EF4-FFF2-40B4-BE49-F238E27FC236}">
                <a16:creationId xmlns:a16="http://schemas.microsoft.com/office/drawing/2014/main" id="{5A6548B4-CB3B-47DD-A576-EE37E929B4F3}"/>
              </a:ext>
            </a:extLst>
          </p:cNvPr>
          <p:cNvSpPr txBox="1"/>
          <p:nvPr userDrawn="1"/>
        </p:nvSpPr>
        <p:spPr>
          <a:xfrm>
            <a:off x="6298159" y="1976925"/>
            <a:ext cx="85923" cy="276999"/>
          </a:xfrm>
          <a:prstGeom prst="rect">
            <a:avLst/>
          </a:prstGeom>
          <a:solidFill>
            <a:srgbClr val="8BBDFF"/>
          </a:solidFill>
        </p:spPr>
        <p:txBody>
          <a:bodyPr wrap="square" rtlCol="0">
            <a:spAutoFit/>
          </a:bodyPr>
          <a:lstStyle/>
          <a:p>
            <a:endParaRPr lang="en-US" sz="1200">
              <a:solidFill>
                <a:schemeClr val="accent1"/>
              </a:solidFill>
              <a:latin typeface="Ford Antenna Light" charset="0"/>
              <a:ea typeface="Ford Antenna Light" charset="0"/>
              <a:cs typeface="Ford Antenna Light" charset="0"/>
            </a:endParaRPr>
          </a:p>
        </p:txBody>
      </p:sp>
      <p:sp>
        <p:nvSpPr>
          <p:cNvPr id="284" name="Text Box 14">
            <a:extLst>
              <a:ext uri="{FF2B5EF4-FFF2-40B4-BE49-F238E27FC236}">
                <a16:creationId xmlns:a16="http://schemas.microsoft.com/office/drawing/2014/main" id="{2CDD9B4B-2486-4803-87A6-864DD811905A}"/>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3921066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ditable World Map &amp; Bumper">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9" name="Title 1">
            <a:extLst>
              <a:ext uri="{FF2B5EF4-FFF2-40B4-BE49-F238E27FC236}">
                <a16:creationId xmlns:a16="http://schemas.microsoft.com/office/drawing/2014/main" id="{DCD1B45F-BDEE-4492-890A-F31C90242335}"/>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F91FEDAB-02BF-4C54-97BF-ADA9F4552921}"/>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6D5CCEE0-95C2-0449-8388-BFB2D48352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Freeform 179">
            <a:extLst>
              <a:ext uri="{FF2B5EF4-FFF2-40B4-BE49-F238E27FC236}">
                <a16:creationId xmlns:a16="http://schemas.microsoft.com/office/drawing/2014/main" id="{BA675363-8D99-4A5E-84A6-E383CA3E26FE}"/>
              </a:ext>
            </a:extLst>
          </p:cNvPr>
          <p:cNvSpPr>
            <a:spLocks/>
          </p:cNvSpPr>
          <p:nvPr userDrawn="1"/>
        </p:nvSpPr>
        <p:spPr bwMode="auto">
          <a:xfrm>
            <a:off x="2212185" y="6580391"/>
            <a:ext cx="10580" cy="6351"/>
          </a:xfrm>
          <a:custGeom>
            <a:avLst/>
            <a:gdLst>
              <a:gd name="T0" fmla="*/ 2147483647 w 8"/>
              <a:gd name="T1" fmla="*/ 2147483647 h 6"/>
              <a:gd name="T2" fmla="*/ 1952875039 w 8"/>
              <a:gd name="T3" fmla="*/ 2147483647 h 6"/>
              <a:gd name="T4" fmla="*/ 0 w 8"/>
              <a:gd name="T5" fmla="*/ 0 h 6"/>
              <a:gd name="T6" fmla="*/ 2147483647 w 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6">
                <a:moveTo>
                  <a:pt x="8" y="2"/>
                </a:moveTo>
                <a:lnTo>
                  <a:pt x="2" y="6"/>
                </a:lnTo>
                <a:lnTo>
                  <a:pt x="0" y="0"/>
                </a:lnTo>
                <a:lnTo>
                  <a:pt x="8" y="2"/>
                </a:lnTo>
                <a:close/>
              </a:path>
            </a:pathLst>
          </a:custGeom>
          <a:solidFill>
            <a:srgbClr val="FFFFFF">
              <a:lumMod val="85000"/>
            </a:srgbClr>
          </a:solidFill>
          <a:ln w="6350" cmpd="sng">
            <a:solidFill>
              <a:srgbClr val="FFFFFF"/>
            </a:solidFill>
            <a:prstDash val="solid"/>
            <a:round/>
            <a:headEnd/>
            <a:tailEnd/>
          </a:ln>
          <a:effectLst/>
        </p:spPr>
        <p:txBody>
          <a:bodyPr lIns="121899" tIns="60949" rIns="121899" bIns="60949"/>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sz="1800" b="1" i="1" u="none" strike="noStrike" kern="0" cap="none" spc="0" normalizeH="0" baseline="0" noProof="0">
              <a:ln>
                <a:noFill/>
              </a:ln>
              <a:solidFill>
                <a:schemeClr val="accent1"/>
              </a:solidFill>
              <a:effectLst/>
              <a:uLnTx/>
              <a:uFillTx/>
              <a:latin typeface="+mj-lt"/>
              <a:ea typeface="MS PGothic" pitchFamily="34" charset="-128"/>
            </a:endParaRPr>
          </a:p>
        </p:txBody>
      </p:sp>
      <p:sp>
        <p:nvSpPr>
          <p:cNvPr id="12" name="Rectangle 398">
            <a:extLst>
              <a:ext uri="{FF2B5EF4-FFF2-40B4-BE49-F238E27FC236}">
                <a16:creationId xmlns:a16="http://schemas.microsoft.com/office/drawing/2014/main" id="{328973B5-3325-425B-B3EF-AF97D8E59191}"/>
              </a:ext>
            </a:extLst>
          </p:cNvPr>
          <p:cNvSpPr>
            <a:spLocks noChangeArrowheads="1"/>
          </p:cNvSpPr>
          <p:nvPr userDrawn="1"/>
        </p:nvSpPr>
        <p:spPr bwMode="auto">
          <a:xfrm>
            <a:off x="1696999" y="6515304"/>
            <a:ext cx="186218" cy="136525"/>
          </a:xfrm>
          <a:prstGeom prst="rect">
            <a:avLst/>
          </a:prstGeom>
          <a:solidFill>
            <a:srgbClr val="00095B"/>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3" name="Text Box 399">
            <a:extLst>
              <a:ext uri="{FF2B5EF4-FFF2-40B4-BE49-F238E27FC236}">
                <a16:creationId xmlns:a16="http://schemas.microsoft.com/office/drawing/2014/main" id="{E8B463D6-9C6A-41C0-B51E-8840F1112DAE}"/>
              </a:ext>
            </a:extLst>
          </p:cNvPr>
          <p:cNvSpPr txBox="1">
            <a:spLocks noChangeArrowheads="1"/>
          </p:cNvSpPr>
          <p:nvPr userDrawn="1"/>
        </p:nvSpPr>
        <p:spPr bwMode="auto">
          <a:xfrm>
            <a:off x="1963045" y="6420049"/>
            <a:ext cx="182880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North America</a:t>
            </a:r>
          </a:p>
        </p:txBody>
      </p:sp>
      <p:sp>
        <p:nvSpPr>
          <p:cNvPr id="14" name="Text Box 399">
            <a:extLst>
              <a:ext uri="{FF2B5EF4-FFF2-40B4-BE49-F238E27FC236}">
                <a16:creationId xmlns:a16="http://schemas.microsoft.com/office/drawing/2014/main" id="{E98FDAE3-7A65-404E-8EF2-DB9C5B7E00D6}"/>
              </a:ext>
            </a:extLst>
          </p:cNvPr>
          <p:cNvSpPr txBox="1">
            <a:spLocks noChangeArrowheads="1"/>
          </p:cNvSpPr>
          <p:nvPr userDrawn="1"/>
        </p:nvSpPr>
        <p:spPr bwMode="auto">
          <a:xfrm>
            <a:off x="5967993" y="6420049"/>
            <a:ext cx="756759"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Europe</a:t>
            </a:r>
          </a:p>
        </p:txBody>
      </p:sp>
      <p:sp>
        <p:nvSpPr>
          <p:cNvPr id="15" name="Rectangle 398">
            <a:extLst>
              <a:ext uri="{FF2B5EF4-FFF2-40B4-BE49-F238E27FC236}">
                <a16:creationId xmlns:a16="http://schemas.microsoft.com/office/drawing/2014/main" id="{1BBC6B89-7B78-4DF8-BBDC-407A817973F1}"/>
              </a:ext>
            </a:extLst>
          </p:cNvPr>
          <p:cNvSpPr>
            <a:spLocks noChangeArrowheads="1"/>
          </p:cNvSpPr>
          <p:nvPr userDrawn="1"/>
        </p:nvSpPr>
        <p:spPr bwMode="auto">
          <a:xfrm>
            <a:off x="5694326" y="6515304"/>
            <a:ext cx="186218" cy="136525"/>
          </a:xfrm>
          <a:prstGeom prst="rect">
            <a:avLst/>
          </a:prstGeom>
          <a:solidFill>
            <a:srgbClr val="8BBDFF"/>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6" name="Rectangle 398">
            <a:extLst>
              <a:ext uri="{FF2B5EF4-FFF2-40B4-BE49-F238E27FC236}">
                <a16:creationId xmlns:a16="http://schemas.microsoft.com/office/drawing/2014/main" id="{F3B0623A-79A6-45CC-9EBA-393F26221457}"/>
              </a:ext>
            </a:extLst>
          </p:cNvPr>
          <p:cNvSpPr>
            <a:spLocks noChangeArrowheads="1"/>
          </p:cNvSpPr>
          <p:nvPr userDrawn="1"/>
        </p:nvSpPr>
        <p:spPr bwMode="auto">
          <a:xfrm>
            <a:off x="8231252" y="6515304"/>
            <a:ext cx="186218" cy="136525"/>
          </a:xfrm>
          <a:prstGeom prst="rect">
            <a:avLst/>
          </a:prstGeom>
          <a:solidFill>
            <a:srgbClr val="B9BCBD"/>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7" name="Text Box 399">
            <a:extLst>
              <a:ext uri="{FF2B5EF4-FFF2-40B4-BE49-F238E27FC236}">
                <a16:creationId xmlns:a16="http://schemas.microsoft.com/office/drawing/2014/main" id="{0EDEAC12-E1EE-4D35-A386-AD323D9738A8}"/>
              </a:ext>
            </a:extLst>
          </p:cNvPr>
          <p:cNvSpPr txBox="1">
            <a:spLocks noChangeArrowheads="1"/>
          </p:cNvSpPr>
          <p:nvPr userDrawn="1"/>
        </p:nvSpPr>
        <p:spPr bwMode="auto">
          <a:xfrm>
            <a:off x="8504390" y="6420049"/>
            <a:ext cx="257273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International Markets</a:t>
            </a:r>
            <a:r>
              <a:rPr lang="en-US" altLang="en-US" sz="1400" b="0" spc="0" baseline="0">
                <a:solidFill>
                  <a:schemeClr val="accent1"/>
                </a:solidFill>
                <a:latin typeface="Arial Nova Light" panose="020B0304020202020204" pitchFamily="34" charset="0"/>
                <a:ea typeface="ＭＳ Ｐゴシック" pitchFamily="34" charset="-128"/>
              </a:rPr>
              <a:t> Group</a:t>
            </a:r>
            <a:endParaRPr lang="en-US" altLang="en-US" sz="1400" b="0" spc="0">
              <a:solidFill>
                <a:schemeClr val="accent1"/>
              </a:solidFill>
              <a:latin typeface="Arial Nova Light" panose="020B0304020202020204" pitchFamily="34" charset="0"/>
              <a:ea typeface="ＭＳ Ｐゴシック" pitchFamily="34" charset="-128"/>
            </a:endParaRPr>
          </a:p>
        </p:txBody>
      </p:sp>
      <p:sp>
        <p:nvSpPr>
          <p:cNvPr id="18" name="Text Box 399">
            <a:extLst>
              <a:ext uri="{FF2B5EF4-FFF2-40B4-BE49-F238E27FC236}">
                <a16:creationId xmlns:a16="http://schemas.microsoft.com/office/drawing/2014/main" id="{7F820B3B-9E3E-4C28-85E2-8A5F8D22F7C7}"/>
              </a:ext>
            </a:extLst>
          </p:cNvPr>
          <p:cNvSpPr txBox="1">
            <a:spLocks noChangeArrowheads="1"/>
          </p:cNvSpPr>
          <p:nvPr userDrawn="1"/>
        </p:nvSpPr>
        <p:spPr bwMode="auto">
          <a:xfrm>
            <a:off x="7279513" y="6420049"/>
            <a:ext cx="933457"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China</a:t>
            </a:r>
          </a:p>
        </p:txBody>
      </p:sp>
      <p:sp>
        <p:nvSpPr>
          <p:cNvPr id="19" name="Rectangle 398">
            <a:extLst>
              <a:ext uri="{FF2B5EF4-FFF2-40B4-BE49-F238E27FC236}">
                <a16:creationId xmlns:a16="http://schemas.microsoft.com/office/drawing/2014/main" id="{CB572701-1DC0-4B0C-ADCB-AC84414DF077}"/>
              </a:ext>
            </a:extLst>
          </p:cNvPr>
          <p:cNvSpPr>
            <a:spLocks noChangeArrowheads="1"/>
          </p:cNvSpPr>
          <p:nvPr userDrawn="1"/>
        </p:nvSpPr>
        <p:spPr bwMode="auto">
          <a:xfrm>
            <a:off x="7011389" y="6515304"/>
            <a:ext cx="181065" cy="136525"/>
          </a:xfrm>
          <a:prstGeom prst="rect">
            <a:avLst/>
          </a:prstGeom>
          <a:solidFill>
            <a:srgbClr val="008200"/>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0" name="Rectangle 398">
            <a:extLst>
              <a:ext uri="{FF2B5EF4-FFF2-40B4-BE49-F238E27FC236}">
                <a16:creationId xmlns:a16="http://schemas.microsoft.com/office/drawing/2014/main" id="{F62772E3-88B0-4C52-AA61-572650FDD16B}"/>
              </a:ext>
            </a:extLst>
          </p:cNvPr>
          <p:cNvSpPr>
            <a:spLocks noChangeArrowheads="1"/>
          </p:cNvSpPr>
          <p:nvPr userDrawn="1"/>
        </p:nvSpPr>
        <p:spPr bwMode="auto">
          <a:xfrm>
            <a:off x="3680922" y="6515304"/>
            <a:ext cx="186218" cy="136525"/>
          </a:xfrm>
          <a:prstGeom prst="rect">
            <a:avLst/>
          </a:prstGeom>
          <a:solidFill>
            <a:srgbClr val="1700F4"/>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1" name="Text Box 399">
            <a:extLst>
              <a:ext uri="{FF2B5EF4-FFF2-40B4-BE49-F238E27FC236}">
                <a16:creationId xmlns:a16="http://schemas.microsoft.com/office/drawing/2014/main" id="{5BF9C99E-14F0-4A8D-BD7E-BDA59D95E2F4}"/>
              </a:ext>
            </a:extLst>
          </p:cNvPr>
          <p:cNvSpPr txBox="1">
            <a:spLocks noChangeArrowheads="1"/>
          </p:cNvSpPr>
          <p:nvPr userDrawn="1"/>
        </p:nvSpPr>
        <p:spPr bwMode="auto">
          <a:xfrm>
            <a:off x="3958399" y="6420049"/>
            <a:ext cx="1369778"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South America</a:t>
            </a:r>
          </a:p>
        </p:txBody>
      </p:sp>
      <p:sp>
        <p:nvSpPr>
          <p:cNvPr id="22" name="Freeform 288">
            <a:extLst>
              <a:ext uri="{FF2B5EF4-FFF2-40B4-BE49-F238E27FC236}">
                <a16:creationId xmlns:a16="http://schemas.microsoft.com/office/drawing/2014/main" id="{92114B8F-FC22-4A46-A421-8B1BC79A6921}"/>
              </a:ext>
            </a:extLst>
          </p:cNvPr>
          <p:cNvSpPr>
            <a:spLocks/>
          </p:cNvSpPr>
          <p:nvPr userDrawn="1"/>
        </p:nvSpPr>
        <p:spPr bwMode="auto">
          <a:xfrm>
            <a:off x="6417623" y="4126805"/>
            <a:ext cx="174412" cy="205918"/>
          </a:xfrm>
          <a:custGeom>
            <a:avLst/>
            <a:gdLst>
              <a:gd name="T0" fmla="*/ 70 w 104"/>
              <a:gd name="T1" fmla="*/ 10 h 120"/>
              <a:gd name="T2" fmla="*/ 84 w 104"/>
              <a:gd name="T3" fmla="*/ 14 h 120"/>
              <a:gd name="T4" fmla="*/ 92 w 104"/>
              <a:gd name="T5" fmla="*/ 18 h 120"/>
              <a:gd name="T6" fmla="*/ 100 w 104"/>
              <a:gd name="T7" fmla="*/ 24 h 120"/>
              <a:gd name="T8" fmla="*/ 102 w 104"/>
              <a:gd name="T9" fmla="*/ 30 h 120"/>
              <a:gd name="T10" fmla="*/ 98 w 104"/>
              <a:gd name="T11" fmla="*/ 36 h 120"/>
              <a:gd name="T12" fmla="*/ 100 w 104"/>
              <a:gd name="T13" fmla="*/ 48 h 120"/>
              <a:gd name="T14" fmla="*/ 100 w 104"/>
              <a:gd name="T15" fmla="*/ 60 h 120"/>
              <a:gd name="T16" fmla="*/ 98 w 104"/>
              <a:gd name="T17" fmla="*/ 64 h 120"/>
              <a:gd name="T18" fmla="*/ 100 w 104"/>
              <a:gd name="T19" fmla="*/ 68 h 120"/>
              <a:gd name="T20" fmla="*/ 98 w 104"/>
              <a:gd name="T21" fmla="*/ 74 h 120"/>
              <a:gd name="T22" fmla="*/ 98 w 104"/>
              <a:gd name="T23" fmla="*/ 80 h 120"/>
              <a:gd name="T24" fmla="*/ 100 w 104"/>
              <a:gd name="T25" fmla="*/ 90 h 120"/>
              <a:gd name="T26" fmla="*/ 98 w 104"/>
              <a:gd name="T27" fmla="*/ 94 h 120"/>
              <a:gd name="T28" fmla="*/ 100 w 104"/>
              <a:gd name="T29" fmla="*/ 96 h 120"/>
              <a:gd name="T30" fmla="*/ 102 w 104"/>
              <a:gd name="T31" fmla="*/ 98 h 120"/>
              <a:gd name="T32" fmla="*/ 86 w 104"/>
              <a:gd name="T33" fmla="*/ 120 h 120"/>
              <a:gd name="T34" fmla="*/ 78 w 104"/>
              <a:gd name="T35" fmla="*/ 118 h 120"/>
              <a:gd name="T36" fmla="*/ 72 w 104"/>
              <a:gd name="T37" fmla="*/ 116 h 120"/>
              <a:gd name="T38" fmla="*/ 64 w 104"/>
              <a:gd name="T39" fmla="*/ 116 h 120"/>
              <a:gd name="T40" fmla="*/ 58 w 104"/>
              <a:gd name="T41" fmla="*/ 116 h 120"/>
              <a:gd name="T42" fmla="*/ 52 w 104"/>
              <a:gd name="T43" fmla="*/ 112 h 120"/>
              <a:gd name="T44" fmla="*/ 50 w 104"/>
              <a:gd name="T45" fmla="*/ 110 h 120"/>
              <a:gd name="T46" fmla="*/ 46 w 104"/>
              <a:gd name="T47" fmla="*/ 110 h 120"/>
              <a:gd name="T48" fmla="*/ 42 w 104"/>
              <a:gd name="T49" fmla="*/ 106 h 120"/>
              <a:gd name="T50" fmla="*/ 42 w 104"/>
              <a:gd name="T51" fmla="*/ 96 h 120"/>
              <a:gd name="T52" fmla="*/ 40 w 104"/>
              <a:gd name="T53" fmla="*/ 94 h 120"/>
              <a:gd name="T54" fmla="*/ 38 w 104"/>
              <a:gd name="T55" fmla="*/ 92 h 120"/>
              <a:gd name="T56" fmla="*/ 34 w 104"/>
              <a:gd name="T57" fmla="*/ 86 h 120"/>
              <a:gd name="T58" fmla="*/ 28 w 104"/>
              <a:gd name="T59" fmla="*/ 78 h 120"/>
              <a:gd name="T60" fmla="*/ 24 w 104"/>
              <a:gd name="T61" fmla="*/ 74 h 120"/>
              <a:gd name="T62" fmla="*/ 22 w 104"/>
              <a:gd name="T63" fmla="*/ 74 h 120"/>
              <a:gd name="T64" fmla="*/ 18 w 104"/>
              <a:gd name="T65" fmla="*/ 74 h 120"/>
              <a:gd name="T66" fmla="*/ 16 w 104"/>
              <a:gd name="T67" fmla="*/ 70 h 120"/>
              <a:gd name="T68" fmla="*/ 8 w 104"/>
              <a:gd name="T69" fmla="*/ 60 h 120"/>
              <a:gd name="T70" fmla="*/ 6 w 104"/>
              <a:gd name="T71" fmla="*/ 54 h 120"/>
              <a:gd name="T72" fmla="*/ 2 w 104"/>
              <a:gd name="T73" fmla="*/ 50 h 120"/>
              <a:gd name="T74" fmla="*/ 0 w 104"/>
              <a:gd name="T75" fmla="*/ 44 h 120"/>
              <a:gd name="T76" fmla="*/ 8 w 104"/>
              <a:gd name="T77" fmla="*/ 44 h 120"/>
              <a:gd name="T78" fmla="*/ 14 w 104"/>
              <a:gd name="T79" fmla="*/ 44 h 120"/>
              <a:gd name="T80" fmla="*/ 18 w 104"/>
              <a:gd name="T81" fmla="*/ 42 h 120"/>
              <a:gd name="T82" fmla="*/ 32 w 104"/>
              <a:gd name="T83" fmla="*/ 40 h 120"/>
              <a:gd name="T84" fmla="*/ 40 w 104"/>
              <a:gd name="T85" fmla="*/ 38 h 120"/>
              <a:gd name="T86" fmla="*/ 42 w 104"/>
              <a:gd name="T87" fmla="*/ 26 h 120"/>
              <a:gd name="T88" fmla="*/ 44 w 104"/>
              <a:gd name="T89" fmla="*/ 22 h 120"/>
              <a:gd name="T90" fmla="*/ 50 w 104"/>
              <a:gd name="T91" fmla="*/ 18 h 120"/>
              <a:gd name="T92" fmla="*/ 52 w 104"/>
              <a:gd name="T93" fmla="*/ 12 h 120"/>
              <a:gd name="T94" fmla="*/ 58 w 104"/>
              <a:gd name="T95"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20">
                <a:moveTo>
                  <a:pt x="72" y="0"/>
                </a:moveTo>
                <a:lnTo>
                  <a:pt x="70" y="10"/>
                </a:lnTo>
                <a:lnTo>
                  <a:pt x="70" y="10"/>
                </a:lnTo>
                <a:lnTo>
                  <a:pt x="76" y="10"/>
                </a:lnTo>
                <a:lnTo>
                  <a:pt x="76" y="10"/>
                </a:lnTo>
                <a:lnTo>
                  <a:pt x="84" y="14"/>
                </a:lnTo>
                <a:lnTo>
                  <a:pt x="84" y="14"/>
                </a:lnTo>
                <a:lnTo>
                  <a:pt x="92" y="18"/>
                </a:lnTo>
                <a:lnTo>
                  <a:pt x="92" y="18"/>
                </a:lnTo>
                <a:lnTo>
                  <a:pt x="96" y="20"/>
                </a:lnTo>
                <a:lnTo>
                  <a:pt x="100" y="24"/>
                </a:lnTo>
                <a:lnTo>
                  <a:pt x="100" y="24"/>
                </a:lnTo>
                <a:lnTo>
                  <a:pt x="102" y="28"/>
                </a:lnTo>
                <a:lnTo>
                  <a:pt x="102" y="30"/>
                </a:lnTo>
                <a:lnTo>
                  <a:pt x="102" y="30"/>
                </a:lnTo>
                <a:lnTo>
                  <a:pt x="100" y="32"/>
                </a:lnTo>
                <a:lnTo>
                  <a:pt x="98" y="36"/>
                </a:lnTo>
                <a:lnTo>
                  <a:pt x="98" y="36"/>
                </a:lnTo>
                <a:lnTo>
                  <a:pt x="98" y="42"/>
                </a:lnTo>
                <a:lnTo>
                  <a:pt x="100" y="48"/>
                </a:lnTo>
                <a:lnTo>
                  <a:pt x="100" y="48"/>
                </a:lnTo>
                <a:lnTo>
                  <a:pt x="104" y="54"/>
                </a:lnTo>
                <a:lnTo>
                  <a:pt x="104" y="54"/>
                </a:lnTo>
                <a:lnTo>
                  <a:pt x="100" y="60"/>
                </a:lnTo>
                <a:lnTo>
                  <a:pt x="100" y="60"/>
                </a:lnTo>
                <a:lnTo>
                  <a:pt x="98" y="62"/>
                </a:lnTo>
                <a:lnTo>
                  <a:pt x="98" y="64"/>
                </a:lnTo>
                <a:lnTo>
                  <a:pt x="98" y="66"/>
                </a:lnTo>
                <a:lnTo>
                  <a:pt x="98" y="66"/>
                </a:lnTo>
                <a:lnTo>
                  <a:pt x="100" y="68"/>
                </a:lnTo>
                <a:lnTo>
                  <a:pt x="100" y="70"/>
                </a:lnTo>
                <a:lnTo>
                  <a:pt x="100" y="70"/>
                </a:lnTo>
                <a:lnTo>
                  <a:pt x="98" y="74"/>
                </a:lnTo>
                <a:lnTo>
                  <a:pt x="98" y="74"/>
                </a:lnTo>
                <a:lnTo>
                  <a:pt x="98" y="80"/>
                </a:lnTo>
                <a:lnTo>
                  <a:pt x="98" y="80"/>
                </a:lnTo>
                <a:lnTo>
                  <a:pt x="98" y="82"/>
                </a:lnTo>
                <a:lnTo>
                  <a:pt x="98" y="86"/>
                </a:lnTo>
                <a:lnTo>
                  <a:pt x="100" y="90"/>
                </a:lnTo>
                <a:lnTo>
                  <a:pt x="100" y="90"/>
                </a:lnTo>
                <a:lnTo>
                  <a:pt x="98" y="94"/>
                </a:lnTo>
                <a:lnTo>
                  <a:pt x="98" y="94"/>
                </a:lnTo>
                <a:lnTo>
                  <a:pt x="98" y="94"/>
                </a:lnTo>
                <a:lnTo>
                  <a:pt x="100" y="96"/>
                </a:lnTo>
                <a:lnTo>
                  <a:pt x="100" y="96"/>
                </a:lnTo>
                <a:lnTo>
                  <a:pt x="102" y="96"/>
                </a:lnTo>
                <a:lnTo>
                  <a:pt x="102" y="98"/>
                </a:lnTo>
                <a:lnTo>
                  <a:pt x="102" y="98"/>
                </a:lnTo>
                <a:lnTo>
                  <a:pt x="96" y="108"/>
                </a:lnTo>
                <a:lnTo>
                  <a:pt x="86" y="120"/>
                </a:lnTo>
                <a:lnTo>
                  <a:pt x="86" y="120"/>
                </a:lnTo>
                <a:lnTo>
                  <a:pt x="84" y="118"/>
                </a:lnTo>
                <a:lnTo>
                  <a:pt x="78" y="118"/>
                </a:lnTo>
                <a:lnTo>
                  <a:pt x="78" y="118"/>
                </a:lnTo>
                <a:lnTo>
                  <a:pt x="74" y="116"/>
                </a:lnTo>
                <a:lnTo>
                  <a:pt x="72" y="116"/>
                </a:lnTo>
                <a:lnTo>
                  <a:pt x="72" y="116"/>
                </a:lnTo>
                <a:lnTo>
                  <a:pt x="70" y="116"/>
                </a:lnTo>
                <a:lnTo>
                  <a:pt x="64" y="116"/>
                </a:lnTo>
                <a:lnTo>
                  <a:pt x="64" y="116"/>
                </a:lnTo>
                <a:lnTo>
                  <a:pt x="62" y="118"/>
                </a:lnTo>
                <a:lnTo>
                  <a:pt x="60" y="116"/>
                </a:lnTo>
                <a:lnTo>
                  <a:pt x="58" y="116"/>
                </a:lnTo>
                <a:lnTo>
                  <a:pt x="58" y="116"/>
                </a:lnTo>
                <a:lnTo>
                  <a:pt x="56" y="114"/>
                </a:lnTo>
                <a:lnTo>
                  <a:pt x="52" y="112"/>
                </a:lnTo>
                <a:lnTo>
                  <a:pt x="52" y="112"/>
                </a:lnTo>
                <a:lnTo>
                  <a:pt x="50" y="110"/>
                </a:lnTo>
                <a:lnTo>
                  <a:pt x="50" y="110"/>
                </a:lnTo>
                <a:lnTo>
                  <a:pt x="48" y="110"/>
                </a:lnTo>
                <a:lnTo>
                  <a:pt x="46" y="110"/>
                </a:lnTo>
                <a:lnTo>
                  <a:pt x="46" y="110"/>
                </a:lnTo>
                <a:lnTo>
                  <a:pt x="42" y="108"/>
                </a:lnTo>
                <a:lnTo>
                  <a:pt x="42" y="108"/>
                </a:lnTo>
                <a:lnTo>
                  <a:pt x="42" y="106"/>
                </a:lnTo>
                <a:lnTo>
                  <a:pt x="42" y="106"/>
                </a:lnTo>
                <a:lnTo>
                  <a:pt x="40" y="100"/>
                </a:lnTo>
                <a:lnTo>
                  <a:pt x="42" y="96"/>
                </a:lnTo>
                <a:lnTo>
                  <a:pt x="42" y="96"/>
                </a:lnTo>
                <a:lnTo>
                  <a:pt x="42" y="94"/>
                </a:lnTo>
                <a:lnTo>
                  <a:pt x="40" y="94"/>
                </a:lnTo>
                <a:lnTo>
                  <a:pt x="38" y="92"/>
                </a:lnTo>
                <a:lnTo>
                  <a:pt x="38" y="92"/>
                </a:lnTo>
                <a:lnTo>
                  <a:pt x="38" y="92"/>
                </a:lnTo>
                <a:lnTo>
                  <a:pt x="36" y="88"/>
                </a:lnTo>
                <a:lnTo>
                  <a:pt x="34" y="86"/>
                </a:lnTo>
                <a:lnTo>
                  <a:pt x="34" y="86"/>
                </a:lnTo>
                <a:lnTo>
                  <a:pt x="32" y="80"/>
                </a:lnTo>
                <a:lnTo>
                  <a:pt x="32" y="80"/>
                </a:lnTo>
                <a:lnTo>
                  <a:pt x="28" y="78"/>
                </a:lnTo>
                <a:lnTo>
                  <a:pt x="26" y="76"/>
                </a:lnTo>
                <a:lnTo>
                  <a:pt x="24" y="74"/>
                </a:lnTo>
                <a:lnTo>
                  <a:pt x="24" y="74"/>
                </a:lnTo>
                <a:lnTo>
                  <a:pt x="24" y="72"/>
                </a:lnTo>
                <a:lnTo>
                  <a:pt x="24" y="74"/>
                </a:lnTo>
                <a:lnTo>
                  <a:pt x="22" y="74"/>
                </a:lnTo>
                <a:lnTo>
                  <a:pt x="20" y="74"/>
                </a:lnTo>
                <a:lnTo>
                  <a:pt x="20" y="74"/>
                </a:lnTo>
                <a:lnTo>
                  <a:pt x="18" y="74"/>
                </a:lnTo>
                <a:lnTo>
                  <a:pt x="18" y="72"/>
                </a:lnTo>
                <a:lnTo>
                  <a:pt x="16" y="70"/>
                </a:lnTo>
                <a:lnTo>
                  <a:pt x="16" y="70"/>
                </a:lnTo>
                <a:lnTo>
                  <a:pt x="16" y="70"/>
                </a:lnTo>
                <a:lnTo>
                  <a:pt x="10" y="64"/>
                </a:lnTo>
                <a:lnTo>
                  <a:pt x="8" y="60"/>
                </a:lnTo>
                <a:lnTo>
                  <a:pt x="8" y="60"/>
                </a:lnTo>
                <a:lnTo>
                  <a:pt x="8" y="56"/>
                </a:lnTo>
                <a:lnTo>
                  <a:pt x="6" y="54"/>
                </a:lnTo>
                <a:lnTo>
                  <a:pt x="4" y="52"/>
                </a:lnTo>
                <a:lnTo>
                  <a:pt x="4" y="52"/>
                </a:lnTo>
                <a:lnTo>
                  <a:pt x="2" y="50"/>
                </a:lnTo>
                <a:lnTo>
                  <a:pt x="2" y="48"/>
                </a:lnTo>
                <a:lnTo>
                  <a:pt x="0" y="44"/>
                </a:lnTo>
                <a:lnTo>
                  <a:pt x="0" y="44"/>
                </a:lnTo>
                <a:lnTo>
                  <a:pt x="2" y="44"/>
                </a:lnTo>
                <a:lnTo>
                  <a:pt x="8" y="44"/>
                </a:lnTo>
                <a:lnTo>
                  <a:pt x="8" y="44"/>
                </a:lnTo>
                <a:lnTo>
                  <a:pt x="10" y="44"/>
                </a:lnTo>
                <a:lnTo>
                  <a:pt x="12" y="44"/>
                </a:lnTo>
                <a:lnTo>
                  <a:pt x="14" y="44"/>
                </a:lnTo>
                <a:lnTo>
                  <a:pt x="14" y="44"/>
                </a:lnTo>
                <a:lnTo>
                  <a:pt x="16" y="42"/>
                </a:lnTo>
                <a:lnTo>
                  <a:pt x="18" y="42"/>
                </a:lnTo>
                <a:lnTo>
                  <a:pt x="22" y="44"/>
                </a:lnTo>
                <a:lnTo>
                  <a:pt x="22" y="44"/>
                </a:lnTo>
                <a:lnTo>
                  <a:pt x="32" y="40"/>
                </a:lnTo>
                <a:lnTo>
                  <a:pt x="32" y="40"/>
                </a:lnTo>
                <a:lnTo>
                  <a:pt x="36" y="38"/>
                </a:lnTo>
                <a:lnTo>
                  <a:pt x="40" y="38"/>
                </a:lnTo>
                <a:lnTo>
                  <a:pt x="40" y="38"/>
                </a:lnTo>
                <a:lnTo>
                  <a:pt x="42" y="30"/>
                </a:lnTo>
                <a:lnTo>
                  <a:pt x="42" y="26"/>
                </a:lnTo>
                <a:lnTo>
                  <a:pt x="44" y="24"/>
                </a:lnTo>
                <a:lnTo>
                  <a:pt x="44" y="24"/>
                </a:lnTo>
                <a:lnTo>
                  <a:pt x="44" y="22"/>
                </a:lnTo>
                <a:lnTo>
                  <a:pt x="46" y="20"/>
                </a:lnTo>
                <a:lnTo>
                  <a:pt x="46" y="20"/>
                </a:lnTo>
                <a:lnTo>
                  <a:pt x="50" y="18"/>
                </a:lnTo>
                <a:lnTo>
                  <a:pt x="50" y="16"/>
                </a:lnTo>
                <a:lnTo>
                  <a:pt x="50" y="16"/>
                </a:lnTo>
                <a:lnTo>
                  <a:pt x="52" y="12"/>
                </a:lnTo>
                <a:lnTo>
                  <a:pt x="54" y="10"/>
                </a:lnTo>
                <a:lnTo>
                  <a:pt x="54" y="10"/>
                </a:lnTo>
                <a:lnTo>
                  <a:pt x="58" y="8"/>
                </a:lnTo>
                <a:lnTo>
                  <a:pt x="60" y="6"/>
                </a:lnTo>
                <a:lnTo>
                  <a:pt x="7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 name="Freeform 289">
            <a:extLst>
              <a:ext uri="{FF2B5EF4-FFF2-40B4-BE49-F238E27FC236}">
                <a16:creationId xmlns:a16="http://schemas.microsoft.com/office/drawing/2014/main" id="{376BDBB6-97BE-43F7-9D94-2C812EE9212E}"/>
              </a:ext>
            </a:extLst>
          </p:cNvPr>
          <p:cNvSpPr>
            <a:spLocks/>
          </p:cNvSpPr>
          <p:nvPr userDrawn="1"/>
        </p:nvSpPr>
        <p:spPr bwMode="auto">
          <a:xfrm>
            <a:off x="6347187" y="3924318"/>
            <a:ext cx="258263" cy="277989"/>
          </a:xfrm>
          <a:custGeom>
            <a:avLst/>
            <a:gdLst>
              <a:gd name="T0" fmla="*/ 36 w 154"/>
              <a:gd name="T1" fmla="*/ 156 h 162"/>
              <a:gd name="T2" fmla="*/ 42 w 154"/>
              <a:gd name="T3" fmla="*/ 162 h 162"/>
              <a:gd name="T4" fmla="*/ 50 w 154"/>
              <a:gd name="T5" fmla="*/ 162 h 162"/>
              <a:gd name="T6" fmla="*/ 56 w 154"/>
              <a:gd name="T7" fmla="*/ 162 h 162"/>
              <a:gd name="T8" fmla="*/ 64 w 154"/>
              <a:gd name="T9" fmla="*/ 162 h 162"/>
              <a:gd name="T10" fmla="*/ 82 w 154"/>
              <a:gd name="T11" fmla="*/ 156 h 162"/>
              <a:gd name="T12" fmla="*/ 86 w 154"/>
              <a:gd name="T13" fmla="*/ 142 h 162"/>
              <a:gd name="T14" fmla="*/ 88 w 154"/>
              <a:gd name="T15" fmla="*/ 138 h 162"/>
              <a:gd name="T16" fmla="*/ 94 w 154"/>
              <a:gd name="T17" fmla="*/ 130 h 162"/>
              <a:gd name="T18" fmla="*/ 102 w 154"/>
              <a:gd name="T19" fmla="*/ 124 h 162"/>
              <a:gd name="T20" fmla="*/ 114 w 154"/>
              <a:gd name="T21" fmla="*/ 116 h 162"/>
              <a:gd name="T22" fmla="*/ 140 w 154"/>
              <a:gd name="T23" fmla="*/ 100 h 162"/>
              <a:gd name="T24" fmla="*/ 140 w 154"/>
              <a:gd name="T25" fmla="*/ 86 h 162"/>
              <a:gd name="T26" fmla="*/ 140 w 154"/>
              <a:gd name="T27" fmla="*/ 74 h 162"/>
              <a:gd name="T28" fmla="*/ 150 w 154"/>
              <a:gd name="T29" fmla="*/ 66 h 162"/>
              <a:gd name="T30" fmla="*/ 148 w 154"/>
              <a:gd name="T31" fmla="*/ 62 h 162"/>
              <a:gd name="T32" fmla="*/ 146 w 154"/>
              <a:gd name="T33" fmla="*/ 54 h 162"/>
              <a:gd name="T34" fmla="*/ 146 w 154"/>
              <a:gd name="T35" fmla="*/ 46 h 162"/>
              <a:gd name="T36" fmla="*/ 154 w 154"/>
              <a:gd name="T37" fmla="*/ 38 h 162"/>
              <a:gd name="T38" fmla="*/ 152 w 154"/>
              <a:gd name="T39" fmla="*/ 32 h 162"/>
              <a:gd name="T40" fmla="*/ 148 w 154"/>
              <a:gd name="T41" fmla="*/ 22 h 162"/>
              <a:gd name="T42" fmla="*/ 140 w 154"/>
              <a:gd name="T43" fmla="*/ 18 h 162"/>
              <a:gd name="T44" fmla="*/ 134 w 154"/>
              <a:gd name="T45" fmla="*/ 14 h 162"/>
              <a:gd name="T46" fmla="*/ 132 w 154"/>
              <a:gd name="T47" fmla="*/ 6 h 162"/>
              <a:gd name="T48" fmla="*/ 126 w 154"/>
              <a:gd name="T49" fmla="*/ 8 h 162"/>
              <a:gd name="T50" fmla="*/ 118 w 154"/>
              <a:gd name="T51" fmla="*/ 8 h 162"/>
              <a:gd name="T52" fmla="*/ 120 w 154"/>
              <a:gd name="T53" fmla="*/ 4 h 162"/>
              <a:gd name="T54" fmla="*/ 92 w 154"/>
              <a:gd name="T55" fmla="*/ 8 h 162"/>
              <a:gd name="T56" fmla="*/ 92 w 154"/>
              <a:gd name="T57" fmla="*/ 10 h 162"/>
              <a:gd name="T58" fmla="*/ 84 w 154"/>
              <a:gd name="T59" fmla="*/ 18 h 162"/>
              <a:gd name="T60" fmla="*/ 80 w 154"/>
              <a:gd name="T61" fmla="*/ 22 h 162"/>
              <a:gd name="T62" fmla="*/ 82 w 154"/>
              <a:gd name="T63" fmla="*/ 30 h 162"/>
              <a:gd name="T64" fmla="*/ 86 w 154"/>
              <a:gd name="T65" fmla="*/ 40 h 162"/>
              <a:gd name="T66" fmla="*/ 86 w 154"/>
              <a:gd name="T67" fmla="*/ 50 h 162"/>
              <a:gd name="T68" fmla="*/ 96 w 154"/>
              <a:gd name="T69" fmla="*/ 56 h 162"/>
              <a:gd name="T70" fmla="*/ 102 w 154"/>
              <a:gd name="T71" fmla="*/ 62 h 162"/>
              <a:gd name="T72" fmla="*/ 104 w 154"/>
              <a:gd name="T73" fmla="*/ 74 h 162"/>
              <a:gd name="T74" fmla="*/ 96 w 154"/>
              <a:gd name="T75" fmla="*/ 78 h 162"/>
              <a:gd name="T76" fmla="*/ 94 w 154"/>
              <a:gd name="T77" fmla="*/ 72 h 162"/>
              <a:gd name="T78" fmla="*/ 86 w 154"/>
              <a:gd name="T79" fmla="*/ 64 h 162"/>
              <a:gd name="T80" fmla="*/ 80 w 154"/>
              <a:gd name="T81" fmla="*/ 58 h 162"/>
              <a:gd name="T82" fmla="*/ 74 w 154"/>
              <a:gd name="T83" fmla="*/ 52 h 162"/>
              <a:gd name="T84" fmla="*/ 70 w 154"/>
              <a:gd name="T85" fmla="*/ 52 h 162"/>
              <a:gd name="T86" fmla="*/ 52 w 154"/>
              <a:gd name="T87" fmla="*/ 56 h 162"/>
              <a:gd name="T88" fmla="*/ 48 w 154"/>
              <a:gd name="T89" fmla="*/ 54 h 162"/>
              <a:gd name="T90" fmla="*/ 46 w 154"/>
              <a:gd name="T91" fmla="*/ 46 h 162"/>
              <a:gd name="T92" fmla="*/ 40 w 154"/>
              <a:gd name="T93" fmla="*/ 48 h 162"/>
              <a:gd name="T94" fmla="*/ 30 w 154"/>
              <a:gd name="T95" fmla="*/ 40 h 162"/>
              <a:gd name="T96" fmla="*/ 32 w 154"/>
              <a:gd name="T97" fmla="*/ 50 h 162"/>
              <a:gd name="T98" fmla="*/ 30 w 154"/>
              <a:gd name="T99" fmla="*/ 66 h 162"/>
              <a:gd name="T100" fmla="*/ 0 w 154"/>
              <a:gd name="T101" fmla="*/ 130 h 162"/>
              <a:gd name="T102" fmla="*/ 4 w 154"/>
              <a:gd name="T103" fmla="*/ 138 h 162"/>
              <a:gd name="T104" fmla="*/ 14 w 154"/>
              <a:gd name="T105" fmla="*/ 152 h 162"/>
              <a:gd name="T106" fmla="*/ 18 w 154"/>
              <a:gd name="T107" fmla="*/ 15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4" h="162">
                <a:moveTo>
                  <a:pt x="18" y="158"/>
                </a:moveTo>
                <a:lnTo>
                  <a:pt x="32" y="156"/>
                </a:lnTo>
                <a:lnTo>
                  <a:pt x="32" y="156"/>
                </a:lnTo>
                <a:lnTo>
                  <a:pt x="36" y="156"/>
                </a:lnTo>
                <a:lnTo>
                  <a:pt x="38" y="158"/>
                </a:lnTo>
                <a:lnTo>
                  <a:pt x="38" y="158"/>
                </a:lnTo>
                <a:lnTo>
                  <a:pt x="40" y="160"/>
                </a:lnTo>
                <a:lnTo>
                  <a:pt x="42" y="162"/>
                </a:lnTo>
                <a:lnTo>
                  <a:pt x="42" y="162"/>
                </a:lnTo>
                <a:lnTo>
                  <a:pt x="44" y="162"/>
                </a:lnTo>
                <a:lnTo>
                  <a:pt x="50" y="162"/>
                </a:lnTo>
                <a:lnTo>
                  <a:pt x="50" y="162"/>
                </a:lnTo>
                <a:lnTo>
                  <a:pt x="52" y="162"/>
                </a:lnTo>
                <a:lnTo>
                  <a:pt x="54" y="162"/>
                </a:lnTo>
                <a:lnTo>
                  <a:pt x="56" y="162"/>
                </a:lnTo>
                <a:lnTo>
                  <a:pt x="56" y="162"/>
                </a:lnTo>
                <a:lnTo>
                  <a:pt x="58" y="160"/>
                </a:lnTo>
                <a:lnTo>
                  <a:pt x="60" y="160"/>
                </a:lnTo>
                <a:lnTo>
                  <a:pt x="64" y="162"/>
                </a:lnTo>
                <a:lnTo>
                  <a:pt x="64" y="162"/>
                </a:lnTo>
                <a:lnTo>
                  <a:pt x="74" y="158"/>
                </a:lnTo>
                <a:lnTo>
                  <a:pt x="74" y="158"/>
                </a:lnTo>
                <a:lnTo>
                  <a:pt x="78" y="156"/>
                </a:lnTo>
                <a:lnTo>
                  <a:pt x="82" y="156"/>
                </a:lnTo>
                <a:lnTo>
                  <a:pt x="82" y="156"/>
                </a:lnTo>
                <a:lnTo>
                  <a:pt x="84" y="148"/>
                </a:lnTo>
                <a:lnTo>
                  <a:pt x="84" y="144"/>
                </a:lnTo>
                <a:lnTo>
                  <a:pt x="86" y="142"/>
                </a:lnTo>
                <a:lnTo>
                  <a:pt x="86" y="142"/>
                </a:lnTo>
                <a:lnTo>
                  <a:pt x="86" y="140"/>
                </a:lnTo>
                <a:lnTo>
                  <a:pt x="88" y="138"/>
                </a:lnTo>
                <a:lnTo>
                  <a:pt x="88" y="138"/>
                </a:lnTo>
                <a:lnTo>
                  <a:pt x="92" y="136"/>
                </a:lnTo>
                <a:lnTo>
                  <a:pt x="92" y="134"/>
                </a:lnTo>
                <a:lnTo>
                  <a:pt x="92" y="134"/>
                </a:lnTo>
                <a:lnTo>
                  <a:pt x="94" y="130"/>
                </a:lnTo>
                <a:lnTo>
                  <a:pt x="96" y="128"/>
                </a:lnTo>
                <a:lnTo>
                  <a:pt x="96" y="128"/>
                </a:lnTo>
                <a:lnTo>
                  <a:pt x="100" y="126"/>
                </a:lnTo>
                <a:lnTo>
                  <a:pt x="102" y="124"/>
                </a:lnTo>
                <a:lnTo>
                  <a:pt x="112" y="120"/>
                </a:lnTo>
                <a:lnTo>
                  <a:pt x="114" y="118"/>
                </a:lnTo>
                <a:lnTo>
                  <a:pt x="114" y="118"/>
                </a:lnTo>
                <a:lnTo>
                  <a:pt x="114" y="116"/>
                </a:lnTo>
                <a:lnTo>
                  <a:pt x="112" y="114"/>
                </a:lnTo>
                <a:lnTo>
                  <a:pt x="110" y="110"/>
                </a:lnTo>
                <a:lnTo>
                  <a:pt x="140" y="100"/>
                </a:lnTo>
                <a:lnTo>
                  <a:pt x="140" y="100"/>
                </a:lnTo>
                <a:lnTo>
                  <a:pt x="138" y="92"/>
                </a:lnTo>
                <a:lnTo>
                  <a:pt x="138" y="92"/>
                </a:lnTo>
                <a:lnTo>
                  <a:pt x="140" y="88"/>
                </a:lnTo>
                <a:lnTo>
                  <a:pt x="140" y="86"/>
                </a:lnTo>
                <a:lnTo>
                  <a:pt x="140" y="84"/>
                </a:lnTo>
                <a:lnTo>
                  <a:pt x="140" y="84"/>
                </a:lnTo>
                <a:lnTo>
                  <a:pt x="140" y="78"/>
                </a:lnTo>
                <a:lnTo>
                  <a:pt x="140" y="74"/>
                </a:lnTo>
                <a:lnTo>
                  <a:pt x="142" y="72"/>
                </a:lnTo>
                <a:lnTo>
                  <a:pt x="142" y="72"/>
                </a:lnTo>
                <a:lnTo>
                  <a:pt x="148" y="68"/>
                </a:lnTo>
                <a:lnTo>
                  <a:pt x="150" y="66"/>
                </a:lnTo>
                <a:lnTo>
                  <a:pt x="150" y="64"/>
                </a:lnTo>
                <a:lnTo>
                  <a:pt x="150" y="64"/>
                </a:lnTo>
                <a:lnTo>
                  <a:pt x="148" y="62"/>
                </a:lnTo>
                <a:lnTo>
                  <a:pt x="148" y="62"/>
                </a:lnTo>
                <a:lnTo>
                  <a:pt x="146" y="62"/>
                </a:lnTo>
                <a:lnTo>
                  <a:pt x="146" y="60"/>
                </a:lnTo>
                <a:lnTo>
                  <a:pt x="146" y="60"/>
                </a:lnTo>
                <a:lnTo>
                  <a:pt x="146" y="54"/>
                </a:lnTo>
                <a:lnTo>
                  <a:pt x="146" y="50"/>
                </a:lnTo>
                <a:lnTo>
                  <a:pt x="146" y="50"/>
                </a:lnTo>
                <a:lnTo>
                  <a:pt x="146" y="48"/>
                </a:lnTo>
                <a:lnTo>
                  <a:pt x="146" y="46"/>
                </a:lnTo>
                <a:lnTo>
                  <a:pt x="150" y="44"/>
                </a:lnTo>
                <a:lnTo>
                  <a:pt x="150" y="44"/>
                </a:lnTo>
                <a:lnTo>
                  <a:pt x="152" y="40"/>
                </a:lnTo>
                <a:lnTo>
                  <a:pt x="154" y="38"/>
                </a:lnTo>
                <a:lnTo>
                  <a:pt x="152" y="36"/>
                </a:lnTo>
                <a:lnTo>
                  <a:pt x="152" y="36"/>
                </a:lnTo>
                <a:lnTo>
                  <a:pt x="152" y="34"/>
                </a:lnTo>
                <a:lnTo>
                  <a:pt x="152" y="32"/>
                </a:lnTo>
                <a:lnTo>
                  <a:pt x="152" y="28"/>
                </a:lnTo>
                <a:lnTo>
                  <a:pt x="150" y="26"/>
                </a:lnTo>
                <a:lnTo>
                  <a:pt x="150" y="26"/>
                </a:lnTo>
                <a:lnTo>
                  <a:pt x="148" y="22"/>
                </a:lnTo>
                <a:lnTo>
                  <a:pt x="148" y="20"/>
                </a:lnTo>
                <a:lnTo>
                  <a:pt x="148" y="20"/>
                </a:lnTo>
                <a:lnTo>
                  <a:pt x="144" y="20"/>
                </a:lnTo>
                <a:lnTo>
                  <a:pt x="140" y="18"/>
                </a:lnTo>
                <a:lnTo>
                  <a:pt x="140" y="18"/>
                </a:lnTo>
                <a:lnTo>
                  <a:pt x="136" y="14"/>
                </a:lnTo>
                <a:lnTo>
                  <a:pt x="134" y="14"/>
                </a:lnTo>
                <a:lnTo>
                  <a:pt x="134" y="14"/>
                </a:lnTo>
                <a:lnTo>
                  <a:pt x="132" y="12"/>
                </a:lnTo>
                <a:lnTo>
                  <a:pt x="132" y="10"/>
                </a:lnTo>
                <a:lnTo>
                  <a:pt x="132" y="6"/>
                </a:lnTo>
                <a:lnTo>
                  <a:pt x="132" y="6"/>
                </a:lnTo>
                <a:lnTo>
                  <a:pt x="132" y="6"/>
                </a:lnTo>
                <a:lnTo>
                  <a:pt x="134" y="8"/>
                </a:lnTo>
                <a:lnTo>
                  <a:pt x="134" y="8"/>
                </a:lnTo>
                <a:lnTo>
                  <a:pt x="126" y="8"/>
                </a:lnTo>
                <a:lnTo>
                  <a:pt x="126" y="8"/>
                </a:lnTo>
                <a:lnTo>
                  <a:pt x="122" y="8"/>
                </a:lnTo>
                <a:lnTo>
                  <a:pt x="122" y="8"/>
                </a:lnTo>
                <a:lnTo>
                  <a:pt x="118" y="8"/>
                </a:lnTo>
                <a:lnTo>
                  <a:pt x="118" y="8"/>
                </a:lnTo>
                <a:lnTo>
                  <a:pt x="118" y="8"/>
                </a:lnTo>
                <a:lnTo>
                  <a:pt x="118" y="8"/>
                </a:lnTo>
                <a:lnTo>
                  <a:pt x="120" y="4"/>
                </a:lnTo>
                <a:lnTo>
                  <a:pt x="120" y="2"/>
                </a:lnTo>
                <a:lnTo>
                  <a:pt x="118" y="2"/>
                </a:lnTo>
                <a:lnTo>
                  <a:pt x="118" y="0"/>
                </a:lnTo>
                <a:lnTo>
                  <a:pt x="92" y="8"/>
                </a:lnTo>
                <a:lnTo>
                  <a:pt x="92" y="8"/>
                </a:lnTo>
                <a:lnTo>
                  <a:pt x="92" y="8"/>
                </a:lnTo>
                <a:lnTo>
                  <a:pt x="92" y="8"/>
                </a:lnTo>
                <a:lnTo>
                  <a:pt x="92" y="10"/>
                </a:lnTo>
                <a:lnTo>
                  <a:pt x="88" y="14"/>
                </a:lnTo>
                <a:lnTo>
                  <a:pt x="84" y="16"/>
                </a:lnTo>
                <a:lnTo>
                  <a:pt x="84" y="18"/>
                </a:lnTo>
                <a:lnTo>
                  <a:pt x="84" y="18"/>
                </a:lnTo>
                <a:lnTo>
                  <a:pt x="82" y="18"/>
                </a:lnTo>
                <a:lnTo>
                  <a:pt x="82" y="18"/>
                </a:lnTo>
                <a:lnTo>
                  <a:pt x="82" y="18"/>
                </a:lnTo>
                <a:lnTo>
                  <a:pt x="80" y="22"/>
                </a:lnTo>
                <a:lnTo>
                  <a:pt x="80" y="26"/>
                </a:lnTo>
                <a:lnTo>
                  <a:pt x="80" y="26"/>
                </a:lnTo>
                <a:lnTo>
                  <a:pt x="82" y="28"/>
                </a:lnTo>
                <a:lnTo>
                  <a:pt x="82" y="30"/>
                </a:lnTo>
                <a:lnTo>
                  <a:pt x="82" y="30"/>
                </a:lnTo>
                <a:lnTo>
                  <a:pt x="84" y="36"/>
                </a:lnTo>
                <a:lnTo>
                  <a:pt x="86" y="38"/>
                </a:lnTo>
                <a:lnTo>
                  <a:pt x="86" y="40"/>
                </a:lnTo>
                <a:lnTo>
                  <a:pt x="86" y="40"/>
                </a:lnTo>
                <a:lnTo>
                  <a:pt x="84" y="46"/>
                </a:lnTo>
                <a:lnTo>
                  <a:pt x="84" y="46"/>
                </a:lnTo>
                <a:lnTo>
                  <a:pt x="86" y="50"/>
                </a:lnTo>
                <a:lnTo>
                  <a:pt x="90" y="54"/>
                </a:lnTo>
                <a:lnTo>
                  <a:pt x="90" y="54"/>
                </a:lnTo>
                <a:lnTo>
                  <a:pt x="94" y="56"/>
                </a:lnTo>
                <a:lnTo>
                  <a:pt x="96" y="56"/>
                </a:lnTo>
                <a:lnTo>
                  <a:pt x="98" y="60"/>
                </a:lnTo>
                <a:lnTo>
                  <a:pt x="98" y="60"/>
                </a:lnTo>
                <a:lnTo>
                  <a:pt x="100" y="62"/>
                </a:lnTo>
                <a:lnTo>
                  <a:pt x="102" y="62"/>
                </a:lnTo>
                <a:lnTo>
                  <a:pt x="102" y="62"/>
                </a:lnTo>
                <a:lnTo>
                  <a:pt x="110" y="60"/>
                </a:lnTo>
                <a:lnTo>
                  <a:pt x="110" y="76"/>
                </a:lnTo>
                <a:lnTo>
                  <a:pt x="104" y="74"/>
                </a:lnTo>
                <a:lnTo>
                  <a:pt x="104" y="74"/>
                </a:lnTo>
                <a:lnTo>
                  <a:pt x="100" y="76"/>
                </a:lnTo>
                <a:lnTo>
                  <a:pt x="100" y="76"/>
                </a:lnTo>
                <a:lnTo>
                  <a:pt x="96" y="78"/>
                </a:lnTo>
                <a:lnTo>
                  <a:pt x="94" y="78"/>
                </a:lnTo>
                <a:lnTo>
                  <a:pt x="92" y="76"/>
                </a:lnTo>
                <a:lnTo>
                  <a:pt x="92" y="76"/>
                </a:lnTo>
                <a:lnTo>
                  <a:pt x="94" y="72"/>
                </a:lnTo>
                <a:lnTo>
                  <a:pt x="92" y="68"/>
                </a:lnTo>
                <a:lnTo>
                  <a:pt x="92" y="68"/>
                </a:lnTo>
                <a:lnTo>
                  <a:pt x="90" y="66"/>
                </a:lnTo>
                <a:lnTo>
                  <a:pt x="86" y="64"/>
                </a:lnTo>
                <a:lnTo>
                  <a:pt x="84" y="64"/>
                </a:lnTo>
                <a:lnTo>
                  <a:pt x="82" y="62"/>
                </a:lnTo>
                <a:lnTo>
                  <a:pt x="82" y="62"/>
                </a:lnTo>
                <a:lnTo>
                  <a:pt x="80" y="58"/>
                </a:lnTo>
                <a:lnTo>
                  <a:pt x="76" y="56"/>
                </a:lnTo>
                <a:lnTo>
                  <a:pt x="76" y="56"/>
                </a:lnTo>
                <a:lnTo>
                  <a:pt x="76" y="52"/>
                </a:lnTo>
                <a:lnTo>
                  <a:pt x="74" y="52"/>
                </a:lnTo>
                <a:lnTo>
                  <a:pt x="74" y="52"/>
                </a:lnTo>
                <a:lnTo>
                  <a:pt x="72" y="50"/>
                </a:lnTo>
                <a:lnTo>
                  <a:pt x="70" y="52"/>
                </a:lnTo>
                <a:lnTo>
                  <a:pt x="70" y="52"/>
                </a:lnTo>
                <a:lnTo>
                  <a:pt x="68" y="56"/>
                </a:lnTo>
                <a:lnTo>
                  <a:pt x="62" y="56"/>
                </a:lnTo>
                <a:lnTo>
                  <a:pt x="62" y="56"/>
                </a:lnTo>
                <a:lnTo>
                  <a:pt x="52" y="56"/>
                </a:lnTo>
                <a:lnTo>
                  <a:pt x="52" y="56"/>
                </a:lnTo>
                <a:lnTo>
                  <a:pt x="50" y="54"/>
                </a:lnTo>
                <a:lnTo>
                  <a:pt x="48" y="54"/>
                </a:lnTo>
                <a:lnTo>
                  <a:pt x="48" y="54"/>
                </a:lnTo>
                <a:lnTo>
                  <a:pt x="50" y="48"/>
                </a:lnTo>
                <a:lnTo>
                  <a:pt x="50" y="48"/>
                </a:lnTo>
                <a:lnTo>
                  <a:pt x="48" y="46"/>
                </a:lnTo>
                <a:lnTo>
                  <a:pt x="46" y="46"/>
                </a:lnTo>
                <a:lnTo>
                  <a:pt x="44" y="46"/>
                </a:lnTo>
                <a:lnTo>
                  <a:pt x="44" y="46"/>
                </a:lnTo>
                <a:lnTo>
                  <a:pt x="42" y="48"/>
                </a:lnTo>
                <a:lnTo>
                  <a:pt x="40" y="48"/>
                </a:lnTo>
                <a:lnTo>
                  <a:pt x="38" y="46"/>
                </a:lnTo>
                <a:lnTo>
                  <a:pt x="38" y="46"/>
                </a:lnTo>
                <a:lnTo>
                  <a:pt x="38" y="38"/>
                </a:lnTo>
                <a:lnTo>
                  <a:pt x="30" y="40"/>
                </a:lnTo>
                <a:lnTo>
                  <a:pt x="30" y="40"/>
                </a:lnTo>
                <a:lnTo>
                  <a:pt x="32" y="44"/>
                </a:lnTo>
                <a:lnTo>
                  <a:pt x="32" y="50"/>
                </a:lnTo>
                <a:lnTo>
                  <a:pt x="32" y="50"/>
                </a:lnTo>
                <a:lnTo>
                  <a:pt x="30" y="54"/>
                </a:lnTo>
                <a:lnTo>
                  <a:pt x="30" y="58"/>
                </a:lnTo>
                <a:lnTo>
                  <a:pt x="30" y="58"/>
                </a:lnTo>
                <a:lnTo>
                  <a:pt x="30" y="66"/>
                </a:lnTo>
                <a:lnTo>
                  <a:pt x="30" y="66"/>
                </a:lnTo>
                <a:lnTo>
                  <a:pt x="30" y="70"/>
                </a:lnTo>
                <a:lnTo>
                  <a:pt x="0" y="70"/>
                </a:lnTo>
                <a:lnTo>
                  <a:pt x="0" y="130"/>
                </a:lnTo>
                <a:lnTo>
                  <a:pt x="0" y="130"/>
                </a:lnTo>
                <a:lnTo>
                  <a:pt x="2" y="132"/>
                </a:lnTo>
                <a:lnTo>
                  <a:pt x="4" y="138"/>
                </a:lnTo>
                <a:lnTo>
                  <a:pt x="4" y="138"/>
                </a:lnTo>
                <a:lnTo>
                  <a:pt x="6" y="142"/>
                </a:lnTo>
                <a:lnTo>
                  <a:pt x="10" y="148"/>
                </a:lnTo>
                <a:lnTo>
                  <a:pt x="10" y="148"/>
                </a:lnTo>
                <a:lnTo>
                  <a:pt x="14" y="152"/>
                </a:lnTo>
                <a:lnTo>
                  <a:pt x="14" y="154"/>
                </a:lnTo>
                <a:lnTo>
                  <a:pt x="16" y="158"/>
                </a:lnTo>
                <a:lnTo>
                  <a:pt x="18" y="158"/>
                </a:lnTo>
                <a:lnTo>
                  <a:pt x="18" y="1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 name="Freeform 290">
            <a:extLst>
              <a:ext uri="{FF2B5EF4-FFF2-40B4-BE49-F238E27FC236}">
                <a16:creationId xmlns:a16="http://schemas.microsoft.com/office/drawing/2014/main" id="{4C8851BF-8204-40DB-B623-3498B0AA42EC}"/>
              </a:ext>
            </a:extLst>
          </p:cNvPr>
          <p:cNvSpPr>
            <a:spLocks/>
          </p:cNvSpPr>
          <p:nvPr userDrawn="1"/>
        </p:nvSpPr>
        <p:spPr bwMode="auto">
          <a:xfrm>
            <a:off x="6125818" y="3522777"/>
            <a:ext cx="439384" cy="535388"/>
          </a:xfrm>
          <a:custGeom>
            <a:avLst/>
            <a:gdLst>
              <a:gd name="T0" fmla="*/ 0 w 262"/>
              <a:gd name="T1" fmla="*/ 184 h 312"/>
              <a:gd name="T2" fmla="*/ 14 w 262"/>
              <a:gd name="T3" fmla="*/ 190 h 312"/>
              <a:gd name="T4" fmla="*/ 72 w 262"/>
              <a:gd name="T5" fmla="*/ 186 h 312"/>
              <a:gd name="T6" fmla="*/ 76 w 262"/>
              <a:gd name="T7" fmla="*/ 208 h 312"/>
              <a:gd name="T8" fmla="*/ 90 w 262"/>
              <a:gd name="T9" fmla="*/ 224 h 312"/>
              <a:gd name="T10" fmla="*/ 98 w 262"/>
              <a:gd name="T11" fmla="*/ 222 h 312"/>
              <a:gd name="T12" fmla="*/ 102 w 262"/>
              <a:gd name="T13" fmla="*/ 208 h 312"/>
              <a:gd name="T14" fmla="*/ 118 w 262"/>
              <a:gd name="T15" fmla="*/ 208 h 312"/>
              <a:gd name="T16" fmla="*/ 130 w 262"/>
              <a:gd name="T17" fmla="*/ 216 h 312"/>
              <a:gd name="T18" fmla="*/ 132 w 262"/>
              <a:gd name="T19" fmla="*/ 234 h 312"/>
              <a:gd name="T20" fmla="*/ 138 w 262"/>
              <a:gd name="T21" fmla="*/ 250 h 312"/>
              <a:gd name="T22" fmla="*/ 138 w 262"/>
              <a:gd name="T23" fmla="*/ 266 h 312"/>
              <a:gd name="T24" fmla="*/ 150 w 262"/>
              <a:gd name="T25" fmla="*/ 274 h 312"/>
              <a:gd name="T26" fmla="*/ 170 w 262"/>
              <a:gd name="T27" fmla="*/ 280 h 312"/>
              <a:gd name="T28" fmla="*/ 182 w 262"/>
              <a:gd name="T29" fmla="*/ 282 h 312"/>
              <a:gd name="T30" fmla="*/ 194 w 262"/>
              <a:gd name="T31" fmla="*/ 290 h 312"/>
              <a:gd name="T32" fmla="*/ 206 w 262"/>
              <a:gd name="T33" fmla="*/ 286 h 312"/>
              <a:gd name="T34" fmla="*/ 216 w 262"/>
              <a:gd name="T35" fmla="*/ 298 h 312"/>
              <a:gd name="T36" fmla="*/ 224 w 262"/>
              <a:gd name="T37" fmla="*/ 310 h 312"/>
              <a:gd name="T38" fmla="*/ 242 w 262"/>
              <a:gd name="T39" fmla="*/ 294 h 312"/>
              <a:gd name="T40" fmla="*/ 228 w 262"/>
              <a:gd name="T41" fmla="*/ 290 h 312"/>
              <a:gd name="T42" fmla="*/ 218 w 262"/>
              <a:gd name="T43" fmla="*/ 274 h 312"/>
              <a:gd name="T44" fmla="*/ 212 w 262"/>
              <a:gd name="T45" fmla="*/ 260 h 312"/>
              <a:gd name="T46" fmla="*/ 220 w 262"/>
              <a:gd name="T47" fmla="*/ 242 h 312"/>
              <a:gd name="T48" fmla="*/ 250 w 262"/>
              <a:gd name="T49" fmla="*/ 228 h 312"/>
              <a:gd name="T50" fmla="*/ 240 w 262"/>
              <a:gd name="T51" fmla="*/ 214 h 312"/>
              <a:gd name="T52" fmla="*/ 230 w 262"/>
              <a:gd name="T53" fmla="*/ 188 h 312"/>
              <a:gd name="T54" fmla="*/ 228 w 262"/>
              <a:gd name="T55" fmla="*/ 170 h 312"/>
              <a:gd name="T56" fmla="*/ 228 w 262"/>
              <a:gd name="T57" fmla="*/ 146 h 312"/>
              <a:gd name="T58" fmla="*/ 224 w 262"/>
              <a:gd name="T59" fmla="*/ 138 h 312"/>
              <a:gd name="T60" fmla="*/ 224 w 262"/>
              <a:gd name="T61" fmla="*/ 124 h 312"/>
              <a:gd name="T62" fmla="*/ 226 w 262"/>
              <a:gd name="T63" fmla="*/ 120 h 312"/>
              <a:gd name="T64" fmla="*/ 226 w 262"/>
              <a:gd name="T65" fmla="*/ 110 h 312"/>
              <a:gd name="T66" fmla="*/ 236 w 262"/>
              <a:gd name="T67" fmla="*/ 92 h 312"/>
              <a:gd name="T68" fmla="*/ 248 w 262"/>
              <a:gd name="T69" fmla="*/ 78 h 312"/>
              <a:gd name="T70" fmla="*/ 258 w 262"/>
              <a:gd name="T71" fmla="*/ 66 h 312"/>
              <a:gd name="T72" fmla="*/ 256 w 262"/>
              <a:gd name="T73" fmla="*/ 54 h 312"/>
              <a:gd name="T74" fmla="*/ 258 w 262"/>
              <a:gd name="T75" fmla="*/ 44 h 312"/>
              <a:gd name="T76" fmla="*/ 252 w 262"/>
              <a:gd name="T77" fmla="*/ 30 h 312"/>
              <a:gd name="T78" fmla="*/ 236 w 262"/>
              <a:gd name="T79" fmla="*/ 16 h 312"/>
              <a:gd name="T80" fmla="*/ 224 w 262"/>
              <a:gd name="T81" fmla="*/ 16 h 312"/>
              <a:gd name="T82" fmla="*/ 210 w 262"/>
              <a:gd name="T83" fmla="*/ 16 h 312"/>
              <a:gd name="T84" fmla="*/ 194 w 262"/>
              <a:gd name="T85" fmla="*/ 2 h 312"/>
              <a:gd name="T86" fmla="*/ 174 w 262"/>
              <a:gd name="T87" fmla="*/ 6 h 312"/>
              <a:gd name="T88" fmla="*/ 166 w 262"/>
              <a:gd name="T89" fmla="*/ 8 h 312"/>
              <a:gd name="T90" fmla="*/ 152 w 262"/>
              <a:gd name="T91" fmla="*/ 8 h 312"/>
              <a:gd name="T92" fmla="*/ 138 w 262"/>
              <a:gd name="T93" fmla="*/ 14 h 312"/>
              <a:gd name="T94" fmla="*/ 114 w 262"/>
              <a:gd name="T95" fmla="*/ 8 h 312"/>
              <a:gd name="T96" fmla="*/ 94 w 262"/>
              <a:gd name="T97" fmla="*/ 10 h 312"/>
              <a:gd name="T98" fmla="*/ 84 w 262"/>
              <a:gd name="T99" fmla="*/ 46 h 312"/>
              <a:gd name="T100" fmla="*/ 78 w 262"/>
              <a:gd name="T101" fmla="*/ 86 h 312"/>
              <a:gd name="T102" fmla="*/ 66 w 262"/>
              <a:gd name="T103" fmla="*/ 120 h 312"/>
              <a:gd name="T104" fmla="*/ 56 w 262"/>
              <a:gd name="T105" fmla="*/ 156 h 312"/>
              <a:gd name="T106" fmla="*/ 36 w 262"/>
              <a:gd name="T107" fmla="*/ 156 h 312"/>
              <a:gd name="T108" fmla="*/ 26 w 262"/>
              <a:gd name="T109" fmla="*/ 162 h 312"/>
              <a:gd name="T110" fmla="*/ 14 w 262"/>
              <a:gd name="T111" fmla="*/ 164 h 312"/>
              <a:gd name="T112" fmla="*/ 8 w 262"/>
              <a:gd name="T113" fmla="*/ 17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12">
                <a:moveTo>
                  <a:pt x="2" y="178"/>
                </a:moveTo>
                <a:lnTo>
                  <a:pt x="2" y="178"/>
                </a:lnTo>
                <a:lnTo>
                  <a:pt x="2" y="180"/>
                </a:lnTo>
                <a:lnTo>
                  <a:pt x="2" y="180"/>
                </a:lnTo>
                <a:lnTo>
                  <a:pt x="0" y="182"/>
                </a:lnTo>
                <a:lnTo>
                  <a:pt x="0" y="184"/>
                </a:lnTo>
                <a:lnTo>
                  <a:pt x="0" y="184"/>
                </a:lnTo>
                <a:lnTo>
                  <a:pt x="2" y="188"/>
                </a:lnTo>
                <a:lnTo>
                  <a:pt x="6" y="190"/>
                </a:lnTo>
                <a:lnTo>
                  <a:pt x="6" y="190"/>
                </a:lnTo>
                <a:lnTo>
                  <a:pt x="6" y="194"/>
                </a:lnTo>
                <a:lnTo>
                  <a:pt x="6" y="194"/>
                </a:lnTo>
                <a:lnTo>
                  <a:pt x="8" y="194"/>
                </a:lnTo>
                <a:lnTo>
                  <a:pt x="14" y="190"/>
                </a:lnTo>
                <a:lnTo>
                  <a:pt x="14" y="190"/>
                </a:lnTo>
                <a:lnTo>
                  <a:pt x="18" y="188"/>
                </a:lnTo>
                <a:lnTo>
                  <a:pt x="22" y="186"/>
                </a:lnTo>
                <a:lnTo>
                  <a:pt x="28" y="186"/>
                </a:lnTo>
                <a:lnTo>
                  <a:pt x="28" y="186"/>
                </a:lnTo>
                <a:lnTo>
                  <a:pt x="44" y="188"/>
                </a:lnTo>
                <a:lnTo>
                  <a:pt x="72" y="186"/>
                </a:lnTo>
                <a:lnTo>
                  <a:pt x="72" y="186"/>
                </a:lnTo>
                <a:lnTo>
                  <a:pt x="74" y="196"/>
                </a:lnTo>
                <a:lnTo>
                  <a:pt x="74" y="196"/>
                </a:lnTo>
                <a:lnTo>
                  <a:pt x="74" y="200"/>
                </a:lnTo>
                <a:lnTo>
                  <a:pt x="74" y="204"/>
                </a:lnTo>
                <a:lnTo>
                  <a:pt x="74" y="204"/>
                </a:lnTo>
                <a:lnTo>
                  <a:pt x="76" y="208"/>
                </a:lnTo>
                <a:lnTo>
                  <a:pt x="76" y="214"/>
                </a:lnTo>
                <a:lnTo>
                  <a:pt x="76" y="214"/>
                </a:lnTo>
                <a:lnTo>
                  <a:pt x="78" y="220"/>
                </a:lnTo>
                <a:lnTo>
                  <a:pt x="80" y="222"/>
                </a:lnTo>
                <a:lnTo>
                  <a:pt x="80" y="222"/>
                </a:lnTo>
                <a:lnTo>
                  <a:pt x="84" y="224"/>
                </a:lnTo>
                <a:lnTo>
                  <a:pt x="90" y="224"/>
                </a:lnTo>
                <a:lnTo>
                  <a:pt x="90" y="224"/>
                </a:lnTo>
                <a:lnTo>
                  <a:pt x="92" y="224"/>
                </a:lnTo>
                <a:lnTo>
                  <a:pt x="94" y="222"/>
                </a:lnTo>
                <a:lnTo>
                  <a:pt x="96" y="220"/>
                </a:lnTo>
                <a:lnTo>
                  <a:pt x="96" y="220"/>
                </a:lnTo>
                <a:lnTo>
                  <a:pt x="96" y="220"/>
                </a:lnTo>
                <a:lnTo>
                  <a:pt x="98" y="222"/>
                </a:lnTo>
                <a:lnTo>
                  <a:pt x="100" y="222"/>
                </a:lnTo>
                <a:lnTo>
                  <a:pt x="102" y="220"/>
                </a:lnTo>
                <a:lnTo>
                  <a:pt x="102" y="218"/>
                </a:lnTo>
                <a:lnTo>
                  <a:pt x="102" y="218"/>
                </a:lnTo>
                <a:lnTo>
                  <a:pt x="100" y="214"/>
                </a:lnTo>
                <a:lnTo>
                  <a:pt x="100" y="210"/>
                </a:lnTo>
                <a:lnTo>
                  <a:pt x="102" y="208"/>
                </a:lnTo>
                <a:lnTo>
                  <a:pt x="102" y="208"/>
                </a:lnTo>
                <a:lnTo>
                  <a:pt x="104" y="206"/>
                </a:lnTo>
                <a:lnTo>
                  <a:pt x="110" y="208"/>
                </a:lnTo>
                <a:lnTo>
                  <a:pt x="110" y="208"/>
                </a:lnTo>
                <a:lnTo>
                  <a:pt x="116" y="208"/>
                </a:lnTo>
                <a:lnTo>
                  <a:pt x="118" y="208"/>
                </a:lnTo>
                <a:lnTo>
                  <a:pt x="118" y="208"/>
                </a:lnTo>
                <a:lnTo>
                  <a:pt x="118" y="208"/>
                </a:lnTo>
                <a:lnTo>
                  <a:pt x="118" y="212"/>
                </a:lnTo>
                <a:lnTo>
                  <a:pt x="118" y="212"/>
                </a:lnTo>
                <a:lnTo>
                  <a:pt x="124" y="212"/>
                </a:lnTo>
                <a:lnTo>
                  <a:pt x="128" y="212"/>
                </a:lnTo>
                <a:lnTo>
                  <a:pt x="130" y="216"/>
                </a:lnTo>
                <a:lnTo>
                  <a:pt x="130" y="216"/>
                </a:lnTo>
                <a:lnTo>
                  <a:pt x="130" y="222"/>
                </a:lnTo>
                <a:lnTo>
                  <a:pt x="130" y="224"/>
                </a:lnTo>
                <a:lnTo>
                  <a:pt x="132" y="226"/>
                </a:lnTo>
                <a:lnTo>
                  <a:pt x="132" y="226"/>
                </a:lnTo>
                <a:lnTo>
                  <a:pt x="132" y="226"/>
                </a:lnTo>
                <a:lnTo>
                  <a:pt x="132" y="228"/>
                </a:lnTo>
                <a:lnTo>
                  <a:pt x="132" y="234"/>
                </a:lnTo>
                <a:lnTo>
                  <a:pt x="132" y="234"/>
                </a:lnTo>
                <a:lnTo>
                  <a:pt x="132" y="238"/>
                </a:lnTo>
                <a:lnTo>
                  <a:pt x="134" y="242"/>
                </a:lnTo>
                <a:lnTo>
                  <a:pt x="134" y="242"/>
                </a:lnTo>
                <a:lnTo>
                  <a:pt x="136" y="246"/>
                </a:lnTo>
                <a:lnTo>
                  <a:pt x="136" y="248"/>
                </a:lnTo>
                <a:lnTo>
                  <a:pt x="138" y="250"/>
                </a:lnTo>
                <a:lnTo>
                  <a:pt x="138" y="250"/>
                </a:lnTo>
                <a:lnTo>
                  <a:pt x="140" y="254"/>
                </a:lnTo>
                <a:lnTo>
                  <a:pt x="138" y="258"/>
                </a:lnTo>
                <a:lnTo>
                  <a:pt x="138" y="258"/>
                </a:lnTo>
                <a:lnTo>
                  <a:pt x="138" y="262"/>
                </a:lnTo>
                <a:lnTo>
                  <a:pt x="138" y="266"/>
                </a:lnTo>
                <a:lnTo>
                  <a:pt x="138" y="266"/>
                </a:lnTo>
                <a:lnTo>
                  <a:pt x="138" y="270"/>
                </a:lnTo>
                <a:lnTo>
                  <a:pt x="140" y="274"/>
                </a:lnTo>
                <a:lnTo>
                  <a:pt x="140" y="274"/>
                </a:lnTo>
                <a:lnTo>
                  <a:pt x="144" y="278"/>
                </a:lnTo>
                <a:lnTo>
                  <a:pt x="146" y="276"/>
                </a:lnTo>
                <a:lnTo>
                  <a:pt x="146" y="276"/>
                </a:lnTo>
                <a:lnTo>
                  <a:pt x="150" y="274"/>
                </a:lnTo>
                <a:lnTo>
                  <a:pt x="152" y="274"/>
                </a:lnTo>
                <a:lnTo>
                  <a:pt x="152" y="274"/>
                </a:lnTo>
                <a:lnTo>
                  <a:pt x="162" y="274"/>
                </a:lnTo>
                <a:lnTo>
                  <a:pt x="170" y="272"/>
                </a:lnTo>
                <a:lnTo>
                  <a:pt x="170" y="272"/>
                </a:lnTo>
                <a:lnTo>
                  <a:pt x="170" y="280"/>
                </a:lnTo>
                <a:lnTo>
                  <a:pt x="170" y="280"/>
                </a:lnTo>
                <a:lnTo>
                  <a:pt x="172" y="282"/>
                </a:lnTo>
                <a:lnTo>
                  <a:pt x="174" y="282"/>
                </a:lnTo>
                <a:lnTo>
                  <a:pt x="176" y="280"/>
                </a:lnTo>
                <a:lnTo>
                  <a:pt x="176" y="280"/>
                </a:lnTo>
                <a:lnTo>
                  <a:pt x="178" y="280"/>
                </a:lnTo>
                <a:lnTo>
                  <a:pt x="180" y="280"/>
                </a:lnTo>
                <a:lnTo>
                  <a:pt x="182" y="282"/>
                </a:lnTo>
                <a:lnTo>
                  <a:pt x="182" y="282"/>
                </a:lnTo>
                <a:lnTo>
                  <a:pt x="180" y="288"/>
                </a:lnTo>
                <a:lnTo>
                  <a:pt x="180" y="288"/>
                </a:lnTo>
                <a:lnTo>
                  <a:pt x="182" y="288"/>
                </a:lnTo>
                <a:lnTo>
                  <a:pt x="184" y="290"/>
                </a:lnTo>
                <a:lnTo>
                  <a:pt x="184" y="290"/>
                </a:lnTo>
                <a:lnTo>
                  <a:pt x="194" y="290"/>
                </a:lnTo>
                <a:lnTo>
                  <a:pt x="194" y="290"/>
                </a:lnTo>
                <a:lnTo>
                  <a:pt x="200" y="290"/>
                </a:lnTo>
                <a:lnTo>
                  <a:pt x="202" y="286"/>
                </a:lnTo>
                <a:lnTo>
                  <a:pt x="202" y="286"/>
                </a:lnTo>
                <a:lnTo>
                  <a:pt x="204" y="284"/>
                </a:lnTo>
                <a:lnTo>
                  <a:pt x="206" y="286"/>
                </a:lnTo>
                <a:lnTo>
                  <a:pt x="206" y="286"/>
                </a:lnTo>
                <a:lnTo>
                  <a:pt x="208" y="286"/>
                </a:lnTo>
                <a:lnTo>
                  <a:pt x="208" y="290"/>
                </a:lnTo>
                <a:lnTo>
                  <a:pt x="208" y="290"/>
                </a:lnTo>
                <a:lnTo>
                  <a:pt x="212" y="292"/>
                </a:lnTo>
                <a:lnTo>
                  <a:pt x="214" y="296"/>
                </a:lnTo>
                <a:lnTo>
                  <a:pt x="214" y="296"/>
                </a:lnTo>
                <a:lnTo>
                  <a:pt x="216" y="298"/>
                </a:lnTo>
                <a:lnTo>
                  <a:pt x="218" y="298"/>
                </a:lnTo>
                <a:lnTo>
                  <a:pt x="222" y="300"/>
                </a:lnTo>
                <a:lnTo>
                  <a:pt x="224" y="302"/>
                </a:lnTo>
                <a:lnTo>
                  <a:pt x="224" y="302"/>
                </a:lnTo>
                <a:lnTo>
                  <a:pt x="226" y="306"/>
                </a:lnTo>
                <a:lnTo>
                  <a:pt x="224" y="310"/>
                </a:lnTo>
                <a:lnTo>
                  <a:pt x="224" y="310"/>
                </a:lnTo>
                <a:lnTo>
                  <a:pt x="226" y="312"/>
                </a:lnTo>
                <a:lnTo>
                  <a:pt x="228" y="312"/>
                </a:lnTo>
                <a:lnTo>
                  <a:pt x="232" y="310"/>
                </a:lnTo>
                <a:lnTo>
                  <a:pt x="232" y="310"/>
                </a:lnTo>
                <a:lnTo>
                  <a:pt x="236" y="308"/>
                </a:lnTo>
                <a:lnTo>
                  <a:pt x="242" y="310"/>
                </a:lnTo>
                <a:lnTo>
                  <a:pt x="242" y="294"/>
                </a:lnTo>
                <a:lnTo>
                  <a:pt x="242" y="294"/>
                </a:lnTo>
                <a:lnTo>
                  <a:pt x="234" y="296"/>
                </a:lnTo>
                <a:lnTo>
                  <a:pt x="234" y="296"/>
                </a:lnTo>
                <a:lnTo>
                  <a:pt x="232" y="296"/>
                </a:lnTo>
                <a:lnTo>
                  <a:pt x="230" y="294"/>
                </a:lnTo>
                <a:lnTo>
                  <a:pt x="230" y="294"/>
                </a:lnTo>
                <a:lnTo>
                  <a:pt x="228" y="290"/>
                </a:lnTo>
                <a:lnTo>
                  <a:pt x="226" y="290"/>
                </a:lnTo>
                <a:lnTo>
                  <a:pt x="222" y="288"/>
                </a:lnTo>
                <a:lnTo>
                  <a:pt x="222" y="288"/>
                </a:lnTo>
                <a:lnTo>
                  <a:pt x="218" y="284"/>
                </a:lnTo>
                <a:lnTo>
                  <a:pt x="216" y="280"/>
                </a:lnTo>
                <a:lnTo>
                  <a:pt x="216" y="280"/>
                </a:lnTo>
                <a:lnTo>
                  <a:pt x="218" y="274"/>
                </a:lnTo>
                <a:lnTo>
                  <a:pt x="218" y="274"/>
                </a:lnTo>
                <a:lnTo>
                  <a:pt x="218" y="272"/>
                </a:lnTo>
                <a:lnTo>
                  <a:pt x="216" y="270"/>
                </a:lnTo>
                <a:lnTo>
                  <a:pt x="214" y="264"/>
                </a:lnTo>
                <a:lnTo>
                  <a:pt x="214" y="264"/>
                </a:lnTo>
                <a:lnTo>
                  <a:pt x="214" y="262"/>
                </a:lnTo>
                <a:lnTo>
                  <a:pt x="212" y="260"/>
                </a:lnTo>
                <a:lnTo>
                  <a:pt x="212" y="260"/>
                </a:lnTo>
                <a:lnTo>
                  <a:pt x="212" y="256"/>
                </a:lnTo>
                <a:lnTo>
                  <a:pt x="214" y="252"/>
                </a:lnTo>
                <a:lnTo>
                  <a:pt x="214" y="252"/>
                </a:lnTo>
                <a:lnTo>
                  <a:pt x="212" y="246"/>
                </a:lnTo>
                <a:lnTo>
                  <a:pt x="212" y="246"/>
                </a:lnTo>
                <a:lnTo>
                  <a:pt x="220" y="242"/>
                </a:lnTo>
                <a:lnTo>
                  <a:pt x="220" y="242"/>
                </a:lnTo>
                <a:lnTo>
                  <a:pt x="224" y="242"/>
                </a:lnTo>
                <a:lnTo>
                  <a:pt x="224" y="242"/>
                </a:lnTo>
                <a:lnTo>
                  <a:pt x="224" y="242"/>
                </a:lnTo>
                <a:lnTo>
                  <a:pt x="250" y="234"/>
                </a:lnTo>
                <a:lnTo>
                  <a:pt x="250" y="234"/>
                </a:lnTo>
                <a:lnTo>
                  <a:pt x="250" y="228"/>
                </a:lnTo>
                <a:lnTo>
                  <a:pt x="250" y="228"/>
                </a:lnTo>
                <a:lnTo>
                  <a:pt x="246" y="224"/>
                </a:lnTo>
                <a:lnTo>
                  <a:pt x="246" y="224"/>
                </a:lnTo>
                <a:lnTo>
                  <a:pt x="246" y="220"/>
                </a:lnTo>
                <a:lnTo>
                  <a:pt x="246" y="220"/>
                </a:lnTo>
                <a:lnTo>
                  <a:pt x="242" y="216"/>
                </a:lnTo>
                <a:lnTo>
                  <a:pt x="240" y="214"/>
                </a:lnTo>
                <a:lnTo>
                  <a:pt x="240" y="214"/>
                </a:lnTo>
                <a:lnTo>
                  <a:pt x="236" y="212"/>
                </a:lnTo>
                <a:lnTo>
                  <a:pt x="236" y="212"/>
                </a:lnTo>
                <a:lnTo>
                  <a:pt x="232" y="202"/>
                </a:lnTo>
                <a:lnTo>
                  <a:pt x="228" y="190"/>
                </a:lnTo>
                <a:lnTo>
                  <a:pt x="228" y="190"/>
                </a:lnTo>
                <a:lnTo>
                  <a:pt x="230" y="188"/>
                </a:lnTo>
                <a:lnTo>
                  <a:pt x="232" y="182"/>
                </a:lnTo>
                <a:lnTo>
                  <a:pt x="232" y="182"/>
                </a:lnTo>
                <a:lnTo>
                  <a:pt x="228" y="178"/>
                </a:lnTo>
                <a:lnTo>
                  <a:pt x="228" y="178"/>
                </a:lnTo>
                <a:lnTo>
                  <a:pt x="228" y="174"/>
                </a:lnTo>
                <a:lnTo>
                  <a:pt x="228" y="170"/>
                </a:lnTo>
                <a:lnTo>
                  <a:pt x="228" y="170"/>
                </a:lnTo>
                <a:lnTo>
                  <a:pt x="226" y="168"/>
                </a:lnTo>
                <a:lnTo>
                  <a:pt x="226" y="166"/>
                </a:lnTo>
                <a:lnTo>
                  <a:pt x="226" y="166"/>
                </a:lnTo>
                <a:lnTo>
                  <a:pt x="228" y="154"/>
                </a:lnTo>
                <a:lnTo>
                  <a:pt x="228" y="154"/>
                </a:lnTo>
                <a:lnTo>
                  <a:pt x="230" y="152"/>
                </a:lnTo>
                <a:lnTo>
                  <a:pt x="228" y="146"/>
                </a:lnTo>
                <a:lnTo>
                  <a:pt x="228" y="146"/>
                </a:lnTo>
                <a:lnTo>
                  <a:pt x="224" y="146"/>
                </a:lnTo>
                <a:lnTo>
                  <a:pt x="222" y="144"/>
                </a:lnTo>
                <a:lnTo>
                  <a:pt x="222" y="142"/>
                </a:lnTo>
                <a:lnTo>
                  <a:pt x="222" y="142"/>
                </a:lnTo>
                <a:lnTo>
                  <a:pt x="222" y="140"/>
                </a:lnTo>
                <a:lnTo>
                  <a:pt x="224" y="138"/>
                </a:lnTo>
                <a:lnTo>
                  <a:pt x="224" y="138"/>
                </a:lnTo>
                <a:lnTo>
                  <a:pt x="224" y="138"/>
                </a:lnTo>
                <a:lnTo>
                  <a:pt x="222" y="138"/>
                </a:lnTo>
                <a:lnTo>
                  <a:pt x="222" y="138"/>
                </a:lnTo>
                <a:lnTo>
                  <a:pt x="222" y="126"/>
                </a:lnTo>
                <a:lnTo>
                  <a:pt x="222" y="126"/>
                </a:lnTo>
                <a:lnTo>
                  <a:pt x="224" y="124"/>
                </a:lnTo>
                <a:lnTo>
                  <a:pt x="224" y="124"/>
                </a:lnTo>
                <a:lnTo>
                  <a:pt x="228" y="128"/>
                </a:lnTo>
                <a:lnTo>
                  <a:pt x="228" y="128"/>
                </a:lnTo>
                <a:lnTo>
                  <a:pt x="230" y="124"/>
                </a:lnTo>
                <a:lnTo>
                  <a:pt x="230" y="124"/>
                </a:lnTo>
                <a:lnTo>
                  <a:pt x="226" y="122"/>
                </a:lnTo>
                <a:lnTo>
                  <a:pt x="226" y="120"/>
                </a:lnTo>
                <a:lnTo>
                  <a:pt x="228" y="116"/>
                </a:lnTo>
                <a:lnTo>
                  <a:pt x="228" y="116"/>
                </a:lnTo>
                <a:lnTo>
                  <a:pt x="230" y="114"/>
                </a:lnTo>
                <a:lnTo>
                  <a:pt x="228" y="114"/>
                </a:lnTo>
                <a:lnTo>
                  <a:pt x="228" y="114"/>
                </a:lnTo>
                <a:lnTo>
                  <a:pt x="226" y="110"/>
                </a:lnTo>
                <a:lnTo>
                  <a:pt x="226" y="110"/>
                </a:lnTo>
                <a:lnTo>
                  <a:pt x="228" y="110"/>
                </a:lnTo>
                <a:lnTo>
                  <a:pt x="228" y="110"/>
                </a:lnTo>
                <a:lnTo>
                  <a:pt x="230" y="104"/>
                </a:lnTo>
                <a:lnTo>
                  <a:pt x="232" y="104"/>
                </a:lnTo>
                <a:lnTo>
                  <a:pt x="232" y="104"/>
                </a:lnTo>
                <a:lnTo>
                  <a:pt x="232" y="104"/>
                </a:lnTo>
                <a:lnTo>
                  <a:pt x="236" y="92"/>
                </a:lnTo>
                <a:lnTo>
                  <a:pt x="236" y="92"/>
                </a:lnTo>
                <a:lnTo>
                  <a:pt x="238" y="88"/>
                </a:lnTo>
                <a:lnTo>
                  <a:pt x="240" y="84"/>
                </a:lnTo>
                <a:lnTo>
                  <a:pt x="244" y="82"/>
                </a:lnTo>
                <a:lnTo>
                  <a:pt x="244" y="82"/>
                </a:lnTo>
                <a:lnTo>
                  <a:pt x="248" y="78"/>
                </a:lnTo>
                <a:lnTo>
                  <a:pt x="248" y="78"/>
                </a:lnTo>
                <a:lnTo>
                  <a:pt x="248" y="76"/>
                </a:lnTo>
                <a:lnTo>
                  <a:pt x="252" y="74"/>
                </a:lnTo>
                <a:lnTo>
                  <a:pt x="252" y="74"/>
                </a:lnTo>
                <a:lnTo>
                  <a:pt x="254" y="70"/>
                </a:lnTo>
                <a:lnTo>
                  <a:pt x="254" y="70"/>
                </a:lnTo>
                <a:lnTo>
                  <a:pt x="256" y="68"/>
                </a:lnTo>
                <a:lnTo>
                  <a:pt x="258" y="66"/>
                </a:lnTo>
                <a:lnTo>
                  <a:pt x="258" y="66"/>
                </a:lnTo>
                <a:lnTo>
                  <a:pt x="258" y="64"/>
                </a:lnTo>
                <a:lnTo>
                  <a:pt x="256" y="62"/>
                </a:lnTo>
                <a:lnTo>
                  <a:pt x="256" y="62"/>
                </a:lnTo>
                <a:lnTo>
                  <a:pt x="254" y="62"/>
                </a:lnTo>
                <a:lnTo>
                  <a:pt x="254" y="58"/>
                </a:lnTo>
                <a:lnTo>
                  <a:pt x="256" y="54"/>
                </a:lnTo>
                <a:lnTo>
                  <a:pt x="256" y="54"/>
                </a:lnTo>
                <a:lnTo>
                  <a:pt x="258" y="50"/>
                </a:lnTo>
                <a:lnTo>
                  <a:pt x="258" y="48"/>
                </a:lnTo>
                <a:lnTo>
                  <a:pt x="258" y="48"/>
                </a:lnTo>
                <a:lnTo>
                  <a:pt x="258" y="48"/>
                </a:lnTo>
                <a:lnTo>
                  <a:pt x="256" y="46"/>
                </a:lnTo>
                <a:lnTo>
                  <a:pt x="258" y="44"/>
                </a:lnTo>
                <a:lnTo>
                  <a:pt x="262" y="40"/>
                </a:lnTo>
                <a:lnTo>
                  <a:pt x="262" y="40"/>
                </a:lnTo>
                <a:lnTo>
                  <a:pt x="262" y="34"/>
                </a:lnTo>
                <a:lnTo>
                  <a:pt x="262" y="34"/>
                </a:lnTo>
                <a:lnTo>
                  <a:pt x="254" y="28"/>
                </a:lnTo>
                <a:lnTo>
                  <a:pt x="254" y="28"/>
                </a:lnTo>
                <a:lnTo>
                  <a:pt x="252" y="30"/>
                </a:lnTo>
                <a:lnTo>
                  <a:pt x="250" y="28"/>
                </a:lnTo>
                <a:lnTo>
                  <a:pt x="250" y="28"/>
                </a:lnTo>
                <a:lnTo>
                  <a:pt x="246" y="26"/>
                </a:lnTo>
                <a:lnTo>
                  <a:pt x="242" y="24"/>
                </a:lnTo>
                <a:lnTo>
                  <a:pt x="242" y="24"/>
                </a:lnTo>
                <a:lnTo>
                  <a:pt x="236" y="16"/>
                </a:lnTo>
                <a:lnTo>
                  <a:pt x="236" y="16"/>
                </a:lnTo>
                <a:lnTo>
                  <a:pt x="232" y="12"/>
                </a:lnTo>
                <a:lnTo>
                  <a:pt x="230" y="12"/>
                </a:lnTo>
                <a:lnTo>
                  <a:pt x="228" y="14"/>
                </a:lnTo>
                <a:lnTo>
                  <a:pt x="228" y="14"/>
                </a:lnTo>
                <a:lnTo>
                  <a:pt x="226" y="16"/>
                </a:lnTo>
                <a:lnTo>
                  <a:pt x="224" y="16"/>
                </a:lnTo>
                <a:lnTo>
                  <a:pt x="224" y="16"/>
                </a:lnTo>
                <a:lnTo>
                  <a:pt x="218" y="12"/>
                </a:lnTo>
                <a:lnTo>
                  <a:pt x="216" y="10"/>
                </a:lnTo>
                <a:lnTo>
                  <a:pt x="216" y="12"/>
                </a:lnTo>
                <a:lnTo>
                  <a:pt x="216" y="12"/>
                </a:lnTo>
                <a:lnTo>
                  <a:pt x="214" y="16"/>
                </a:lnTo>
                <a:lnTo>
                  <a:pt x="210" y="16"/>
                </a:lnTo>
                <a:lnTo>
                  <a:pt x="210" y="16"/>
                </a:lnTo>
                <a:lnTo>
                  <a:pt x="208" y="12"/>
                </a:lnTo>
                <a:lnTo>
                  <a:pt x="206" y="8"/>
                </a:lnTo>
                <a:lnTo>
                  <a:pt x="202" y="2"/>
                </a:lnTo>
                <a:lnTo>
                  <a:pt x="202" y="2"/>
                </a:lnTo>
                <a:lnTo>
                  <a:pt x="194" y="2"/>
                </a:lnTo>
                <a:lnTo>
                  <a:pt x="194" y="2"/>
                </a:lnTo>
                <a:lnTo>
                  <a:pt x="194" y="2"/>
                </a:lnTo>
                <a:lnTo>
                  <a:pt x="190" y="0"/>
                </a:lnTo>
                <a:lnTo>
                  <a:pt x="190" y="0"/>
                </a:lnTo>
                <a:lnTo>
                  <a:pt x="180" y="0"/>
                </a:lnTo>
                <a:lnTo>
                  <a:pt x="180" y="0"/>
                </a:lnTo>
                <a:lnTo>
                  <a:pt x="176" y="2"/>
                </a:lnTo>
                <a:lnTo>
                  <a:pt x="174" y="6"/>
                </a:lnTo>
                <a:lnTo>
                  <a:pt x="174" y="6"/>
                </a:lnTo>
                <a:lnTo>
                  <a:pt x="172" y="8"/>
                </a:lnTo>
                <a:lnTo>
                  <a:pt x="170" y="6"/>
                </a:lnTo>
                <a:lnTo>
                  <a:pt x="170" y="6"/>
                </a:lnTo>
                <a:lnTo>
                  <a:pt x="168" y="4"/>
                </a:lnTo>
                <a:lnTo>
                  <a:pt x="168" y="4"/>
                </a:lnTo>
                <a:lnTo>
                  <a:pt x="166" y="6"/>
                </a:lnTo>
                <a:lnTo>
                  <a:pt x="166" y="8"/>
                </a:lnTo>
                <a:lnTo>
                  <a:pt x="166" y="10"/>
                </a:lnTo>
                <a:lnTo>
                  <a:pt x="166" y="10"/>
                </a:lnTo>
                <a:lnTo>
                  <a:pt x="158" y="10"/>
                </a:lnTo>
                <a:lnTo>
                  <a:pt x="158" y="10"/>
                </a:lnTo>
                <a:lnTo>
                  <a:pt x="156" y="12"/>
                </a:lnTo>
                <a:lnTo>
                  <a:pt x="154" y="10"/>
                </a:lnTo>
                <a:lnTo>
                  <a:pt x="152" y="8"/>
                </a:lnTo>
                <a:lnTo>
                  <a:pt x="150" y="8"/>
                </a:lnTo>
                <a:lnTo>
                  <a:pt x="150" y="8"/>
                </a:lnTo>
                <a:lnTo>
                  <a:pt x="148" y="8"/>
                </a:lnTo>
                <a:lnTo>
                  <a:pt x="146" y="12"/>
                </a:lnTo>
                <a:lnTo>
                  <a:pt x="146" y="16"/>
                </a:lnTo>
                <a:lnTo>
                  <a:pt x="146" y="16"/>
                </a:lnTo>
                <a:lnTo>
                  <a:pt x="138" y="14"/>
                </a:lnTo>
                <a:lnTo>
                  <a:pt x="138" y="14"/>
                </a:lnTo>
                <a:lnTo>
                  <a:pt x="130" y="12"/>
                </a:lnTo>
                <a:lnTo>
                  <a:pt x="130" y="12"/>
                </a:lnTo>
                <a:lnTo>
                  <a:pt x="124" y="12"/>
                </a:lnTo>
                <a:lnTo>
                  <a:pt x="118" y="10"/>
                </a:lnTo>
                <a:lnTo>
                  <a:pt x="118" y="10"/>
                </a:lnTo>
                <a:lnTo>
                  <a:pt x="114" y="8"/>
                </a:lnTo>
                <a:lnTo>
                  <a:pt x="110" y="4"/>
                </a:lnTo>
                <a:lnTo>
                  <a:pt x="110" y="4"/>
                </a:lnTo>
                <a:lnTo>
                  <a:pt x="104" y="2"/>
                </a:lnTo>
                <a:lnTo>
                  <a:pt x="100" y="2"/>
                </a:lnTo>
                <a:lnTo>
                  <a:pt x="100" y="2"/>
                </a:lnTo>
                <a:lnTo>
                  <a:pt x="96" y="6"/>
                </a:lnTo>
                <a:lnTo>
                  <a:pt x="94" y="10"/>
                </a:lnTo>
                <a:lnTo>
                  <a:pt x="94" y="10"/>
                </a:lnTo>
                <a:lnTo>
                  <a:pt x="94" y="14"/>
                </a:lnTo>
                <a:lnTo>
                  <a:pt x="90" y="16"/>
                </a:lnTo>
                <a:lnTo>
                  <a:pt x="88" y="18"/>
                </a:lnTo>
                <a:lnTo>
                  <a:pt x="86" y="30"/>
                </a:lnTo>
                <a:lnTo>
                  <a:pt x="86" y="40"/>
                </a:lnTo>
                <a:lnTo>
                  <a:pt x="84" y="46"/>
                </a:lnTo>
                <a:lnTo>
                  <a:pt x="80" y="50"/>
                </a:lnTo>
                <a:lnTo>
                  <a:pt x="80" y="54"/>
                </a:lnTo>
                <a:lnTo>
                  <a:pt x="78" y="60"/>
                </a:lnTo>
                <a:lnTo>
                  <a:pt x="78" y="66"/>
                </a:lnTo>
                <a:lnTo>
                  <a:pt x="78" y="72"/>
                </a:lnTo>
                <a:lnTo>
                  <a:pt x="78" y="78"/>
                </a:lnTo>
                <a:lnTo>
                  <a:pt x="78" y="86"/>
                </a:lnTo>
                <a:lnTo>
                  <a:pt x="76" y="92"/>
                </a:lnTo>
                <a:lnTo>
                  <a:pt x="72" y="98"/>
                </a:lnTo>
                <a:lnTo>
                  <a:pt x="72" y="104"/>
                </a:lnTo>
                <a:lnTo>
                  <a:pt x="70" y="112"/>
                </a:lnTo>
                <a:lnTo>
                  <a:pt x="70" y="110"/>
                </a:lnTo>
                <a:lnTo>
                  <a:pt x="66" y="114"/>
                </a:lnTo>
                <a:lnTo>
                  <a:pt x="66" y="120"/>
                </a:lnTo>
                <a:lnTo>
                  <a:pt x="64" y="126"/>
                </a:lnTo>
                <a:lnTo>
                  <a:pt x="62" y="130"/>
                </a:lnTo>
                <a:lnTo>
                  <a:pt x="62" y="136"/>
                </a:lnTo>
                <a:lnTo>
                  <a:pt x="62" y="140"/>
                </a:lnTo>
                <a:lnTo>
                  <a:pt x="60" y="144"/>
                </a:lnTo>
                <a:lnTo>
                  <a:pt x="60" y="150"/>
                </a:lnTo>
                <a:lnTo>
                  <a:pt x="56" y="156"/>
                </a:lnTo>
                <a:lnTo>
                  <a:pt x="56" y="160"/>
                </a:lnTo>
                <a:lnTo>
                  <a:pt x="50" y="166"/>
                </a:lnTo>
                <a:lnTo>
                  <a:pt x="42" y="168"/>
                </a:lnTo>
                <a:lnTo>
                  <a:pt x="38" y="170"/>
                </a:lnTo>
                <a:lnTo>
                  <a:pt x="36" y="166"/>
                </a:lnTo>
                <a:lnTo>
                  <a:pt x="36" y="156"/>
                </a:lnTo>
                <a:lnTo>
                  <a:pt x="36" y="156"/>
                </a:lnTo>
                <a:lnTo>
                  <a:pt x="34" y="158"/>
                </a:lnTo>
                <a:lnTo>
                  <a:pt x="30" y="158"/>
                </a:lnTo>
                <a:lnTo>
                  <a:pt x="30" y="158"/>
                </a:lnTo>
                <a:lnTo>
                  <a:pt x="26" y="156"/>
                </a:lnTo>
                <a:lnTo>
                  <a:pt x="26" y="156"/>
                </a:lnTo>
                <a:lnTo>
                  <a:pt x="26" y="160"/>
                </a:lnTo>
                <a:lnTo>
                  <a:pt x="26" y="162"/>
                </a:lnTo>
                <a:lnTo>
                  <a:pt x="24" y="164"/>
                </a:lnTo>
                <a:lnTo>
                  <a:pt x="24" y="164"/>
                </a:lnTo>
                <a:lnTo>
                  <a:pt x="20" y="162"/>
                </a:lnTo>
                <a:lnTo>
                  <a:pt x="18" y="162"/>
                </a:lnTo>
                <a:lnTo>
                  <a:pt x="16" y="164"/>
                </a:lnTo>
                <a:lnTo>
                  <a:pt x="16" y="164"/>
                </a:lnTo>
                <a:lnTo>
                  <a:pt x="14" y="164"/>
                </a:lnTo>
                <a:lnTo>
                  <a:pt x="12" y="164"/>
                </a:lnTo>
                <a:lnTo>
                  <a:pt x="12" y="164"/>
                </a:lnTo>
                <a:lnTo>
                  <a:pt x="10" y="166"/>
                </a:lnTo>
                <a:lnTo>
                  <a:pt x="8" y="168"/>
                </a:lnTo>
                <a:lnTo>
                  <a:pt x="8" y="170"/>
                </a:lnTo>
                <a:lnTo>
                  <a:pt x="8" y="170"/>
                </a:lnTo>
                <a:lnTo>
                  <a:pt x="8" y="174"/>
                </a:lnTo>
                <a:lnTo>
                  <a:pt x="8" y="174"/>
                </a:lnTo>
                <a:lnTo>
                  <a:pt x="2"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 name="Freeform 291">
            <a:extLst>
              <a:ext uri="{FF2B5EF4-FFF2-40B4-BE49-F238E27FC236}">
                <a16:creationId xmlns:a16="http://schemas.microsoft.com/office/drawing/2014/main" id="{9CD7D6B8-CFF1-4EFA-82D6-A3B0CBEBC16E}"/>
              </a:ext>
            </a:extLst>
          </p:cNvPr>
          <p:cNvSpPr>
            <a:spLocks/>
          </p:cNvSpPr>
          <p:nvPr userDrawn="1"/>
        </p:nvSpPr>
        <p:spPr bwMode="auto">
          <a:xfrm>
            <a:off x="6270044" y="2318154"/>
            <a:ext cx="114039" cy="133847"/>
          </a:xfrm>
          <a:custGeom>
            <a:avLst/>
            <a:gdLst>
              <a:gd name="T0" fmla="*/ 68 w 68"/>
              <a:gd name="T1" fmla="*/ 28 h 78"/>
              <a:gd name="T2" fmla="*/ 62 w 68"/>
              <a:gd name="T3" fmla="*/ 26 h 78"/>
              <a:gd name="T4" fmla="*/ 60 w 68"/>
              <a:gd name="T5" fmla="*/ 22 h 78"/>
              <a:gd name="T6" fmla="*/ 64 w 68"/>
              <a:gd name="T7" fmla="*/ 20 h 78"/>
              <a:gd name="T8" fmla="*/ 66 w 68"/>
              <a:gd name="T9" fmla="*/ 20 h 78"/>
              <a:gd name="T10" fmla="*/ 64 w 68"/>
              <a:gd name="T11" fmla="*/ 18 h 78"/>
              <a:gd name="T12" fmla="*/ 56 w 68"/>
              <a:gd name="T13" fmla="*/ 14 h 78"/>
              <a:gd name="T14" fmla="*/ 56 w 68"/>
              <a:gd name="T15" fmla="*/ 16 h 78"/>
              <a:gd name="T16" fmla="*/ 52 w 68"/>
              <a:gd name="T17" fmla="*/ 20 h 78"/>
              <a:gd name="T18" fmla="*/ 50 w 68"/>
              <a:gd name="T19" fmla="*/ 18 h 78"/>
              <a:gd name="T20" fmla="*/ 46 w 68"/>
              <a:gd name="T21" fmla="*/ 14 h 78"/>
              <a:gd name="T22" fmla="*/ 42 w 68"/>
              <a:gd name="T23" fmla="*/ 14 h 78"/>
              <a:gd name="T24" fmla="*/ 44 w 68"/>
              <a:gd name="T25" fmla="*/ 10 h 78"/>
              <a:gd name="T26" fmla="*/ 40 w 68"/>
              <a:gd name="T27" fmla="*/ 4 h 78"/>
              <a:gd name="T28" fmla="*/ 36 w 68"/>
              <a:gd name="T29" fmla="*/ 0 h 78"/>
              <a:gd name="T30" fmla="*/ 30 w 68"/>
              <a:gd name="T31" fmla="*/ 0 h 78"/>
              <a:gd name="T32" fmla="*/ 20 w 68"/>
              <a:gd name="T33" fmla="*/ 4 h 78"/>
              <a:gd name="T34" fmla="*/ 18 w 68"/>
              <a:gd name="T35" fmla="*/ 6 h 78"/>
              <a:gd name="T36" fmla="*/ 14 w 68"/>
              <a:gd name="T37" fmla="*/ 8 h 78"/>
              <a:gd name="T38" fmla="*/ 12 w 68"/>
              <a:gd name="T39" fmla="*/ 12 h 78"/>
              <a:gd name="T40" fmla="*/ 12 w 68"/>
              <a:gd name="T41" fmla="*/ 14 h 78"/>
              <a:gd name="T42" fmla="*/ 14 w 68"/>
              <a:gd name="T43" fmla="*/ 18 h 78"/>
              <a:gd name="T44" fmla="*/ 12 w 68"/>
              <a:gd name="T45" fmla="*/ 22 h 78"/>
              <a:gd name="T46" fmla="*/ 12 w 68"/>
              <a:gd name="T47" fmla="*/ 26 h 78"/>
              <a:gd name="T48" fmla="*/ 16 w 68"/>
              <a:gd name="T49" fmla="*/ 30 h 78"/>
              <a:gd name="T50" fmla="*/ 16 w 68"/>
              <a:gd name="T51" fmla="*/ 32 h 78"/>
              <a:gd name="T52" fmla="*/ 10 w 68"/>
              <a:gd name="T53" fmla="*/ 34 h 78"/>
              <a:gd name="T54" fmla="*/ 12 w 68"/>
              <a:gd name="T55" fmla="*/ 36 h 78"/>
              <a:gd name="T56" fmla="*/ 16 w 68"/>
              <a:gd name="T57" fmla="*/ 38 h 78"/>
              <a:gd name="T58" fmla="*/ 16 w 68"/>
              <a:gd name="T59" fmla="*/ 40 h 78"/>
              <a:gd name="T60" fmla="*/ 10 w 68"/>
              <a:gd name="T61" fmla="*/ 44 h 78"/>
              <a:gd name="T62" fmla="*/ 8 w 68"/>
              <a:gd name="T63" fmla="*/ 48 h 78"/>
              <a:gd name="T64" fmla="*/ 2 w 68"/>
              <a:gd name="T65" fmla="*/ 50 h 78"/>
              <a:gd name="T66" fmla="*/ 0 w 68"/>
              <a:gd name="T67" fmla="*/ 54 h 78"/>
              <a:gd name="T68" fmla="*/ 0 w 68"/>
              <a:gd name="T69" fmla="*/ 58 h 78"/>
              <a:gd name="T70" fmla="*/ 2 w 68"/>
              <a:gd name="T71" fmla="*/ 66 h 78"/>
              <a:gd name="T72" fmla="*/ 4 w 68"/>
              <a:gd name="T73" fmla="*/ 66 h 78"/>
              <a:gd name="T74" fmla="*/ 10 w 68"/>
              <a:gd name="T75" fmla="*/ 72 h 78"/>
              <a:gd name="T76" fmla="*/ 12 w 68"/>
              <a:gd name="T77" fmla="*/ 66 h 78"/>
              <a:gd name="T78" fmla="*/ 22 w 68"/>
              <a:gd name="T79" fmla="*/ 68 h 78"/>
              <a:gd name="T80" fmla="*/ 30 w 68"/>
              <a:gd name="T81" fmla="*/ 70 h 78"/>
              <a:gd name="T82" fmla="*/ 32 w 68"/>
              <a:gd name="T83" fmla="*/ 78 h 78"/>
              <a:gd name="T84" fmla="*/ 42 w 68"/>
              <a:gd name="T85" fmla="*/ 70 h 78"/>
              <a:gd name="T86" fmla="*/ 46 w 68"/>
              <a:gd name="T87" fmla="*/ 68 h 78"/>
              <a:gd name="T88" fmla="*/ 54 w 68"/>
              <a:gd name="T89" fmla="*/ 68 h 78"/>
              <a:gd name="T90" fmla="*/ 62 w 68"/>
              <a:gd name="T91" fmla="*/ 64 h 78"/>
              <a:gd name="T92" fmla="*/ 62 w 68"/>
              <a:gd name="T93" fmla="*/ 64 h 78"/>
              <a:gd name="T94" fmla="*/ 64 w 68"/>
              <a:gd name="T95" fmla="*/ 60 h 78"/>
              <a:gd name="T96" fmla="*/ 68 w 68"/>
              <a:gd name="T97" fmla="*/ 52 h 78"/>
              <a:gd name="T98" fmla="*/ 68 w 68"/>
              <a:gd name="T99" fmla="*/ 52 h 78"/>
              <a:gd name="T100" fmla="*/ 60 w 68"/>
              <a:gd name="T101" fmla="*/ 48 h 78"/>
              <a:gd name="T102" fmla="*/ 58 w 68"/>
              <a:gd name="T103" fmla="*/ 44 h 78"/>
              <a:gd name="T104" fmla="*/ 60 w 68"/>
              <a:gd name="T105" fmla="*/ 40 h 78"/>
              <a:gd name="T106" fmla="*/ 64 w 68"/>
              <a:gd name="T107" fmla="*/ 36 h 78"/>
              <a:gd name="T108" fmla="*/ 68 w 68"/>
              <a:gd name="T109" fmla="*/ 32 h 78"/>
              <a:gd name="T110" fmla="*/ 68 w 68"/>
              <a:gd name="T111" fmla="*/ 2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78">
                <a:moveTo>
                  <a:pt x="68" y="28"/>
                </a:moveTo>
                <a:lnTo>
                  <a:pt x="68" y="28"/>
                </a:lnTo>
                <a:lnTo>
                  <a:pt x="66" y="28"/>
                </a:lnTo>
                <a:lnTo>
                  <a:pt x="62" y="26"/>
                </a:lnTo>
                <a:lnTo>
                  <a:pt x="62" y="26"/>
                </a:lnTo>
                <a:lnTo>
                  <a:pt x="60" y="22"/>
                </a:lnTo>
                <a:lnTo>
                  <a:pt x="60" y="20"/>
                </a:lnTo>
                <a:lnTo>
                  <a:pt x="64" y="20"/>
                </a:lnTo>
                <a:lnTo>
                  <a:pt x="64" y="20"/>
                </a:lnTo>
                <a:lnTo>
                  <a:pt x="66" y="20"/>
                </a:lnTo>
                <a:lnTo>
                  <a:pt x="64" y="18"/>
                </a:lnTo>
                <a:lnTo>
                  <a:pt x="64" y="18"/>
                </a:lnTo>
                <a:lnTo>
                  <a:pt x="60" y="14"/>
                </a:lnTo>
                <a:lnTo>
                  <a:pt x="56" y="14"/>
                </a:lnTo>
                <a:lnTo>
                  <a:pt x="56" y="16"/>
                </a:lnTo>
                <a:lnTo>
                  <a:pt x="56" y="16"/>
                </a:lnTo>
                <a:lnTo>
                  <a:pt x="54" y="18"/>
                </a:lnTo>
                <a:lnTo>
                  <a:pt x="52" y="20"/>
                </a:lnTo>
                <a:lnTo>
                  <a:pt x="50" y="18"/>
                </a:lnTo>
                <a:lnTo>
                  <a:pt x="50" y="18"/>
                </a:lnTo>
                <a:lnTo>
                  <a:pt x="48" y="14"/>
                </a:lnTo>
                <a:lnTo>
                  <a:pt x="46" y="14"/>
                </a:lnTo>
                <a:lnTo>
                  <a:pt x="46" y="14"/>
                </a:lnTo>
                <a:lnTo>
                  <a:pt x="42" y="14"/>
                </a:lnTo>
                <a:lnTo>
                  <a:pt x="44" y="10"/>
                </a:lnTo>
                <a:lnTo>
                  <a:pt x="44" y="10"/>
                </a:lnTo>
                <a:lnTo>
                  <a:pt x="42" y="6"/>
                </a:lnTo>
                <a:lnTo>
                  <a:pt x="40" y="4"/>
                </a:lnTo>
                <a:lnTo>
                  <a:pt x="36" y="0"/>
                </a:lnTo>
                <a:lnTo>
                  <a:pt x="36" y="0"/>
                </a:lnTo>
                <a:lnTo>
                  <a:pt x="30" y="0"/>
                </a:lnTo>
                <a:lnTo>
                  <a:pt x="30" y="0"/>
                </a:lnTo>
                <a:lnTo>
                  <a:pt x="24" y="0"/>
                </a:lnTo>
                <a:lnTo>
                  <a:pt x="20" y="4"/>
                </a:lnTo>
                <a:lnTo>
                  <a:pt x="20" y="4"/>
                </a:lnTo>
                <a:lnTo>
                  <a:pt x="18" y="6"/>
                </a:lnTo>
                <a:lnTo>
                  <a:pt x="14" y="8"/>
                </a:lnTo>
                <a:lnTo>
                  <a:pt x="14" y="8"/>
                </a:lnTo>
                <a:lnTo>
                  <a:pt x="12" y="10"/>
                </a:lnTo>
                <a:lnTo>
                  <a:pt x="12" y="12"/>
                </a:lnTo>
                <a:lnTo>
                  <a:pt x="12" y="14"/>
                </a:lnTo>
                <a:lnTo>
                  <a:pt x="12" y="14"/>
                </a:lnTo>
                <a:lnTo>
                  <a:pt x="14" y="16"/>
                </a:lnTo>
                <a:lnTo>
                  <a:pt x="14" y="18"/>
                </a:lnTo>
                <a:lnTo>
                  <a:pt x="12" y="22"/>
                </a:lnTo>
                <a:lnTo>
                  <a:pt x="12" y="22"/>
                </a:lnTo>
                <a:lnTo>
                  <a:pt x="12" y="26"/>
                </a:lnTo>
                <a:lnTo>
                  <a:pt x="12" y="26"/>
                </a:lnTo>
                <a:lnTo>
                  <a:pt x="14" y="30"/>
                </a:lnTo>
                <a:lnTo>
                  <a:pt x="16" y="30"/>
                </a:lnTo>
                <a:lnTo>
                  <a:pt x="16" y="32"/>
                </a:lnTo>
                <a:lnTo>
                  <a:pt x="16" y="32"/>
                </a:lnTo>
                <a:lnTo>
                  <a:pt x="14" y="34"/>
                </a:lnTo>
                <a:lnTo>
                  <a:pt x="10" y="34"/>
                </a:lnTo>
                <a:lnTo>
                  <a:pt x="10" y="34"/>
                </a:lnTo>
                <a:lnTo>
                  <a:pt x="12" y="36"/>
                </a:lnTo>
                <a:lnTo>
                  <a:pt x="14" y="38"/>
                </a:lnTo>
                <a:lnTo>
                  <a:pt x="16" y="38"/>
                </a:lnTo>
                <a:lnTo>
                  <a:pt x="16" y="40"/>
                </a:lnTo>
                <a:lnTo>
                  <a:pt x="16" y="40"/>
                </a:lnTo>
                <a:lnTo>
                  <a:pt x="14" y="42"/>
                </a:lnTo>
                <a:lnTo>
                  <a:pt x="10" y="44"/>
                </a:lnTo>
                <a:lnTo>
                  <a:pt x="10" y="44"/>
                </a:lnTo>
                <a:lnTo>
                  <a:pt x="8" y="48"/>
                </a:lnTo>
                <a:lnTo>
                  <a:pt x="8" y="48"/>
                </a:lnTo>
                <a:lnTo>
                  <a:pt x="2" y="50"/>
                </a:lnTo>
                <a:lnTo>
                  <a:pt x="2" y="50"/>
                </a:lnTo>
                <a:lnTo>
                  <a:pt x="0" y="54"/>
                </a:lnTo>
                <a:lnTo>
                  <a:pt x="0" y="58"/>
                </a:lnTo>
                <a:lnTo>
                  <a:pt x="0" y="58"/>
                </a:lnTo>
                <a:lnTo>
                  <a:pt x="0" y="62"/>
                </a:lnTo>
                <a:lnTo>
                  <a:pt x="2" y="66"/>
                </a:lnTo>
                <a:lnTo>
                  <a:pt x="2" y="66"/>
                </a:lnTo>
                <a:lnTo>
                  <a:pt x="4" y="66"/>
                </a:lnTo>
                <a:lnTo>
                  <a:pt x="4" y="66"/>
                </a:lnTo>
                <a:lnTo>
                  <a:pt x="10" y="72"/>
                </a:lnTo>
                <a:lnTo>
                  <a:pt x="10" y="72"/>
                </a:lnTo>
                <a:lnTo>
                  <a:pt x="12" y="66"/>
                </a:lnTo>
                <a:lnTo>
                  <a:pt x="20" y="62"/>
                </a:lnTo>
                <a:lnTo>
                  <a:pt x="22" y="68"/>
                </a:lnTo>
                <a:lnTo>
                  <a:pt x="24" y="64"/>
                </a:lnTo>
                <a:lnTo>
                  <a:pt x="30" y="70"/>
                </a:lnTo>
                <a:lnTo>
                  <a:pt x="32" y="78"/>
                </a:lnTo>
                <a:lnTo>
                  <a:pt x="32" y="78"/>
                </a:lnTo>
                <a:lnTo>
                  <a:pt x="38" y="72"/>
                </a:lnTo>
                <a:lnTo>
                  <a:pt x="42" y="70"/>
                </a:lnTo>
                <a:lnTo>
                  <a:pt x="44" y="74"/>
                </a:lnTo>
                <a:lnTo>
                  <a:pt x="46" y="68"/>
                </a:lnTo>
                <a:lnTo>
                  <a:pt x="50" y="68"/>
                </a:lnTo>
                <a:lnTo>
                  <a:pt x="54" y="68"/>
                </a:lnTo>
                <a:lnTo>
                  <a:pt x="60" y="66"/>
                </a:lnTo>
                <a:lnTo>
                  <a:pt x="62" y="64"/>
                </a:lnTo>
                <a:lnTo>
                  <a:pt x="62" y="64"/>
                </a:lnTo>
                <a:lnTo>
                  <a:pt x="62" y="64"/>
                </a:lnTo>
                <a:lnTo>
                  <a:pt x="64" y="60"/>
                </a:lnTo>
                <a:lnTo>
                  <a:pt x="64" y="60"/>
                </a:lnTo>
                <a:lnTo>
                  <a:pt x="68" y="54"/>
                </a:lnTo>
                <a:lnTo>
                  <a:pt x="68" y="52"/>
                </a:lnTo>
                <a:lnTo>
                  <a:pt x="68" y="52"/>
                </a:lnTo>
                <a:lnTo>
                  <a:pt x="68" y="52"/>
                </a:lnTo>
                <a:lnTo>
                  <a:pt x="62" y="50"/>
                </a:lnTo>
                <a:lnTo>
                  <a:pt x="60" y="48"/>
                </a:lnTo>
                <a:lnTo>
                  <a:pt x="60" y="48"/>
                </a:lnTo>
                <a:lnTo>
                  <a:pt x="58" y="44"/>
                </a:lnTo>
                <a:lnTo>
                  <a:pt x="60" y="40"/>
                </a:lnTo>
                <a:lnTo>
                  <a:pt x="60" y="40"/>
                </a:lnTo>
                <a:lnTo>
                  <a:pt x="60" y="38"/>
                </a:lnTo>
                <a:lnTo>
                  <a:pt x="64" y="36"/>
                </a:lnTo>
                <a:lnTo>
                  <a:pt x="64" y="36"/>
                </a:lnTo>
                <a:lnTo>
                  <a:pt x="68" y="32"/>
                </a:lnTo>
                <a:lnTo>
                  <a:pt x="68" y="28"/>
                </a:lnTo>
                <a:lnTo>
                  <a:pt x="68" y="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 name="Freeform 292">
            <a:extLst>
              <a:ext uri="{FF2B5EF4-FFF2-40B4-BE49-F238E27FC236}">
                <a16:creationId xmlns:a16="http://schemas.microsoft.com/office/drawing/2014/main" id="{C4D50D7A-DB41-41A0-84AB-DB8D9876182B}"/>
              </a:ext>
            </a:extLst>
          </p:cNvPr>
          <p:cNvSpPr>
            <a:spLocks/>
          </p:cNvSpPr>
          <p:nvPr userDrawn="1"/>
        </p:nvSpPr>
        <p:spPr bwMode="auto">
          <a:xfrm>
            <a:off x="6813403" y="3145260"/>
            <a:ext cx="244848" cy="181894"/>
          </a:xfrm>
          <a:custGeom>
            <a:avLst/>
            <a:gdLst>
              <a:gd name="T0" fmla="*/ 0 w 146"/>
              <a:gd name="T1" fmla="*/ 34 h 106"/>
              <a:gd name="T2" fmla="*/ 4 w 146"/>
              <a:gd name="T3" fmla="*/ 30 h 106"/>
              <a:gd name="T4" fmla="*/ 4 w 146"/>
              <a:gd name="T5" fmla="*/ 30 h 106"/>
              <a:gd name="T6" fmla="*/ 6 w 146"/>
              <a:gd name="T7" fmla="*/ 28 h 106"/>
              <a:gd name="T8" fmla="*/ 6 w 146"/>
              <a:gd name="T9" fmla="*/ 26 h 106"/>
              <a:gd name="T10" fmla="*/ 8 w 146"/>
              <a:gd name="T11" fmla="*/ 22 h 106"/>
              <a:gd name="T12" fmla="*/ 10 w 146"/>
              <a:gd name="T13" fmla="*/ 20 h 106"/>
              <a:gd name="T14" fmla="*/ 12 w 146"/>
              <a:gd name="T15" fmla="*/ 20 h 106"/>
              <a:gd name="T16" fmla="*/ 16 w 146"/>
              <a:gd name="T17" fmla="*/ 20 h 106"/>
              <a:gd name="T18" fmla="*/ 16 w 146"/>
              <a:gd name="T19" fmla="*/ 24 h 106"/>
              <a:gd name="T20" fmla="*/ 20 w 146"/>
              <a:gd name="T21" fmla="*/ 24 h 106"/>
              <a:gd name="T22" fmla="*/ 24 w 146"/>
              <a:gd name="T23" fmla="*/ 24 h 106"/>
              <a:gd name="T24" fmla="*/ 48 w 146"/>
              <a:gd name="T25" fmla="*/ 30 h 106"/>
              <a:gd name="T26" fmla="*/ 50 w 146"/>
              <a:gd name="T27" fmla="*/ 48 h 106"/>
              <a:gd name="T28" fmla="*/ 76 w 146"/>
              <a:gd name="T29" fmla="*/ 16 h 106"/>
              <a:gd name="T30" fmla="*/ 122 w 146"/>
              <a:gd name="T31" fmla="*/ 4 h 106"/>
              <a:gd name="T32" fmla="*/ 146 w 146"/>
              <a:gd name="T33" fmla="*/ 36 h 106"/>
              <a:gd name="T34" fmla="*/ 142 w 146"/>
              <a:gd name="T35" fmla="*/ 36 h 106"/>
              <a:gd name="T36" fmla="*/ 140 w 146"/>
              <a:gd name="T37" fmla="*/ 40 h 106"/>
              <a:gd name="T38" fmla="*/ 136 w 146"/>
              <a:gd name="T39" fmla="*/ 40 h 106"/>
              <a:gd name="T40" fmla="*/ 134 w 146"/>
              <a:gd name="T41" fmla="*/ 40 h 106"/>
              <a:gd name="T42" fmla="*/ 128 w 146"/>
              <a:gd name="T43" fmla="*/ 46 h 106"/>
              <a:gd name="T44" fmla="*/ 130 w 146"/>
              <a:gd name="T45" fmla="*/ 52 h 106"/>
              <a:gd name="T46" fmla="*/ 126 w 146"/>
              <a:gd name="T47" fmla="*/ 54 h 106"/>
              <a:gd name="T48" fmla="*/ 120 w 146"/>
              <a:gd name="T49" fmla="*/ 62 h 106"/>
              <a:gd name="T50" fmla="*/ 102 w 146"/>
              <a:gd name="T51" fmla="*/ 70 h 106"/>
              <a:gd name="T52" fmla="*/ 96 w 146"/>
              <a:gd name="T53" fmla="*/ 74 h 106"/>
              <a:gd name="T54" fmla="*/ 90 w 146"/>
              <a:gd name="T55" fmla="*/ 74 h 106"/>
              <a:gd name="T56" fmla="*/ 80 w 146"/>
              <a:gd name="T57" fmla="*/ 82 h 106"/>
              <a:gd name="T58" fmla="*/ 80 w 146"/>
              <a:gd name="T59" fmla="*/ 84 h 106"/>
              <a:gd name="T60" fmla="*/ 74 w 146"/>
              <a:gd name="T61" fmla="*/ 84 h 106"/>
              <a:gd name="T62" fmla="*/ 70 w 146"/>
              <a:gd name="T63" fmla="*/ 84 h 106"/>
              <a:gd name="T64" fmla="*/ 68 w 146"/>
              <a:gd name="T65" fmla="*/ 88 h 106"/>
              <a:gd name="T66" fmla="*/ 62 w 146"/>
              <a:gd name="T67" fmla="*/ 92 h 106"/>
              <a:gd name="T68" fmla="*/ 56 w 146"/>
              <a:gd name="T69" fmla="*/ 94 h 106"/>
              <a:gd name="T70" fmla="*/ 42 w 146"/>
              <a:gd name="T71" fmla="*/ 94 h 106"/>
              <a:gd name="T72" fmla="*/ 38 w 146"/>
              <a:gd name="T73" fmla="*/ 96 h 106"/>
              <a:gd name="T74" fmla="*/ 34 w 146"/>
              <a:gd name="T75" fmla="*/ 102 h 106"/>
              <a:gd name="T76" fmla="*/ 30 w 146"/>
              <a:gd name="T77" fmla="*/ 104 h 106"/>
              <a:gd name="T78" fmla="*/ 26 w 146"/>
              <a:gd name="T79" fmla="*/ 104 h 106"/>
              <a:gd name="T80" fmla="*/ 24 w 146"/>
              <a:gd name="T81" fmla="*/ 106 h 106"/>
              <a:gd name="T82" fmla="*/ 10 w 146"/>
              <a:gd name="T83" fmla="*/ 102 h 106"/>
              <a:gd name="T84" fmla="*/ 8 w 146"/>
              <a:gd name="T85" fmla="*/ 98 h 106"/>
              <a:gd name="T86" fmla="*/ 8 w 146"/>
              <a:gd name="T87" fmla="*/ 92 h 106"/>
              <a:gd name="T88" fmla="*/ 8 w 146"/>
              <a:gd name="T89" fmla="*/ 86 h 106"/>
              <a:gd name="T90" fmla="*/ 4 w 146"/>
              <a:gd name="T91" fmla="*/ 82 h 106"/>
              <a:gd name="T92" fmla="*/ 4 w 146"/>
              <a:gd name="T93" fmla="*/ 78 h 106"/>
              <a:gd name="T94" fmla="*/ 0 w 146"/>
              <a:gd name="T95" fmla="*/ 66 h 106"/>
              <a:gd name="T96" fmla="*/ 0 w 146"/>
              <a:gd name="T97" fmla="*/ 64 h 106"/>
              <a:gd name="T98" fmla="*/ 2 w 146"/>
              <a:gd name="T99" fmla="*/ 64 h 106"/>
              <a:gd name="T100" fmla="*/ 2 w 146"/>
              <a:gd name="T101" fmla="*/ 54 h 106"/>
              <a:gd name="T102" fmla="*/ 0 w 146"/>
              <a:gd name="T103" fmla="*/ 54 h 106"/>
              <a:gd name="T104" fmla="*/ 2 w 146"/>
              <a:gd name="T105" fmla="*/ 40 h 106"/>
              <a:gd name="T106" fmla="*/ 0 w 146"/>
              <a:gd name="T107" fmla="*/ 3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6" h="106">
                <a:moveTo>
                  <a:pt x="0" y="34"/>
                </a:moveTo>
                <a:lnTo>
                  <a:pt x="0" y="34"/>
                </a:lnTo>
                <a:lnTo>
                  <a:pt x="2" y="34"/>
                </a:lnTo>
                <a:lnTo>
                  <a:pt x="4" y="30"/>
                </a:lnTo>
                <a:lnTo>
                  <a:pt x="4" y="30"/>
                </a:lnTo>
                <a:lnTo>
                  <a:pt x="4" y="30"/>
                </a:lnTo>
                <a:lnTo>
                  <a:pt x="6" y="28"/>
                </a:lnTo>
                <a:lnTo>
                  <a:pt x="6" y="28"/>
                </a:lnTo>
                <a:lnTo>
                  <a:pt x="6" y="26"/>
                </a:lnTo>
                <a:lnTo>
                  <a:pt x="6" y="26"/>
                </a:lnTo>
                <a:lnTo>
                  <a:pt x="8" y="24"/>
                </a:lnTo>
                <a:lnTo>
                  <a:pt x="8" y="22"/>
                </a:lnTo>
                <a:lnTo>
                  <a:pt x="8" y="22"/>
                </a:lnTo>
                <a:lnTo>
                  <a:pt x="10" y="20"/>
                </a:lnTo>
                <a:lnTo>
                  <a:pt x="12" y="20"/>
                </a:lnTo>
                <a:lnTo>
                  <a:pt x="12" y="20"/>
                </a:lnTo>
                <a:lnTo>
                  <a:pt x="14" y="20"/>
                </a:lnTo>
                <a:lnTo>
                  <a:pt x="16" y="20"/>
                </a:lnTo>
                <a:lnTo>
                  <a:pt x="16" y="22"/>
                </a:lnTo>
                <a:lnTo>
                  <a:pt x="16" y="24"/>
                </a:lnTo>
                <a:lnTo>
                  <a:pt x="16" y="24"/>
                </a:lnTo>
                <a:lnTo>
                  <a:pt x="20" y="24"/>
                </a:lnTo>
                <a:lnTo>
                  <a:pt x="24" y="24"/>
                </a:lnTo>
                <a:lnTo>
                  <a:pt x="24" y="24"/>
                </a:lnTo>
                <a:lnTo>
                  <a:pt x="38" y="26"/>
                </a:lnTo>
                <a:lnTo>
                  <a:pt x="48" y="30"/>
                </a:lnTo>
                <a:lnTo>
                  <a:pt x="50" y="48"/>
                </a:lnTo>
                <a:lnTo>
                  <a:pt x="50" y="48"/>
                </a:lnTo>
                <a:lnTo>
                  <a:pt x="58" y="38"/>
                </a:lnTo>
                <a:lnTo>
                  <a:pt x="76" y="16"/>
                </a:lnTo>
                <a:lnTo>
                  <a:pt x="122" y="0"/>
                </a:lnTo>
                <a:lnTo>
                  <a:pt x="122" y="4"/>
                </a:lnTo>
                <a:lnTo>
                  <a:pt x="138" y="32"/>
                </a:lnTo>
                <a:lnTo>
                  <a:pt x="146" y="36"/>
                </a:lnTo>
                <a:lnTo>
                  <a:pt x="146" y="36"/>
                </a:lnTo>
                <a:lnTo>
                  <a:pt x="142" y="36"/>
                </a:lnTo>
                <a:lnTo>
                  <a:pt x="142" y="36"/>
                </a:lnTo>
                <a:lnTo>
                  <a:pt x="140" y="40"/>
                </a:lnTo>
                <a:lnTo>
                  <a:pt x="140" y="40"/>
                </a:lnTo>
                <a:lnTo>
                  <a:pt x="136" y="40"/>
                </a:lnTo>
                <a:lnTo>
                  <a:pt x="134" y="40"/>
                </a:lnTo>
                <a:lnTo>
                  <a:pt x="134" y="40"/>
                </a:lnTo>
                <a:lnTo>
                  <a:pt x="130" y="44"/>
                </a:lnTo>
                <a:lnTo>
                  <a:pt x="128" y="46"/>
                </a:lnTo>
                <a:lnTo>
                  <a:pt x="130" y="52"/>
                </a:lnTo>
                <a:lnTo>
                  <a:pt x="130" y="52"/>
                </a:lnTo>
                <a:lnTo>
                  <a:pt x="126" y="54"/>
                </a:lnTo>
                <a:lnTo>
                  <a:pt x="126" y="54"/>
                </a:lnTo>
                <a:lnTo>
                  <a:pt x="120" y="62"/>
                </a:lnTo>
                <a:lnTo>
                  <a:pt x="120" y="62"/>
                </a:lnTo>
                <a:lnTo>
                  <a:pt x="110" y="66"/>
                </a:lnTo>
                <a:lnTo>
                  <a:pt x="102" y="70"/>
                </a:lnTo>
                <a:lnTo>
                  <a:pt x="102" y="70"/>
                </a:lnTo>
                <a:lnTo>
                  <a:pt x="96" y="74"/>
                </a:lnTo>
                <a:lnTo>
                  <a:pt x="96" y="74"/>
                </a:lnTo>
                <a:lnTo>
                  <a:pt x="90" y="74"/>
                </a:lnTo>
                <a:lnTo>
                  <a:pt x="90" y="74"/>
                </a:lnTo>
                <a:lnTo>
                  <a:pt x="80" y="82"/>
                </a:lnTo>
                <a:lnTo>
                  <a:pt x="80" y="84"/>
                </a:lnTo>
                <a:lnTo>
                  <a:pt x="80" y="84"/>
                </a:lnTo>
                <a:lnTo>
                  <a:pt x="78" y="84"/>
                </a:lnTo>
                <a:lnTo>
                  <a:pt x="74" y="84"/>
                </a:lnTo>
                <a:lnTo>
                  <a:pt x="72" y="84"/>
                </a:lnTo>
                <a:lnTo>
                  <a:pt x="70" y="84"/>
                </a:lnTo>
                <a:lnTo>
                  <a:pt x="70" y="84"/>
                </a:lnTo>
                <a:lnTo>
                  <a:pt x="68" y="88"/>
                </a:lnTo>
                <a:lnTo>
                  <a:pt x="68" y="88"/>
                </a:lnTo>
                <a:lnTo>
                  <a:pt x="62" y="92"/>
                </a:lnTo>
                <a:lnTo>
                  <a:pt x="56" y="94"/>
                </a:lnTo>
                <a:lnTo>
                  <a:pt x="56" y="94"/>
                </a:lnTo>
                <a:lnTo>
                  <a:pt x="48" y="94"/>
                </a:lnTo>
                <a:lnTo>
                  <a:pt x="42" y="94"/>
                </a:lnTo>
                <a:lnTo>
                  <a:pt x="38" y="96"/>
                </a:lnTo>
                <a:lnTo>
                  <a:pt x="38" y="96"/>
                </a:lnTo>
                <a:lnTo>
                  <a:pt x="36" y="100"/>
                </a:lnTo>
                <a:lnTo>
                  <a:pt x="34" y="102"/>
                </a:lnTo>
                <a:lnTo>
                  <a:pt x="34" y="102"/>
                </a:lnTo>
                <a:lnTo>
                  <a:pt x="30" y="104"/>
                </a:lnTo>
                <a:lnTo>
                  <a:pt x="26" y="104"/>
                </a:lnTo>
                <a:lnTo>
                  <a:pt x="26" y="104"/>
                </a:lnTo>
                <a:lnTo>
                  <a:pt x="24" y="106"/>
                </a:lnTo>
                <a:lnTo>
                  <a:pt x="24" y="106"/>
                </a:lnTo>
                <a:lnTo>
                  <a:pt x="18" y="104"/>
                </a:lnTo>
                <a:lnTo>
                  <a:pt x="10" y="102"/>
                </a:lnTo>
                <a:lnTo>
                  <a:pt x="10" y="102"/>
                </a:lnTo>
                <a:lnTo>
                  <a:pt x="8" y="98"/>
                </a:lnTo>
                <a:lnTo>
                  <a:pt x="8" y="92"/>
                </a:lnTo>
                <a:lnTo>
                  <a:pt x="8" y="92"/>
                </a:lnTo>
                <a:lnTo>
                  <a:pt x="8" y="90"/>
                </a:lnTo>
                <a:lnTo>
                  <a:pt x="8" y="86"/>
                </a:lnTo>
                <a:lnTo>
                  <a:pt x="8" y="86"/>
                </a:lnTo>
                <a:lnTo>
                  <a:pt x="4" y="82"/>
                </a:lnTo>
                <a:lnTo>
                  <a:pt x="4" y="82"/>
                </a:lnTo>
                <a:lnTo>
                  <a:pt x="4" y="78"/>
                </a:lnTo>
                <a:lnTo>
                  <a:pt x="4" y="74"/>
                </a:lnTo>
                <a:lnTo>
                  <a:pt x="0" y="66"/>
                </a:lnTo>
                <a:lnTo>
                  <a:pt x="0" y="66"/>
                </a:lnTo>
                <a:lnTo>
                  <a:pt x="0" y="64"/>
                </a:lnTo>
                <a:lnTo>
                  <a:pt x="2" y="64"/>
                </a:lnTo>
                <a:lnTo>
                  <a:pt x="2" y="64"/>
                </a:lnTo>
                <a:lnTo>
                  <a:pt x="2" y="60"/>
                </a:lnTo>
                <a:lnTo>
                  <a:pt x="2" y="54"/>
                </a:lnTo>
                <a:lnTo>
                  <a:pt x="0" y="54"/>
                </a:lnTo>
                <a:lnTo>
                  <a:pt x="0" y="54"/>
                </a:lnTo>
                <a:lnTo>
                  <a:pt x="2" y="46"/>
                </a:lnTo>
                <a:lnTo>
                  <a:pt x="2" y="40"/>
                </a:lnTo>
                <a:lnTo>
                  <a:pt x="2" y="36"/>
                </a:lnTo>
                <a:lnTo>
                  <a:pt x="0"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 name="Freeform 293">
            <a:extLst>
              <a:ext uri="{FF2B5EF4-FFF2-40B4-BE49-F238E27FC236}">
                <a16:creationId xmlns:a16="http://schemas.microsoft.com/office/drawing/2014/main" id="{9A5967FC-EC94-4042-B198-CAB27DF2C94C}"/>
              </a:ext>
            </a:extLst>
          </p:cNvPr>
          <p:cNvSpPr>
            <a:spLocks/>
          </p:cNvSpPr>
          <p:nvPr userDrawn="1"/>
        </p:nvSpPr>
        <p:spPr bwMode="auto">
          <a:xfrm>
            <a:off x="5470097" y="2884430"/>
            <a:ext cx="201244" cy="195623"/>
          </a:xfrm>
          <a:custGeom>
            <a:avLst/>
            <a:gdLst>
              <a:gd name="T0" fmla="*/ 0 w 120"/>
              <a:gd name="T1" fmla="*/ 114 h 114"/>
              <a:gd name="T2" fmla="*/ 4 w 120"/>
              <a:gd name="T3" fmla="*/ 110 h 114"/>
              <a:gd name="T4" fmla="*/ 54 w 120"/>
              <a:gd name="T5" fmla="*/ 108 h 114"/>
              <a:gd name="T6" fmla="*/ 54 w 120"/>
              <a:gd name="T7" fmla="*/ 82 h 114"/>
              <a:gd name="T8" fmla="*/ 56 w 120"/>
              <a:gd name="T9" fmla="*/ 76 h 114"/>
              <a:gd name="T10" fmla="*/ 70 w 120"/>
              <a:gd name="T11" fmla="*/ 72 h 114"/>
              <a:gd name="T12" fmla="*/ 120 w 120"/>
              <a:gd name="T13" fmla="*/ 36 h 114"/>
              <a:gd name="T14" fmla="*/ 120 w 120"/>
              <a:gd name="T15" fmla="*/ 0 h 114"/>
              <a:gd name="T16" fmla="*/ 62 w 120"/>
              <a:gd name="T17" fmla="*/ 2 h 114"/>
              <a:gd name="T18" fmla="*/ 60 w 120"/>
              <a:gd name="T19" fmla="*/ 6 h 114"/>
              <a:gd name="T20" fmla="*/ 52 w 120"/>
              <a:gd name="T21" fmla="*/ 6 h 114"/>
              <a:gd name="T22" fmla="*/ 52 w 120"/>
              <a:gd name="T23" fmla="*/ 8 h 114"/>
              <a:gd name="T24" fmla="*/ 50 w 120"/>
              <a:gd name="T25" fmla="*/ 10 h 114"/>
              <a:gd name="T26" fmla="*/ 48 w 120"/>
              <a:gd name="T27" fmla="*/ 16 h 114"/>
              <a:gd name="T28" fmla="*/ 46 w 120"/>
              <a:gd name="T29" fmla="*/ 18 h 114"/>
              <a:gd name="T30" fmla="*/ 46 w 120"/>
              <a:gd name="T31" fmla="*/ 20 h 114"/>
              <a:gd name="T32" fmla="*/ 44 w 120"/>
              <a:gd name="T33" fmla="*/ 22 h 114"/>
              <a:gd name="T34" fmla="*/ 44 w 120"/>
              <a:gd name="T35" fmla="*/ 22 h 114"/>
              <a:gd name="T36" fmla="*/ 34 w 120"/>
              <a:gd name="T37" fmla="*/ 34 h 114"/>
              <a:gd name="T38" fmla="*/ 32 w 120"/>
              <a:gd name="T39" fmla="*/ 44 h 114"/>
              <a:gd name="T40" fmla="*/ 28 w 120"/>
              <a:gd name="T41" fmla="*/ 48 h 114"/>
              <a:gd name="T42" fmla="*/ 26 w 120"/>
              <a:gd name="T43" fmla="*/ 56 h 114"/>
              <a:gd name="T44" fmla="*/ 22 w 120"/>
              <a:gd name="T45" fmla="*/ 64 h 114"/>
              <a:gd name="T46" fmla="*/ 18 w 120"/>
              <a:gd name="T47" fmla="*/ 68 h 114"/>
              <a:gd name="T48" fmla="*/ 18 w 120"/>
              <a:gd name="T49" fmla="*/ 70 h 114"/>
              <a:gd name="T50" fmla="*/ 18 w 120"/>
              <a:gd name="T51" fmla="*/ 72 h 114"/>
              <a:gd name="T52" fmla="*/ 14 w 120"/>
              <a:gd name="T53" fmla="*/ 76 h 114"/>
              <a:gd name="T54" fmla="*/ 14 w 120"/>
              <a:gd name="T55" fmla="*/ 80 h 114"/>
              <a:gd name="T56" fmla="*/ 12 w 120"/>
              <a:gd name="T57" fmla="*/ 82 h 114"/>
              <a:gd name="T58" fmla="*/ 12 w 120"/>
              <a:gd name="T59" fmla="*/ 86 h 114"/>
              <a:gd name="T60" fmla="*/ 10 w 120"/>
              <a:gd name="T61" fmla="*/ 88 h 114"/>
              <a:gd name="T62" fmla="*/ 8 w 120"/>
              <a:gd name="T63" fmla="*/ 92 h 114"/>
              <a:gd name="T64" fmla="*/ 6 w 120"/>
              <a:gd name="T65" fmla="*/ 96 h 114"/>
              <a:gd name="T66" fmla="*/ 0 w 120"/>
              <a:gd name="T67" fmla="*/ 100 h 114"/>
              <a:gd name="T68" fmla="*/ 0 w 120"/>
              <a:gd name="T69" fmla="*/ 102 h 114"/>
              <a:gd name="T70" fmla="*/ 0 w 120"/>
              <a:gd name="T71" fmla="*/ 108 h 114"/>
              <a:gd name="T72" fmla="*/ 0 w 120"/>
              <a:gd name="T7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14">
                <a:moveTo>
                  <a:pt x="0" y="114"/>
                </a:moveTo>
                <a:lnTo>
                  <a:pt x="0" y="114"/>
                </a:lnTo>
                <a:lnTo>
                  <a:pt x="4" y="110"/>
                </a:lnTo>
                <a:lnTo>
                  <a:pt x="4" y="110"/>
                </a:lnTo>
                <a:lnTo>
                  <a:pt x="54" y="108"/>
                </a:lnTo>
                <a:lnTo>
                  <a:pt x="54" y="108"/>
                </a:lnTo>
                <a:lnTo>
                  <a:pt x="54" y="82"/>
                </a:lnTo>
                <a:lnTo>
                  <a:pt x="54" y="82"/>
                </a:lnTo>
                <a:lnTo>
                  <a:pt x="54" y="78"/>
                </a:lnTo>
                <a:lnTo>
                  <a:pt x="56" y="76"/>
                </a:lnTo>
                <a:lnTo>
                  <a:pt x="62" y="74"/>
                </a:lnTo>
                <a:lnTo>
                  <a:pt x="70" y="72"/>
                </a:lnTo>
                <a:lnTo>
                  <a:pt x="70" y="36"/>
                </a:lnTo>
                <a:lnTo>
                  <a:pt x="120" y="36"/>
                </a:lnTo>
                <a:lnTo>
                  <a:pt x="120" y="12"/>
                </a:lnTo>
                <a:lnTo>
                  <a:pt x="120" y="0"/>
                </a:lnTo>
                <a:lnTo>
                  <a:pt x="62" y="2"/>
                </a:lnTo>
                <a:lnTo>
                  <a:pt x="62" y="2"/>
                </a:lnTo>
                <a:lnTo>
                  <a:pt x="60" y="6"/>
                </a:lnTo>
                <a:lnTo>
                  <a:pt x="60" y="6"/>
                </a:lnTo>
                <a:lnTo>
                  <a:pt x="52" y="6"/>
                </a:lnTo>
                <a:lnTo>
                  <a:pt x="52" y="6"/>
                </a:lnTo>
                <a:lnTo>
                  <a:pt x="52" y="8"/>
                </a:lnTo>
                <a:lnTo>
                  <a:pt x="52" y="8"/>
                </a:lnTo>
                <a:lnTo>
                  <a:pt x="50" y="10"/>
                </a:lnTo>
                <a:lnTo>
                  <a:pt x="50" y="10"/>
                </a:lnTo>
                <a:lnTo>
                  <a:pt x="48" y="14"/>
                </a:lnTo>
                <a:lnTo>
                  <a:pt x="48" y="16"/>
                </a:lnTo>
                <a:lnTo>
                  <a:pt x="48" y="16"/>
                </a:lnTo>
                <a:lnTo>
                  <a:pt x="46" y="18"/>
                </a:lnTo>
                <a:lnTo>
                  <a:pt x="46" y="18"/>
                </a:lnTo>
                <a:lnTo>
                  <a:pt x="46" y="20"/>
                </a:lnTo>
                <a:lnTo>
                  <a:pt x="46" y="20"/>
                </a:lnTo>
                <a:lnTo>
                  <a:pt x="44" y="22"/>
                </a:lnTo>
                <a:lnTo>
                  <a:pt x="44" y="22"/>
                </a:lnTo>
                <a:lnTo>
                  <a:pt x="44" y="22"/>
                </a:lnTo>
                <a:lnTo>
                  <a:pt x="34" y="34"/>
                </a:lnTo>
                <a:lnTo>
                  <a:pt x="34" y="34"/>
                </a:lnTo>
                <a:lnTo>
                  <a:pt x="34" y="40"/>
                </a:lnTo>
                <a:lnTo>
                  <a:pt x="32" y="44"/>
                </a:lnTo>
                <a:lnTo>
                  <a:pt x="32" y="44"/>
                </a:lnTo>
                <a:lnTo>
                  <a:pt x="28" y="48"/>
                </a:lnTo>
                <a:lnTo>
                  <a:pt x="28" y="48"/>
                </a:lnTo>
                <a:lnTo>
                  <a:pt x="26" y="56"/>
                </a:lnTo>
                <a:lnTo>
                  <a:pt x="22" y="64"/>
                </a:lnTo>
                <a:lnTo>
                  <a:pt x="22" y="64"/>
                </a:lnTo>
                <a:lnTo>
                  <a:pt x="20" y="66"/>
                </a:lnTo>
                <a:lnTo>
                  <a:pt x="18" y="68"/>
                </a:lnTo>
                <a:lnTo>
                  <a:pt x="18" y="68"/>
                </a:lnTo>
                <a:lnTo>
                  <a:pt x="18" y="70"/>
                </a:lnTo>
                <a:lnTo>
                  <a:pt x="18" y="72"/>
                </a:lnTo>
                <a:lnTo>
                  <a:pt x="18" y="72"/>
                </a:lnTo>
                <a:lnTo>
                  <a:pt x="14" y="76"/>
                </a:lnTo>
                <a:lnTo>
                  <a:pt x="14" y="76"/>
                </a:lnTo>
                <a:lnTo>
                  <a:pt x="14" y="80"/>
                </a:lnTo>
                <a:lnTo>
                  <a:pt x="14" y="80"/>
                </a:lnTo>
                <a:lnTo>
                  <a:pt x="12" y="82"/>
                </a:lnTo>
                <a:lnTo>
                  <a:pt x="12" y="82"/>
                </a:lnTo>
                <a:lnTo>
                  <a:pt x="12" y="86"/>
                </a:lnTo>
                <a:lnTo>
                  <a:pt x="12" y="86"/>
                </a:lnTo>
                <a:lnTo>
                  <a:pt x="10" y="88"/>
                </a:lnTo>
                <a:lnTo>
                  <a:pt x="10" y="88"/>
                </a:lnTo>
                <a:lnTo>
                  <a:pt x="8" y="90"/>
                </a:lnTo>
                <a:lnTo>
                  <a:pt x="8" y="92"/>
                </a:lnTo>
                <a:lnTo>
                  <a:pt x="8" y="92"/>
                </a:lnTo>
                <a:lnTo>
                  <a:pt x="6" y="96"/>
                </a:lnTo>
                <a:lnTo>
                  <a:pt x="0" y="100"/>
                </a:lnTo>
                <a:lnTo>
                  <a:pt x="0" y="100"/>
                </a:lnTo>
                <a:lnTo>
                  <a:pt x="0" y="102"/>
                </a:lnTo>
                <a:lnTo>
                  <a:pt x="0" y="102"/>
                </a:lnTo>
                <a:lnTo>
                  <a:pt x="2" y="106"/>
                </a:lnTo>
                <a:lnTo>
                  <a:pt x="0" y="108"/>
                </a:lnTo>
                <a:lnTo>
                  <a:pt x="0" y="108"/>
                </a:lnTo>
                <a:lnTo>
                  <a:pt x="0" y="114"/>
                </a:lnTo>
                <a:lnTo>
                  <a:pt x="0" y="1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 name="Freeform 294">
            <a:extLst>
              <a:ext uri="{FF2B5EF4-FFF2-40B4-BE49-F238E27FC236}">
                <a16:creationId xmlns:a16="http://schemas.microsoft.com/office/drawing/2014/main" id="{10B74BB7-17DE-48FD-B701-D7492B21A46F}"/>
              </a:ext>
            </a:extLst>
          </p:cNvPr>
          <p:cNvSpPr>
            <a:spLocks/>
          </p:cNvSpPr>
          <p:nvPr userDrawn="1"/>
        </p:nvSpPr>
        <p:spPr bwMode="auto">
          <a:xfrm>
            <a:off x="8151678" y="3028573"/>
            <a:ext cx="160996" cy="422133"/>
          </a:xfrm>
          <a:custGeom>
            <a:avLst/>
            <a:gdLst>
              <a:gd name="T0" fmla="*/ 66 w 96"/>
              <a:gd name="T1" fmla="*/ 26 h 246"/>
              <a:gd name="T2" fmla="*/ 52 w 96"/>
              <a:gd name="T3" fmla="*/ 14 h 246"/>
              <a:gd name="T4" fmla="*/ 44 w 96"/>
              <a:gd name="T5" fmla="*/ 2 h 246"/>
              <a:gd name="T6" fmla="*/ 22 w 96"/>
              <a:gd name="T7" fmla="*/ 6 h 246"/>
              <a:gd name="T8" fmla="*/ 0 w 96"/>
              <a:gd name="T9" fmla="*/ 10 h 246"/>
              <a:gd name="T10" fmla="*/ 8 w 96"/>
              <a:gd name="T11" fmla="*/ 30 h 246"/>
              <a:gd name="T12" fmla="*/ 20 w 96"/>
              <a:gd name="T13" fmla="*/ 38 h 246"/>
              <a:gd name="T14" fmla="*/ 36 w 96"/>
              <a:gd name="T15" fmla="*/ 40 h 246"/>
              <a:gd name="T16" fmla="*/ 26 w 96"/>
              <a:gd name="T17" fmla="*/ 54 h 246"/>
              <a:gd name="T18" fmla="*/ 30 w 96"/>
              <a:gd name="T19" fmla="*/ 68 h 246"/>
              <a:gd name="T20" fmla="*/ 42 w 96"/>
              <a:gd name="T21" fmla="*/ 90 h 246"/>
              <a:gd name="T22" fmla="*/ 54 w 96"/>
              <a:gd name="T23" fmla="*/ 104 h 246"/>
              <a:gd name="T24" fmla="*/ 64 w 96"/>
              <a:gd name="T25" fmla="*/ 120 h 246"/>
              <a:gd name="T26" fmla="*/ 66 w 96"/>
              <a:gd name="T27" fmla="*/ 140 h 246"/>
              <a:gd name="T28" fmla="*/ 70 w 96"/>
              <a:gd name="T29" fmla="*/ 162 h 246"/>
              <a:gd name="T30" fmla="*/ 68 w 96"/>
              <a:gd name="T31" fmla="*/ 184 h 246"/>
              <a:gd name="T32" fmla="*/ 56 w 96"/>
              <a:gd name="T33" fmla="*/ 196 h 246"/>
              <a:gd name="T34" fmla="*/ 46 w 96"/>
              <a:gd name="T35" fmla="*/ 202 h 246"/>
              <a:gd name="T36" fmla="*/ 32 w 96"/>
              <a:gd name="T37" fmla="*/ 208 h 246"/>
              <a:gd name="T38" fmla="*/ 28 w 96"/>
              <a:gd name="T39" fmla="*/ 218 h 246"/>
              <a:gd name="T40" fmla="*/ 30 w 96"/>
              <a:gd name="T41" fmla="*/ 236 h 246"/>
              <a:gd name="T42" fmla="*/ 34 w 96"/>
              <a:gd name="T43" fmla="*/ 242 h 246"/>
              <a:gd name="T44" fmla="*/ 32 w 96"/>
              <a:gd name="T45" fmla="*/ 246 h 246"/>
              <a:gd name="T46" fmla="*/ 36 w 96"/>
              <a:gd name="T47" fmla="*/ 246 h 246"/>
              <a:gd name="T48" fmla="*/ 40 w 96"/>
              <a:gd name="T49" fmla="*/ 238 h 246"/>
              <a:gd name="T50" fmla="*/ 44 w 96"/>
              <a:gd name="T51" fmla="*/ 228 h 246"/>
              <a:gd name="T52" fmla="*/ 42 w 96"/>
              <a:gd name="T53" fmla="*/ 222 h 246"/>
              <a:gd name="T54" fmla="*/ 48 w 96"/>
              <a:gd name="T55" fmla="*/ 230 h 246"/>
              <a:gd name="T56" fmla="*/ 52 w 96"/>
              <a:gd name="T57" fmla="*/ 228 h 246"/>
              <a:gd name="T58" fmla="*/ 54 w 96"/>
              <a:gd name="T59" fmla="*/ 226 h 246"/>
              <a:gd name="T60" fmla="*/ 46 w 96"/>
              <a:gd name="T61" fmla="*/ 220 h 246"/>
              <a:gd name="T62" fmla="*/ 42 w 96"/>
              <a:gd name="T63" fmla="*/ 216 h 246"/>
              <a:gd name="T64" fmla="*/ 58 w 96"/>
              <a:gd name="T65" fmla="*/ 218 h 246"/>
              <a:gd name="T66" fmla="*/ 62 w 96"/>
              <a:gd name="T67" fmla="*/ 218 h 246"/>
              <a:gd name="T68" fmla="*/ 62 w 96"/>
              <a:gd name="T69" fmla="*/ 216 h 246"/>
              <a:gd name="T70" fmla="*/ 66 w 96"/>
              <a:gd name="T71" fmla="*/ 218 h 246"/>
              <a:gd name="T72" fmla="*/ 72 w 96"/>
              <a:gd name="T73" fmla="*/ 210 h 246"/>
              <a:gd name="T74" fmla="*/ 76 w 96"/>
              <a:gd name="T75" fmla="*/ 210 h 246"/>
              <a:gd name="T76" fmla="*/ 90 w 96"/>
              <a:gd name="T77" fmla="*/ 194 h 246"/>
              <a:gd name="T78" fmla="*/ 94 w 96"/>
              <a:gd name="T79" fmla="*/ 192 h 246"/>
              <a:gd name="T80" fmla="*/ 92 w 96"/>
              <a:gd name="T81" fmla="*/ 182 h 246"/>
              <a:gd name="T82" fmla="*/ 96 w 96"/>
              <a:gd name="T83" fmla="*/ 178 h 246"/>
              <a:gd name="T84" fmla="*/ 94 w 96"/>
              <a:gd name="T85" fmla="*/ 172 h 246"/>
              <a:gd name="T86" fmla="*/ 90 w 96"/>
              <a:gd name="T87" fmla="*/ 164 h 246"/>
              <a:gd name="T88" fmla="*/ 88 w 96"/>
              <a:gd name="T89" fmla="*/ 152 h 246"/>
              <a:gd name="T90" fmla="*/ 88 w 96"/>
              <a:gd name="T91" fmla="*/ 146 h 246"/>
              <a:gd name="T92" fmla="*/ 86 w 96"/>
              <a:gd name="T93" fmla="*/ 140 h 246"/>
              <a:gd name="T94" fmla="*/ 76 w 96"/>
              <a:gd name="T95" fmla="*/ 128 h 246"/>
              <a:gd name="T96" fmla="*/ 76 w 96"/>
              <a:gd name="T97" fmla="*/ 120 h 246"/>
              <a:gd name="T98" fmla="*/ 68 w 96"/>
              <a:gd name="T99" fmla="*/ 116 h 246"/>
              <a:gd name="T100" fmla="*/ 64 w 96"/>
              <a:gd name="T101" fmla="*/ 104 h 246"/>
              <a:gd name="T102" fmla="*/ 54 w 96"/>
              <a:gd name="T103" fmla="*/ 98 h 246"/>
              <a:gd name="T104" fmla="*/ 50 w 96"/>
              <a:gd name="T105" fmla="*/ 90 h 246"/>
              <a:gd name="T106" fmla="*/ 40 w 96"/>
              <a:gd name="T107" fmla="*/ 76 h 246"/>
              <a:gd name="T108" fmla="*/ 42 w 96"/>
              <a:gd name="T109" fmla="*/ 68 h 246"/>
              <a:gd name="T110" fmla="*/ 42 w 96"/>
              <a:gd name="T111" fmla="*/ 58 h 246"/>
              <a:gd name="T112" fmla="*/ 60 w 96"/>
              <a:gd name="T113" fmla="*/ 42 h 246"/>
              <a:gd name="T114" fmla="*/ 60 w 96"/>
              <a:gd name="T115" fmla="*/ 38 h 246"/>
              <a:gd name="T116" fmla="*/ 66 w 96"/>
              <a:gd name="T117" fmla="*/ 36 h 246"/>
              <a:gd name="T118" fmla="*/ 76 w 96"/>
              <a:gd name="T119" fmla="*/ 30 h 246"/>
              <a:gd name="T120" fmla="*/ 76 w 96"/>
              <a:gd name="T121" fmla="*/ 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246">
                <a:moveTo>
                  <a:pt x="76" y="28"/>
                </a:moveTo>
                <a:lnTo>
                  <a:pt x="70" y="26"/>
                </a:lnTo>
                <a:lnTo>
                  <a:pt x="66" y="26"/>
                </a:lnTo>
                <a:lnTo>
                  <a:pt x="60" y="24"/>
                </a:lnTo>
                <a:lnTo>
                  <a:pt x="56" y="20"/>
                </a:lnTo>
                <a:lnTo>
                  <a:pt x="52" y="14"/>
                </a:lnTo>
                <a:lnTo>
                  <a:pt x="54" y="6"/>
                </a:lnTo>
                <a:lnTo>
                  <a:pt x="48" y="4"/>
                </a:lnTo>
                <a:lnTo>
                  <a:pt x="44" y="2"/>
                </a:lnTo>
                <a:lnTo>
                  <a:pt x="38" y="0"/>
                </a:lnTo>
                <a:lnTo>
                  <a:pt x="32" y="6"/>
                </a:lnTo>
                <a:lnTo>
                  <a:pt x="22" y="6"/>
                </a:lnTo>
                <a:lnTo>
                  <a:pt x="14" y="8"/>
                </a:lnTo>
                <a:lnTo>
                  <a:pt x="6" y="6"/>
                </a:lnTo>
                <a:lnTo>
                  <a:pt x="0" y="10"/>
                </a:lnTo>
                <a:lnTo>
                  <a:pt x="4" y="20"/>
                </a:lnTo>
                <a:lnTo>
                  <a:pt x="4" y="24"/>
                </a:lnTo>
                <a:lnTo>
                  <a:pt x="8" y="30"/>
                </a:lnTo>
                <a:lnTo>
                  <a:pt x="14" y="32"/>
                </a:lnTo>
                <a:lnTo>
                  <a:pt x="14" y="36"/>
                </a:lnTo>
                <a:lnTo>
                  <a:pt x="20" y="38"/>
                </a:lnTo>
                <a:lnTo>
                  <a:pt x="24" y="34"/>
                </a:lnTo>
                <a:lnTo>
                  <a:pt x="30" y="36"/>
                </a:lnTo>
                <a:lnTo>
                  <a:pt x="36" y="40"/>
                </a:lnTo>
                <a:lnTo>
                  <a:pt x="36" y="48"/>
                </a:lnTo>
                <a:lnTo>
                  <a:pt x="32" y="50"/>
                </a:lnTo>
                <a:lnTo>
                  <a:pt x="26" y="54"/>
                </a:lnTo>
                <a:lnTo>
                  <a:pt x="22" y="56"/>
                </a:lnTo>
                <a:lnTo>
                  <a:pt x="22" y="64"/>
                </a:lnTo>
                <a:lnTo>
                  <a:pt x="30" y="68"/>
                </a:lnTo>
                <a:lnTo>
                  <a:pt x="32" y="78"/>
                </a:lnTo>
                <a:lnTo>
                  <a:pt x="38" y="86"/>
                </a:lnTo>
                <a:lnTo>
                  <a:pt x="42" y="90"/>
                </a:lnTo>
                <a:lnTo>
                  <a:pt x="44" y="96"/>
                </a:lnTo>
                <a:lnTo>
                  <a:pt x="48" y="100"/>
                </a:lnTo>
                <a:lnTo>
                  <a:pt x="54" y="104"/>
                </a:lnTo>
                <a:lnTo>
                  <a:pt x="56" y="110"/>
                </a:lnTo>
                <a:lnTo>
                  <a:pt x="60" y="118"/>
                </a:lnTo>
                <a:lnTo>
                  <a:pt x="64" y="120"/>
                </a:lnTo>
                <a:lnTo>
                  <a:pt x="66" y="126"/>
                </a:lnTo>
                <a:lnTo>
                  <a:pt x="66" y="136"/>
                </a:lnTo>
                <a:lnTo>
                  <a:pt x="66" y="140"/>
                </a:lnTo>
                <a:lnTo>
                  <a:pt x="66" y="148"/>
                </a:lnTo>
                <a:lnTo>
                  <a:pt x="68" y="154"/>
                </a:lnTo>
                <a:lnTo>
                  <a:pt x="70" y="162"/>
                </a:lnTo>
                <a:lnTo>
                  <a:pt x="70" y="170"/>
                </a:lnTo>
                <a:lnTo>
                  <a:pt x="68" y="176"/>
                </a:lnTo>
                <a:lnTo>
                  <a:pt x="68" y="184"/>
                </a:lnTo>
                <a:lnTo>
                  <a:pt x="66" y="190"/>
                </a:lnTo>
                <a:lnTo>
                  <a:pt x="62" y="194"/>
                </a:lnTo>
                <a:lnTo>
                  <a:pt x="56" y="196"/>
                </a:lnTo>
                <a:lnTo>
                  <a:pt x="54" y="198"/>
                </a:lnTo>
                <a:lnTo>
                  <a:pt x="52" y="204"/>
                </a:lnTo>
                <a:lnTo>
                  <a:pt x="46" y="202"/>
                </a:lnTo>
                <a:lnTo>
                  <a:pt x="38" y="202"/>
                </a:lnTo>
                <a:lnTo>
                  <a:pt x="36" y="206"/>
                </a:lnTo>
                <a:lnTo>
                  <a:pt x="32" y="208"/>
                </a:lnTo>
                <a:lnTo>
                  <a:pt x="26" y="216"/>
                </a:lnTo>
                <a:lnTo>
                  <a:pt x="26" y="216"/>
                </a:lnTo>
                <a:lnTo>
                  <a:pt x="28" y="218"/>
                </a:lnTo>
                <a:lnTo>
                  <a:pt x="30" y="222"/>
                </a:lnTo>
                <a:lnTo>
                  <a:pt x="30" y="222"/>
                </a:lnTo>
                <a:lnTo>
                  <a:pt x="30" y="236"/>
                </a:lnTo>
                <a:lnTo>
                  <a:pt x="30" y="236"/>
                </a:lnTo>
                <a:lnTo>
                  <a:pt x="30" y="240"/>
                </a:lnTo>
                <a:lnTo>
                  <a:pt x="34" y="242"/>
                </a:lnTo>
                <a:lnTo>
                  <a:pt x="34" y="242"/>
                </a:lnTo>
                <a:lnTo>
                  <a:pt x="32" y="246"/>
                </a:lnTo>
                <a:lnTo>
                  <a:pt x="32" y="246"/>
                </a:lnTo>
                <a:lnTo>
                  <a:pt x="34" y="246"/>
                </a:lnTo>
                <a:lnTo>
                  <a:pt x="34" y="246"/>
                </a:lnTo>
                <a:lnTo>
                  <a:pt x="36" y="246"/>
                </a:lnTo>
                <a:lnTo>
                  <a:pt x="38" y="242"/>
                </a:lnTo>
                <a:lnTo>
                  <a:pt x="40" y="238"/>
                </a:lnTo>
                <a:lnTo>
                  <a:pt x="40" y="238"/>
                </a:lnTo>
                <a:lnTo>
                  <a:pt x="46" y="238"/>
                </a:lnTo>
                <a:lnTo>
                  <a:pt x="46" y="238"/>
                </a:lnTo>
                <a:lnTo>
                  <a:pt x="44" y="228"/>
                </a:lnTo>
                <a:lnTo>
                  <a:pt x="44" y="228"/>
                </a:lnTo>
                <a:lnTo>
                  <a:pt x="42" y="224"/>
                </a:lnTo>
                <a:lnTo>
                  <a:pt x="42" y="222"/>
                </a:lnTo>
                <a:lnTo>
                  <a:pt x="42" y="222"/>
                </a:lnTo>
                <a:lnTo>
                  <a:pt x="42" y="222"/>
                </a:lnTo>
                <a:lnTo>
                  <a:pt x="48" y="230"/>
                </a:lnTo>
                <a:lnTo>
                  <a:pt x="48" y="230"/>
                </a:lnTo>
                <a:lnTo>
                  <a:pt x="52" y="230"/>
                </a:lnTo>
                <a:lnTo>
                  <a:pt x="52" y="228"/>
                </a:lnTo>
                <a:lnTo>
                  <a:pt x="54" y="228"/>
                </a:lnTo>
                <a:lnTo>
                  <a:pt x="54" y="226"/>
                </a:lnTo>
                <a:lnTo>
                  <a:pt x="54" y="226"/>
                </a:lnTo>
                <a:lnTo>
                  <a:pt x="50" y="224"/>
                </a:lnTo>
                <a:lnTo>
                  <a:pt x="46" y="222"/>
                </a:lnTo>
                <a:lnTo>
                  <a:pt x="46" y="220"/>
                </a:lnTo>
                <a:lnTo>
                  <a:pt x="46" y="220"/>
                </a:lnTo>
                <a:lnTo>
                  <a:pt x="42" y="216"/>
                </a:lnTo>
                <a:lnTo>
                  <a:pt x="42" y="216"/>
                </a:lnTo>
                <a:lnTo>
                  <a:pt x="50" y="218"/>
                </a:lnTo>
                <a:lnTo>
                  <a:pt x="58" y="220"/>
                </a:lnTo>
                <a:lnTo>
                  <a:pt x="58" y="218"/>
                </a:lnTo>
                <a:lnTo>
                  <a:pt x="58" y="218"/>
                </a:lnTo>
                <a:lnTo>
                  <a:pt x="60" y="218"/>
                </a:lnTo>
                <a:lnTo>
                  <a:pt x="62" y="218"/>
                </a:lnTo>
                <a:lnTo>
                  <a:pt x="62" y="218"/>
                </a:lnTo>
                <a:lnTo>
                  <a:pt x="62" y="216"/>
                </a:lnTo>
                <a:lnTo>
                  <a:pt x="62" y="216"/>
                </a:lnTo>
                <a:lnTo>
                  <a:pt x="62" y="216"/>
                </a:lnTo>
                <a:lnTo>
                  <a:pt x="64" y="216"/>
                </a:lnTo>
                <a:lnTo>
                  <a:pt x="66" y="218"/>
                </a:lnTo>
                <a:lnTo>
                  <a:pt x="66" y="218"/>
                </a:lnTo>
                <a:lnTo>
                  <a:pt x="70" y="214"/>
                </a:lnTo>
                <a:lnTo>
                  <a:pt x="72" y="210"/>
                </a:lnTo>
                <a:lnTo>
                  <a:pt x="72" y="210"/>
                </a:lnTo>
                <a:lnTo>
                  <a:pt x="76" y="210"/>
                </a:lnTo>
                <a:lnTo>
                  <a:pt x="76" y="210"/>
                </a:lnTo>
                <a:lnTo>
                  <a:pt x="90" y="198"/>
                </a:lnTo>
                <a:lnTo>
                  <a:pt x="90" y="198"/>
                </a:lnTo>
                <a:lnTo>
                  <a:pt x="90" y="194"/>
                </a:lnTo>
                <a:lnTo>
                  <a:pt x="90" y="194"/>
                </a:lnTo>
                <a:lnTo>
                  <a:pt x="94" y="192"/>
                </a:lnTo>
                <a:lnTo>
                  <a:pt x="94" y="192"/>
                </a:lnTo>
                <a:lnTo>
                  <a:pt x="94" y="188"/>
                </a:lnTo>
                <a:lnTo>
                  <a:pt x="92" y="186"/>
                </a:lnTo>
                <a:lnTo>
                  <a:pt x="92" y="182"/>
                </a:lnTo>
                <a:lnTo>
                  <a:pt x="92" y="180"/>
                </a:lnTo>
                <a:lnTo>
                  <a:pt x="92" y="180"/>
                </a:lnTo>
                <a:lnTo>
                  <a:pt x="96" y="178"/>
                </a:lnTo>
                <a:lnTo>
                  <a:pt x="96" y="178"/>
                </a:lnTo>
                <a:lnTo>
                  <a:pt x="96" y="174"/>
                </a:lnTo>
                <a:lnTo>
                  <a:pt x="94" y="172"/>
                </a:lnTo>
                <a:lnTo>
                  <a:pt x="94" y="172"/>
                </a:lnTo>
                <a:lnTo>
                  <a:pt x="90" y="164"/>
                </a:lnTo>
                <a:lnTo>
                  <a:pt x="90" y="164"/>
                </a:lnTo>
                <a:lnTo>
                  <a:pt x="90" y="154"/>
                </a:lnTo>
                <a:lnTo>
                  <a:pt x="90" y="154"/>
                </a:lnTo>
                <a:lnTo>
                  <a:pt x="88" y="152"/>
                </a:lnTo>
                <a:lnTo>
                  <a:pt x="88" y="152"/>
                </a:lnTo>
                <a:lnTo>
                  <a:pt x="88" y="146"/>
                </a:lnTo>
                <a:lnTo>
                  <a:pt x="88" y="146"/>
                </a:lnTo>
                <a:lnTo>
                  <a:pt x="84" y="144"/>
                </a:lnTo>
                <a:lnTo>
                  <a:pt x="84" y="144"/>
                </a:lnTo>
                <a:lnTo>
                  <a:pt x="86" y="140"/>
                </a:lnTo>
                <a:lnTo>
                  <a:pt x="84" y="136"/>
                </a:lnTo>
                <a:lnTo>
                  <a:pt x="84" y="136"/>
                </a:lnTo>
                <a:lnTo>
                  <a:pt x="76" y="128"/>
                </a:lnTo>
                <a:lnTo>
                  <a:pt x="76" y="128"/>
                </a:lnTo>
                <a:lnTo>
                  <a:pt x="76" y="124"/>
                </a:lnTo>
                <a:lnTo>
                  <a:pt x="76" y="120"/>
                </a:lnTo>
                <a:lnTo>
                  <a:pt x="76" y="120"/>
                </a:lnTo>
                <a:lnTo>
                  <a:pt x="68" y="116"/>
                </a:lnTo>
                <a:lnTo>
                  <a:pt x="68" y="116"/>
                </a:lnTo>
                <a:lnTo>
                  <a:pt x="64" y="106"/>
                </a:lnTo>
                <a:lnTo>
                  <a:pt x="64" y="106"/>
                </a:lnTo>
                <a:lnTo>
                  <a:pt x="64" y="104"/>
                </a:lnTo>
                <a:lnTo>
                  <a:pt x="64" y="104"/>
                </a:lnTo>
                <a:lnTo>
                  <a:pt x="56" y="100"/>
                </a:lnTo>
                <a:lnTo>
                  <a:pt x="54" y="98"/>
                </a:lnTo>
                <a:lnTo>
                  <a:pt x="50" y="94"/>
                </a:lnTo>
                <a:lnTo>
                  <a:pt x="50" y="94"/>
                </a:lnTo>
                <a:lnTo>
                  <a:pt x="50" y="90"/>
                </a:lnTo>
                <a:lnTo>
                  <a:pt x="50" y="90"/>
                </a:lnTo>
                <a:lnTo>
                  <a:pt x="44" y="82"/>
                </a:lnTo>
                <a:lnTo>
                  <a:pt x="40" y="76"/>
                </a:lnTo>
                <a:lnTo>
                  <a:pt x="40" y="70"/>
                </a:lnTo>
                <a:lnTo>
                  <a:pt x="42" y="68"/>
                </a:lnTo>
                <a:lnTo>
                  <a:pt x="42" y="68"/>
                </a:lnTo>
                <a:lnTo>
                  <a:pt x="42" y="62"/>
                </a:lnTo>
                <a:lnTo>
                  <a:pt x="42" y="58"/>
                </a:lnTo>
                <a:lnTo>
                  <a:pt x="42" y="58"/>
                </a:lnTo>
                <a:lnTo>
                  <a:pt x="46" y="56"/>
                </a:lnTo>
                <a:lnTo>
                  <a:pt x="50" y="54"/>
                </a:lnTo>
                <a:lnTo>
                  <a:pt x="60" y="42"/>
                </a:lnTo>
                <a:lnTo>
                  <a:pt x="60" y="42"/>
                </a:lnTo>
                <a:lnTo>
                  <a:pt x="60" y="38"/>
                </a:lnTo>
                <a:lnTo>
                  <a:pt x="60" y="38"/>
                </a:lnTo>
                <a:lnTo>
                  <a:pt x="62" y="38"/>
                </a:lnTo>
                <a:lnTo>
                  <a:pt x="66" y="36"/>
                </a:lnTo>
                <a:lnTo>
                  <a:pt x="66" y="36"/>
                </a:lnTo>
                <a:lnTo>
                  <a:pt x="70" y="32"/>
                </a:lnTo>
                <a:lnTo>
                  <a:pt x="70" y="32"/>
                </a:lnTo>
                <a:lnTo>
                  <a:pt x="76" y="30"/>
                </a:lnTo>
                <a:lnTo>
                  <a:pt x="76" y="30"/>
                </a:lnTo>
                <a:lnTo>
                  <a:pt x="76" y="28"/>
                </a:lnTo>
                <a:lnTo>
                  <a:pt x="76"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9" name="Freeform 295">
            <a:extLst>
              <a:ext uri="{FF2B5EF4-FFF2-40B4-BE49-F238E27FC236}">
                <a16:creationId xmlns:a16="http://schemas.microsoft.com/office/drawing/2014/main" id="{5A06678A-5343-465C-BDF1-E129D3D980FD}"/>
              </a:ext>
            </a:extLst>
          </p:cNvPr>
          <p:cNvSpPr>
            <a:spLocks/>
          </p:cNvSpPr>
          <p:nvPr userDrawn="1"/>
        </p:nvSpPr>
        <p:spPr bwMode="auto">
          <a:xfrm>
            <a:off x="4198904" y="3344314"/>
            <a:ext cx="305220" cy="332902"/>
          </a:xfrm>
          <a:custGeom>
            <a:avLst/>
            <a:gdLst>
              <a:gd name="T0" fmla="*/ 8 w 182"/>
              <a:gd name="T1" fmla="*/ 30 h 194"/>
              <a:gd name="T2" fmla="*/ 2 w 182"/>
              <a:gd name="T3" fmla="*/ 40 h 194"/>
              <a:gd name="T4" fmla="*/ 0 w 182"/>
              <a:gd name="T5" fmla="*/ 56 h 194"/>
              <a:gd name="T6" fmla="*/ 14 w 182"/>
              <a:gd name="T7" fmla="*/ 68 h 194"/>
              <a:gd name="T8" fmla="*/ 12 w 182"/>
              <a:gd name="T9" fmla="*/ 76 h 194"/>
              <a:gd name="T10" fmla="*/ 28 w 182"/>
              <a:gd name="T11" fmla="*/ 92 h 194"/>
              <a:gd name="T12" fmla="*/ 44 w 182"/>
              <a:gd name="T13" fmla="*/ 92 h 194"/>
              <a:gd name="T14" fmla="*/ 64 w 182"/>
              <a:gd name="T15" fmla="*/ 104 h 194"/>
              <a:gd name="T16" fmla="*/ 70 w 182"/>
              <a:gd name="T17" fmla="*/ 116 h 194"/>
              <a:gd name="T18" fmla="*/ 72 w 182"/>
              <a:gd name="T19" fmla="*/ 128 h 194"/>
              <a:gd name="T20" fmla="*/ 84 w 182"/>
              <a:gd name="T21" fmla="*/ 140 h 194"/>
              <a:gd name="T22" fmla="*/ 94 w 182"/>
              <a:gd name="T23" fmla="*/ 158 h 194"/>
              <a:gd name="T24" fmla="*/ 88 w 182"/>
              <a:gd name="T25" fmla="*/ 172 h 194"/>
              <a:gd name="T26" fmla="*/ 92 w 182"/>
              <a:gd name="T27" fmla="*/ 176 h 194"/>
              <a:gd name="T28" fmla="*/ 102 w 182"/>
              <a:gd name="T29" fmla="*/ 194 h 194"/>
              <a:gd name="T30" fmla="*/ 114 w 182"/>
              <a:gd name="T31" fmla="*/ 186 h 194"/>
              <a:gd name="T32" fmla="*/ 124 w 182"/>
              <a:gd name="T33" fmla="*/ 180 h 194"/>
              <a:gd name="T34" fmla="*/ 132 w 182"/>
              <a:gd name="T35" fmla="*/ 172 h 194"/>
              <a:gd name="T36" fmla="*/ 136 w 182"/>
              <a:gd name="T37" fmla="*/ 166 h 194"/>
              <a:gd name="T38" fmla="*/ 122 w 182"/>
              <a:gd name="T39" fmla="*/ 166 h 194"/>
              <a:gd name="T40" fmla="*/ 118 w 182"/>
              <a:gd name="T41" fmla="*/ 156 h 194"/>
              <a:gd name="T42" fmla="*/ 114 w 182"/>
              <a:gd name="T43" fmla="*/ 138 h 194"/>
              <a:gd name="T44" fmla="*/ 114 w 182"/>
              <a:gd name="T45" fmla="*/ 134 h 194"/>
              <a:gd name="T46" fmla="*/ 128 w 182"/>
              <a:gd name="T47" fmla="*/ 136 h 194"/>
              <a:gd name="T48" fmla="*/ 140 w 182"/>
              <a:gd name="T49" fmla="*/ 140 h 194"/>
              <a:gd name="T50" fmla="*/ 142 w 182"/>
              <a:gd name="T51" fmla="*/ 134 h 194"/>
              <a:gd name="T52" fmla="*/ 154 w 182"/>
              <a:gd name="T53" fmla="*/ 136 h 194"/>
              <a:gd name="T54" fmla="*/ 160 w 182"/>
              <a:gd name="T55" fmla="*/ 128 h 194"/>
              <a:gd name="T56" fmla="*/ 170 w 182"/>
              <a:gd name="T57" fmla="*/ 120 h 194"/>
              <a:gd name="T58" fmla="*/ 164 w 182"/>
              <a:gd name="T59" fmla="*/ 92 h 194"/>
              <a:gd name="T60" fmla="*/ 174 w 182"/>
              <a:gd name="T61" fmla="*/ 88 h 194"/>
              <a:gd name="T62" fmla="*/ 172 w 182"/>
              <a:gd name="T63" fmla="*/ 82 h 194"/>
              <a:gd name="T64" fmla="*/ 166 w 182"/>
              <a:gd name="T65" fmla="*/ 72 h 194"/>
              <a:gd name="T66" fmla="*/ 178 w 182"/>
              <a:gd name="T67" fmla="*/ 66 h 194"/>
              <a:gd name="T68" fmla="*/ 182 w 182"/>
              <a:gd name="T69" fmla="*/ 56 h 194"/>
              <a:gd name="T70" fmla="*/ 172 w 182"/>
              <a:gd name="T71" fmla="*/ 56 h 194"/>
              <a:gd name="T72" fmla="*/ 150 w 182"/>
              <a:gd name="T73" fmla="*/ 60 h 194"/>
              <a:gd name="T74" fmla="*/ 168 w 182"/>
              <a:gd name="T75" fmla="*/ 52 h 194"/>
              <a:gd name="T76" fmla="*/ 170 w 182"/>
              <a:gd name="T77" fmla="*/ 40 h 194"/>
              <a:gd name="T78" fmla="*/ 164 w 182"/>
              <a:gd name="T79" fmla="*/ 40 h 194"/>
              <a:gd name="T80" fmla="*/ 156 w 182"/>
              <a:gd name="T81" fmla="*/ 34 h 194"/>
              <a:gd name="T82" fmla="*/ 148 w 182"/>
              <a:gd name="T83" fmla="*/ 32 h 194"/>
              <a:gd name="T84" fmla="*/ 154 w 182"/>
              <a:gd name="T85" fmla="*/ 26 h 194"/>
              <a:gd name="T86" fmla="*/ 134 w 182"/>
              <a:gd name="T87" fmla="*/ 22 h 194"/>
              <a:gd name="T88" fmla="*/ 130 w 182"/>
              <a:gd name="T89" fmla="*/ 26 h 194"/>
              <a:gd name="T90" fmla="*/ 116 w 182"/>
              <a:gd name="T91" fmla="*/ 32 h 194"/>
              <a:gd name="T92" fmla="*/ 102 w 182"/>
              <a:gd name="T93" fmla="*/ 26 h 194"/>
              <a:gd name="T94" fmla="*/ 80 w 182"/>
              <a:gd name="T95" fmla="*/ 24 h 194"/>
              <a:gd name="T96" fmla="*/ 72 w 182"/>
              <a:gd name="T97" fmla="*/ 24 h 194"/>
              <a:gd name="T98" fmla="*/ 70 w 182"/>
              <a:gd name="T99" fmla="*/ 12 h 194"/>
              <a:gd name="T100" fmla="*/ 60 w 182"/>
              <a:gd name="T101" fmla="*/ 10 h 194"/>
              <a:gd name="T102" fmla="*/ 50 w 182"/>
              <a:gd name="T103" fmla="*/ 0 h 194"/>
              <a:gd name="T104" fmla="*/ 46 w 182"/>
              <a:gd name="T105" fmla="*/ 6 h 194"/>
              <a:gd name="T106" fmla="*/ 42 w 182"/>
              <a:gd name="T107" fmla="*/ 14 h 194"/>
              <a:gd name="T108" fmla="*/ 34 w 182"/>
              <a:gd name="T109" fmla="*/ 30 h 194"/>
              <a:gd name="T110" fmla="*/ 36 w 182"/>
              <a:gd name="T111" fmla="*/ 36 h 194"/>
              <a:gd name="T112" fmla="*/ 28 w 182"/>
              <a:gd name="T113" fmla="*/ 50 h 194"/>
              <a:gd name="T114" fmla="*/ 24 w 182"/>
              <a:gd name="T115" fmla="*/ 40 h 194"/>
              <a:gd name="T116" fmla="*/ 30 w 182"/>
              <a:gd name="T117" fmla="*/ 26 h 194"/>
              <a:gd name="T118" fmla="*/ 26 w 182"/>
              <a:gd name="T119" fmla="*/ 20 h 194"/>
              <a:gd name="T120" fmla="*/ 26 w 182"/>
              <a:gd name="T121" fmla="*/ 14 h 194"/>
              <a:gd name="T122" fmla="*/ 22 w 182"/>
              <a:gd name="T123" fmla="*/ 12 h 194"/>
              <a:gd name="T124" fmla="*/ 28 w 182"/>
              <a:gd name="T125" fmla="*/ 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194">
                <a:moveTo>
                  <a:pt x="28" y="4"/>
                </a:moveTo>
                <a:lnTo>
                  <a:pt x="28" y="4"/>
                </a:lnTo>
                <a:lnTo>
                  <a:pt x="20" y="6"/>
                </a:lnTo>
                <a:lnTo>
                  <a:pt x="14" y="16"/>
                </a:lnTo>
                <a:lnTo>
                  <a:pt x="8" y="30"/>
                </a:lnTo>
                <a:lnTo>
                  <a:pt x="2" y="32"/>
                </a:lnTo>
                <a:lnTo>
                  <a:pt x="2" y="32"/>
                </a:lnTo>
                <a:lnTo>
                  <a:pt x="4" y="34"/>
                </a:lnTo>
                <a:lnTo>
                  <a:pt x="2" y="40"/>
                </a:lnTo>
                <a:lnTo>
                  <a:pt x="2" y="40"/>
                </a:lnTo>
                <a:lnTo>
                  <a:pt x="2" y="46"/>
                </a:lnTo>
                <a:lnTo>
                  <a:pt x="2" y="48"/>
                </a:lnTo>
                <a:lnTo>
                  <a:pt x="0" y="52"/>
                </a:lnTo>
                <a:lnTo>
                  <a:pt x="0" y="52"/>
                </a:lnTo>
                <a:lnTo>
                  <a:pt x="0" y="56"/>
                </a:lnTo>
                <a:lnTo>
                  <a:pt x="0" y="58"/>
                </a:lnTo>
                <a:lnTo>
                  <a:pt x="2" y="58"/>
                </a:lnTo>
                <a:lnTo>
                  <a:pt x="8" y="56"/>
                </a:lnTo>
                <a:lnTo>
                  <a:pt x="14" y="68"/>
                </a:lnTo>
                <a:lnTo>
                  <a:pt x="14" y="68"/>
                </a:lnTo>
                <a:lnTo>
                  <a:pt x="12" y="70"/>
                </a:lnTo>
                <a:lnTo>
                  <a:pt x="10" y="70"/>
                </a:lnTo>
                <a:lnTo>
                  <a:pt x="10" y="72"/>
                </a:lnTo>
                <a:lnTo>
                  <a:pt x="10" y="72"/>
                </a:lnTo>
                <a:lnTo>
                  <a:pt x="12" y="76"/>
                </a:lnTo>
                <a:lnTo>
                  <a:pt x="16" y="82"/>
                </a:lnTo>
                <a:lnTo>
                  <a:pt x="16" y="82"/>
                </a:lnTo>
                <a:lnTo>
                  <a:pt x="18" y="88"/>
                </a:lnTo>
                <a:lnTo>
                  <a:pt x="18" y="90"/>
                </a:lnTo>
                <a:lnTo>
                  <a:pt x="28" y="92"/>
                </a:lnTo>
                <a:lnTo>
                  <a:pt x="28" y="92"/>
                </a:lnTo>
                <a:lnTo>
                  <a:pt x="32" y="92"/>
                </a:lnTo>
                <a:lnTo>
                  <a:pt x="38" y="92"/>
                </a:lnTo>
                <a:lnTo>
                  <a:pt x="38" y="92"/>
                </a:lnTo>
                <a:lnTo>
                  <a:pt x="44" y="92"/>
                </a:lnTo>
                <a:lnTo>
                  <a:pt x="48" y="94"/>
                </a:lnTo>
                <a:lnTo>
                  <a:pt x="48" y="94"/>
                </a:lnTo>
                <a:lnTo>
                  <a:pt x="54" y="106"/>
                </a:lnTo>
                <a:lnTo>
                  <a:pt x="54" y="106"/>
                </a:lnTo>
                <a:lnTo>
                  <a:pt x="64" y="104"/>
                </a:lnTo>
                <a:lnTo>
                  <a:pt x="64" y="104"/>
                </a:lnTo>
                <a:lnTo>
                  <a:pt x="72" y="106"/>
                </a:lnTo>
                <a:lnTo>
                  <a:pt x="72" y="114"/>
                </a:lnTo>
                <a:lnTo>
                  <a:pt x="72" y="114"/>
                </a:lnTo>
                <a:lnTo>
                  <a:pt x="70" y="116"/>
                </a:lnTo>
                <a:lnTo>
                  <a:pt x="68" y="118"/>
                </a:lnTo>
                <a:lnTo>
                  <a:pt x="70" y="122"/>
                </a:lnTo>
                <a:lnTo>
                  <a:pt x="70" y="122"/>
                </a:lnTo>
                <a:lnTo>
                  <a:pt x="70" y="126"/>
                </a:lnTo>
                <a:lnTo>
                  <a:pt x="72" y="128"/>
                </a:lnTo>
                <a:lnTo>
                  <a:pt x="76" y="132"/>
                </a:lnTo>
                <a:lnTo>
                  <a:pt x="76" y="132"/>
                </a:lnTo>
                <a:lnTo>
                  <a:pt x="80" y="136"/>
                </a:lnTo>
                <a:lnTo>
                  <a:pt x="84" y="140"/>
                </a:lnTo>
                <a:lnTo>
                  <a:pt x="84" y="140"/>
                </a:lnTo>
                <a:lnTo>
                  <a:pt x="90" y="146"/>
                </a:lnTo>
                <a:lnTo>
                  <a:pt x="96" y="148"/>
                </a:lnTo>
                <a:lnTo>
                  <a:pt x="96" y="148"/>
                </a:lnTo>
                <a:lnTo>
                  <a:pt x="94" y="158"/>
                </a:lnTo>
                <a:lnTo>
                  <a:pt x="94" y="158"/>
                </a:lnTo>
                <a:lnTo>
                  <a:pt x="90" y="164"/>
                </a:lnTo>
                <a:lnTo>
                  <a:pt x="88" y="166"/>
                </a:lnTo>
                <a:lnTo>
                  <a:pt x="88" y="166"/>
                </a:lnTo>
                <a:lnTo>
                  <a:pt x="86" y="170"/>
                </a:lnTo>
                <a:lnTo>
                  <a:pt x="88" y="172"/>
                </a:lnTo>
                <a:lnTo>
                  <a:pt x="90" y="172"/>
                </a:lnTo>
                <a:lnTo>
                  <a:pt x="90" y="172"/>
                </a:lnTo>
                <a:lnTo>
                  <a:pt x="92" y="170"/>
                </a:lnTo>
                <a:lnTo>
                  <a:pt x="92" y="170"/>
                </a:lnTo>
                <a:lnTo>
                  <a:pt x="92" y="176"/>
                </a:lnTo>
                <a:lnTo>
                  <a:pt x="92" y="176"/>
                </a:lnTo>
                <a:lnTo>
                  <a:pt x="96" y="180"/>
                </a:lnTo>
                <a:lnTo>
                  <a:pt x="94" y="188"/>
                </a:lnTo>
                <a:lnTo>
                  <a:pt x="102" y="194"/>
                </a:lnTo>
                <a:lnTo>
                  <a:pt x="102" y="194"/>
                </a:lnTo>
                <a:lnTo>
                  <a:pt x="104" y="192"/>
                </a:lnTo>
                <a:lnTo>
                  <a:pt x="110" y="190"/>
                </a:lnTo>
                <a:lnTo>
                  <a:pt x="110" y="190"/>
                </a:lnTo>
                <a:lnTo>
                  <a:pt x="112" y="188"/>
                </a:lnTo>
                <a:lnTo>
                  <a:pt x="114" y="186"/>
                </a:lnTo>
                <a:lnTo>
                  <a:pt x="116" y="184"/>
                </a:lnTo>
                <a:lnTo>
                  <a:pt x="118" y="184"/>
                </a:lnTo>
                <a:lnTo>
                  <a:pt x="118" y="184"/>
                </a:lnTo>
                <a:lnTo>
                  <a:pt x="122" y="182"/>
                </a:lnTo>
                <a:lnTo>
                  <a:pt x="124" y="180"/>
                </a:lnTo>
                <a:lnTo>
                  <a:pt x="124" y="180"/>
                </a:lnTo>
                <a:lnTo>
                  <a:pt x="126" y="178"/>
                </a:lnTo>
                <a:lnTo>
                  <a:pt x="128" y="176"/>
                </a:lnTo>
                <a:lnTo>
                  <a:pt x="130" y="172"/>
                </a:lnTo>
                <a:lnTo>
                  <a:pt x="132" y="172"/>
                </a:lnTo>
                <a:lnTo>
                  <a:pt x="132" y="172"/>
                </a:lnTo>
                <a:lnTo>
                  <a:pt x="136" y="170"/>
                </a:lnTo>
                <a:lnTo>
                  <a:pt x="138" y="170"/>
                </a:lnTo>
                <a:lnTo>
                  <a:pt x="138" y="170"/>
                </a:lnTo>
                <a:lnTo>
                  <a:pt x="136" y="166"/>
                </a:lnTo>
                <a:lnTo>
                  <a:pt x="134" y="166"/>
                </a:lnTo>
                <a:lnTo>
                  <a:pt x="132" y="164"/>
                </a:lnTo>
                <a:lnTo>
                  <a:pt x="132" y="164"/>
                </a:lnTo>
                <a:lnTo>
                  <a:pt x="126" y="166"/>
                </a:lnTo>
                <a:lnTo>
                  <a:pt x="122" y="166"/>
                </a:lnTo>
                <a:lnTo>
                  <a:pt x="122" y="166"/>
                </a:lnTo>
                <a:lnTo>
                  <a:pt x="120" y="164"/>
                </a:lnTo>
                <a:lnTo>
                  <a:pt x="118" y="162"/>
                </a:lnTo>
                <a:lnTo>
                  <a:pt x="118" y="162"/>
                </a:lnTo>
                <a:lnTo>
                  <a:pt x="118" y="156"/>
                </a:lnTo>
                <a:lnTo>
                  <a:pt x="118" y="150"/>
                </a:lnTo>
                <a:lnTo>
                  <a:pt x="118" y="150"/>
                </a:lnTo>
                <a:lnTo>
                  <a:pt x="116" y="142"/>
                </a:lnTo>
                <a:lnTo>
                  <a:pt x="116" y="142"/>
                </a:lnTo>
                <a:lnTo>
                  <a:pt x="114" y="138"/>
                </a:lnTo>
                <a:lnTo>
                  <a:pt x="114" y="136"/>
                </a:lnTo>
                <a:lnTo>
                  <a:pt x="112" y="136"/>
                </a:lnTo>
                <a:lnTo>
                  <a:pt x="112" y="136"/>
                </a:lnTo>
                <a:lnTo>
                  <a:pt x="110" y="134"/>
                </a:lnTo>
                <a:lnTo>
                  <a:pt x="114" y="134"/>
                </a:lnTo>
                <a:lnTo>
                  <a:pt x="114" y="134"/>
                </a:lnTo>
                <a:lnTo>
                  <a:pt x="120" y="136"/>
                </a:lnTo>
                <a:lnTo>
                  <a:pt x="124" y="136"/>
                </a:lnTo>
                <a:lnTo>
                  <a:pt x="124" y="136"/>
                </a:lnTo>
                <a:lnTo>
                  <a:pt x="128" y="136"/>
                </a:lnTo>
                <a:lnTo>
                  <a:pt x="132" y="138"/>
                </a:lnTo>
                <a:lnTo>
                  <a:pt x="132" y="138"/>
                </a:lnTo>
                <a:lnTo>
                  <a:pt x="138" y="140"/>
                </a:lnTo>
                <a:lnTo>
                  <a:pt x="140" y="140"/>
                </a:lnTo>
                <a:lnTo>
                  <a:pt x="140" y="140"/>
                </a:lnTo>
                <a:lnTo>
                  <a:pt x="140" y="140"/>
                </a:lnTo>
                <a:lnTo>
                  <a:pt x="138" y="138"/>
                </a:lnTo>
                <a:lnTo>
                  <a:pt x="140" y="136"/>
                </a:lnTo>
                <a:lnTo>
                  <a:pt x="140" y="136"/>
                </a:lnTo>
                <a:lnTo>
                  <a:pt x="142" y="134"/>
                </a:lnTo>
                <a:lnTo>
                  <a:pt x="144" y="134"/>
                </a:lnTo>
                <a:lnTo>
                  <a:pt x="144" y="134"/>
                </a:lnTo>
                <a:lnTo>
                  <a:pt x="152" y="136"/>
                </a:lnTo>
                <a:lnTo>
                  <a:pt x="152" y="136"/>
                </a:lnTo>
                <a:lnTo>
                  <a:pt x="154" y="136"/>
                </a:lnTo>
                <a:lnTo>
                  <a:pt x="154" y="134"/>
                </a:lnTo>
                <a:lnTo>
                  <a:pt x="158" y="132"/>
                </a:lnTo>
                <a:lnTo>
                  <a:pt x="158" y="132"/>
                </a:lnTo>
                <a:lnTo>
                  <a:pt x="158" y="130"/>
                </a:lnTo>
                <a:lnTo>
                  <a:pt x="160" y="128"/>
                </a:lnTo>
                <a:lnTo>
                  <a:pt x="162" y="128"/>
                </a:lnTo>
                <a:lnTo>
                  <a:pt x="162" y="126"/>
                </a:lnTo>
                <a:lnTo>
                  <a:pt x="162" y="126"/>
                </a:lnTo>
                <a:lnTo>
                  <a:pt x="170" y="126"/>
                </a:lnTo>
                <a:lnTo>
                  <a:pt x="170" y="120"/>
                </a:lnTo>
                <a:lnTo>
                  <a:pt x="170" y="116"/>
                </a:lnTo>
                <a:lnTo>
                  <a:pt x="158" y="98"/>
                </a:lnTo>
                <a:lnTo>
                  <a:pt x="164" y="96"/>
                </a:lnTo>
                <a:lnTo>
                  <a:pt x="164" y="96"/>
                </a:lnTo>
                <a:lnTo>
                  <a:pt x="164" y="92"/>
                </a:lnTo>
                <a:lnTo>
                  <a:pt x="164" y="90"/>
                </a:lnTo>
                <a:lnTo>
                  <a:pt x="164" y="90"/>
                </a:lnTo>
                <a:lnTo>
                  <a:pt x="164" y="90"/>
                </a:lnTo>
                <a:lnTo>
                  <a:pt x="172" y="88"/>
                </a:lnTo>
                <a:lnTo>
                  <a:pt x="174" y="88"/>
                </a:lnTo>
                <a:lnTo>
                  <a:pt x="176" y="86"/>
                </a:lnTo>
                <a:lnTo>
                  <a:pt x="176" y="86"/>
                </a:lnTo>
                <a:lnTo>
                  <a:pt x="176" y="84"/>
                </a:lnTo>
                <a:lnTo>
                  <a:pt x="174" y="82"/>
                </a:lnTo>
                <a:lnTo>
                  <a:pt x="172" y="82"/>
                </a:lnTo>
                <a:lnTo>
                  <a:pt x="172" y="82"/>
                </a:lnTo>
                <a:lnTo>
                  <a:pt x="170" y="78"/>
                </a:lnTo>
                <a:lnTo>
                  <a:pt x="168" y="76"/>
                </a:lnTo>
                <a:lnTo>
                  <a:pt x="168" y="76"/>
                </a:lnTo>
                <a:lnTo>
                  <a:pt x="166" y="72"/>
                </a:lnTo>
                <a:lnTo>
                  <a:pt x="166" y="70"/>
                </a:lnTo>
                <a:lnTo>
                  <a:pt x="168" y="70"/>
                </a:lnTo>
                <a:lnTo>
                  <a:pt x="168" y="70"/>
                </a:lnTo>
                <a:lnTo>
                  <a:pt x="172" y="70"/>
                </a:lnTo>
                <a:lnTo>
                  <a:pt x="178" y="66"/>
                </a:lnTo>
                <a:lnTo>
                  <a:pt x="178" y="66"/>
                </a:lnTo>
                <a:lnTo>
                  <a:pt x="180" y="64"/>
                </a:lnTo>
                <a:lnTo>
                  <a:pt x="180" y="64"/>
                </a:lnTo>
                <a:lnTo>
                  <a:pt x="182" y="56"/>
                </a:lnTo>
                <a:lnTo>
                  <a:pt x="182" y="56"/>
                </a:lnTo>
                <a:lnTo>
                  <a:pt x="180" y="54"/>
                </a:lnTo>
                <a:lnTo>
                  <a:pt x="180" y="54"/>
                </a:lnTo>
                <a:lnTo>
                  <a:pt x="174" y="56"/>
                </a:lnTo>
                <a:lnTo>
                  <a:pt x="172" y="56"/>
                </a:lnTo>
                <a:lnTo>
                  <a:pt x="172" y="56"/>
                </a:lnTo>
                <a:lnTo>
                  <a:pt x="170" y="56"/>
                </a:lnTo>
                <a:lnTo>
                  <a:pt x="166" y="56"/>
                </a:lnTo>
                <a:lnTo>
                  <a:pt x="164" y="58"/>
                </a:lnTo>
                <a:lnTo>
                  <a:pt x="164" y="58"/>
                </a:lnTo>
                <a:lnTo>
                  <a:pt x="150" y="60"/>
                </a:lnTo>
                <a:lnTo>
                  <a:pt x="150" y="60"/>
                </a:lnTo>
                <a:lnTo>
                  <a:pt x="152" y="56"/>
                </a:lnTo>
                <a:lnTo>
                  <a:pt x="152" y="56"/>
                </a:lnTo>
                <a:lnTo>
                  <a:pt x="168" y="52"/>
                </a:lnTo>
                <a:lnTo>
                  <a:pt x="168" y="52"/>
                </a:lnTo>
                <a:lnTo>
                  <a:pt x="168" y="46"/>
                </a:lnTo>
                <a:lnTo>
                  <a:pt x="168" y="46"/>
                </a:lnTo>
                <a:lnTo>
                  <a:pt x="170" y="42"/>
                </a:lnTo>
                <a:lnTo>
                  <a:pt x="170" y="42"/>
                </a:lnTo>
                <a:lnTo>
                  <a:pt x="170" y="40"/>
                </a:lnTo>
                <a:lnTo>
                  <a:pt x="170" y="38"/>
                </a:lnTo>
                <a:lnTo>
                  <a:pt x="170" y="38"/>
                </a:lnTo>
                <a:lnTo>
                  <a:pt x="162" y="38"/>
                </a:lnTo>
                <a:lnTo>
                  <a:pt x="162" y="38"/>
                </a:lnTo>
                <a:lnTo>
                  <a:pt x="164" y="40"/>
                </a:lnTo>
                <a:lnTo>
                  <a:pt x="164" y="40"/>
                </a:lnTo>
                <a:lnTo>
                  <a:pt x="162" y="38"/>
                </a:lnTo>
                <a:lnTo>
                  <a:pt x="160" y="38"/>
                </a:lnTo>
                <a:lnTo>
                  <a:pt x="160" y="38"/>
                </a:lnTo>
                <a:lnTo>
                  <a:pt x="156" y="34"/>
                </a:lnTo>
                <a:lnTo>
                  <a:pt x="156" y="34"/>
                </a:lnTo>
                <a:lnTo>
                  <a:pt x="154" y="38"/>
                </a:lnTo>
                <a:lnTo>
                  <a:pt x="152" y="38"/>
                </a:lnTo>
                <a:lnTo>
                  <a:pt x="152" y="38"/>
                </a:lnTo>
                <a:lnTo>
                  <a:pt x="148" y="32"/>
                </a:lnTo>
                <a:lnTo>
                  <a:pt x="146" y="26"/>
                </a:lnTo>
                <a:lnTo>
                  <a:pt x="146" y="26"/>
                </a:lnTo>
                <a:lnTo>
                  <a:pt x="150" y="26"/>
                </a:lnTo>
                <a:lnTo>
                  <a:pt x="154" y="26"/>
                </a:lnTo>
                <a:lnTo>
                  <a:pt x="154" y="26"/>
                </a:lnTo>
                <a:lnTo>
                  <a:pt x="154" y="24"/>
                </a:lnTo>
                <a:lnTo>
                  <a:pt x="154" y="22"/>
                </a:lnTo>
                <a:lnTo>
                  <a:pt x="154" y="22"/>
                </a:lnTo>
                <a:lnTo>
                  <a:pt x="134" y="22"/>
                </a:lnTo>
                <a:lnTo>
                  <a:pt x="134" y="22"/>
                </a:lnTo>
                <a:lnTo>
                  <a:pt x="136" y="26"/>
                </a:lnTo>
                <a:lnTo>
                  <a:pt x="136" y="26"/>
                </a:lnTo>
                <a:lnTo>
                  <a:pt x="130" y="24"/>
                </a:lnTo>
                <a:lnTo>
                  <a:pt x="130" y="26"/>
                </a:lnTo>
                <a:lnTo>
                  <a:pt x="130" y="26"/>
                </a:lnTo>
                <a:lnTo>
                  <a:pt x="124" y="28"/>
                </a:lnTo>
                <a:lnTo>
                  <a:pt x="124" y="30"/>
                </a:lnTo>
                <a:lnTo>
                  <a:pt x="124" y="30"/>
                </a:lnTo>
                <a:lnTo>
                  <a:pt x="116" y="32"/>
                </a:lnTo>
                <a:lnTo>
                  <a:pt x="116" y="32"/>
                </a:lnTo>
                <a:lnTo>
                  <a:pt x="108" y="30"/>
                </a:lnTo>
                <a:lnTo>
                  <a:pt x="102" y="28"/>
                </a:lnTo>
                <a:lnTo>
                  <a:pt x="102" y="28"/>
                </a:lnTo>
                <a:lnTo>
                  <a:pt x="102" y="28"/>
                </a:lnTo>
                <a:lnTo>
                  <a:pt x="102" y="26"/>
                </a:lnTo>
                <a:lnTo>
                  <a:pt x="100" y="24"/>
                </a:lnTo>
                <a:lnTo>
                  <a:pt x="96" y="22"/>
                </a:lnTo>
                <a:lnTo>
                  <a:pt x="96" y="22"/>
                </a:lnTo>
                <a:lnTo>
                  <a:pt x="88" y="22"/>
                </a:lnTo>
                <a:lnTo>
                  <a:pt x="80" y="24"/>
                </a:lnTo>
                <a:lnTo>
                  <a:pt x="80" y="24"/>
                </a:lnTo>
                <a:lnTo>
                  <a:pt x="78" y="26"/>
                </a:lnTo>
                <a:lnTo>
                  <a:pt x="76" y="26"/>
                </a:lnTo>
                <a:lnTo>
                  <a:pt x="76" y="26"/>
                </a:lnTo>
                <a:lnTo>
                  <a:pt x="72" y="24"/>
                </a:lnTo>
                <a:lnTo>
                  <a:pt x="72" y="24"/>
                </a:lnTo>
                <a:lnTo>
                  <a:pt x="76" y="20"/>
                </a:lnTo>
                <a:lnTo>
                  <a:pt x="76" y="20"/>
                </a:lnTo>
                <a:lnTo>
                  <a:pt x="70" y="12"/>
                </a:lnTo>
                <a:lnTo>
                  <a:pt x="70" y="12"/>
                </a:lnTo>
                <a:lnTo>
                  <a:pt x="68" y="12"/>
                </a:lnTo>
                <a:lnTo>
                  <a:pt x="68" y="12"/>
                </a:lnTo>
                <a:lnTo>
                  <a:pt x="66" y="10"/>
                </a:lnTo>
                <a:lnTo>
                  <a:pt x="66" y="10"/>
                </a:lnTo>
                <a:lnTo>
                  <a:pt x="60" y="10"/>
                </a:lnTo>
                <a:lnTo>
                  <a:pt x="54" y="8"/>
                </a:lnTo>
                <a:lnTo>
                  <a:pt x="54" y="8"/>
                </a:lnTo>
                <a:lnTo>
                  <a:pt x="52" y="4"/>
                </a:lnTo>
                <a:lnTo>
                  <a:pt x="50" y="0"/>
                </a:lnTo>
                <a:lnTo>
                  <a:pt x="50" y="0"/>
                </a:lnTo>
                <a:lnTo>
                  <a:pt x="48" y="0"/>
                </a:lnTo>
                <a:lnTo>
                  <a:pt x="46" y="0"/>
                </a:lnTo>
                <a:lnTo>
                  <a:pt x="46" y="0"/>
                </a:lnTo>
                <a:lnTo>
                  <a:pt x="46" y="6"/>
                </a:lnTo>
                <a:lnTo>
                  <a:pt x="46" y="6"/>
                </a:lnTo>
                <a:lnTo>
                  <a:pt x="52" y="8"/>
                </a:lnTo>
                <a:lnTo>
                  <a:pt x="52" y="8"/>
                </a:lnTo>
                <a:lnTo>
                  <a:pt x="54" y="12"/>
                </a:lnTo>
                <a:lnTo>
                  <a:pt x="54" y="12"/>
                </a:lnTo>
                <a:lnTo>
                  <a:pt x="42" y="14"/>
                </a:lnTo>
                <a:lnTo>
                  <a:pt x="32" y="16"/>
                </a:lnTo>
                <a:lnTo>
                  <a:pt x="32" y="16"/>
                </a:lnTo>
                <a:lnTo>
                  <a:pt x="32" y="28"/>
                </a:lnTo>
                <a:lnTo>
                  <a:pt x="32" y="28"/>
                </a:lnTo>
                <a:lnTo>
                  <a:pt x="34" y="30"/>
                </a:lnTo>
                <a:lnTo>
                  <a:pt x="34" y="30"/>
                </a:lnTo>
                <a:lnTo>
                  <a:pt x="38" y="34"/>
                </a:lnTo>
                <a:lnTo>
                  <a:pt x="38" y="34"/>
                </a:lnTo>
                <a:lnTo>
                  <a:pt x="36" y="36"/>
                </a:lnTo>
                <a:lnTo>
                  <a:pt x="36" y="36"/>
                </a:lnTo>
                <a:lnTo>
                  <a:pt x="38" y="40"/>
                </a:lnTo>
                <a:lnTo>
                  <a:pt x="40" y="46"/>
                </a:lnTo>
                <a:lnTo>
                  <a:pt x="40" y="46"/>
                </a:lnTo>
                <a:lnTo>
                  <a:pt x="34" y="48"/>
                </a:lnTo>
                <a:lnTo>
                  <a:pt x="28" y="50"/>
                </a:lnTo>
                <a:lnTo>
                  <a:pt x="28" y="50"/>
                </a:lnTo>
                <a:lnTo>
                  <a:pt x="28" y="46"/>
                </a:lnTo>
                <a:lnTo>
                  <a:pt x="26" y="46"/>
                </a:lnTo>
                <a:lnTo>
                  <a:pt x="26" y="46"/>
                </a:lnTo>
                <a:lnTo>
                  <a:pt x="24" y="40"/>
                </a:lnTo>
                <a:lnTo>
                  <a:pt x="22" y="36"/>
                </a:lnTo>
                <a:lnTo>
                  <a:pt x="22" y="32"/>
                </a:lnTo>
                <a:lnTo>
                  <a:pt x="22" y="32"/>
                </a:lnTo>
                <a:lnTo>
                  <a:pt x="26" y="28"/>
                </a:lnTo>
                <a:lnTo>
                  <a:pt x="30" y="26"/>
                </a:lnTo>
                <a:lnTo>
                  <a:pt x="30" y="26"/>
                </a:lnTo>
                <a:lnTo>
                  <a:pt x="30" y="22"/>
                </a:lnTo>
                <a:lnTo>
                  <a:pt x="30" y="22"/>
                </a:lnTo>
                <a:lnTo>
                  <a:pt x="28" y="20"/>
                </a:lnTo>
                <a:lnTo>
                  <a:pt x="26" y="20"/>
                </a:lnTo>
                <a:lnTo>
                  <a:pt x="26" y="20"/>
                </a:lnTo>
                <a:lnTo>
                  <a:pt x="26" y="18"/>
                </a:lnTo>
                <a:lnTo>
                  <a:pt x="28" y="16"/>
                </a:lnTo>
                <a:lnTo>
                  <a:pt x="28" y="16"/>
                </a:lnTo>
                <a:lnTo>
                  <a:pt x="26" y="14"/>
                </a:lnTo>
                <a:lnTo>
                  <a:pt x="26" y="14"/>
                </a:lnTo>
                <a:lnTo>
                  <a:pt x="22" y="14"/>
                </a:lnTo>
                <a:lnTo>
                  <a:pt x="22" y="14"/>
                </a:lnTo>
                <a:lnTo>
                  <a:pt x="22" y="12"/>
                </a:lnTo>
                <a:lnTo>
                  <a:pt x="22" y="12"/>
                </a:lnTo>
                <a:lnTo>
                  <a:pt x="24" y="8"/>
                </a:lnTo>
                <a:lnTo>
                  <a:pt x="28" y="8"/>
                </a:lnTo>
                <a:lnTo>
                  <a:pt x="28" y="8"/>
                </a:lnTo>
                <a:lnTo>
                  <a:pt x="28" y="8"/>
                </a:lnTo>
                <a:lnTo>
                  <a:pt x="28" y="4"/>
                </a:lnTo>
                <a:lnTo>
                  <a:pt x="28" y="4"/>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0" name="Freeform 296">
            <a:extLst>
              <a:ext uri="{FF2B5EF4-FFF2-40B4-BE49-F238E27FC236}">
                <a16:creationId xmlns:a16="http://schemas.microsoft.com/office/drawing/2014/main" id="{DCDA4CFB-BC97-4CA8-A93C-4F5204186248}"/>
              </a:ext>
            </a:extLst>
          </p:cNvPr>
          <p:cNvSpPr>
            <a:spLocks/>
          </p:cNvSpPr>
          <p:nvPr userDrawn="1"/>
        </p:nvSpPr>
        <p:spPr bwMode="auto">
          <a:xfrm>
            <a:off x="7111915" y="2325018"/>
            <a:ext cx="372302" cy="274558"/>
          </a:xfrm>
          <a:custGeom>
            <a:avLst/>
            <a:gdLst>
              <a:gd name="T0" fmla="*/ 194 w 222"/>
              <a:gd name="T1" fmla="*/ 60 h 160"/>
              <a:gd name="T2" fmla="*/ 178 w 222"/>
              <a:gd name="T3" fmla="*/ 64 h 160"/>
              <a:gd name="T4" fmla="*/ 170 w 222"/>
              <a:gd name="T5" fmla="*/ 70 h 160"/>
              <a:gd name="T6" fmla="*/ 166 w 222"/>
              <a:gd name="T7" fmla="*/ 78 h 160"/>
              <a:gd name="T8" fmla="*/ 152 w 222"/>
              <a:gd name="T9" fmla="*/ 86 h 160"/>
              <a:gd name="T10" fmla="*/ 146 w 222"/>
              <a:gd name="T11" fmla="*/ 76 h 160"/>
              <a:gd name="T12" fmla="*/ 130 w 222"/>
              <a:gd name="T13" fmla="*/ 74 h 160"/>
              <a:gd name="T14" fmla="*/ 128 w 222"/>
              <a:gd name="T15" fmla="*/ 68 h 160"/>
              <a:gd name="T16" fmla="*/ 126 w 222"/>
              <a:gd name="T17" fmla="*/ 62 h 160"/>
              <a:gd name="T18" fmla="*/ 114 w 222"/>
              <a:gd name="T19" fmla="*/ 60 h 160"/>
              <a:gd name="T20" fmla="*/ 92 w 222"/>
              <a:gd name="T21" fmla="*/ 52 h 160"/>
              <a:gd name="T22" fmla="*/ 76 w 222"/>
              <a:gd name="T23" fmla="*/ 36 h 160"/>
              <a:gd name="T24" fmla="*/ 66 w 222"/>
              <a:gd name="T25" fmla="*/ 34 h 160"/>
              <a:gd name="T26" fmla="*/ 50 w 222"/>
              <a:gd name="T27" fmla="*/ 42 h 160"/>
              <a:gd name="T28" fmla="*/ 48 w 222"/>
              <a:gd name="T29" fmla="*/ 36 h 160"/>
              <a:gd name="T30" fmla="*/ 40 w 222"/>
              <a:gd name="T31" fmla="*/ 44 h 160"/>
              <a:gd name="T32" fmla="*/ 44 w 222"/>
              <a:gd name="T33" fmla="*/ 34 h 160"/>
              <a:gd name="T34" fmla="*/ 30 w 222"/>
              <a:gd name="T35" fmla="*/ 30 h 160"/>
              <a:gd name="T36" fmla="*/ 30 w 222"/>
              <a:gd name="T37" fmla="*/ 26 h 160"/>
              <a:gd name="T38" fmla="*/ 30 w 222"/>
              <a:gd name="T39" fmla="*/ 16 h 160"/>
              <a:gd name="T40" fmla="*/ 34 w 222"/>
              <a:gd name="T41" fmla="*/ 2 h 160"/>
              <a:gd name="T42" fmla="*/ 16 w 222"/>
              <a:gd name="T43" fmla="*/ 2 h 160"/>
              <a:gd name="T44" fmla="*/ 14 w 222"/>
              <a:gd name="T45" fmla="*/ 74 h 160"/>
              <a:gd name="T46" fmla="*/ 22 w 222"/>
              <a:gd name="T47" fmla="*/ 60 h 160"/>
              <a:gd name="T48" fmla="*/ 38 w 222"/>
              <a:gd name="T49" fmla="*/ 62 h 160"/>
              <a:gd name="T50" fmla="*/ 48 w 222"/>
              <a:gd name="T51" fmla="*/ 86 h 160"/>
              <a:gd name="T52" fmla="*/ 78 w 222"/>
              <a:gd name="T53" fmla="*/ 82 h 160"/>
              <a:gd name="T54" fmla="*/ 92 w 222"/>
              <a:gd name="T55" fmla="*/ 112 h 160"/>
              <a:gd name="T56" fmla="*/ 120 w 222"/>
              <a:gd name="T57" fmla="*/ 128 h 160"/>
              <a:gd name="T58" fmla="*/ 142 w 222"/>
              <a:gd name="T59" fmla="*/ 138 h 160"/>
              <a:gd name="T60" fmla="*/ 144 w 222"/>
              <a:gd name="T61" fmla="*/ 160 h 160"/>
              <a:gd name="T62" fmla="*/ 158 w 222"/>
              <a:gd name="T63" fmla="*/ 150 h 160"/>
              <a:gd name="T64" fmla="*/ 162 w 222"/>
              <a:gd name="T65" fmla="*/ 140 h 160"/>
              <a:gd name="T66" fmla="*/ 164 w 222"/>
              <a:gd name="T67" fmla="*/ 130 h 160"/>
              <a:gd name="T68" fmla="*/ 154 w 222"/>
              <a:gd name="T69" fmla="*/ 128 h 160"/>
              <a:gd name="T70" fmla="*/ 152 w 222"/>
              <a:gd name="T71" fmla="*/ 116 h 160"/>
              <a:gd name="T72" fmla="*/ 158 w 222"/>
              <a:gd name="T73" fmla="*/ 118 h 160"/>
              <a:gd name="T74" fmla="*/ 168 w 222"/>
              <a:gd name="T75" fmla="*/ 112 h 160"/>
              <a:gd name="T76" fmla="*/ 168 w 222"/>
              <a:gd name="T77" fmla="*/ 110 h 160"/>
              <a:gd name="T78" fmla="*/ 174 w 222"/>
              <a:gd name="T79" fmla="*/ 100 h 160"/>
              <a:gd name="T80" fmla="*/ 170 w 222"/>
              <a:gd name="T81" fmla="*/ 90 h 160"/>
              <a:gd name="T82" fmla="*/ 176 w 222"/>
              <a:gd name="T83" fmla="*/ 88 h 160"/>
              <a:gd name="T84" fmla="*/ 186 w 222"/>
              <a:gd name="T85" fmla="*/ 92 h 160"/>
              <a:gd name="T86" fmla="*/ 196 w 222"/>
              <a:gd name="T87" fmla="*/ 94 h 160"/>
              <a:gd name="T88" fmla="*/ 194 w 222"/>
              <a:gd name="T89" fmla="*/ 104 h 160"/>
              <a:gd name="T90" fmla="*/ 202 w 222"/>
              <a:gd name="T91" fmla="*/ 100 h 160"/>
              <a:gd name="T92" fmla="*/ 214 w 222"/>
              <a:gd name="T93" fmla="*/ 96 h 160"/>
              <a:gd name="T94" fmla="*/ 218 w 222"/>
              <a:gd name="T95" fmla="*/ 86 h 160"/>
              <a:gd name="T96" fmla="*/ 206 w 222"/>
              <a:gd name="T97" fmla="*/ 82 h 160"/>
              <a:gd name="T98" fmla="*/ 202 w 222"/>
              <a:gd name="T99" fmla="*/ 76 h 160"/>
              <a:gd name="T100" fmla="*/ 192 w 222"/>
              <a:gd name="T101" fmla="*/ 74 h 160"/>
              <a:gd name="T102" fmla="*/ 194 w 222"/>
              <a:gd name="T103" fmla="*/ 70 h 160"/>
              <a:gd name="T104" fmla="*/ 200 w 222"/>
              <a:gd name="T105" fmla="*/ 60 h 160"/>
              <a:gd name="T106" fmla="*/ 200 w 222"/>
              <a:gd name="T107" fmla="*/ 5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2" h="160">
                <a:moveTo>
                  <a:pt x="200" y="58"/>
                </a:moveTo>
                <a:lnTo>
                  <a:pt x="200" y="58"/>
                </a:lnTo>
                <a:lnTo>
                  <a:pt x="198" y="58"/>
                </a:lnTo>
                <a:lnTo>
                  <a:pt x="194" y="60"/>
                </a:lnTo>
                <a:lnTo>
                  <a:pt x="194" y="60"/>
                </a:lnTo>
                <a:lnTo>
                  <a:pt x="190" y="62"/>
                </a:lnTo>
                <a:lnTo>
                  <a:pt x="186" y="62"/>
                </a:lnTo>
                <a:lnTo>
                  <a:pt x="186" y="62"/>
                </a:lnTo>
                <a:lnTo>
                  <a:pt x="180" y="64"/>
                </a:lnTo>
                <a:lnTo>
                  <a:pt x="178" y="64"/>
                </a:lnTo>
                <a:lnTo>
                  <a:pt x="178" y="66"/>
                </a:lnTo>
                <a:lnTo>
                  <a:pt x="178" y="66"/>
                </a:lnTo>
                <a:lnTo>
                  <a:pt x="176" y="68"/>
                </a:lnTo>
                <a:lnTo>
                  <a:pt x="174" y="68"/>
                </a:lnTo>
                <a:lnTo>
                  <a:pt x="170" y="70"/>
                </a:lnTo>
                <a:lnTo>
                  <a:pt x="170" y="70"/>
                </a:lnTo>
                <a:lnTo>
                  <a:pt x="168" y="72"/>
                </a:lnTo>
                <a:lnTo>
                  <a:pt x="166" y="74"/>
                </a:lnTo>
                <a:lnTo>
                  <a:pt x="166" y="78"/>
                </a:lnTo>
                <a:lnTo>
                  <a:pt x="166" y="78"/>
                </a:lnTo>
                <a:lnTo>
                  <a:pt x="158" y="80"/>
                </a:lnTo>
                <a:lnTo>
                  <a:pt x="158" y="84"/>
                </a:lnTo>
                <a:lnTo>
                  <a:pt x="158" y="84"/>
                </a:lnTo>
                <a:lnTo>
                  <a:pt x="152" y="86"/>
                </a:lnTo>
                <a:lnTo>
                  <a:pt x="152" y="86"/>
                </a:lnTo>
                <a:lnTo>
                  <a:pt x="152" y="86"/>
                </a:lnTo>
                <a:lnTo>
                  <a:pt x="152" y="84"/>
                </a:lnTo>
                <a:lnTo>
                  <a:pt x="152" y="80"/>
                </a:lnTo>
                <a:lnTo>
                  <a:pt x="152" y="80"/>
                </a:lnTo>
                <a:lnTo>
                  <a:pt x="146" y="76"/>
                </a:lnTo>
                <a:lnTo>
                  <a:pt x="142" y="76"/>
                </a:lnTo>
                <a:lnTo>
                  <a:pt x="142" y="76"/>
                </a:lnTo>
                <a:lnTo>
                  <a:pt x="136" y="76"/>
                </a:lnTo>
                <a:lnTo>
                  <a:pt x="130" y="74"/>
                </a:lnTo>
                <a:lnTo>
                  <a:pt x="130" y="74"/>
                </a:lnTo>
                <a:lnTo>
                  <a:pt x="128" y="74"/>
                </a:lnTo>
                <a:lnTo>
                  <a:pt x="128" y="72"/>
                </a:lnTo>
                <a:lnTo>
                  <a:pt x="130" y="68"/>
                </a:lnTo>
                <a:lnTo>
                  <a:pt x="130" y="68"/>
                </a:lnTo>
                <a:lnTo>
                  <a:pt x="128" y="68"/>
                </a:lnTo>
                <a:lnTo>
                  <a:pt x="128" y="66"/>
                </a:lnTo>
                <a:lnTo>
                  <a:pt x="126" y="66"/>
                </a:lnTo>
                <a:lnTo>
                  <a:pt x="126" y="66"/>
                </a:lnTo>
                <a:lnTo>
                  <a:pt x="126" y="66"/>
                </a:lnTo>
                <a:lnTo>
                  <a:pt x="126" y="62"/>
                </a:lnTo>
                <a:lnTo>
                  <a:pt x="122" y="62"/>
                </a:lnTo>
                <a:lnTo>
                  <a:pt x="122" y="62"/>
                </a:lnTo>
                <a:lnTo>
                  <a:pt x="118" y="62"/>
                </a:lnTo>
                <a:lnTo>
                  <a:pt x="114" y="60"/>
                </a:lnTo>
                <a:lnTo>
                  <a:pt x="114" y="60"/>
                </a:lnTo>
                <a:lnTo>
                  <a:pt x="110" y="52"/>
                </a:lnTo>
                <a:lnTo>
                  <a:pt x="108" y="56"/>
                </a:lnTo>
                <a:lnTo>
                  <a:pt x="108" y="56"/>
                </a:lnTo>
                <a:lnTo>
                  <a:pt x="92" y="52"/>
                </a:lnTo>
                <a:lnTo>
                  <a:pt x="92" y="52"/>
                </a:lnTo>
                <a:lnTo>
                  <a:pt x="82" y="52"/>
                </a:lnTo>
                <a:lnTo>
                  <a:pt x="78" y="52"/>
                </a:lnTo>
                <a:lnTo>
                  <a:pt x="78" y="52"/>
                </a:lnTo>
                <a:lnTo>
                  <a:pt x="76" y="36"/>
                </a:lnTo>
                <a:lnTo>
                  <a:pt x="76" y="36"/>
                </a:lnTo>
                <a:lnTo>
                  <a:pt x="74" y="32"/>
                </a:lnTo>
                <a:lnTo>
                  <a:pt x="74" y="28"/>
                </a:lnTo>
                <a:lnTo>
                  <a:pt x="70" y="28"/>
                </a:lnTo>
                <a:lnTo>
                  <a:pt x="70" y="28"/>
                </a:lnTo>
                <a:lnTo>
                  <a:pt x="66" y="34"/>
                </a:lnTo>
                <a:lnTo>
                  <a:pt x="62" y="40"/>
                </a:lnTo>
                <a:lnTo>
                  <a:pt x="62" y="40"/>
                </a:lnTo>
                <a:lnTo>
                  <a:pt x="56" y="42"/>
                </a:lnTo>
                <a:lnTo>
                  <a:pt x="50" y="42"/>
                </a:lnTo>
                <a:lnTo>
                  <a:pt x="50" y="42"/>
                </a:lnTo>
                <a:lnTo>
                  <a:pt x="52" y="38"/>
                </a:lnTo>
                <a:lnTo>
                  <a:pt x="52" y="36"/>
                </a:lnTo>
                <a:lnTo>
                  <a:pt x="50" y="34"/>
                </a:lnTo>
                <a:lnTo>
                  <a:pt x="50" y="34"/>
                </a:lnTo>
                <a:lnTo>
                  <a:pt x="48" y="36"/>
                </a:lnTo>
                <a:lnTo>
                  <a:pt x="46" y="40"/>
                </a:lnTo>
                <a:lnTo>
                  <a:pt x="44" y="48"/>
                </a:lnTo>
                <a:lnTo>
                  <a:pt x="44" y="48"/>
                </a:lnTo>
                <a:lnTo>
                  <a:pt x="40" y="44"/>
                </a:lnTo>
                <a:lnTo>
                  <a:pt x="40" y="44"/>
                </a:lnTo>
                <a:lnTo>
                  <a:pt x="44" y="42"/>
                </a:lnTo>
                <a:lnTo>
                  <a:pt x="44" y="40"/>
                </a:lnTo>
                <a:lnTo>
                  <a:pt x="44" y="40"/>
                </a:lnTo>
                <a:lnTo>
                  <a:pt x="44" y="34"/>
                </a:lnTo>
                <a:lnTo>
                  <a:pt x="44" y="34"/>
                </a:lnTo>
                <a:lnTo>
                  <a:pt x="40" y="32"/>
                </a:lnTo>
                <a:lnTo>
                  <a:pt x="40" y="32"/>
                </a:lnTo>
                <a:lnTo>
                  <a:pt x="30" y="36"/>
                </a:lnTo>
                <a:lnTo>
                  <a:pt x="30" y="36"/>
                </a:lnTo>
                <a:lnTo>
                  <a:pt x="30" y="30"/>
                </a:lnTo>
                <a:lnTo>
                  <a:pt x="30" y="30"/>
                </a:lnTo>
                <a:lnTo>
                  <a:pt x="28" y="28"/>
                </a:lnTo>
                <a:lnTo>
                  <a:pt x="28" y="28"/>
                </a:lnTo>
                <a:lnTo>
                  <a:pt x="30" y="26"/>
                </a:lnTo>
                <a:lnTo>
                  <a:pt x="30" y="26"/>
                </a:lnTo>
                <a:lnTo>
                  <a:pt x="30" y="26"/>
                </a:lnTo>
                <a:lnTo>
                  <a:pt x="28" y="24"/>
                </a:lnTo>
                <a:lnTo>
                  <a:pt x="28" y="20"/>
                </a:lnTo>
                <a:lnTo>
                  <a:pt x="28" y="20"/>
                </a:lnTo>
                <a:lnTo>
                  <a:pt x="30" y="16"/>
                </a:lnTo>
                <a:lnTo>
                  <a:pt x="30" y="16"/>
                </a:lnTo>
                <a:lnTo>
                  <a:pt x="30" y="12"/>
                </a:lnTo>
                <a:lnTo>
                  <a:pt x="30" y="6"/>
                </a:lnTo>
                <a:lnTo>
                  <a:pt x="30" y="6"/>
                </a:lnTo>
                <a:lnTo>
                  <a:pt x="34" y="2"/>
                </a:lnTo>
                <a:lnTo>
                  <a:pt x="34" y="2"/>
                </a:lnTo>
                <a:lnTo>
                  <a:pt x="28" y="0"/>
                </a:lnTo>
                <a:lnTo>
                  <a:pt x="28" y="0"/>
                </a:lnTo>
                <a:lnTo>
                  <a:pt x="22" y="2"/>
                </a:lnTo>
                <a:lnTo>
                  <a:pt x="16" y="2"/>
                </a:lnTo>
                <a:lnTo>
                  <a:pt x="16" y="2"/>
                </a:lnTo>
                <a:lnTo>
                  <a:pt x="8" y="6"/>
                </a:lnTo>
                <a:lnTo>
                  <a:pt x="2" y="8"/>
                </a:lnTo>
                <a:lnTo>
                  <a:pt x="0" y="72"/>
                </a:lnTo>
                <a:lnTo>
                  <a:pt x="14" y="74"/>
                </a:lnTo>
                <a:lnTo>
                  <a:pt x="14" y="72"/>
                </a:lnTo>
                <a:lnTo>
                  <a:pt x="12" y="68"/>
                </a:lnTo>
                <a:lnTo>
                  <a:pt x="12" y="62"/>
                </a:lnTo>
                <a:lnTo>
                  <a:pt x="14" y="60"/>
                </a:lnTo>
                <a:lnTo>
                  <a:pt x="22" y="60"/>
                </a:lnTo>
                <a:lnTo>
                  <a:pt x="24" y="56"/>
                </a:lnTo>
                <a:lnTo>
                  <a:pt x="28" y="52"/>
                </a:lnTo>
                <a:lnTo>
                  <a:pt x="32" y="52"/>
                </a:lnTo>
                <a:lnTo>
                  <a:pt x="36" y="54"/>
                </a:lnTo>
                <a:lnTo>
                  <a:pt x="38" y="62"/>
                </a:lnTo>
                <a:lnTo>
                  <a:pt x="40" y="72"/>
                </a:lnTo>
                <a:lnTo>
                  <a:pt x="48" y="74"/>
                </a:lnTo>
                <a:lnTo>
                  <a:pt x="48" y="80"/>
                </a:lnTo>
                <a:lnTo>
                  <a:pt x="46" y="84"/>
                </a:lnTo>
                <a:lnTo>
                  <a:pt x="48" y="86"/>
                </a:lnTo>
                <a:lnTo>
                  <a:pt x="54" y="88"/>
                </a:lnTo>
                <a:lnTo>
                  <a:pt x="60" y="84"/>
                </a:lnTo>
                <a:lnTo>
                  <a:pt x="64" y="82"/>
                </a:lnTo>
                <a:lnTo>
                  <a:pt x="72" y="82"/>
                </a:lnTo>
                <a:lnTo>
                  <a:pt x="78" y="82"/>
                </a:lnTo>
                <a:lnTo>
                  <a:pt x="82" y="90"/>
                </a:lnTo>
                <a:lnTo>
                  <a:pt x="82" y="96"/>
                </a:lnTo>
                <a:lnTo>
                  <a:pt x="86" y="100"/>
                </a:lnTo>
                <a:lnTo>
                  <a:pt x="90" y="104"/>
                </a:lnTo>
                <a:lnTo>
                  <a:pt x="92" y="112"/>
                </a:lnTo>
                <a:lnTo>
                  <a:pt x="96" y="116"/>
                </a:lnTo>
                <a:lnTo>
                  <a:pt x="102" y="118"/>
                </a:lnTo>
                <a:lnTo>
                  <a:pt x="108" y="124"/>
                </a:lnTo>
                <a:lnTo>
                  <a:pt x="112" y="130"/>
                </a:lnTo>
                <a:lnTo>
                  <a:pt x="120" y="128"/>
                </a:lnTo>
                <a:lnTo>
                  <a:pt x="124" y="132"/>
                </a:lnTo>
                <a:lnTo>
                  <a:pt x="130" y="132"/>
                </a:lnTo>
                <a:lnTo>
                  <a:pt x="134" y="136"/>
                </a:lnTo>
                <a:lnTo>
                  <a:pt x="140" y="136"/>
                </a:lnTo>
                <a:lnTo>
                  <a:pt x="142" y="138"/>
                </a:lnTo>
                <a:lnTo>
                  <a:pt x="134" y="142"/>
                </a:lnTo>
                <a:lnTo>
                  <a:pt x="134" y="146"/>
                </a:lnTo>
                <a:lnTo>
                  <a:pt x="134" y="154"/>
                </a:lnTo>
                <a:lnTo>
                  <a:pt x="140" y="154"/>
                </a:lnTo>
                <a:lnTo>
                  <a:pt x="144" y="160"/>
                </a:lnTo>
                <a:lnTo>
                  <a:pt x="150" y="158"/>
                </a:lnTo>
                <a:lnTo>
                  <a:pt x="156" y="158"/>
                </a:lnTo>
                <a:lnTo>
                  <a:pt x="156" y="158"/>
                </a:lnTo>
                <a:lnTo>
                  <a:pt x="158" y="150"/>
                </a:lnTo>
                <a:lnTo>
                  <a:pt x="158" y="150"/>
                </a:lnTo>
                <a:lnTo>
                  <a:pt x="160" y="148"/>
                </a:lnTo>
                <a:lnTo>
                  <a:pt x="162" y="146"/>
                </a:lnTo>
                <a:lnTo>
                  <a:pt x="162" y="146"/>
                </a:lnTo>
                <a:lnTo>
                  <a:pt x="164" y="142"/>
                </a:lnTo>
                <a:lnTo>
                  <a:pt x="162" y="140"/>
                </a:lnTo>
                <a:lnTo>
                  <a:pt x="162" y="140"/>
                </a:lnTo>
                <a:lnTo>
                  <a:pt x="160" y="138"/>
                </a:lnTo>
                <a:lnTo>
                  <a:pt x="160" y="136"/>
                </a:lnTo>
                <a:lnTo>
                  <a:pt x="164" y="130"/>
                </a:lnTo>
                <a:lnTo>
                  <a:pt x="164" y="130"/>
                </a:lnTo>
                <a:lnTo>
                  <a:pt x="164" y="128"/>
                </a:lnTo>
                <a:lnTo>
                  <a:pt x="162" y="128"/>
                </a:lnTo>
                <a:lnTo>
                  <a:pt x="156" y="128"/>
                </a:lnTo>
                <a:lnTo>
                  <a:pt x="156" y="128"/>
                </a:lnTo>
                <a:lnTo>
                  <a:pt x="154" y="128"/>
                </a:lnTo>
                <a:lnTo>
                  <a:pt x="150" y="124"/>
                </a:lnTo>
                <a:lnTo>
                  <a:pt x="150" y="124"/>
                </a:lnTo>
                <a:lnTo>
                  <a:pt x="148" y="122"/>
                </a:lnTo>
                <a:lnTo>
                  <a:pt x="148" y="120"/>
                </a:lnTo>
                <a:lnTo>
                  <a:pt x="152" y="116"/>
                </a:lnTo>
                <a:lnTo>
                  <a:pt x="152" y="116"/>
                </a:lnTo>
                <a:lnTo>
                  <a:pt x="156" y="116"/>
                </a:lnTo>
                <a:lnTo>
                  <a:pt x="158" y="116"/>
                </a:lnTo>
                <a:lnTo>
                  <a:pt x="158" y="118"/>
                </a:lnTo>
                <a:lnTo>
                  <a:pt x="158" y="118"/>
                </a:lnTo>
                <a:lnTo>
                  <a:pt x="160" y="118"/>
                </a:lnTo>
                <a:lnTo>
                  <a:pt x="162" y="116"/>
                </a:lnTo>
                <a:lnTo>
                  <a:pt x="168" y="112"/>
                </a:lnTo>
                <a:lnTo>
                  <a:pt x="168" y="112"/>
                </a:lnTo>
                <a:lnTo>
                  <a:pt x="168" y="112"/>
                </a:lnTo>
                <a:lnTo>
                  <a:pt x="170" y="110"/>
                </a:lnTo>
                <a:lnTo>
                  <a:pt x="170" y="108"/>
                </a:lnTo>
                <a:lnTo>
                  <a:pt x="168" y="110"/>
                </a:lnTo>
                <a:lnTo>
                  <a:pt x="168" y="110"/>
                </a:lnTo>
                <a:lnTo>
                  <a:pt x="168" y="110"/>
                </a:lnTo>
                <a:lnTo>
                  <a:pt x="168" y="106"/>
                </a:lnTo>
                <a:lnTo>
                  <a:pt x="170" y="104"/>
                </a:lnTo>
                <a:lnTo>
                  <a:pt x="172" y="102"/>
                </a:lnTo>
                <a:lnTo>
                  <a:pt x="172" y="102"/>
                </a:lnTo>
                <a:lnTo>
                  <a:pt x="174" y="100"/>
                </a:lnTo>
                <a:lnTo>
                  <a:pt x="174" y="100"/>
                </a:lnTo>
                <a:lnTo>
                  <a:pt x="174" y="98"/>
                </a:lnTo>
                <a:lnTo>
                  <a:pt x="174" y="98"/>
                </a:lnTo>
                <a:lnTo>
                  <a:pt x="172" y="96"/>
                </a:lnTo>
                <a:lnTo>
                  <a:pt x="170" y="90"/>
                </a:lnTo>
                <a:lnTo>
                  <a:pt x="170" y="90"/>
                </a:lnTo>
                <a:lnTo>
                  <a:pt x="172" y="90"/>
                </a:lnTo>
                <a:lnTo>
                  <a:pt x="174" y="88"/>
                </a:lnTo>
                <a:lnTo>
                  <a:pt x="176" y="88"/>
                </a:lnTo>
                <a:lnTo>
                  <a:pt x="176" y="88"/>
                </a:lnTo>
                <a:lnTo>
                  <a:pt x="178" y="90"/>
                </a:lnTo>
                <a:lnTo>
                  <a:pt x="182" y="94"/>
                </a:lnTo>
                <a:lnTo>
                  <a:pt x="182" y="94"/>
                </a:lnTo>
                <a:lnTo>
                  <a:pt x="184" y="94"/>
                </a:lnTo>
                <a:lnTo>
                  <a:pt x="186" y="92"/>
                </a:lnTo>
                <a:lnTo>
                  <a:pt x="186" y="90"/>
                </a:lnTo>
                <a:lnTo>
                  <a:pt x="186" y="90"/>
                </a:lnTo>
                <a:lnTo>
                  <a:pt x="190" y="88"/>
                </a:lnTo>
                <a:lnTo>
                  <a:pt x="194" y="88"/>
                </a:lnTo>
                <a:lnTo>
                  <a:pt x="196" y="94"/>
                </a:lnTo>
                <a:lnTo>
                  <a:pt x="190" y="96"/>
                </a:lnTo>
                <a:lnTo>
                  <a:pt x="190" y="104"/>
                </a:lnTo>
                <a:lnTo>
                  <a:pt x="190" y="104"/>
                </a:lnTo>
                <a:lnTo>
                  <a:pt x="192" y="102"/>
                </a:lnTo>
                <a:lnTo>
                  <a:pt x="194" y="104"/>
                </a:lnTo>
                <a:lnTo>
                  <a:pt x="194" y="104"/>
                </a:lnTo>
                <a:lnTo>
                  <a:pt x="194" y="104"/>
                </a:lnTo>
                <a:lnTo>
                  <a:pt x="196" y="104"/>
                </a:lnTo>
                <a:lnTo>
                  <a:pt x="198" y="104"/>
                </a:lnTo>
                <a:lnTo>
                  <a:pt x="202" y="100"/>
                </a:lnTo>
                <a:lnTo>
                  <a:pt x="202" y="100"/>
                </a:lnTo>
                <a:lnTo>
                  <a:pt x="208" y="100"/>
                </a:lnTo>
                <a:lnTo>
                  <a:pt x="208" y="100"/>
                </a:lnTo>
                <a:lnTo>
                  <a:pt x="212" y="98"/>
                </a:lnTo>
                <a:lnTo>
                  <a:pt x="214" y="96"/>
                </a:lnTo>
                <a:lnTo>
                  <a:pt x="220" y="88"/>
                </a:lnTo>
                <a:lnTo>
                  <a:pt x="220" y="88"/>
                </a:lnTo>
                <a:lnTo>
                  <a:pt x="222" y="86"/>
                </a:lnTo>
                <a:lnTo>
                  <a:pt x="220" y="86"/>
                </a:lnTo>
                <a:lnTo>
                  <a:pt x="218" y="86"/>
                </a:lnTo>
                <a:lnTo>
                  <a:pt x="216" y="84"/>
                </a:lnTo>
                <a:lnTo>
                  <a:pt x="216" y="84"/>
                </a:lnTo>
                <a:lnTo>
                  <a:pt x="210" y="82"/>
                </a:lnTo>
                <a:lnTo>
                  <a:pt x="206" y="82"/>
                </a:lnTo>
                <a:lnTo>
                  <a:pt x="206" y="82"/>
                </a:lnTo>
                <a:lnTo>
                  <a:pt x="202" y="80"/>
                </a:lnTo>
                <a:lnTo>
                  <a:pt x="204" y="78"/>
                </a:lnTo>
                <a:lnTo>
                  <a:pt x="204" y="78"/>
                </a:lnTo>
                <a:lnTo>
                  <a:pt x="204" y="76"/>
                </a:lnTo>
                <a:lnTo>
                  <a:pt x="202" y="76"/>
                </a:lnTo>
                <a:lnTo>
                  <a:pt x="198" y="76"/>
                </a:lnTo>
                <a:lnTo>
                  <a:pt x="198" y="76"/>
                </a:lnTo>
                <a:lnTo>
                  <a:pt x="196" y="78"/>
                </a:lnTo>
                <a:lnTo>
                  <a:pt x="194" y="76"/>
                </a:lnTo>
                <a:lnTo>
                  <a:pt x="192" y="74"/>
                </a:lnTo>
                <a:lnTo>
                  <a:pt x="190" y="72"/>
                </a:lnTo>
                <a:lnTo>
                  <a:pt x="190" y="72"/>
                </a:lnTo>
                <a:lnTo>
                  <a:pt x="188" y="72"/>
                </a:lnTo>
                <a:lnTo>
                  <a:pt x="190" y="72"/>
                </a:lnTo>
                <a:lnTo>
                  <a:pt x="194" y="70"/>
                </a:lnTo>
                <a:lnTo>
                  <a:pt x="194" y="70"/>
                </a:lnTo>
                <a:lnTo>
                  <a:pt x="200" y="64"/>
                </a:lnTo>
                <a:lnTo>
                  <a:pt x="200" y="64"/>
                </a:lnTo>
                <a:lnTo>
                  <a:pt x="202" y="62"/>
                </a:lnTo>
                <a:lnTo>
                  <a:pt x="200" y="60"/>
                </a:lnTo>
                <a:lnTo>
                  <a:pt x="198" y="58"/>
                </a:lnTo>
                <a:lnTo>
                  <a:pt x="198" y="58"/>
                </a:lnTo>
                <a:lnTo>
                  <a:pt x="198" y="58"/>
                </a:lnTo>
                <a:lnTo>
                  <a:pt x="194" y="60"/>
                </a:lnTo>
                <a:lnTo>
                  <a:pt x="200" y="5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1" name="Freeform 297">
            <a:extLst>
              <a:ext uri="{FF2B5EF4-FFF2-40B4-BE49-F238E27FC236}">
                <a16:creationId xmlns:a16="http://schemas.microsoft.com/office/drawing/2014/main" id="{7F8802F0-121F-4F58-8176-FCE7D215A5C1}"/>
              </a:ext>
            </a:extLst>
          </p:cNvPr>
          <p:cNvSpPr>
            <a:spLocks/>
          </p:cNvSpPr>
          <p:nvPr userDrawn="1"/>
        </p:nvSpPr>
        <p:spPr bwMode="auto">
          <a:xfrm>
            <a:off x="3994305" y="2407385"/>
            <a:ext cx="6708" cy="13728"/>
          </a:xfrm>
          <a:custGeom>
            <a:avLst/>
            <a:gdLst>
              <a:gd name="T0" fmla="*/ 2 w 4"/>
              <a:gd name="T1" fmla="*/ 0 h 8"/>
              <a:gd name="T2" fmla="*/ 2 w 4"/>
              <a:gd name="T3" fmla="*/ 0 h 8"/>
              <a:gd name="T4" fmla="*/ 4 w 4"/>
              <a:gd name="T5" fmla="*/ 0 h 8"/>
              <a:gd name="T6" fmla="*/ 4 w 4"/>
              <a:gd name="T7" fmla="*/ 2 h 8"/>
              <a:gd name="T8" fmla="*/ 0 w 4"/>
              <a:gd name="T9" fmla="*/ 8 h 8"/>
              <a:gd name="T10" fmla="*/ 0 w 4"/>
              <a:gd name="T11" fmla="*/ 8 h 8"/>
              <a:gd name="T12" fmla="*/ 0 w 4"/>
              <a:gd name="T13" fmla="*/ 6 h 8"/>
              <a:gd name="T14" fmla="*/ 0 w 4"/>
              <a:gd name="T15" fmla="*/ 4 h 8"/>
              <a:gd name="T16" fmla="*/ 2 w 4"/>
              <a:gd name="T17" fmla="*/ 0 h 8"/>
              <a:gd name="T18" fmla="*/ 2 w 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2" y="0"/>
                </a:moveTo>
                <a:lnTo>
                  <a:pt x="2" y="0"/>
                </a:lnTo>
                <a:lnTo>
                  <a:pt x="4" y="0"/>
                </a:lnTo>
                <a:lnTo>
                  <a:pt x="4" y="2"/>
                </a:lnTo>
                <a:lnTo>
                  <a:pt x="0" y="8"/>
                </a:lnTo>
                <a:lnTo>
                  <a:pt x="0" y="8"/>
                </a:lnTo>
                <a:lnTo>
                  <a:pt x="0" y="6"/>
                </a:lnTo>
                <a:lnTo>
                  <a:pt x="0" y="4"/>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2" name="Freeform 298">
            <a:extLst>
              <a:ext uri="{FF2B5EF4-FFF2-40B4-BE49-F238E27FC236}">
                <a16:creationId xmlns:a16="http://schemas.microsoft.com/office/drawing/2014/main" id="{81B9EF72-8885-49DB-A880-C3C4B7DD2D9F}"/>
              </a:ext>
            </a:extLst>
          </p:cNvPr>
          <p:cNvSpPr>
            <a:spLocks/>
          </p:cNvSpPr>
          <p:nvPr userDrawn="1"/>
        </p:nvSpPr>
        <p:spPr bwMode="auto">
          <a:xfrm>
            <a:off x="3102122" y="2211762"/>
            <a:ext cx="13417" cy="27456"/>
          </a:xfrm>
          <a:custGeom>
            <a:avLst/>
            <a:gdLst>
              <a:gd name="T0" fmla="*/ 6 w 8"/>
              <a:gd name="T1" fmla="*/ 0 h 16"/>
              <a:gd name="T2" fmla="*/ 6 w 8"/>
              <a:gd name="T3" fmla="*/ 0 h 16"/>
              <a:gd name="T4" fmla="*/ 6 w 8"/>
              <a:gd name="T5" fmla="*/ 2 h 16"/>
              <a:gd name="T6" fmla="*/ 8 w 8"/>
              <a:gd name="T7" fmla="*/ 4 h 16"/>
              <a:gd name="T8" fmla="*/ 8 w 8"/>
              <a:gd name="T9" fmla="*/ 4 h 16"/>
              <a:gd name="T10" fmla="*/ 4 w 8"/>
              <a:gd name="T11" fmla="*/ 8 h 16"/>
              <a:gd name="T12" fmla="*/ 4 w 8"/>
              <a:gd name="T13" fmla="*/ 8 h 16"/>
              <a:gd name="T14" fmla="*/ 4 w 8"/>
              <a:gd name="T15" fmla="*/ 16 h 16"/>
              <a:gd name="T16" fmla="*/ 4 w 8"/>
              <a:gd name="T17" fmla="*/ 16 h 16"/>
              <a:gd name="T18" fmla="*/ 2 w 8"/>
              <a:gd name="T19" fmla="*/ 14 h 16"/>
              <a:gd name="T20" fmla="*/ 2 w 8"/>
              <a:gd name="T21" fmla="*/ 14 h 16"/>
              <a:gd name="T22" fmla="*/ 2 w 8"/>
              <a:gd name="T23" fmla="*/ 12 h 16"/>
              <a:gd name="T24" fmla="*/ 2 w 8"/>
              <a:gd name="T25" fmla="*/ 12 h 16"/>
              <a:gd name="T26" fmla="*/ 0 w 8"/>
              <a:gd name="T27" fmla="*/ 8 h 16"/>
              <a:gd name="T28" fmla="*/ 0 w 8"/>
              <a:gd name="T29" fmla="*/ 6 h 16"/>
              <a:gd name="T30" fmla="*/ 2 w 8"/>
              <a:gd name="T31" fmla="*/ 4 h 16"/>
              <a:gd name="T32" fmla="*/ 2 w 8"/>
              <a:gd name="T33" fmla="*/ 4 h 16"/>
              <a:gd name="T34" fmla="*/ 2 w 8"/>
              <a:gd name="T35" fmla="*/ 6 h 16"/>
              <a:gd name="T36" fmla="*/ 2 w 8"/>
              <a:gd name="T37" fmla="*/ 6 h 16"/>
              <a:gd name="T38" fmla="*/ 2 w 8"/>
              <a:gd name="T39" fmla="*/ 6 h 16"/>
              <a:gd name="T40" fmla="*/ 4 w 8"/>
              <a:gd name="T41" fmla="*/ 4 h 16"/>
              <a:gd name="T42" fmla="*/ 2 w 8"/>
              <a:gd name="T43" fmla="*/ 2 h 16"/>
              <a:gd name="T44" fmla="*/ 2 w 8"/>
              <a:gd name="T45" fmla="*/ 2 h 16"/>
              <a:gd name="T46" fmla="*/ 4 w 8"/>
              <a:gd name="T47" fmla="*/ 2 h 16"/>
              <a:gd name="T48" fmla="*/ 6 w 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6">
                <a:moveTo>
                  <a:pt x="6" y="0"/>
                </a:moveTo>
                <a:lnTo>
                  <a:pt x="6" y="0"/>
                </a:lnTo>
                <a:lnTo>
                  <a:pt x="6" y="2"/>
                </a:lnTo>
                <a:lnTo>
                  <a:pt x="8" y="4"/>
                </a:lnTo>
                <a:lnTo>
                  <a:pt x="8" y="4"/>
                </a:lnTo>
                <a:lnTo>
                  <a:pt x="4" y="8"/>
                </a:lnTo>
                <a:lnTo>
                  <a:pt x="4" y="8"/>
                </a:lnTo>
                <a:lnTo>
                  <a:pt x="4" y="16"/>
                </a:lnTo>
                <a:lnTo>
                  <a:pt x="4" y="16"/>
                </a:lnTo>
                <a:lnTo>
                  <a:pt x="2" y="14"/>
                </a:lnTo>
                <a:lnTo>
                  <a:pt x="2" y="14"/>
                </a:lnTo>
                <a:lnTo>
                  <a:pt x="2" y="12"/>
                </a:lnTo>
                <a:lnTo>
                  <a:pt x="2" y="12"/>
                </a:lnTo>
                <a:lnTo>
                  <a:pt x="0" y="8"/>
                </a:lnTo>
                <a:lnTo>
                  <a:pt x="0" y="6"/>
                </a:lnTo>
                <a:lnTo>
                  <a:pt x="2" y="4"/>
                </a:lnTo>
                <a:lnTo>
                  <a:pt x="2" y="4"/>
                </a:lnTo>
                <a:lnTo>
                  <a:pt x="2" y="6"/>
                </a:lnTo>
                <a:lnTo>
                  <a:pt x="2" y="6"/>
                </a:lnTo>
                <a:lnTo>
                  <a:pt x="2" y="6"/>
                </a:lnTo>
                <a:lnTo>
                  <a:pt x="4" y="4"/>
                </a:lnTo>
                <a:lnTo>
                  <a:pt x="2" y="2"/>
                </a:lnTo>
                <a:lnTo>
                  <a:pt x="2" y="2"/>
                </a:lnTo>
                <a:lnTo>
                  <a:pt x="4" y="2"/>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3" name="Freeform 299">
            <a:extLst>
              <a:ext uri="{FF2B5EF4-FFF2-40B4-BE49-F238E27FC236}">
                <a16:creationId xmlns:a16="http://schemas.microsoft.com/office/drawing/2014/main" id="{140B04DF-6AE8-4CD3-A362-61096CB219AD}"/>
              </a:ext>
            </a:extLst>
          </p:cNvPr>
          <p:cNvSpPr>
            <a:spLocks/>
          </p:cNvSpPr>
          <p:nvPr userDrawn="1"/>
        </p:nvSpPr>
        <p:spPr bwMode="auto">
          <a:xfrm>
            <a:off x="3095414" y="2246082"/>
            <a:ext cx="10062" cy="13728"/>
          </a:xfrm>
          <a:custGeom>
            <a:avLst/>
            <a:gdLst>
              <a:gd name="T0" fmla="*/ 6 w 6"/>
              <a:gd name="T1" fmla="*/ 0 h 8"/>
              <a:gd name="T2" fmla="*/ 6 w 6"/>
              <a:gd name="T3" fmla="*/ 0 h 8"/>
              <a:gd name="T4" fmla="*/ 6 w 6"/>
              <a:gd name="T5" fmla="*/ 2 h 8"/>
              <a:gd name="T6" fmla="*/ 6 w 6"/>
              <a:gd name="T7" fmla="*/ 2 h 8"/>
              <a:gd name="T8" fmla="*/ 2 w 6"/>
              <a:gd name="T9" fmla="*/ 4 h 8"/>
              <a:gd name="T10" fmla="*/ 2 w 6"/>
              <a:gd name="T11" fmla="*/ 4 h 8"/>
              <a:gd name="T12" fmla="*/ 2 w 6"/>
              <a:gd name="T13" fmla="*/ 8 h 8"/>
              <a:gd name="T14" fmla="*/ 2 w 6"/>
              <a:gd name="T15" fmla="*/ 8 h 8"/>
              <a:gd name="T16" fmla="*/ 0 w 6"/>
              <a:gd name="T17" fmla="*/ 6 h 8"/>
              <a:gd name="T18" fmla="*/ 0 w 6"/>
              <a:gd name="T19" fmla="*/ 4 h 8"/>
              <a:gd name="T20" fmla="*/ 0 w 6"/>
              <a:gd name="T21" fmla="*/ 4 h 8"/>
              <a:gd name="T22" fmla="*/ 6 w 6"/>
              <a:gd name="T23" fmla="*/ 0 h 8"/>
              <a:gd name="T24" fmla="*/ 6 w 6"/>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8">
                <a:moveTo>
                  <a:pt x="6" y="0"/>
                </a:moveTo>
                <a:lnTo>
                  <a:pt x="6" y="0"/>
                </a:lnTo>
                <a:lnTo>
                  <a:pt x="6" y="2"/>
                </a:lnTo>
                <a:lnTo>
                  <a:pt x="6" y="2"/>
                </a:lnTo>
                <a:lnTo>
                  <a:pt x="2" y="4"/>
                </a:lnTo>
                <a:lnTo>
                  <a:pt x="2" y="4"/>
                </a:lnTo>
                <a:lnTo>
                  <a:pt x="2" y="8"/>
                </a:lnTo>
                <a:lnTo>
                  <a:pt x="2" y="8"/>
                </a:lnTo>
                <a:lnTo>
                  <a:pt x="0" y="6"/>
                </a:lnTo>
                <a:lnTo>
                  <a:pt x="0" y="4"/>
                </a:lnTo>
                <a:lnTo>
                  <a:pt x="0" y="4"/>
                </a:lnTo>
                <a:lnTo>
                  <a:pt x="6" y="0"/>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4" name="Freeform 300">
            <a:extLst>
              <a:ext uri="{FF2B5EF4-FFF2-40B4-BE49-F238E27FC236}">
                <a16:creationId xmlns:a16="http://schemas.microsoft.com/office/drawing/2014/main" id="{F9967DB2-B4E0-4042-A916-CD920B7412DD}"/>
              </a:ext>
            </a:extLst>
          </p:cNvPr>
          <p:cNvSpPr>
            <a:spLocks/>
          </p:cNvSpPr>
          <p:nvPr userDrawn="1"/>
        </p:nvSpPr>
        <p:spPr bwMode="auto">
          <a:xfrm>
            <a:off x="4212320" y="2338746"/>
            <a:ext cx="3354" cy="17160"/>
          </a:xfrm>
          <a:custGeom>
            <a:avLst/>
            <a:gdLst>
              <a:gd name="T0" fmla="*/ 2 w 2"/>
              <a:gd name="T1" fmla="*/ 0 h 10"/>
              <a:gd name="T2" fmla="*/ 2 w 2"/>
              <a:gd name="T3" fmla="*/ 0 h 10"/>
              <a:gd name="T4" fmla="*/ 2 w 2"/>
              <a:gd name="T5" fmla="*/ 10 h 10"/>
              <a:gd name="T6" fmla="*/ 0 w 2"/>
              <a:gd name="T7" fmla="*/ 10 h 10"/>
              <a:gd name="T8" fmla="*/ 0 w 2"/>
              <a:gd name="T9" fmla="*/ 10 h 10"/>
              <a:gd name="T10" fmla="*/ 0 w 2"/>
              <a:gd name="T11" fmla="*/ 4 h 10"/>
              <a:gd name="T12" fmla="*/ 2 w 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0"/>
                </a:moveTo>
                <a:lnTo>
                  <a:pt x="2" y="0"/>
                </a:lnTo>
                <a:lnTo>
                  <a:pt x="2" y="10"/>
                </a:lnTo>
                <a:lnTo>
                  <a:pt x="0" y="10"/>
                </a:lnTo>
                <a:lnTo>
                  <a:pt x="0" y="10"/>
                </a:lnTo>
                <a:lnTo>
                  <a:pt x="0" y="4"/>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5" name="Freeform 19">
            <a:extLst>
              <a:ext uri="{FF2B5EF4-FFF2-40B4-BE49-F238E27FC236}">
                <a16:creationId xmlns:a16="http://schemas.microsoft.com/office/drawing/2014/main" id="{B6817EE6-EB65-4C64-B13D-C0BD182FCB3E}"/>
              </a:ext>
            </a:extLst>
          </p:cNvPr>
          <p:cNvSpPr>
            <a:spLocks/>
          </p:cNvSpPr>
          <p:nvPr userDrawn="1"/>
        </p:nvSpPr>
        <p:spPr bwMode="auto">
          <a:xfrm>
            <a:off x="3799769" y="2805495"/>
            <a:ext cx="3354" cy="10296"/>
          </a:xfrm>
          <a:custGeom>
            <a:avLst/>
            <a:gdLst>
              <a:gd name="T0" fmla="*/ 0 w 2"/>
              <a:gd name="T1" fmla="*/ 0 h 6"/>
              <a:gd name="T2" fmla="*/ 0 w 2"/>
              <a:gd name="T3" fmla="*/ 0 h 6"/>
              <a:gd name="T4" fmla="*/ 2 w 2"/>
              <a:gd name="T5" fmla="*/ 4 h 6"/>
              <a:gd name="T6" fmla="*/ 0 w 2"/>
              <a:gd name="T7" fmla="*/ 4 h 6"/>
              <a:gd name="T8" fmla="*/ 0 w 2"/>
              <a:gd name="T9" fmla="*/ 6 h 6"/>
              <a:gd name="T10" fmla="*/ 0 w 2"/>
              <a:gd name="T11" fmla="*/ 6 h 6"/>
              <a:gd name="T12" fmla="*/ 0 w 2"/>
              <a:gd name="T13" fmla="*/ 2 h 6"/>
              <a:gd name="T14" fmla="*/ 0 w 2"/>
              <a:gd name="T15" fmla="*/ 2 h 6"/>
              <a:gd name="T16" fmla="*/ 0 w 2"/>
              <a:gd name="T17" fmla="*/ 0 h 6"/>
              <a:gd name="T18" fmla="*/ 0 w 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0"/>
                </a:moveTo>
                <a:lnTo>
                  <a:pt x="0" y="0"/>
                </a:lnTo>
                <a:lnTo>
                  <a:pt x="2" y="4"/>
                </a:lnTo>
                <a:lnTo>
                  <a:pt x="0" y="4"/>
                </a:lnTo>
                <a:lnTo>
                  <a:pt x="0" y="6"/>
                </a:lnTo>
                <a:lnTo>
                  <a:pt x="0" y="6"/>
                </a:lnTo>
                <a:lnTo>
                  <a:pt x="0" y="2"/>
                </a:lnTo>
                <a:lnTo>
                  <a:pt x="0" y="2"/>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6" name="Freeform 20">
            <a:extLst>
              <a:ext uri="{FF2B5EF4-FFF2-40B4-BE49-F238E27FC236}">
                <a16:creationId xmlns:a16="http://schemas.microsoft.com/office/drawing/2014/main" id="{DA94B4AA-4FB9-45F1-BC84-1D4AD94C903D}"/>
              </a:ext>
            </a:extLst>
          </p:cNvPr>
          <p:cNvSpPr>
            <a:spLocks/>
          </p:cNvSpPr>
          <p:nvPr userDrawn="1"/>
        </p:nvSpPr>
        <p:spPr bwMode="auto">
          <a:xfrm>
            <a:off x="3803123" y="2819222"/>
            <a:ext cx="3354" cy="3432"/>
          </a:xfrm>
          <a:custGeom>
            <a:avLst/>
            <a:gdLst>
              <a:gd name="T0" fmla="*/ 2 w 2"/>
              <a:gd name="T1" fmla="*/ 0 h 2"/>
              <a:gd name="T2" fmla="*/ 2 w 2"/>
              <a:gd name="T3" fmla="*/ 2 h 2"/>
              <a:gd name="T4" fmla="*/ 2 w 2"/>
              <a:gd name="T5" fmla="*/ 2 h 2"/>
              <a:gd name="T6" fmla="*/ 0 w 2"/>
              <a:gd name="T7" fmla="*/ 2 h 2"/>
              <a:gd name="T8" fmla="*/ 0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7" name="Freeform 21">
            <a:extLst>
              <a:ext uri="{FF2B5EF4-FFF2-40B4-BE49-F238E27FC236}">
                <a16:creationId xmlns:a16="http://schemas.microsoft.com/office/drawing/2014/main" id="{8A603176-35D0-47F5-B1CA-54B1187C1BDC}"/>
              </a:ext>
            </a:extLst>
          </p:cNvPr>
          <p:cNvSpPr>
            <a:spLocks/>
          </p:cNvSpPr>
          <p:nvPr userDrawn="1"/>
        </p:nvSpPr>
        <p:spPr bwMode="auto">
          <a:xfrm>
            <a:off x="4541020" y="4566097"/>
            <a:ext cx="120747" cy="144143"/>
          </a:xfrm>
          <a:custGeom>
            <a:avLst/>
            <a:gdLst>
              <a:gd name="T0" fmla="*/ 66 w 72"/>
              <a:gd name="T1" fmla="*/ 56 h 84"/>
              <a:gd name="T2" fmla="*/ 72 w 72"/>
              <a:gd name="T3" fmla="*/ 46 h 84"/>
              <a:gd name="T4" fmla="*/ 66 w 72"/>
              <a:gd name="T5" fmla="*/ 42 h 84"/>
              <a:gd name="T6" fmla="*/ 62 w 72"/>
              <a:gd name="T7" fmla="*/ 38 h 84"/>
              <a:gd name="T8" fmla="*/ 60 w 72"/>
              <a:gd name="T9" fmla="*/ 34 h 84"/>
              <a:gd name="T10" fmla="*/ 56 w 72"/>
              <a:gd name="T11" fmla="*/ 30 h 84"/>
              <a:gd name="T12" fmla="*/ 50 w 72"/>
              <a:gd name="T13" fmla="*/ 28 h 84"/>
              <a:gd name="T14" fmla="*/ 42 w 72"/>
              <a:gd name="T15" fmla="*/ 20 h 84"/>
              <a:gd name="T16" fmla="*/ 40 w 72"/>
              <a:gd name="T17" fmla="*/ 18 h 84"/>
              <a:gd name="T18" fmla="*/ 36 w 72"/>
              <a:gd name="T19" fmla="*/ 18 h 84"/>
              <a:gd name="T20" fmla="*/ 34 w 72"/>
              <a:gd name="T21" fmla="*/ 16 h 84"/>
              <a:gd name="T22" fmla="*/ 20 w 72"/>
              <a:gd name="T23" fmla="*/ 0 h 84"/>
              <a:gd name="T24" fmla="*/ 10 w 72"/>
              <a:gd name="T25" fmla="*/ 4 h 84"/>
              <a:gd name="T26" fmla="*/ 6 w 72"/>
              <a:gd name="T27" fmla="*/ 10 h 84"/>
              <a:gd name="T28" fmla="*/ 6 w 72"/>
              <a:gd name="T29" fmla="*/ 14 h 84"/>
              <a:gd name="T30" fmla="*/ 4 w 72"/>
              <a:gd name="T31" fmla="*/ 20 h 84"/>
              <a:gd name="T32" fmla="*/ 2 w 72"/>
              <a:gd name="T33" fmla="*/ 24 h 84"/>
              <a:gd name="T34" fmla="*/ 2 w 72"/>
              <a:gd name="T35" fmla="*/ 28 h 84"/>
              <a:gd name="T36" fmla="*/ 0 w 72"/>
              <a:gd name="T37" fmla="*/ 34 h 84"/>
              <a:gd name="T38" fmla="*/ 0 w 72"/>
              <a:gd name="T39" fmla="*/ 36 h 84"/>
              <a:gd name="T40" fmla="*/ 0 w 72"/>
              <a:gd name="T41" fmla="*/ 48 h 84"/>
              <a:gd name="T42" fmla="*/ 0 w 72"/>
              <a:gd name="T43" fmla="*/ 48 h 84"/>
              <a:gd name="T44" fmla="*/ 0 w 72"/>
              <a:gd name="T45" fmla="*/ 66 h 84"/>
              <a:gd name="T46" fmla="*/ 2 w 72"/>
              <a:gd name="T47" fmla="*/ 72 h 84"/>
              <a:gd name="T48" fmla="*/ 4 w 72"/>
              <a:gd name="T49" fmla="*/ 72 h 84"/>
              <a:gd name="T50" fmla="*/ 8 w 72"/>
              <a:gd name="T51" fmla="*/ 74 h 84"/>
              <a:gd name="T52" fmla="*/ 12 w 72"/>
              <a:gd name="T53" fmla="*/ 74 h 84"/>
              <a:gd name="T54" fmla="*/ 16 w 72"/>
              <a:gd name="T55" fmla="*/ 80 h 84"/>
              <a:gd name="T56" fmla="*/ 18 w 72"/>
              <a:gd name="T57" fmla="*/ 80 h 84"/>
              <a:gd name="T58" fmla="*/ 24 w 72"/>
              <a:gd name="T59" fmla="*/ 84 h 84"/>
              <a:gd name="T60" fmla="*/ 30 w 72"/>
              <a:gd name="T61" fmla="*/ 82 h 84"/>
              <a:gd name="T62" fmla="*/ 32 w 72"/>
              <a:gd name="T63" fmla="*/ 82 h 84"/>
              <a:gd name="T64" fmla="*/ 40 w 72"/>
              <a:gd name="T65" fmla="*/ 84 h 84"/>
              <a:gd name="T66" fmla="*/ 50 w 72"/>
              <a:gd name="T67" fmla="*/ 82 h 84"/>
              <a:gd name="T68" fmla="*/ 58 w 72"/>
              <a:gd name="T69" fmla="*/ 76 h 84"/>
              <a:gd name="T70" fmla="*/ 62 w 72"/>
              <a:gd name="T71" fmla="*/ 70 h 84"/>
              <a:gd name="T72" fmla="*/ 64 w 72"/>
              <a:gd name="T73" fmla="*/ 64 h 84"/>
              <a:gd name="T74" fmla="*/ 68 w 72"/>
              <a:gd name="T75" fmla="*/ 6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84">
                <a:moveTo>
                  <a:pt x="66" y="58"/>
                </a:moveTo>
                <a:lnTo>
                  <a:pt x="66" y="56"/>
                </a:lnTo>
                <a:lnTo>
                  <a:pt x="72" y="46"/>
                </a:lnTo>
                <a:lnTo>
                  <a:pt x="72" y="46"/>
                </a:lnTo>
                <a:lnTo>
                  <a:pt x="70" y="46"/>
                </a:lnTo>
                <a:lnTo>
                  <a:pt x="66" y="42"/>
                </a:lnTo>
                <a:lnTo>
                  <a:pt x="66" y="42"/>
                </a:lnTo>
                <a:lnTo>
                  <a:pt x="62" y="38"/>
                </a:lnTo>
                <a:lnTo>
                  <a:pt x="60" y="34"/>
                </a:lnTo>
                <a:lnTo>
                  <a:pt x="60" y="34"/>
                </a:lnTo>
                <a:lnTo>
                  <a:pt x="58" y="32"/>
                </a:lnTo>
                <a:lnTo>
                  <a:pt x="56" y="30"/>
                </a:lnTo>
                <a:lnTo>
                  <a:pt x="50" y="28"/>
                </a:lnTo>
                <a:lnTo>
                  <a:pt x="50" y="28"/>
                </a:lnTo>
                <a:lnTo>
                  <a:pt x="46" y="24"/>
                </a:lnTo>
                <a:lnTo>
                  <a:pt x="42" y="20"/>
                </a:lnTo>
                <a:lnTo>
                  <a:pt x="42" y="20"/>
                </a:lnTo>
                <a:lnTo>
                  <a:pt x="40" y="18"/>
                </a:lnTo>
                <a:lnTo>
                  <a:pt x="38" y="18"/>
                </a:lnTo>
                <a:lnTo>
                  <a:pt x="36" y="18"/>
                </a:lnTo>
                <a:lnTo>
                  <a:pt x="34" y="16"/>
                </a:lnTo>
                <a:lnTo>
                  <a:pt x="34" y="16"/>
                </a:lnTo>
                <a:lnTo>
                  <a:pt x="30" y="8"/>
                </a:lnTo>
                <a:lnTo>
                  <a:pt x="20" y="0"/>
                </a:lnTo>
                <a:lnTo>
                  <a:pt x="10" y="4"/>
                </a:lnTo>
                <a:lnTo>
                  <a:pt x="10" y="4"/>
                </a:lnTo>
                <a:lnTo>
                  <a:pt x="8" y="6"/>
                </a:lnTo>
                <a:lnTo>
                  <a:pt x="6" y="10"/>
                </a:lnTo>
                <a:lnTo>
                  <a:pt x="6" y="14"/>
                </a:lnTo>
                <a:lnTo>
                  <a:pt x="6" y="14"/>
                </a:lnTo>
                <a:lnTo>
                  <a:pt x="6" y="18"/>
                </a:lnTo>
                <a:lnTo>
                  <a:pt x="4" y="20"/>
                </a:lnTo>
                <a:lnTo>
                  <a:pt x="4" y="22"/>
                </a:lnTo>
                <a:lnTo>
                  <a:pt x="2" y="24"/>
                </a:lnTo>
                <a:lnTo>
                  <a:pt x="2" y="24"/>
                </a:lnTo>
                <a:lnTo>
                  <a:pt x="2" y="28"/>
                </a:lnTo>
                <a:lnTo>
                  <a:pt x="2" y="32"/>
                </a:lnTo>
                <a:lnTo>
                  <a:pt x="0" y="34"/>
                </a:lnTo>
                <a:lnTo>
                  <a:pt x="0" y="36"/>
                </a:lnTo>
                <a:lnTo>
                  <a:pt x="0" y="36"/>
                </a:lnTo>
                <a:lnTo>
                  <a:pt x="0" y="44"/>
                </a:lnTo>
                <a:lnTo>
                  <a:pt x="0" y="48"/>
                </a:lnTo>
                <a:lnTo>
                  <a:pt x="0" y="48"/>
                </a:lnTo>
                <a:lnTo>
                  <a:pt x="0" y="48"/>
                </a:lnTo>
                <a:lnTo>
                  <a:pt x="0" y="60"/>
                </a:lnTo>
                <a:lnTo>
                  <a:pt x="0" y="66"/>
                </a:lnTo>
                <a:lnTo>
                  <a:pt x="2" y="72"/>
                </a:lnTo>
                <a:lnTo>
                  <a:pt x="2" y="72"/>
                </a:lnTo>
                <a:lnTo>
                  <a:pt x="4" y="72"/>
                </a:lnTo>
                <a:lnTo>
                  <a:pt x="4" y="72"/>
                </a:lnTo>
                <a:lnTo>
                  <a:pt x="8" y="74"/>
                </a:lnTo>
                <a:lnTo>
                  <a:pt x="8" y="74"/>
                </a:lnTo>
                <a:lnTo>
                  <a:pt x="12" y="74"/>
                </a:lnTo>
                <a:lnTo>
                  <a:pt x="12" y="74"/>
                </a:lnTo>
                <a:lnTo>
                  <a:pt x="16" y="80"/>
                </a:lnTo>
                <a:lnTo>
                  <a:pt x="16" y="80"/>
                </a:lnTo>
                <a:lnTo>
                  <a:pt x="18" y="80"/>
                </a:lnTo>
                <a:lnTo>
                  <a:pt x="18" y="80"/>
                </a:lnTo>
                <a:lnTo>
                  <a:pt x="24" y="82"/>
                </a:lnTo>
                <a:lnTo>
                  <a:pt x="24" y="84"/>
                </a:lnTo>
                <a:lnTo>
                  <a:pt x="24" y="84"/>
                </a:lnTo>
                <a:lnTo>
                  <a:pt x="30" y="82"/>
                </a:lnTo>
                <a:lnTo>
                  <a:pt x="32" y="82"/>
                </a:lnTo>
                <a:lnTo>
                  <a:pt x="32" y="82"/>
                </a:lnTo>
                <a:lnTo>
                  <a:pt x="38" y="82"/>
                </a:lnTo>
                <a:lnTo>
                  <a:pt x="40" y="84"/>
                </a:lnTo>
                <a:lnTo>
                  <a:pt x="40" y="84"/>
                </a:lnTo>
                <a:lnTo>
                  <a:pt x="50" y="82"/>
                </a:lnTo>
                <a:lnTo>
                  <a:pt x="58" y="78"/>
                </a:lnTo>
                <a:lnTo>
                  <a:pt x="58" y="76"/>
                </a:lnTo>
                <a:lnTo>
                  <a:pt x="58" y="76"/>
                </a:lnTo>
                <a:lnTo>
                  <a:pt x="62" y="70"/>
                </a:lnTo>
                <a:lnTo>
                  <a:pt x="62" y="70"/>
                </a:lnTo>
                <a:lnTo>
                  <a:pt x="64" y="64"/>
                </a:lnTo>
                <a:lnTo>
                  <a:pt x="64" y="64"/>
                </a:lnTo>
                <a:lnTo>
                  <a:pt x="68" y="60"/>
                </a:lnTo>
                <a:lnTo>
                  <a:pt x="66" y="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8" name="Freeform 22">
            <a:extLst>
              <a:ext uri="{FF2B5EF4-FFF2-40B4-BE49-F238E27FC236}">
                <a16:creationId xmlns:a16="http://schemas.microsoft.com/office/drawing/2014/main" id="{EA93FEA6-AE20-49FD-AB18-0C13A01AD86F}"/>
              </a:ext>
            </a:extLst>
          </p:cNvPr>
          <p:cNvSpPr>
            <a:spLocks noEditPoints="1"/>
          </p:cNvSpPr>
          <p:nvPr userDrawn="1"/>
        </p:nvSpPr>
        <p:spPr bwMode="auto">
          <a:xfrm>
            <a:off x="5681404" y="1847974"/>
            <a:ext cx="214661" cy="322606"/>
          </a:xfrm>
          <a:custGeom>
            <a:avLst/>
            <a:gdLst>
              <a:gd name="T0" fmla="*/ 26 w 128"/>
              <a:gd name="T1" fmla="*/ 84 h 188"/>
              <a:gd name="T2" fmla="*/ 30 w 128"/>
              <a:gd name="T3" fmla="*/ 100 h 188"/>
              <a:gd name="T4" fmla="*/ 10 w 128"/>
              <a:gd name="T5" fmla="*/ 102 h 188"/>
              <a:gd name="T6" fmla="*/ 0 w 128"/>
              <a:gd name="T7" fmla="*/ 98 h 188"/>
              <a:gd name="T8" fmla="*/ 6 w 128"/>
              <a:gd name="T9" fmla="*/ 86 h 188"/>
              <a:gd name="T10" fmla="*/ 52 w 128"/>
              <a:gd name="T11" fmla="*/ 26 h 188"/>
              <a:gd name="T12" fmla="*/ 74 w 128"/>
              <a:gd name="T13" fmla="*/ 24 h 188"/>
              <a:gd name="T14" fmla="*/ 72 w 128"/>
              <a:gd name="T15" fmla="*/ 44 h 188"/>
              <a:gd name="T16" fmla="*/ 66 w 128"/>
              <a:gd name="T17" fmla="*/ 60 h 188"/>
              <a:gd name="T18" fmla="*/ 76 w 128"/>
              <a:gd name="T19" fmla="*/ 70 h 188"/>
              <a:gd name="T20" fmla="*/ 84 w 128"/>
              <a:gd name="T21" fmla="*/ 86 h 188"/>
              <a:gd name="T22" fmla="*/ 98 w 128"/>
              <a:gd name="T23" fmla="*/ 102 h 188"/>
              <a:gd name="T24" fmla="*/ 108 w 128"/>
              <a:gd name="T25" fmla="*/ 112 h 188"/>
              <a:gd name="T26" fmla="*/ 110 w 128"/>
              <a:gd name="T27" fmla="*/ 126 h 188"/>
              <a:gd name="T28" fmla="*/ 114 w 128"/>
              <a:gd name="T29" fmla="*/ 130 h 188"/>
              <a:gd name="T30" fmla="*/ 128 w 128"/>
              <a:gd name="T31" fmla="*/ 132 h 188"/>
              <a:gd name="T32" fmla="*/ 114 w 128"/>
              <a:gd name="T33" fmla="*/ 152 h 188"/>
              <a:gd name="T34" fmla="*/ 110 w 128"/>
              <a:gd name="T35" fmla="*/ 160 h 188"/>
              <a:gd name="T36" fmla="*/ 116 w 128"/>
              <a:gd name="T37" fmla="*/ 166 h 188"/>
              <a:gd name="T38" fmla="*/ 102 w 128"/>
              <a:gd name="T39" fmla="*/ 168 h 188"/>
              <a:gd name="T40" fmla="*/ 80 w 128"/>
              <a:gd name="T41" fmla="*/ 168 h 188"/>
              <a:gd name="T42" fmla="*/ 70 w 128"/>
              <a:gd name="T43" fmla="*/ 174 h 188"/>
              <a:gd name="T44" fmla="*/ 52 w 128"/>
              <a:gd name="T45" fmla="*/ 178 h 188"/>
              <a:gd name="T46" fmla="*/ 36 w 128"/>
              <a:gd name="T47" fmla="*/ 180 h 188"/>
              <a:gd name="T48" fmla="*/ 24 w 128"/>
              <a:gd name="T49" fmla="*/ 182 h 188"/>
              <a:gd name="T50" fmla="*/ 40 w 128"/>
              <a:gd name="T51" fmla="*/ 164 h 188"/>
              <a:gd name="T52" fmla="*/ 68 w 128"/>
              <a:gd name="T53" fmla="*/ 152 h 188"/>
              <a:gd name="T54" fmla="*/ 56 w 128"/>
              <a:gd name="T55" fmla="*/ 154 h 188"/>
              <a:gd name="T56" fmla="*/ 46 w 128"/>
              <a:gd name="T57" fmla="*/ 156 h 188"/>
              <a:gd name="T58" fmla="*/ 40 w 128"/>
              <a:gd name="T59" fmla="*/ 152 h 188"/>
              <a:gd name="T60" fmla="*/ 36 w 128"/>
              <a:gd name="T61" fmla="*/ 154 h 188"/>
              <a:gd name="T62" fmla="*/ 32 w 128"/>
              <a:gd name="T63" fmla="*/ 146 h 188"/>
              <a:gd name="T64" fmla="*/ 46 w 128"/>
              <a:gd name="T65" fmla="*/ 128 h 188"/>
              <a:gd name="T66" fmla="*/ 42 w 128"/>
              <a:gd name="T67" fmla="*/ 114 h 188"/>
              <a:gd name="T68" fmla="*/ 50 w 128"/>
              <a:gd name="T69" fmla="*/ 116 h 188"/>
              <a:gd name="T70" fmla="*/ 64 w 128"/>
              <a:gd name="T71" fmla="*/ 116 h 188"/>
              <a:gd name="T72" fmla="*/ 60 w 128"/>
              <a:gd name="T73" fmla="*/ 98 h 188"/>
              <a:gd name="T74" fmla="*/ 42 w 128"/>
              <a:gd name="T75" fmla="*/ 86 h 188"/>
              <a:gd name="T76" fmla="*/ 38 w 128"/>
              <a:gd name="T77" fmla="*/ 88 h 188"/>
              <a:gd name="T78" fmla="*/ 38 w 128"/>
              <a:gd name="T79" fmla="*/ 66 h 188"/>
              <a:gd name="T80" fmla="*/ 34 w 128"/>
              <a:gd name="T81" fmla="*/ 62 h 188"/>
              <a:gd name="T82" fmla="*/ 28 w 128"/>
              <a:gd name="T83" fmla="*/ 62 h 188"/>
              <a:gd name="T84" fmla="*/ 30 w 128"/>
              <a:gd name="T85" fmla="*/ 56 h 188"/>
              <a:gd name="T86" fmla="*/ 26 w 128"/>
              <a:gd name="T87" fmla="*/ 52 h 188"/>
              <a:gd name="T88" fmla="*/ 26 w 128"/>
              <a:gd name="T89" fmla="*/ 38 h 188"/>
              <a:gd name="T90" fmla="*/ 28 w 128"/>
              <a:gd name="T91" fmla="*/ 24 h 188"/>
              <a:gd name="T92" fmla="*/ 36 w 128"/>
              <a:gd name="T93" fmla="*/ 20 h 188"/>
              <a:gd name="T94" fmla="*/ 36 w 128"/>
              <a:gd name="T95" fmla="*/ 12 h 188"/>
              <a:gd name="T96" fmla="*/ 44 w 128"/>
              <a:gd name="T97" fmla="*/ 4 h 188"/>
              <a:gd name="T98" fmla="*/ 52 w 128"/>
              <a:gd name="T99" fmla="*/ 0 h 188"/>
              <a:gd name="T100" fmla="*/ 54 w 128"/>
              <a:gd name="T101" fmla="*/ 18 h 188"/>
              <a:gd name="T102" fmla="*/ 48 w 128"/>
              <a:gd name="T103" fmla="*/ 28 h 188"/>
              <a:gd name="T104" fmla="*/ 24 w 128"/>
              <a:gd name="T105" fmla="*/ 56 h 188"/>
              <a:gd name="T106" fmla="*/ 20 w 128"/>
              <a:gd name="T107" fmla="*/ 54 h 188"/>
              <a:gd name="T108" fmla="*/ 20 w 128"/>
              <a:gd name="T109" fmla="*/ 28 h 188"/>
              <a:gd name="T110" fmla="*/ 24 w 128"/>
              <a:gd name="T111" fmla="*/ 42 h 188"/>
              <a:gd name="T112" fmla="*/ 16 w 128"/>
              <a:gd name="T113" fmla="*/ 36 h 188"/>
              <a:gd name="T114" fmla="*/ 20 w 128"/>
              <a:gd name="T115" fmla="*/ 28 h 188"/>
              <a:gd name="T116" fmla="*/ 14 w 128"/>
              <a:gd name="T117" fmla="*/ 22 h 188"/>
              <a:gd name="T118" fmla="*/ 10 w 128"/>
              <a:gd name="T119" fmla="*/ 10 h 188"/>
              <a:gd name="T120" fmla="*/ 22 w 128"/>
              <a:gd name="T121"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88">
                <a:moveTo>
                  <a:pt x="12" y="84"/>
                </a:moveTo>
                <a:lnTo>
                  <a:pt x="12" y="84"/>
                </a:lnTo>
                <a:lnTo>
                  <a:pt x="10" y="86"/>
                </a:lnTo>
                <a:lnTo>
                  <a:pt x="10" y="86"/>
                </a:lnTo>
                <a:lnTo>
                  <a:pt x="10" y="86"/>
                </a:lnTo>
                <a:lnTo>
                  <a:pt x="18" y="82"/>
                </a:lnTo>
                <a:lnTo>
                  <a:pt x="20" y="82"/>
                </a:lnTo>
                <a:lnTo>
                  <a:pt x="26" y="84"/>
                </a:lnTo>
                <a:lnTo>
                  <a:pt x="26" y="84"/>
                </a:lnTo>
                <a:lnTo>
                  <a:pt x="22" y="90"/>
                </a:lnTo>
                <a:lnTo>
                  <a:pt x="22" y="90"/>
                </a:lnTo>
                <a:lnTo>
                  <a:pt x="26" y="90"/>
                </a:lnTo>
                <a:lnTo>
                  <a:pt x="26" y="90"/>
                </a:lnTo>
                <a:lnTo>
                  <a:pt x="28" y="96"/>
                </a:lnTo>
                <a:lnTo>
                  <a:pt x="30" y="100"/>
                </a:lnTo>
                <a:lnTo>
                  <a:pt x="30" y="100"/>
                </a:lnTo>
                <a:lnTo>
                  <a:pt x="24" y="102"/>
                </a:lnTo>
                <a:lnTo>
                  <a:pt x="18" y="102"/>
                </a:lnTo>
                <a:lnTo>
                  <a:pt x="18" y="102"/>
                </a:lnTo>
                <a:lnTo>
                  <a:pt x="18" y="104"/>
                </a:lnTo>
                <a:lnTo>
                  <a:pt x="14" y="104"/>
                </a:lnTo>
                <a:lnTo>
                  <a:pt x="10" y="102"/>
                </a:lnTo>
                <a:lnTo>
                  <a:pt x="10" y="102"/>
                </a:lnTo>
                <a:lnTo>
                  <a:pt x="10" y="102"/>
                </a:lnTo>
                <a:lnTo>
                  <a:pt x="6" y="104"/>
                </a:lnTo>
                <a:lnTo>
                  <a:pt x="6" y="104"/>
                </a:lnTo>
                <a:lnTo>
                  <a:pt x="4" y="104"/>
                </a:lnTo>
                <a:lnTo>
                  <a:pt x="4" y="102"/>
                </a:lnTo>
                <a:lnTo>
                  <a:pt x="4" y="100"/>
                </a:lnTo>
                <a:lnTo>
                  <a:pt x="2" y="98"/>
                </a:lnTo>
                <a:lnTo>
                  <a:pt x="2" y="98"/>
                </a:lnTo>
                <a:lnTo>
                  <a:pt x="0" y="98"/>
                </a:lnTo>
                <a:lnTo>
                  <a:pt x="0" y="96"/>
                </a:lnTo>
                <a:lnTo>
                  <a:pt x="0" y="96"/>
                </a:lnTo>
                <a:lnTo>
                  <a:pt x="0" y="94"/>
                </a:lnTo>
                <a:lnTo>
                  <a:pt x="2" y="94"/>
                </a:lnTo>
                <a:lnTo>
                  <a:pt x="4" y="92"/>
                </a:lnTo>
                <a:lnTo>
                  <a:pt x="4" y="90"/>
                </a:lnTo>
                <a:lnTo>
                  <a:pt x="4" y="90"/>
                </a:lnTo>
                <a:lnTo>
                  <a:pt x="6" y="86"/>
                </a:lnTo>
                <a:lnTo>
                  <a:pt x="8" y="84"/>
                </a:lnTo>
                <a:lnTo>
                  <a:pt x="12" y="82"/>
                </a:lnTo>
                <a:lnTo>
                  <a:pt x="12" y="84"/>
                </a:lnTo>
                <a:close/>
                <a:moveTo>
                  <a:pt x="50" y="28"/>
                </a:moveTo>
                <a:lnTo>
                  <a:pt x="50" y="28"/>
                </a:lnTo>
                <a:lnTo>
                  <a:pt x="52" y="26"/>
                </a:lnTo>
                <a:lnTo>
                  <a:pt x="52" y="26"/>
                </a:lnTo>
                <a:lnTo>
                  <a:pt x="52" y="26"/>
                </a:lnTo>
                <a:lnTo>
                  <a:pt x="60" y="26"/>
                </a:lnTo>
                <a:lnTo>
                  <a:pt x="60" y="26"/>
                </a:lnTo>
                <a:lnTo>
                  <a:pt x="60" y="24"/>
                </a:lnTo>
                <a:lnTo>
                  <a:pt x="60" y="24"/>
                </a:lnTo>
                <a:lnTo>
                  <a:pt x="66" y="26"/>
                </a:lnTo>
                <a:lnTo>
                  <a:pt x="66" y="26"/>
                </a:lnTo>
                <a:lnTo>
                  <a:pt x="70" y="24"/>
                </a:lnTo>
                <a:lnTo>
                  <a:pt x="74" y="24"/>
                </a:lnTo>
                <a:lnTo>
                  <a:pt x="74" y="24"/>
                </a:lnTo>
                <a:lnTo>
                  <a:pt x="78" y="26"/>
                </a:lnTo>
                <a:lnTo>
                  <a:pt x="78" y="26"/>
                </a:lnTo>
                <a:lnTo>
                  <a:pt x="74" y="34"/>
                </a:lnTo>
                <a:lnTo>
                  <a:pt x="74" y="34"/>
                </a:lnTo>
                <a:lnTo>
                  <a:pt x="74" y="40"/>
                </a:lnTo>
                <a:lnTo>
                  <a:pt x="74" y="40"/>
                </a:lnTo>
                <a:lnTo>
                  <a:pt x="72" y="44"/>
                </a:lnTo>
                <a:lnTo>
                  <a:pt x="68" y="46"/>
                </a:lnTo>
                <a:lnTo>
                  <a:pt x="68" y="46"/>
                </a:lnTo>
                <a:lnTo>
                  <a:pt x="68" y="50"/>
                </a:lnTo>
                <a:lnTo>
                  <a:pt x="66" y="50"/>
                </a:lnTo>
                <a:lnTo>
                  <a:pt x="66" y="50"/>
                </a:lnTo>
                <a:lnTo>
                  <a:pt x="70" y="60"/>
                </a:lnTo>
                <a:lnTo>
                  <a:pt x="70" y="60"/>
                </a:lnTo>
                <a:lnTo>
                  <a:pt x="66" y="60"/>
                </a:lnTo>
                <a:lnTo>
                  <a:pt x="66" y="60"/>
                </a:lnTo>
                <a:lnTo>
                  <a:pt x="64" y="64"/>
                </a:lnTo>
                <a:lnTo>
                  <a:pt x="64" y="64"/>
                </a:lnTo>
                <a:lnTo>
                  <a:pt x="72" y="64"/>
                </a:lnTo>
                <a:lnTo>
                  <a:pt x="72" y="64"/>
                </a:lnTo>
                <a:lnTo>
                  <a:pt x="72" y="68"/>
                </a:lnTo>
                <a:lnTo>
                  <a:pt x="72" y="68"/>
                </a:lnTo>
                <a:lnTo>
                  <a:pt x="76" y="70"/>
                </a:lnTo>
                <a:lnTo>
                  <a:pt x="80" y="74"/>
                </a:lnTo>
                <a:lnTo>
                  <a:pt x="80" y="74"/>
                </a:lnTo>
                <a:lnTo>
                  <a:pt x="80" y="76"/>
                </a:lnTo>
                <a:lnTo>
                  <a:pt x="80" y="76"/>
                </a:lnTo>
                <a:lnTo>
                  <a:pt x="84" y="78"/>
                </a:lnTo>
                <a:lnTo>
                  <a:pt x="84" y="78"/>
                </a:lnTo>
                <a:lnTo>
                  <a:pt x="84" y="82"/>
                </a:lnTo>
                <a:lnTo>
                  <a:pt x="84" y="86"/>
                </a:lnTo>
                <a:lnTo>
                  <a:pt x="84" y="86"/>
                </a:lnTo>
                <a:lnTo>
                  <a:pt x="90" y="92"/>
                </a:lnTo>
                <a:lnTo>
                  <a:pt x="90" y="92"/>
                </a:lnTo>
                <a:lnTo>
                  <a:pt x="92" y="92"/>
                </a:lnTo>
                <a:lnTo>
                  <a:pt x="92" y="92"/>
                </a:lnTo>
                <a:lnTo>
                  <a:pt x="94" y="96"/>
                </a:lnTo>
                <a:lnTo>
                  <a:pt x="98" y="102"/>
                </a:lnTo>
                <a:lnTo>
                  <a:pt x="98" y="102"/>
                </a:lnTo>
                <a:lnTo>
                  <a:pt x="100" y="102"/>
                </a:lnTo>
                <a:lnTo>
                  <a:pt x="102" y="102"/>
                </a:lnTo>
                <a:lnTo>
                  <a:pt x="102" y="102"/>
                </a:lnTo>
                <a:lnTo>
                  <a:pt x="106" y="106"/>
                </a:lnTo>
                <a:lnTo>
                  <a:pt x="108" y="110"/>
                </a:lnTo>
                <a:lnTo>
                  <a:pt x="108" y="110"/>
                </a:lnTo>
                <a:lnTo>
                  <a:pt x="108" y="110"/>
                </a:lnTo>
                <a:lnTo>
                  <a:pt x="108" y="112"/>
                </a:lnTo>
                <a:lnTo>
                  <a:pt x="108" y="112"/>
                </a:lnTo>
                <a:lnTo>
                  <a:pt x="106" y="112"/>
                </a:lnTo>
                <a:lnTo>
                  <a:pt x="100" y="108"/>
                </a:lnTo>
                <a:lnTo>
                  <a:pt x="100" y="108"/>
                </a:lnTo>
                <a:lnTo>
                  <a:pt x="104" y="114"/>
                </a:lnTo>
                <a:lnTo>
                  <a:pt x="108" y="120"/>
                </a:lnTo>
                <a:lnTo>
                  <a:pt x="108" y="120"/>
                </a:lnTo>
                <a:lnTo>
                  <a:pt x="110" y="126"/>
                </a:lnTo>
                <a:lnTo>
                  <a:pt x="110" y="126"/>
                </a:lnTo>
                <a:lnTo>
                  <a:pt x="108" y="126"/>
                </a:lnTo>
                <a:lnTo>
                  <a:pt x="108" y="128"/>
                </a:lnTo>
                <a:lnTo>
                  <a:pt x="108" y="128"/>
                </a:lnTo>
                <a:lnTo>
                  <a:pt x="110" y="132"/>
                </a:lnTo>
                <a:lnTo>
                  <a:pt x="110" y="132"/>
                </a:lnTo>
                <a:lnTo>
                  <a:pt x="112" y="130"/>
                </a:lnTo>
                <a:lnTo>
                  <a:pt x="114" y="130"/>
                </a:lnTo>
                <a:lnTo>
                  <a:pt x="112" y="130"/>
                </a:lnTo>
                <a:lnTo>
                  <a:pt x="112" y="130"/>
                </a:lnTo>
                <a:lnTo>
                  <a:pt x="114" y="126"/>
                </a:lnTo>
                <a:lnTo>
                  <a:pt x="114" y="126"/>
                </a:lnTo>
                <a:lnTo>
                  <a:pt x="120" y="128"/>
                </a:lnTo>
                <a:lnTo>
                  <a:pt x="126" y="128"/>
                </a:lnTo>
                <a:lnTo>
                  <a:pt x="126" y="128"/>
                </a:lnTo>
                <a:lnTo>
                  <a:pt x="128" y="132"/>
                </a:lnTo>
                <a:lnTo>
                  <a:pt x="128" y="138"/>
                </a:lnTo>
                <a:lnTo>
                  <a:pt x="126" y="144"/>
                </a:lnTo>
                <a:lnTo>
                  <a:pt x="124" y="148"/>
                </a:lnTo>
                <a:lnTo>
                  <a:pt x="122" y="148"/>
                </a:lnTo>
                <a:lnTo>
                  <a:pt x="122" y="148"/>
                </a:lnTo>
                <a:lnTo>
                  <a:pt x="122" y="152"/>
                </a:lnTo>
                <a:lnTo>
                  <a:pt x="122" y="152"/>
                </a:lnTo>
                <a:lnTo>
                  <a:pt x="114" y="152"/>
                </a:lnTo>
                <a:lnTo>
                  <a:pt x="114" y="154"/>
                </a:lnTo>
                <a:lnTo>
                  <a:pt x="114" y="154"/>
                </a:lnTo>
                <a:lnTo>
                  <a:pt x="110" y="154"/>
                </a:lnTo>
                <a:lnTo>
                  <a:pt x="110" y="154"/>
                </a:lnTo>
                <a:lnTo>
                  <a:pt x="112" y="158"/>
                </a:lnTo>
                <a:lnTo>
                  <a:pt x="112" y="158"/>
                </a:lnTo>
                <a:lnTo>
                  <a:pt x="110" y="158"/>
                </a:lnTo>
                <a:lnTo>
                  <a:pt x="110" y="160"/>
                </a:lnTo>
                <a:lnTo>
                  <a:pt x="110" y="160"/>
                </a:lnTo>
                <a:lnTo>
                  <a:pt x="118" y="160"/>
                </a:lnTo>
                <a:lnTo>
                  <a:pt x="122" y="160"/>
                </a:lnTo>
                <a:lnTo>
                  <a:pt x="120" y="162"/>
                </a:lnTo>
                <a:lnTo>
                  <a:pt x="120" y="162"/>
                </a:lnTo>
                <a:lnTo>
                  <a:pt x="120" y="164"/>
                </a:lnTo>
                <a:lnTo>
                  <a:pt x="120" y="164"/>
                </a:lnTo>
                <a:lnTo>
                  <a:pt x="116" y="166"/>
                </a:lnTo>
                <a:lnTo>
                  <a:pt x="116" y="166"/>
                </a:lnTo>
                <a:lnTo>
                  <a:pt x="114" y="168"/>
                </a:lnTo>
                <a:lnTo>
                  <a:pt x="114" y="168"/>
                </a:lnTo>
                <a:lnTo>
                  <a:pt x="110" y="168"/>
                </a:lnTo>
                <a:lnTo>
                  <a:pt x="108" y="172"/>
                </a:lnTo>
                <a:lnTo>
                  <a:pt x="108" y="172"/>
                </a:lnTo>
                <a:lnTo>
                  <a:pt x="106" y="170"/>
                </a:lnTo>
                <a:lnTo>
                  <a:pt x="102" y="168"/>
                </a:lnTo>
                <a:lnTo>
                  <a:pt x="102" y="168"/>
                </a:lnTo>
                <a:lnTo>
                  <a:pt x="98" y="168"/>
                </a:lnTo>
                <a:lnTo>
                  <a:pt x="96" y="168"/>
                </a:lnTo>
                <a:lnTo>
                  <a:pt x="90" y="170"/>
                </a:lnTo>
                <a:lnTo>
                  <a:pt x="90" y="170"/>
                </a:lnTo>
                <a:lnTo>
                  <a:pt x="86" y="170"/>
                </a:lnTo>
                <a:lnTo>
                  <a:pt x="84" y="168"/>
                </a:lnTo>
                <a:lnTo>
                  <a:pt x="80" y="168"/>
                </a:lnTo>
                <a:lnTo>
                  <a:pt x="80" y="170"/>
                </a:lnTo>
                <a:lnTo>
                  <a:pt x="80" y="170"/>
                </a:lnTo>
                <a:lnTo>
                  <a:pt x="76" y="172"/>
                </a:lnTo>
                <a:lnTo>
                  <a:pt x="76" y="172"/>
                </a:lnTo>
                <a:lnTo>
                  <a:pt x="76" y="174"/>
                </a:lnTo>
                <a:lnTo>
                  <a:pt x="76" y="174"/>
                </a:lnTo>
                <a:lnTo>
                  <a:pt x="72" y="174"/>
                </a:lnTo>
                <a:lnTo>
                  <a:pt x="70" y="174"/>
                </a:lnTo>
                <a:lnTo>
                  <a:pt x="66" y="172"/>
                </a:lnTo>
                <a:lnTo>
                  <a:pt x="64" y="172"/>
                </a:lnTo>
                <a:lnTo>
                  <a:pt x="64" y="172"/>
                </a:lnTo>
                <a:lnTo>
                  <a:pt x="60" y="172"/>
                </a:lnTo>
                <a:lnTo>
                  <a:pt x="58" y="176"/>
                </a:lnTo>
                <a:lnTo>
                  <a:pt x="54" y="180"/>
                </a:lnTo>
                <a:lnTo>
                  <a:pt x="54" y="180"/>
                </a:lnTo>
                <a:lnTo>
                  <a:pt x="52" y="178"/>
                </a:lnTo>
                <a:lnTo>
                  <a:pt x="52" y="176"/>
                </a:lnTo>
                <a:lnTo>
                  <a:pt x="52" y="176"/>
                </a:lnTo>
                <a:lnTo>
                  <a:pt x="40" y="178"/>
                </a:lnTo>
                <a:lnTo>
                  <a:pt x="40" y="178"/>
                </a:lnTo>
                <a:lnTo>
                  <a:pt x="40" y="180"/>
                </a:lnTo>
                <a:lnTo>
                  <a:pt x="38" y="180"/>
                </a:lnTo>
                <a:lnTo>
                  <a:pt x="38" y="180"/>
                </a:lnTo>
                <a:lnTo>
                  <a:pt x="36" y="180"/>
                </a:lnTo>
                <a:lnTo>
                  <a:pt x="36" y="180"/>
                </a:lnTo>
                <a:lnTo>
                  <a:pt x="32" y="188"/>
                </a:lnTo>
                <a:lnTo>
                  <a:pt x="32" y="188"/>
                </a:lnTo>
                <a:lnTo>
                  <a:pt x="28" y="186"/>
                </a:lnTo>
                <a:lnTo>
                  <a:pt x="24" y="184"/>
                </a:lnTo>
                <a:lnTo>
                  <a:pt x="24" y="184"/>
                </a:lnTo>
                <a:lnTo>
                  <a:pt x="24" y="182"/>
                </a:lnTo>
                <a:lnTo>
                  <a:pt x="24" y="182"/>
                </a:lnTo>
                <a:lnTo>
                  <a:pt x="30" y="180"/>
                </a:lnTo>
                <a:lnTo>
                  <a:pt x="30" y="180"/>
                </a:lnTo>
                <a:lnTo>
                  <a:pt x="32" y="178"/>
                </a:lnTo>
                <a:lnTo>
                  <a:pt x="32" y="174"/>
                </a:lnTo>
                <a:lnTo>
                  <a:pt x="32" y="174"/>
                </a:lnTo>
                <a:lnTo>
                  <a:pt x="38" y="170"/>
                </a:lnTo>
                <a:lnTo>
                  <a:pt x="38" y="170"/>
                </a:lnTo>
                <a:lnTo>
                  <a:pt x="40" y="164"/>
                </a:lnTo>
                <a:lnTo>
                  <a:pt x="42" y="162"/>
                </a:lnTo>
                <a:lnTo>
                  <a:pt x="44" y="160"/>
                </a:lnTo>
                <a:lnTo>
                  <a:pt x="44" y="160"/>
                </a:lnTo>
                <a:lnTo>
                  <a:pt x="44" y="160"/>
                </a:lnTo>
                <a:lnTo>
                  <a:pt x="54" y="160"/>
                </a:lnTo>
                <a:lnTo>
                  <a:pt x="66" y="160"/>
                </a:lnTo>
                <a:lnTo>
                  <a:pt x="66" y="160"/>
                </a:lnTo>
                <a:lnTo>
                  <a:pt x="68" y="152"/>
                </a:lnTo>
                <a:lnTo>
                  <a:pt x="68" y="150"/>
                </a:lnTo>
                <a:lnTo>
                  <a:pt x="62" y="152"/>
                </a:lnTo>
                <a:lnTo>
                  <a:pt x="62" y="152"/>
                </a:lnTo>
                <a:lnTo>
                  <a:pt x="62" y="154"/>
                </a:lnTo>
                <a:lnTo>
                  <a:pt x="60" y="156"/>
                </a:lnTo>
                <a:lnTo>
                  <a:pt x="60" y="156"/>
                </a:lnTo>
                <a:lnTo>
                  <a:pt x="56" y="154"/>
                </a:lnTo>
                <a:lnTo>
                  <a:pt x="56" y="154"/>
                </a:lnTo>
                <a:lnTo>
                  <a:pt x="56" y="152"/>
                </a:lnTo>
                <a:lnTo>
                  <a:pt x="54" y="152"/>
                </a:lnTo>
                <a:lnTo>
                  <a:pt x="54" y="152"/>
                </a:lnTo>
                <a:lnTo>
                  <a:pt x="54" y="152"/>
                </a:lnTo>
                <a:lnTo>
                  <a:pt x="54" y="152"/>
                </a:lnTo>
                <a:lnTo>
                  <a:pt x="50" y="156"/>
                </a:lnTo>
                <a:lnTo>
                  <a:pt x="50" y="156"/>
                </a:lnTo>
                <a:lnTo>
                  <a:pt x="46" y="156"/>
                </a:lnTo>
                <a:lnTo>
                  <a:pt x="44" y="156"/>
                </a:lnTo>
                <a:lnTo>
                  <a:pt x="44" y="154"/>
                </a:lnTo>
                <a:lnTo>
                  <a:pt x="44" y="154"/>
                </a:lnTo>
                <a:lnTo>
                  <a:pt x="44" y="154"/>
                </a:lnTo>
                <a:lnTo>
                  <a:pt x="44" y="152"/>
                </a:lnTo>
                <a:lnTo>
                  <a:pt x="44" y="152"/>
                </a:lnTo>
                <a:lnTo>
                  <a:pt x="40" y="152"/>
                </a:lnTo>
                <a:lnTo>
                  <a:pt x="40" y="152"/>
                </a:lnTo>
                <a:lnTo>
                  <a:pt x="40" y="152"/>
                </a:lnTo>
                <a:lnTo>
                  <a:pt x="40" y="154"/>
                </a:lnTo>
                <a:lnTo>
                  <a:pt x="40" y="154"/>
                </a:lnTo>
                <a:lnTo>
                  <a:pt x="40" y="154"/>
                </a:lnTo>
                <a:lnTo>
                  <a:pt x="38" y="156"/>
                </a:lnTo>
                <a:lnTo>
                  <a:pt x="38" y="156"/>
                </a:lnTo>
                <a:lnTo>
                  <a:pt x="36" y="156"/>
                </a:lnTo>
                <a:lnTo>
                  <a:pt x="36" y="154"/>
                </a:lnTo>
                <a:lnTo>
                  <a:pt x="36" y="152"/>
                </a:lnTo>
                <a:lnTo>
                  <a:pt x="36" y="152"/>
                </a:lnTo>
                <a:lnTo>
                  <a:pt x="32" y="152"/>
                </a:lnTo>
                <a:lnTo>
                  <a:pt x="32" y="152"/>
                </a:lnTo>
                <a:lnTo>
                  <a:pt x="32" y="150"/>
                </a:lnTo>
                <a:lnTo>
                  <a:pt x="34" y="150"/>
                </a:lnTo>
                <a:lnTo>
                  <a:pt x="34" y="150"/>
                </a:lnTo>
                <a:lnTo>
                  <a:pt x="32" y="146"/>
                </a:lnTo>
                <a:lnTo>
                  <a:pt x="32" y="146"/>
                </a:lnTo>
                <a:lnTo>
                  <a:pt x="40" y="142"/>
                </a:lnTo>
                <a:lnTo>
                  <a:pt x="40" y="142"/>
                </a:lnTo>
                <a:lnTo>
                  <a:pt x="42" y="140"/>
                </a:lnTo>
                <a:lnTo>
                  <a:pt x="42" y="140"/>
                </a:lnTo>
                <a:lnTo>
                  <a:pt x="46" y="136"/>
                </a:lnTo>
                <a:lnTo>
                  <a:pt x="46" y="128"/>
                </a:lnTo>
                <a:lnTo>
                  <a:pt x="46" y="128"/>
                </a:lnTo>
                <a:lnTo>
                  <a:pt x="38" y="130"/>
                </a:lnTo>
                <a:lnTo>
                  <a:pt x="38" y="130"/>
                </a:lnTo>
                <a:lnTo>
                  <a:pt x="44" y="124"/>
                </a:lnTo>
                <a:lnTo>
                  <a:pt x="48" y="120"/>
                </a:lnTo>
                <a:lnTo>
                  <a:pt x="48" y="120"/>
                </a:lnTo>
                <a:lnTo>
                  <a:pt x="44" y="120"/>
                </a:lnTo>
                <a:lnTo>
                  <a:pt x="44" y="120"/>
                </a:lnTo>
                <a:lnTo>
                  <a:pt x="42" y="114"/>
                </a:lnTo>
                <a:lnTo>
                  <a:pt x="42" y="114"/>
                </a:lnTo>
                <a:lnTo>
                  <a:pt x="44" y="114"/>
                </a:lnTo>
                <a:lnTo>
                  <a:pt x="44" y="112"/>
                </a:lnTo>
                <a:lnTo>
                  <a:pt x="44" y="112"/>
                </a:lnTo>
                <a:lnTo>
                  <a:pt x="46" y="112"/>
                </a:lnTo>
                <a:lnTo>
                  <a:pt x="50" y="112"/>
                </a:lnTo>
                <a:lnTo>
                  <a:pt x="50" y="112"/>
                </a:lnTo>
                <a:lnTo>
                  <a:pt x="50" y="116"/>
                </a:lnTo>
                <a:lnTo>
                  <a:pt x="50" y="116"/>
                </a:lnTo>
                <a:lnTo>
                  <a:pt x="50" y="116"/>
                </a:lnTo>
                <a:lnTo>
                  <a:pt x="52" y="118"/>
                </a:lnTo>
                <a:lnTo>
                  <a:pt x="62" y="118"/>
                </a:lnTo>
                <a:lnTo>
                  <a:pt x="62" y="116"/>
                </a:lnTo>
                <a:lnTo>
                  <a:pt x="62" y="116"/>
                </a:lnTo>
                <a:lnTo>
                  <a:pt x="64" y="116"/>
                </a:lnTo>
                <a:lnTo>
                  <a:pt x="64" y="116"/>
                </a:lnTo>
                <a:lnTo>
                  <a:pt x="64" y="114"/>
                </a:lnTo>
                <a:lnTo>
                  <a:pt x="64" y="110"/>
                </a:lnTo>
                <a:lnTo>
                  <a:pt x="64" y="110"/>
                </a:lnTo>
                <a:lnTo>
                  <a:pt x="66" y="106"/>
                </a:lnTo>
                <a:lnTo>
                  <a:pt x="66" y="106"/>
                </a:lnTo>
                <a:lnTo>
                  <a:pt x="66" y="98"/>
                </a:lnTo>
                <a:lnTo>
                  <a:pt x="66" y="98"/>
                </a:lnTo>
                <a:lnTo>
                  <a:pt x="60" y="98"/>
                </a:lnTo>
                <a:lnTo>
                  <a:pt x="56" y="96"/>
                </a:lnTo>
                <a:lnTo>
                  <a:pt x="56" y="92"/>
                </a:lnTo>
                <a:lnTo>
                  <a:pt x="62" y="88"/>
                </a:lnTo>
                <a:lnTo>
                  <a:pt x="62" y="88"/>
                </a:lnTo>
                <a:lnTo>
                  <a:pt x="58" y="86"/>
                </a:lnTo>
                <a:lnTo>
                  <a:pt x="54" y="88"/>
                </a:lnTo>
                <a:lnTo>
                  <a:pt x="48" y="88"/>
                </a:lnTo>
                <a:lnTo>
                  <a:pt x="42" y="86"/>
                </a:lnTo>
                <a:lnTo>
                  <a:pt x="42" y="86"/>
                </a:lnTo>
                <a:lnTo>
                  <a:pt x="42" y="90"/>
                </a:lnTo>
                <a:lnTo>
                  <a:pt x="42" y="92"/>
                </a:lnTo>
                <a:lnTo>
                  <a:pt x="42" y="92"/>
                </a:lnTo>
                <a:lnTo>
                  <a:pt x="40" y="90"/>
                </a:lnTo>
                <a:lnTo>
                  <a:pt x="40" y="90"/>
                </a:lnTo>
                <a:lnTo>
                  <a:pt x="38" y="88"/>
                </a:lnTo>
                <a:lnTo>
                  <a:pt x="38" y="88"/>
                </a:lnTo>
                <a:lnTo>
                  <a:pt x="36" y="88"/>
                </a:lnTo>
                <a:lnTo>
                  <a:pt x="34" y="88"/>
                </a:lnTo>
                <a:lnTo>
                  <a:pt x="34" y="88"/>
                </a:lnTo>
                <a:lnTo>
                  <a:pt x="38" y="76"/>
                </a:lnTo>
                <a:lnTo>
                  <a:pt x="38" y="72"/>
                </a:lnTo>
                <a:lnTo>
                  <a:pt x="36" y="66"/>
                </a:lnTo>
                <a:lnTo>
                  <a:pt x="36" y="66"/>
                </a:lnTo>
                <a:lnTo>
                  <a:pt x="38" y="66"/>
                </a:lnTo>
                <a:lnTo>
                  <a:pt x="38" y="64"/>
                </a:lnTo>
                <a:lnTo>
                  <a:pt x="38" y="62"/>
                </a:lnTo>
                <a:lnTo>
                  <a:pt x="38" y="62"/>
                </a:lnTo>
                <a:lnTo>
                  <a:pt x="36" y="62"/>
                </a:lnTo>
                <a:lnTo>
                  <a:pt x="36" y="64"/>
                </a:lnTo>
                <a:lnTo>
                  <a:pt x="36" y="64"/>
                </a:lnTo>
                <a:lnTo>
                  <a:pt x="34" y="64"/>
                </a:lnTo>
                <a:lnTo>
                  <a:pt x="34" y="62"/>
                </a:lnTo>
                <a:lnTo>
                  <a:pt x="34" y="62"/>
                </a:lnTo>
                <a:lnTo>
                  <a:pt x="34" y="62"/>
                </a:lnTo>
                <a:lnTo>
                  <a:pt x="30" y="64"/>
                </a:lnTo>
                <a:lnTo>
                  <a:pt x="30" y="64"/>
                </a:lnTo>
                <a:lnTo>
                  <a:pt x="28" y="68"/>
                </a:lnTo>
                <a:lnTo>
                  <a:pt x="28" y="68"/>
                </a:lnTo>
                <a:lnTo>
                  <a:pt x="28" y="64"/>
                </a:lnTo>
                <a:lnTo>
                  <a:pt x="28" y="62"/>
                </a:lnTo>
                <a:lnTo>
                  <a:pt x="30" y="62"/>
                </a:lnTo>
                <a:lnTo>
                  <a:pt x="30" y="62"/>
                </a:lnTo>
                <a:lnTo>
                  <a:pt x="30" y="58"/>
                </a:lnTo>
                <a:lnTo>
                  <a:pt x="30" y="58"/>
                </a:lnTo>
                <a:lnTo>
                  <a:pt x="28" y="58"/>
                </a:lnTo>
                <a:lnTo>
                  <a:pt x="30" y="58"/>
                </a:lnTo>
                <a:lnTo>
                  <a:pt x="30" y="56"/>
                </a:lnTo>
                <a:lnTo>
                  <a:pt x="30" y="56"/>
                </a:lnTo>
                <a:lnTo>
                  <a:pt x="34" y="56"/>
                </a:lnTo>
                <a:lnTo>
                  <a:pt x="34" y="56"/>
                </a:lnTo>
                <a:lnTo>
                  <a:pt x="34" y="52"/>
                </a:lnTo>
                <a:lnTo>
                  <a:pt x="34" y="52"/>
                </a:lnTo>
                <a:lnTo>
                  <a:pt x="34" y="52"/>
                </a:lnTo>
                <a:lnTo>
                  <a:pt x="34" y="52"/>
                </a:lnTo>
                <a:lnTo>
                  <a:pt x="26" y="54"/>
                </a:lnTo>
                <a:lnTo>
                  <a:pt x="26" y="52"/>
                </a:lnTo>
                <a:lnTo>
                  <a:pt x="26" y="52"/>
                </a:lnTo>
                <a:lnTo>
                  <a:pt x="28" y="46"/>
                </a:lnTo>
                <a:lnTo>
                  <a:pt x="28" y="44"/>
                </a:lnTo>
                <a:lnTo>
                  <a:pt x="30" y="42"/>
                </a:lnTo>
                <a:lnTo>
                  <a:pt x="30" y="42"/>
                </a:lnTo>
                <a:lnTo>
                  <a:pt x="28" y="40"/>
                </a:lnTo>
                <a:lnTo>
                  <a:pt x="26" y="38"/>
                </a:lnTo>
                <a:lnTo>
                  <a:pt x="26" y="38"/>
                </a:lnTo>
                <a:lnTo>
                  <a:pt x="28" y="36"/>
                </a:lnTo>
                <a:lnTo>
                  <a:pt x="28" y="34"/>
                </a:lnTo>
                <a:lnTo>
                  <a:pt x="26" y="28"/>
                </a:lnTo>
                <a:lnTo>
                  <a:pt x="26" y="28"/>
                </a:lnTo>
                <a:lnTo>
                  <a:pt x="30" y="28"/>
                </a:lnTo>
                <a:lnTo>
                  <a:pt x="30" y="28"/>
                </a:lnTo>
                <a:lnTo>
                  <a:pt x="28" y="26"/>
                </a:lnTo>
                <a:lnTo>
                  <a:pt x="28" y="24"/>
                </a:lnTo>
                <a:lnTo>
                  <a:pt x="28" y="24"/>
                </a:lnTo>
                <a:lnTo>
                  <a:pt x="28" y="24"/>
                </a:lnTo>
                <a:lnTo>
                  <a:pt x="28" y="24"/>
                </a:lnTo>
                <a:lnTo>
                  <a:pt x="28" y="22"/>
                </a:lnTo>
                <a:lnTo>
                  <a:pt x="28" y="22"/>
                </a:lnTo>
                <a:lnTo>
                  <a:pt x="34" y="22"/>
                </a:lnTo>
                <a:lnTo>
                  <a:pt x="34" y="22"/>
                </a:lnTo>
                <a:lnTo>
                  <a:pt x="36" y="20"/>
                </a:lnTo>
                <a:lnTo>
                  <a:pt x="36" y="20"/>
                </a:lnTo>
                <a:lnTo>
                  <a:pt x="34" y="20"/>
                </a:lnTo>
                <a:lnTo>
                  <a:pt x="34" y="18"/>
                </a:lnTo>
                <a:lnTo>
                  <a:pt x="34" y="18"/>
                </a:lnTo>
                <a:lnTo>
                  <a:pt x="34" y="18"/>
                </a:lnTo>
                <a:lnTo>
                  <a:pt x="34" y="16"/>
                </a:lnTo>
                <a:lnTo>
                  <a:pt x="34" y="16"/>
                </a:lnTo>
                <a:lnTo>
                  <a:pt x="36" y="12"/>
                </a:lnTo>
                <a:lnTo>
                  <a:pt x="38" y="8"/>
                </a:lnTo>
                <a:lnTo>
                  <a:pt x="38" y="8"/>
                </a:lnTo>
                <a:lnTo>
                  <a:pt x="38" y="2"/>
                </a:lnTo>
                <a:lnTo>
                  <a:pt x="38" y="2"/>
                </a:lnTo>
                <a:lnTo>
                  <a:pt x="42" y="2"/>
                </a:lnTo>
                <a:lnTo>
                  <a:pt x="42" y="2"/>
                </a:lnTo>
                <a:lnTo>
                  <a:pt x="44" y="2"/>
                </a:lnTo>
                <a:lnTo>
                  <a:pt x="44" y="4"/>
                </a:lnTo>
                <a:lnTo>
                  <a:pt x="42" y="6"/>
                </a:lnTo>
                <a:lnTo>
                  <a:pt x="44" y="6"/>
                </a:lnTo>
                <a:lnTo>
                  <a:pt x="44" y="6"/>
                </a:lnTo>
                <a:lnTo>
                  <a:pt x="44" y="2"/>
                </a:lnTo>
                <a:lnTo>
                  <a:pt x="46" y="2"/>
                </a:lnTo>
                <a:lnTo>
                  <a:pt x="46" y="4"/>
                </a:lnTo>
                <a:lnTo>
                  <a:pt x="52" y="0"/>
                </a:lnTo>
                <a:lnTo>
                  <a:pt x="52" y="0"/>
                </a:lnTo>
                <a:lnTo>
                  <a:pt x="56" y="0"/>
                </a:lnTo>
                <a:lnTo>
                  <a:pt x="60" y="2"/>
                </a:lnTo>
                <a:lnTo>
                  <a:pt x="62" y="4"/>
                </a:lnTo>
                <a:lnTo>
                  <a:pt x="60" y="10"/>
                </a:lnTo>
                <a:lnTo>
                  <a:pt x="60" y="10"/>
                </a:lnTo>
                <a:lnTo>
                  <a:pt x="56" y="12"/>
                </a:lnTo>
                <a:lnTo>
                  <a:pt x="56" y="12"/>
                </a:lnTo>
                <a:lnTo>
                  <a:pt x="54" y="18"/>
                </a:lnTo>
                <a:lnTo>
                  <a:pt x="52" y="18"/>
                </a:lnTo>
                <a:lnTo>
                  <a:pt x="52" y="18"/>
                </a:lnTo>
                <a:lnTo>
                  <a:pt x="48" y="20"/>
                </a:lnTo>
                <a:lnTo>
                  <a:pt x="48" y="20"/>
                </a:lnTo>
                <a:lnTo>
                  <a:pt x="48" y="22"/>
                </a:lnTo>
                <a:lnTo>
                  <a:pt x="48" y="26"/>
                </a:lnTo>
                <a:lnTo>
                  <a:pt x="48" y="28"/>
                </a:lnTo>
                <a:lnTo>
                  <a:pt x="48" y="28"/>
                </a:lnTo>
                <a:lnTo>
                  <a:pt x="50" y="28"/>
                </a:lnTo>
                <a:lnTo>
                  <a:pt x="50" y="28"/>
                </a:lnTo>
                <a:lnTo>
                  <a:pt x="50" y="28"/>
                </a:lnTo>
                <a:close/>
                <a:moveTo>
                  <a:pt x="22" y="50"/>
                </a:moveTo>
                <a:lnTo>
                  <a:pt x="22" y="50"/>
                </a:lnTo>
                <a:lnTo>
                  <a:pt x="24" y="54"/>
                </a:lnTo>
                <a:lnTo>
                  <a:pt x="24" y="54"/>
                </a:lnTo>
                <a:lnTo>
                  <a:pt x="24" y="56"/>
                </a:lnTo>
                <a:lnTo>
                  <a:pt x="22" y="58"/>
                </a:lnTo>
                <a:lnTo>
                  <a:pt x="22" y="58"/>
                </a:lnTo>
                <a:lnTo>
                  <a:pt x="22" y="58"/>
                </a:lnTo>
                <a:lnTo>
                  <a:pt x="18" y="56"/>
                </a:lnTo>
                <a:lnTo>
                  <a:pt x="18" y="56"/>
                </a:lnTo>
                <a:lnTo>
                  <a:pt x="20" y="56"/>
                </a:lnTo>
                <a:lnTo>
                  <a:pt x="20" y="56"/>
                </a:lnTo>
                <a:lnTo>
                  <a:pt x="20" y="54"/>
                </a:lnTo>
                <a:lnTo>
                  <a:pt x="18" y="52"/>
                </a:lnTo>
                <a:lnTo>
                  <a:pt x="18" y="52"/>
                </a:lnTo>
                <a:lnTo>
                  <a:pt x="18" y="50"/>
                </a:lnTo>
                <a:lnTo>
                  <a:pt x="18" y="50"/>
                </a:lnTo>
                <a:lnTo>
                  <a:pt x="22" y="50"/>
                </a:lnTo>
                <a:lnTo>
                  <a:pt x="22" y="50"/>
                </a:lnTo>
                <a:close/>
                <a:moveTo>
                  <a:pt x="20" y="28"/>
                </a:moveTo>
                <a:lnTo>
                  <a:pt x="20" y="28"/>
                </a:lnTo>
                <a:lnTo>
                  <a:pt x="20" y="32"/>
                </a:lnTo>
                <a:lnTo>
                  <a:pt x="20" y="38"/>
                </a:lnTo>
                <a:lnTo>
                  <a:pt x="20" y="38"/>
                </a:lnTo>
                <a:lnTo>
                  <a:pt x="24" y="38"/>
                </a:lnTo>
                <a:lnTo>
                  <a:pt x="24" y="38"/>
                </a:lnTo>
                <a:lnTo>
                  <a:pt x="24" y="40"/>
                </a:lnTo>
                <a:lnTo>
                  <a:pt x="24" y="42"/>
                </a:lnTo>
                <a:lnTo>
                  <a:pt x="24" y="42"/>
                </a:lnTo>
                <a:lnTo>
                  <a:pt x="24" y="42"/>
                </a:lnTo>
                <a:lnTo>
                  <a:pt x="24" y="44"/>
                </a:lnTo>
                <a:lnTo>
                  <a:pt x="22" y="44"/>
                </a:lnTo>
                <a:lnTo>
                  <a:pt x="22" y="44"/>
                </a:lnTo>
                <a:lnTo>
                  <a:pt x="22" y="42"/>
                </a:lnTo>
                <a:lnTo>
                  <a:pt x="20" y="42"/>
                </a:lnTo>
                <a:lnTo>
                  <a:pt x="20" y="42"/>
                </a:lnTo>
                <a:lnTo>
                  <a:pt x="16" y="36"/>
                </a:lnTo>
                <a:lnTo>
                  <a:pt x="16" y="28"/>
                </a:lnTo>
                <a:lnTo>
                  <a:pt x="16" y="28"/>
                </a:lnTo>
                <a:lnTo>
                  <a:pt x="20" y="28"/>
                </a:lnTo>
                <a:lnTo>
                  <a:pt x="20" y="28"/>
                </a:lnTo>
                <a:lnTo>
                  <a:pt x="20" y="24"/>
                </a:lnTo>
                <a:lnTo>
                  <a:pt x="20" y="24"/>
                </a:lnTo>
                <a:lnTo>
                  <a:pt x="20" y="26"/>
                </a:lnTo>
                <a:lnTo>
                  <a:pt x="20" y="28"/>
                </a:lnTo>
                <a:lnTo>
                  <a:pt x="20" y="28"/>
                </a:lnTo>
                <a:close/>
                <a:moveTo>
                  <a:pt x="20" y="12"/>
                </a:moveTo>
                <a:lnTo>
                  <a:pt x="20" y="12"/>
                </a:lnTo>
                <a:lnTo>
                  <a:pt x="18" y="16"/>
                </a:lnTo>
                <a:lnTo>
                  <a:pt x="18" y="20"/>
                </a:lnTo>
                <a:lnTo>
                  <a:pt x="18" y="20"/>
                </a:lnTo>
                <a:lnTo>
                  <a:pt x="14" y="20"/>
                </a:lnTo>
                <a:lnTo>
                  <a:pt x="14" y="22"/>
                </a:lnTo>
                <a:lnTo>
                  <a:pt x="14" y="22"/>
                </a:lnTo>
                <a:lnTo>
                  <a:pt x="10" y="24"/>
                </a:lnTo>
                <a:lnTo>
                  <a:pt x="10" y="24"/>
                </a:lnTo>
                <a:lnTo>
                  <a:pt x="10" y="20"/>
                </a:lnTo>
                <a:lnTo>
                  <a:pt x="14" y="16"/>
                </a:lnTo>
                <a:lnTo>
                  <a:pt x="14" y="16"/>
                </a:lnTo>
                <a:lnTo>
                  <a:pt x="12" y="14"/>
                </a:lnTo>
                <a:lnTo>
                  <a:pt x="10" y="10"/>
                </a:lnTo>
                <a:lnTo>
                  <a:pt x="10" y="10"/>
                </a:lnTo>
                <a:lnTo>
                  <a:pt x="14" y="10"/>
                </a:lnTo>
                <a:lnTo>
                  <a:pt x="14" y="10"/>
                </a:lnTo>
                <a:lnTo>
                  <a:pt x="14" y="6"/>
                </a:lnTo>
                <a:lnTo>
                  <a:pt x="20" y="2"/>
                </a:lnTo>
                <a:lnTo>
                  <a:pt x="20" y="2"/>
                </a:lnTo>
                <a:lnTo>
                  <a:pt x="22" y="4"/>
                </a:lnTo>
                <a:lnTo>
                  <a:pt x="22" y="8"/>
                </a:lnTo>
                <a:lnTo>
                  <a:pt x="20" y="12"/>
                </a:lnTo>
                <a:lnTo>
                  <a:pt x="20"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9" name="Freeform 23">
            <a:extLst>
              <a:ext uri="{FF2B5EF4-FFF2-40B4-BE49-F238E27FC236}">
                <a16:creationId xmlns:a16="http://schemas.microsoft.com/office/drawing/2014/main" id="{D9BE26A1-9C5F-4201-9294-BB2117A07CF5}"/>
              </a:ext>
            </a:extLst>
          </p:cNvPr>
          <p:cNvSpPr>
            <a:spLocks/>
          </p:cNvSpPr>
          <p:nvPr userDrawn="1"/>
        </p:nvSpPr>
        <p:spPr bwMode="auto">
          <a:xfrm>
            <a:off x="6997878" y="2942774"/>
            <a:ext cx="120747" cy="82368"/>
          </a:xfrm>
          <a:custGeom>
            <a:avLst/>
            <a:gdLst>
              <a:gd name="T0" fmla="*/ 72 w 72"/>
              <a:gd name="T1" fmla="*/ 14 h 48"/>
              <a:gd name="T2" fmla="*/ 66 w 72"/>
              <a:gd name="T3" fmla="*/ 6 h 48"/>
              <a:gd name="T4" fmla="*/ 66 w 72"/>
              <a:gd name="T5" fmla="*/ 0 h 48"/>
              <a:gd name="T6" fmla="*/ 66 w 72"/>
              <a:gd name="T7" fmla="*/ 0 h 48"/>
              <a:gd name="T8" fmla="*/ 58 w 72"/>
              <a:gd name="T9" fmla="*/ 6 h 48"/>
              <a:gd name="T10" fmla="*/ 54 w 72"/>
              <a:gd name="T11" fmla="*/ 12 h 48"/>
              <a:gd name="T12" fmla="*/ 50 w 72"/>
              <a:gd name="T13" fmla="*/ 16 h 48"/>
              <a:gd name="T14" fmla="*/ 40 w 72"/>
              <a:gd name="T15" fmla="*/ 24 h 48"/>
              <a:gd name="T16" fmla="*/ 38 w 72"/>
              <a:gd name="T17" fmla="*/ 24 h 48"/>
              <a:gd name="T18" fmla="*/ 38 w 72"/>
              <a:gd name="T19" fmla="*/ 28 h 48"/>
              <a:gd name="T20" fmla="*/ 34 w 72"/>
              <a:gd name="T21" fmla="*/ 26 h 48"/>
              <a:gd name="T22" fmla="*/ 24 w 72"/>
              <a:gd name="T23" fmla="*/ 22 h 48"/>
              <a:gd name="T24" fmla="*/ 20 w 72"/>
              <a:gd name="T25" fmla="*/ 22 h 48"/>
              <a:gd name="T26" fmla="*/ 18 w 72"/>
              <a:gd name="T27" fmla="*/ 26 h 48"/>
              <a:gd name="T28" fmla="*/ 14 w 72"/>
              <a:gd name="T29" fmla="*/ 26 h 48"/>
              <a:gd name="T30" fmla="*/ 10 w 72"/>
              <a:gd name="T31" fmla="*/ 24 h 48"/>
              <a:gd name="T32" fmla="*/ 8 w 72"/>
              <a:gd name="T33" fmla="*/ 22 h 48"/>
              <a:gd name="T34" fmla="*/ 4 w 72"/>
              <a:gd name="T35" fmla="*/ 20 h 48"/>
              <a:gd name="T36" fmla="*/ 0 w 72"/>
              <a:gd name="T37" fmla="*/ 12 h 48"/>
              <a:gd name="T38" fmla="*/ 8 w 72"/>
              <a:gd name="T39" fmla="*/ 26 h 48"/>
              <a:gd name="T40" fmla="*/ 8 w 72"/>
              <a:gd name="T41" fmla="*/ 40 h 48"/>
              <a:gd name="T42" fmla="*/ 52 w 72"/>
              <a:gd name="T43" fmla="*/ 48 h 48"/>
              <a:gd name="T44" fmla="*/ 56 w 72"/>
              <a:gd name="T45" fmla="*/ 48 h 48"/>
              <a:gd name="T46" fmla="*/ 58 w 72"/>
              <a:gd name="T47" fmla="*/ 44 h 48"/>
              <a:gd name="T48" fmla="*/ 60 w 72"/>
              <a:gd name="T49" fmla="*/ 38 h 48"/>
              <a:gd name="T50" fmla="*/ 62 w 72"/>
              <a:gd name="T51" fmla="*/ 30 h 48"/>
              <a:gd name="T52" fmla="*/ 62 w 72"/>
              <a:gd name="T53" fmla="*/ 26 h 48"/>
              <a:gd name="T54" fmla="*/ 60 w 72"/>
              <a:gd name="T55" fmla="*/ 26 h 48"/>
              <a:gd name="T56" fmla="*/ 62 w 72"/>
              <a:gd name="T57" fmla="*/ 22 h 48"/>
              <a:gd name="T58" fmla="*/ 66 w 72"/>
              <a:gd name="T59" fmla="*/ 20 h 48"/>
              <a:gd name="T60" fmla="*/ 62 w 72"/>
              <a:gd name="T61" fmla="*/ 16 h 48"/>
              <a:gd name="T62" fmla="*/ 62 w 72"/>
              <a:gd name="T63" fmla="*/ 12 h 48"/>
              <a:gd name="T64" fmla="*/ 64 w 72"/>
              <a:gd name="T65" fmla="*/ 12 h 48"/>
              <a:gd name="T66" fmla="*/ 68 w 72"/>
              <a:gd name="T67" fmla="*/ 16 h 48"/>
              <a:gd name="T68" fmla="*/ 68 w 72"/>
              <a:gd name="T69" fmla="*/ 16 h 48"/>
              <a:gd name="T70" fmla="*/ 72 w 72"/>
              <a:gd name="T7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48">
                <a:moveTo>
                  <a:pt x="72" y="14"/>
                </a:moveTo>
                <a:lnTo>
                  <a:pt x="72" y="14"/>
                </a:lnTo>
                <a:lnTo>
                  <a:pt x="70" y="6"/>
                </a:lnTo>
                <a:lnTo>
                  <a:pt x="66" y="6"/>
                </a:lnTo>
                <a:lnTo>
                  <a:pt x="68" y="0"/>
                </a:lnTo>
                <a:lnTo>
                  <a:pt x="66" y="0"/>
                </a:lnTo>
                <a:lnTo>
                  <a:pt x="66" y="0"/>
                </a:lnTo>
                <a:lnTo>
                  <a:pt x="66" y="0"/>
                </a:lnTo>
                <a:lnTo>
                  <a:pt x="62" y="4"/>
                </a:lnTo>
                <a:lnTo>
                  <a:pt x="58" y="6"/>
                </a:lnTo>
                <a:lnTo>
                  <a:pt x="58" y="6"/>
                </a:lnTo>
                <a:lnTo>
                  <a:pt x="54" y="12"/>
                </a:lnTo>
                <a:lnTo>
                  <a:pt x="50" y="16"/>
                </a:lnTo>
                <a:lnTo>
                  <a:pt x="50" y="16"/>
                </a:lnTo>
                <a:lnTo>
                  <a:pt x="42" y="22"/>
                </a:lnTo>
                <a:lnTo>
                  <a:pt x="40" y="24"/>
                </a:lnTo>
                <a:lnTo>
                  <a:pt x="40" y="24"/>
                </a:lnTo>
                <a:lnTo>
                  <a:pt x="38" y="24"/>
                </a:lnTo>
                <a:lnTo>
                  <a:pt x="38" y="24"/>
                </a:lnTo>
                <a:lnTo>
                  <a:pt x="38" y="28"/>
                </a:lnTo>
                <a:lnTo>
                  <a:pt x="38" y="28"/>
                </a:lnTo>
                <a:lnTo>
                  <a:pt x="34" y="26"/>
                </a:lnTo>
                <a:lnTo>
                  <a:pt x="30" y="24"/>
                </a:lnTo>
                <a:lnTo>
                  <a:pt x="24" y="22"/>
                </a:lnTo>
                <a:lnTo>
                  <a:pt x="24" y="22"/>
                </a:lnTo>
                <a:lnTo>
                  <a:pt x="20" y="22"/>
                </a:lnTo>
                <a:lnTo>
                  <a:pt x="20" y="24"/>
                </a:lnTo>
                <a:lnTo>
                  <a:pt x="18" y="26"/>
                </a:lnTo>
                <a:lnTo>
                  <a:pt x="18" y="26"/>
                </a:lnTo>
                <a:lnTo>
                  <a:pt x="14" y="26"/>
                </a:lnTo>
                <a:lnTo>
                  <a:pt x="10" y="24"/>
                </a:lnTo>
                <a:lnTo>
                  <a:pt x="10" y="24"/>
                </a:lnTo>
                <a:lnTo>
                  <a:pt x="8" y="22"/>
                </a:lnTo>
                <a:lnTo>
                  <a:pt x="8" y="22"/>
                </a:lnTo>
                <a:lnTo>
                  <a:pt x="4" y="20"/>
                </a:lnTo>
                <a:lnTo>
                  <a:pt x="4" y="20"/>
                </a:lnTo>
                <a:lnTo>
                  <a:pt x="6" y="14"/>
                </a:lnTo>
                <a:lnTo>
                  <a:pt x="0" y="12"/>
                </a:lnTo>
                <a:lnTo>
                  <a:pt x="0" y="18"/>
                </a:lnTo>
                <a:lnTo>
                  <a:pt x="8" y="26"/>
                </a:lnTo>
                <a:lnTo>
                  <a:pt x="8" y="40"/>
                </a:lnTo>
                <a:lnTo>
                  <a:pt x="8" y="40"/>
                </a:lnTo>
                <a:lnTo>
                  <a:pt x="52" y="48"/>
                </a:lnTo>
                <a:lnTo>
                  <a:pt x="52" y="48"/>
                </a:lnTo>
                <a:lnTo>
                  <a:pt x="56" y="48"/>
                </a:lnTo>
                <a:lnTo>
                  <a:pt x="56" y="48"/>
                </a:lnTo>
                <a:lnTo>
                  <a:pt x="56" y="48"/>
                </a:lnTo>
                <a:lnTo>
                  <a:pt x="58" y="44"/>
                </a:lnTo>
                <a:lnTo>
                  <a:pt x="60" y="38"/>
                </a:lnTo>
                <a:lnTo>
                  <a:pt x="60" y="38"/>
                </a:lnTo>
                <a:lnTo>
                  <a:pt x="62" y="34"/>
                </a:lnTo>
                <a:lnTo>
                  <a:pt x="62" y="30"/>
                </a:lnTo>
                <a:lnTo>
                  <a:pt x="62" y="26"/>
                </a:lnTo>
                <a:lnTo>
                  <a:pt x="62" y="26"/>
                </a:lnTo>
                <a:lnTo>
                  <a:pt x="60" y="26"/>
                </a:lnTo>
                <a:lnTo>
                  <a:pt x="60" y="26"/>
                </a:lnTo>
                <a:lnTo>
                  <a:pt x="62" y="22"/>
                </a:lnTo>
                <a:lnTo>
                  <a:pt x="62" y="22"/>
                </a:lnTo>
                <a:lnTo>
                  <a:pt x="66" y="20"/>
                </a:lnTo>
                <a:lnTo>
                  <a:pt x="66" y="20"/>
                </a:lnTo>
                <a:lnTo>
                  <a:pt x="64" y="18"/>
                </a:lnTo>
                <a:lnTo>
                  <a:pt x="62" y="16"/>
                </a:lnTo>
                <a:lnTo>
                  <a:pt x="62" y="16"/>
                </a:lnTo>
                <a:lnTo>
                  <a:pt x="62" y="12"/>
                </a:lnTo>
                <a:lnTo>
                  <a:pt x="64" y="12"/>
                </a:lnTo>
                <a:lnTo>
                  <a:pt x="64" y="12"/>
                </a:lnTo>
                <a:lnTo>
                  <a:pt x="66" y="16"/>
                </a:lnTo>
                <a:lnTo>
                  <a:pt x="68" y="16"/>
                </a:lnTo>
                <a:lnTo>
                  <a:pt x="68" y="16"/>
                </a:lnTo>
                <a:lnTo>
                  <a:pt x="68" y="16"/>
                </a:lnTo>
                <a:lnTo>
                  <a:pt x="70" y="14"/>
                </a:lnTo>
                <a:lnTo>
                  <a:pt x="72" y="12"/>
                </a:lnTo>
                <a:lnTo>
                  <a:pt x="72"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0" name="Freeform 24">
            <a:extLst>
              <a:ext uri="{FF2B5EF4-FFF2-40B4-BE49-F238E27FC236}">
                <a16:creationId xmlns:a16="http://schemas.microsoft.com/office/drawing/2014/main" id="{9C5D07B4-6915-4400-A8A0-EC295F2DC2F1}"/>
              </a:ext>
            </a:extLst>
          </p:cNvPr>
          <p:cNvSpPr>
            <a:spLocks noEditPoints="1"/>
          </p:cNvSpPr>
          <p:nvPr userDrawn="1"/>
        </p:nvSpPr>
        <p:spPr bwMode="auto">
          <a:xfrm>
            <a:off x="6380728" y="2088212"/>
            <a:ext cx="382364" cy="281422"/>
          </a:xfrm>
          <a:custGeom>
            <a:avLst/>
            <a:gdLst>
              <a:gd name="T0" fmla="*/ 202 w 228"/>
              <a:gd name="T1" fmla="*/ 108 h 164"/>
              <a:gd name="T2" fmla="*/ 188 w 228"/>
              <a:gd name="T3" fmla="*/ 114 h 164"/>
              <a:gd name="T4" fmla="*/ 176 w 228"/>
              <a:gd name="T5" fmla="*/ 122 h 164"/>
              <a:gd name="T6" fmla="*/ 170 w 228"/>
              <a:gd name="T7" fmla="*/ 120 h 164"/>
              <a:gd name="T8" fmla="*/ 152 w 228"/>
              <a:gd name="T9" fmla="*/ 128 h 164"/>
              <a:gd name="T10" fmla="*/ 144 w 228"/>
              <a:gd name="T11" fmla="*/ 130 h 164"/>
              <a:gd name="T12" fmla="*/ 152 w 228"/>
              <a:gd name="T13" fmla="*/ 136 h 164"/>
              <a:gd name="T14" fmla="*/ 156 w 228"/>
              <a:gd name="T15" fmla="*/ 142 h 164"/>
              <a:gd name="T16" fmla="*/ 172 w 228"/>
              <a:gd name="T17" fmla="*/ 144 h 164"/>
              <a:gd name="T18" fmla="*/ 178 w 228"/>
              <a:gd name="T19" fmla="*/ 144 h 164"/>
              <a:gd name="T20" fmla="*/ 166 w 228"/>
              <a:gd name="T21" fmla="*/ 152 h 164"/>
              <a:gd name="T22" fmla="*/ 138 w 228"/>
              <a:gd name="T23" fmla="*/ 148 h 164"/>
              <a:gd name="T24" fmla="*/ 128 w 228"/>
              <a:gd name="T25" fmla="*/ 140 h 164"/>
              <a:gd name="T26" fmla="*/ 142 w 228"/>
              <a:gd name="T27" fmla="*/ 134 h 164"/>
              <a:gd name="T28" fmla="*/ 136 w 228"/>
              <a:gd name="T29" fmla="*/ 128 h 164"/>
              <a:gd name="T30" fmla="*/ 124 w 228"/>
              <a:gd name="T31" fmla="*/ 132 h 164"/>
              <a:gd name="T32" fmla="*/ 118 w 228"/>
              <a:gd name="T33" fmla="*/ 126 h 164"/>
              <a:gd name="T34" fmla="*/ 120 w 228"/>
              <a:gd name="T35" fmla="*/ 122 h 164"/>
              <a:gd name="T36" fmla="*/ 114 w 228"/>
              <a:gd name="T37" fmla="*/ 118 h 164"/>
              <a:gd name="T38" fmla="*/ 100 w 228"/>
              <a:gd name="T39" fmla="*/ 122 h 164"/>
              <a:gd name="T40" fmla="*/ 84 w 228"/>
              <a:gd name="T41" fmla="*/ 108 h 164"/>
              <a:gd name="T42" fmla="*/ 80 w 228"/>
              <a:gd name="T43" fmla="*/ 94 h 164"/>
              <a:gd name="T44" fmla="*/ 68 w 228"/>
              <a:gd name="T45" fmla="*/ 80 h 164"/>
              <a:gd name="T46" fmla="*/ 50 w 228"/>
              <a:gd name="T47" fmla="*/ 76 h 164"/>
              <a:gd name="T48" fmla="*/ 40 w 228"/>
              <a:gd name="T49" fmla="*/ 84 h 164"/>
              <a:gd name="T50" fmla="*/ 28 w 228"/>
              <a:gd name="T51" fmla="*/ 92 h 164"/>
              <a:gd name="T52" fmla="*/ 14 w 228"/>
              <a:gd name="T53" fmla="*/ 88 h 164"/>
              <a:gd name="T54" fmla="*/ 0 w 228"/>
              <a:gd name="T55" fmla="*/ 82 h 164"/>
              <a:gd name="T56" fmla="*/ 14 w 228"/>
              <a:gd name="T57" fmla="*/ 68 h 164"/>
              <a:gd name="T58" fmla="*/ 16 w 228"/>
              <a:gd name="T59" fmla="*/ 50 h 164"/>
              <a:gd name="T60" fmla="*/ 16 w 228"/>
              <a:gd name="T61" fmla="*/ 32 h 164"/>
              <a:gd name="T62" fmla="*/ 18 w 228"/>
              <a:gd name="T63" fmla="*/ 20 h 164"/>
              <a:gd name="T64" fmla="*/ 18 w 228"/>
              <a:gd name="T65" fmla="*/ 8 h 164"/>
              <a:gd name="T66" fmla="*/ 26 w 228"/>
              <a:gd name="T67" fmla="*/ 12 h 164"/>
              <a:gd name="T68" fmla="*/ 54 w 228"/>
              <a:gd name="T69" fmla="*/ 8 h 164"/>
              <a:gd name="T70" fmla="*/ 72 w 228"/>
              <a:gd name="T71" fmla="*/ 12 h 164"/>
              <a:gd name="T72" fmla="*/ 80 w 228"/>
              <a:gd name="T73" fmla="*/ 10 h 164"/>
              <a:gd name="T74" fmla="*/ 98 w 228"/>
              <a:gd name="T75" fmla="*/ 10 h 164"/>
              <a:gd name="T76" fmla="*/ 104 w 228"/>
              <a:gd name="T77" fmla="*/ 0 h 164"/>
              <a:gd name="T78" fmla="*/ 118 w 228"/>
              <a:gd name="T79" fmla="*/ 2 h 164"/>
              <a:gd name="T80" fmla="*/ 128 w 228"/>
              <a:gd name="T81" fmla="*/ 2 h 164"/>
              <a:gd name="T82" fmla="*/ 132 w 228"/>
              <a:gd name="T83" fmla="*/ 10 h 164"/>
              <a:gd name="T84" fmla="*/ 136 w 228"/>
              <a:gd name="T85" fmla="*/ 20 h 164"/>
              <a:gd name="T86" fmla="*/ 148 w 228"/>
              <a:gd name="T87" fmla="*/ 22 h 164"/>
              <a:gd name="T88" fmla="*/ 162 w 228"/>
              <a:gd name="T89" fmla="*/ 30 h 164"/>
              <a:gd name="T90" fmla="*/ 172 w 228"/>
              <a:gd name="T91" fmla="*/ 42 h 164"/>
              <a:gd name="T92" fmla="*/ 188 w 228"/>
              <a:gd name="T93" fmla="*/ 36 h 164"/>
              <a:gd name="T94" fmla="*/ 198 w 228"/>
              <a:gd name="T95" fmla="*/ 44 h 164"/>
              <a:gd name="T96" fmla="*/ 220 w 228"/>
              <a:gd name="T97" fmla="*/ 58 h 164"/>
              <a:gd name="T98" fmla="*/ 226 w 228"/>
              <a:gd name="T99" fmla="*/ 64 h 164"/>
              <a:gd name="T100" fmla="*/ 226 w 228"/>
              <a:gd name="T101" fmla="*/ 72 h 164"/>
              <a:gd name="T102" fmla="*/ 228 w 228"/>
              <a:gd name="T103" fmla="*/ 86 h 164"/>
              <a:gd name="T104" fmla="*/ 214 w 228"/>
              <a:gd name="T105" fmla="*/ 100 h 164"/>
              <a:gd name="T106" fmla="*/ 88 w 228"/>
              <a:gd name="T107" fmla="*/ 124 h 164"/>
              <a:gd name="T108" fmla="*/ 80 w 228"/>
              <a:gd name="T109" fmla="*/ 124 h 164"/>
              <a:gd name="T110" fmla="*/ 74 w 228"/>
              <a:gd name="T111" fmla="*/ 140 h 164"/>
              <a:gd name="T112" fmla="*/ 80 w 228"/>
              <a:gd name="T113" fmla="*/ 140 h 164"/>
              <a:gd name="T114" fmla="*/ 90 w 228"/>
              <a:gd name="T115" fmla="*/ 13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8" h="164">
                <a:moveTo>
                  <a:pt x="210" y="108"/>
                </a:moveTo>
                <a:lnTo>
                  <a:pt x="210" y="108"/>
                </a:lnTo>
                <a:lnTo>
                  <a:pt x="204" y="108"/>
                </a:lnTo>
                <a:lnTo>
                  <a:pt x="204" y="108"/>
                </a:lnTo>
                <a:lnTo>
                  <a:pt x="202" y="108"/>
                </a:lnTo>
                <a:lnTo>
                  <a:pt x="202" y="108"/>
                </a:lnTo>
                <a:lnTo>
                  <a:pt x="198" y="112"/>
                </a:lnTo>
                <a:lnTo>
                  <a:pt x="198" y="112"/>
                </a:lnTo>
                <a:lnTo>
                  <a:pt x="194" y="112"/>
                </a:lnTo>
                <a:lnTo>
                  <a:pt x="194" y="112"/>
                </a:lnTo>
                <a:lnTo>
                  <a:pt x="188" y="114"/>
                </a:lnTo>
                <a:lnTo>
                  <a:pt x="188" y="114"/>
                </a:lnTo>
                <a:lnTo>
                  <a:pt x="186" y="118"/>
                </a:lnTo>
                <a:lnTo>
                  <a:pt x="186" y="118"/>
                </a:lnTo>
                <a:lnTo>
                  <a:pt x="182" y="118"/>
                </a:lnTo>
                <a:lnTo>
                  <a:pt x="178" y="118"/>
                </a:lnTo>
                <a:lnTo>
                  <a:pt x="178" y="118"/>
                </a:lnTo>
                <a:lnTo>
                  <a:pt x="176" y="122"/>
                </a:lnTo>
                <a:lnTo>
                  <a:pt x="176" y="122"/>
                </a:lnTo>
                <a:lnTo>
                  <a:pt x="174" y="122"/>
                </a:lnTo>
                <a:lnTo>
                  <a:pt x="172" y="120"/>
                </a:lnTo>
                <a:lnTo>
                  <a:pt x="172" y="120"/>
                </a:lnTo>
                <a:lnTo>
                  <a:pt x="170" y="120"/>
                </a:lnTo>
                <a:lnTo>
                  <a:pt x="170" y="120"/>
                </a:lnTo>
                <a:lnTo>
                  <a:pt x="170" y="120"/>
                </a:lnTo>
                <a:lnTo>
                  <a:pt x="162" y="126"/>
                </a:lnTo>
                <a:lnTo>
                  <a:pt x="162" y="128"/>
                </a:lnTo>
                <a:lnTo>
                  <a:pt x="162" y="128"/>
                </a:lnTo>
                <a:lnTo>
                  <a:pt x="156" y="128"/>
                </a:lnTo>
                <a:lnTo>
                  <a:pt x="152" y="128"/>
                </a:lnTo>
                <a:lnTo>
                  <a:pt x="152" y="126"/>
                </a:lnTo>
                <a:lnTo>
                  <a:pt x="152" y="126"/>
                </a:lnTo>
                <a:lnTo>
                  <a:pt x="144" y="126"/>
                </a:lnTo>
                <a:lnTo>
                  <a:pt x="144" y="126"/>
                </a:lnTo>
                <a:lnTo>
                  <a:pt x="144" y="130"/>
                </a:lnTo>
                <a:lnTo>
                  <a:pt x="144" y="130"/>
                </a:lnTo>
                <a:lnTo>
                  <a:pt x="148" y="132"/>
                </a:lnTo>
                <a:lnTo>
                  <a:pt x="148" y="132"/>
                </a:lnTo>
                <a:lnTo>
                  <a:pt x="150" y="132"/>
                </a:lnTo>
                <a:lnTo>
                  <a:pt x="150" y="132"/>
                </a:lnTo>
                <a:lnTo>
                  <a:pt x="152" y="136"/>
                </a:lnTo>
                <a:lnTo>
                  <a:pt x="152" y="136"/>
                </a:lnTo>
                <a:lnTo>
                  <a:pt x="154" y="136"/>
                </a:lnTo>
                <a:lnTo>
                  <a:pt x="156" y="136"/>
                </a:lnTo>
                <a:lnTo>
                  <a:pt x="156" y="136"/>
                </a:lnTo>
                <a:lnTo>
                  <a:pt x="156" y="138"/>
                </a:lnTo>
                <a:lnTo>
                  <a:pt x="156" y="140"/>
                </a:lnTo>
                <a:lnTo>
                  <a:pt x="156" y="142"/>
                </a:lnTo>
                <a:lnTo>
                  <a:pt x="158" y="142"/>
                </a:lnTo>
                <a:lnTo>
                  <a:pt x="158" y="144"/>
                </a:lnTo>
                <a:lnTo>
                  <a:pt x="158" y="144"/>
                </a:lnTo>
                <a:lnTo>
                  <a:pt x="164" y="144"/>
                </a:lnTo>
                <a:lnTo>
                  <a:pt x="164" y="144"/>
                </a:lnTo>
                <a:lnTo>
                  <a:pt x="172" y="144"/>
                </a:lnTo>
                <a:lnTo>
                  <a:pt x="172" y="144"/>
                </a:lnTo>
                <a:lnTo>
                  <a:pt x="174" y="144"/>
                </a:lnTo>
                <a:lnTo>
                  <a:pt x="176" y="142"/>
                </a:lnTo>
                <a:lnTo>
                  <a:pt x="176" y="142"/>
                </a:lnTo>
                <a:lnTo>
                  <a:pt x="178" y="144"/>
                </a:lnTo>
                <a:lnTo>
                  <a:pt x="178" y="144"/>
                </a:lnTo>
                <a:lnTo>
                  <a:pt x="178" y="146"/>
                </a:lnTo>
                <a:lnTo>
                  <a:pt x="176" y="150"/>
                </a:lnTo>
                <a:lnTo>
                  <a:pt x="176" y="150"/>
                </a:lnTo>
                <a:lnTo>
                  <a:pt x="170" y="152"/>
                </a:lnTo>
                <a:lnTo>
                  <a:pt x="166" y="152"/>
                </a:lnTo>
                <a:lnTo>
                  <a:pt x="166" y="152"/>
                </a:lnTo>
                <a:lnTo>
                  <a:pt x="158" y="156"/>
                </a:lnTo>
                <a:lnTo>
                  <a:pt x="158" y="156"/>
                </a:lnTo>
                <a:lnTo>
                  <a:pt x="136" y="164"/>
                </a:lnTo>
                <a:lnTo>
                  <a:pt x="136" y="164"/>
                </a:lnTo>
                <a:lnTo>
                  <a:pt x="138" y="156"/>
                </a:lnTo>
                <a:lnTo>
                  <a:pt x="138" y="148"/>
                </a:lnTo>
                <a:lnTo>
                  <a:pt x="138" y="148"/>
                </a:lnTo>
                <a:lnTo>
                  <a:pt x="130" y="144"/>
                </a:lnTo>
                <a:lnTo>
                  <a:pt x="124" y="146"/>
                </a:lnTo>
                <a:lnTo>
                  <a:pt x="126" y="142"/>
                </a:lnTo>
                <a:lnTo>
                  <a:pt x="126" y="142"/>
                </a:lnTo>
                <a:lnTo>
                  <a:pt x="128" y="140"/>
                </a:lnTo>
                <a:lnTo>
                  <a:pt x="138" y="136"/>
                </a:lnTo>
                <a:lnTo>
                  <a:pt x="138" y="136"/>
                </a:lnTo>
                <a:lnTo>
                  <a:pt x="140" y="136"/>
                </a:lnTo>
                <a:lnTo>
                  <a:pt x="142" y="136"/>
                </a:lnTo>
                <a:lnTo>
                  <a:pt x="142" y="136"/>
                </a:lnTo>
                <a:lnTo>
                  <a:pt x="142" y="134"/>
                </a:lnTo>
                <a:lnTo>
                  <a:pt x="142" y="134"/>
                </a:lnTo>
                <a:lnTo>
                  <a:pt x="140" y="130"/>
                </a:lnTo>
                <a:lnTo>
                  <a:pt x="140" y="130"/>
                </a:lnTo>
                <a:lnTo>
                  <a:pt x="138" y="130"/>
                </a:lnTo>
                <a:lnTo>
                  <a:pt x="136" y="130"/>
                </a:lnTo>
                <a:lnTo>
                  <a:pt x="136" y="128"/>
                </a:lnTo>
                <a:lnTo>
                  <a:pt x="136" y="128"/>
                </a:lnTo>
                <a:lnTo>
                  <a:pt x="128" y="128"/>
                </a:lnTo>
                <a:lnTo>
                  <a:pt x="128" y="128"/>
                </a:lnTo>
                <a:lnTo>
                  <a:pt x="128" y="130"/>
                </a:lnTo>
                <a:lnTo>
                  <a:pt x="126" y="132"/>
                </a:lnTo>
                <a:lnTo>
                  <a:pt x="124" y="132"/>
                </a:lnTo>
                <a:lnTo>
                  <a:pt x="124" y="132"/>
                </a:lnTo>
                <a:lnTo>
                  <a:pt x="122" y="128"/>
                </a:lnTo>
                <a:lnTo>
                  <a:pt x="122" y="128"/>
                </a:lnTo>
                <a:lnTo>
                  <a:pt x="118" y="128"/>
                </a:lnTo>
                <a:lnTo>
                  <a:pt x="118" y="126"/>
                </a:lnTo>
                <a:lnTo>
                  <a:pt x="118" y="126"/>
                </a:lnTo>
                <a:lnTo>
                  <a:pt x="112" y="126"/>
                </a:lnTo>
                <a:lnTo>
                  <a:pt x="114" y="124"/>
                </a:lnTo>
                <a:lnTo>
                  <a:pt x="114" y="124"/>
                </a:lnTo>
                <a:lnTo>
                  <a:pt x="120" y="124"/>
                </a:lnTo>
                <a:lnTo>
                  <a:pt x="120" y="124"/>
                </a:lnTo>
                <a:lnTo>
                  <a:pt x="120" y="122"/>
                </a:lnTo>
                <a:lnTo>
                  <a:pt x="120" y="122"/>
                </a:lnTo>
                <a:lnTo>
                  <a:pt x="118" y="122"/>
                </a:lnTo>
                <a:lnTo>
                  <a:pt x="118" y="122"/>
                </a:lnTo>
                <a:lnTo>
                  <a:pt x="116" y="118"/>
                </a:lnTo>
                <a:lnTo>
                  <a:pt x="116" y="118"/>
                </a:lnTo>
                <a:lnTo>
                  <a:pt x="114" y="118"/>
                </a:lnTo>
                <a:lnTo>
                  <a:pt x="114" y="120"/>
                </a:lnTo>
                <a:lnTo>
                  <a:pt x="114" y="120"/>
                </a:lnTo>
                <a:lnTo>
                  <a:pt x="104" y="120"/>
                </a:lnTo>
                <a:lnTo>
                  <a:pt x="102" y="122"/>
                </a:lnTo>
                <a:lnTo>
                  <a:pt x="100" y="122"/>
                </a:lnTo>
                <a:lnTo>
                  <a:pt x="100" y="122"/>
                </a:lnTo>
                <a:lnTo>
                  <a:pt x="96" y="128"/>
                </a:lnTo>
                <a:lnTo>
                  <a:pt x="88" y="116"/>
                </a:lnTo>
                <a:lnTo>
                  <a:pt x="88" y="116"/>
                </a:lnTo>
                <a:lnTo>
                  <a:pt x="86" y="114"/>
                </a:lnTo>
                <a:lnTo>
                  <a:pt x="84" y="112"/>
                </a:lnTo>
                <a:lnTo>
                  <a:pt x="84" y="108"/>
                </a:lnTo>
                <a:lnTo>
                  <a:pt x="84" y="108"/>
                </a:lnTo>
                <a:lnTo>
                  <a:pt x="84" y="104"/>
                </a:lnTo>
                <a:lnTo>
                  <a:pt x="82" y="100"/>
                </a:lnTo>
                <a:lnTo>
                  <a:pt x="82" y="100"/>
                </a:lnTo>
                <a:lnTo>
                  <a:pt x="80" y="98"/>
                </a:lnTo>
                <a:lnTo>
                  <a:pt x="80" y="94"/>
                </a:lnTo>
                <a:lnTo>
                  <a:pt x="80" y="94"/>
                </a:lnTo>
                <a:lnTo>
                  <a:pt x="78" y="88"/>
                </a:lnTo>
                <a:lnTo>
                  <a:pt x="74" y="84"/>
                </a:lnTo>
                <a:lnTo>
                  <a:pt x="74" y="84"/>
                </a:lnTo>
                <a:lnTo>
                  <a:pt x="68" y="80"/>
                </a:lnTo>
                <a:lnTo>
                  <a:pt x="68" y="80"/>
                </a:lnTo>
                <a:lnTo>
                  <a:pt x="62" y="76"/>
                </a:lnTo>
                <a:lnTo>
                  <a:pt x="62" y="76"/>
                </a:lnTo>
                <a:lnTo>
                  <a:pt x="58" y="74"/>
                </a:lnTo>
                <a:lnTo>
                  <a:pt x="54" y="76"/>
                </a:lnTo>
                <a:lnTo>
                  <a:pt x="54" y="76"/>
                </a:lnTo>
                <a:lnTo>
                  <a:pt x="50" y="76"/>
                </a:lnTo>
                <a:lnTo>
                  <a:pt x="46" y="78"/>
                </a:lnTo>
                <a:lnTo>
                  <a:pt x="46" y="80"/>
                </a:lnTo>
                <a:lnTo>
                  <a:pt x="46" y="80"/>
                </a:lnTo>
                <a:lnTo>
                  <a:pt x="44" y="80"/>
                </a:lnTo>
                <a:lnTo>
                  <a:pt x="40" y="84"/>
                </a:lnTo>
                <a:lnTo>
                  <a:pt x="40" y="84"/>
                </a:lnTo>
                <a:lnTo>
                  <a:pt x="38" y="86"/>
                </a:lnTo>
                <a:lnTo>
                  <a:pt x="34" y="88"/>
                </a:lnTo>
                <a:lnTo>
                  <a:pt x="34" y="88"/>
                </a:lnTo>
                <a:lnTo>
                  <a:pt x="32" y="88"/>
                </a:lnTo>
                <a:lnTo>
                  <a:pt x="32" y="90"/>
                </a:lnTo>
                <a:lnTo>
                  <a:pt x="28" y="92"/>
                </a:lnTo>
                <a:lnTo>
                  <a:pt x="28" y="92"/>
                </a:lnTo>
                <a:lnTo>
                  <a:pt x="24" y="94"/>
                </a:lnTo>
                <a:lnTo>
                  <a:pt x="22" y="90"/>
                </a:lnTo>
                <a:lnTo>
                  <a:pt x="22" y="90"/>
                </a:lnTo>
                <a:lnTo>
                  <a:pt x="18" y="88"/>
                </a:lnTo>
                <a:lnTo>
                  <a:pt x="14" y="88"/>
                </a:lnTo>
                <a:lnTo>
                  <a:pt x="14" y="88"/>
                </a:lnTo>
                <a:lnTo>
                  <a:pt x="8" y="88"/>
                </a:lnTo>
                <a:lnTo>
                  <a:pt x="4" y="86"/>
                </a:lnTo>
                <a:lnTo>
                  <a:pt x="4" y="86"/>
                </a:lnTo>
                <a:lnTo>
                  <a:pt x="2" y="82"/>
                </a:lnTo>
                <a:lnTo>
                  <a:pt x="0" y="82"/>
                </a:lnTo>
                <a:lnTo>
                  <a:pt x="2" y="76"/>
                </a:lnTo>
                <a:lnTo>
                  <a:pt x="6" y="74"/>
                </a:lnTo>
                <a:lnTo>
                  <a:pt x="6" y="74"/>
                </a:lnTo>
                <a:lnTo>
                  <a:pt x="10" y="72"/>
                </a:lnTo>
                <a:lnTo>
                  <a:pt x="14" y="70"/>
                </a:lnTo>
                <a:lnTo>
                  <a:pt x="14" y="68"/>
                </a:lnTo>
                <a:lnTo>
                  <a:pt x="14" y="68"/>
                </a:lnTo>
                <a:lnTo>
                  <a:pt x="12" y="64"/>
                </a:lnTo>
                <a:lnTo>
                  <a:pt x="12" y="60"/>
                </a:lnTo>
                <a:lnTo>
                  <a:pt x="12" y="58"/>
                </a:lnTo>
                <a:lnTo>
                  <a:pt x="12" y="58"/>
                </a:lnTo>
                <a:lnTo>
                  <a:pt x="16" y="50"/>
                </a:lnTo>
                <a:lnTo>
                  <a:pt x="16" y="50"/>
                </a:lnTo>
                <a:lnTo>
                  <a:pt x="20" y="42"/>
                </a:lnTo>
                <a:lnTo>
                  <a:pt x="20" y="42"/>
                </a:lnTo>
                <a:lnTo>
                  <a:pt x="18" y="38"/>
                </a:lnTo>
                <a:lnTo>
                  <a:pt x="16" y="34"/>
                </a:lnTo>
                <a:lnTo>
                  <a:pt x="16" y="32"/>
                </a:lnTo>
                <a:lnTo>
                  <a:pt x="16" y="32"/>
                </a:lnTo>
                <a:lnTo>
                  <a:pt x="16" y="28"/>
                </a:lnTo>
                <a:lnTo>
                  <a:pt x="18" y="22"/>
                </a:lnTo>
                <a:lnTo>
                  <a:pt x="18" y="22"/>
                </a:lnTo>
                <a:lnTo>
                  <a:pt x="18" y="20"/>
                </a:lnTo>
                <a:lnTo>
                  <a:pt x="18" y="20"/>
                </a:lnTo>
                <a:lnTo>
                  <a:pt x="18" y="18"/>
                </a:lnTo>
                <a:lnTo>
                  <a:pt x="18" y="18"/>
                </a:lnTo>
                <a:lnTo>
                  <a:pt x="18" y="18"/>
                </a:lnTo>
                <a:lnTo>
                  <a:pt x="16" y="12"/>
                </a:lnTo>
                <a:lnTo>
                  <a:pt x="16" y="10"/>
                </a:lnTo>
                <a:lnTo>
                  <a:pt x="18" y="8"/>
                </a:lnTo>
                <a:lnTo>
                  <a:pt x="18" y="8"/>
                </a:lnTo>
                <a:lnTo>
                  <a:pt x="20" y="6"/>
                </a:lnTo>
                <a:lnTo>
                  <a:pt x="22" y="6"/>
                </a:lnTo>
                <a:lnTo>
                  <a:pt x="24" y="10"/>
                </a:lnTo>
                <a:lnTo>
                  <a:pt x="24" y="10"/>
                </a:lnTo>
                <a:lnTo>
                  <a:pt x="26" y="12"/>
                </a:lnTo>
                <a:lnTo>
                  <a:pt x="28" y="10"/>
                </a:lnTo>
                <a:lnTo>
                  <a:pt x="30" y="6"/>
                </a:lnTo>
                <a:lnTo>
                  <a:pt x="30" y="6"/>
                </a:lnTo>
                <a:lnTo>
                  <a:pt x="40" y="6"/>
                </a:lnTo>
                <a:lnTo>
                  <a:pt x="40" y="6"/>
                </a:lnTo>
                <a:lnTo>
                  <a:pt x="54" y="8"/>
                </a:lnTo>
                <a:lnTo>
                  <a:pt x="54" y="8"/>
                </a:lnTo>
                <a:lnTo>
                  <a:pt x="60" y="10"/>
                </a:lnTo>
                <a:lnTo>
                  <a:pt x="66" y="8"/>
                </a:lnTo>
                <a:lnTo>
                  <a:pt x="66" y="8"/>
                </a:lnTo>
                <a:lnTo>
                  <a:pt x="70" y="8"/>
                </a:lnTo>
                <a:lnTo>
                  <a:pt x="72" y="12"/>
                </a:lnTo>
                <a:lnTo>
                  <a:pt x="72" y="12"/>
                </a:lnTo>
                <a:lnTo>
                  <a:pt x="74" y="8"/>
                </a:lnTo>
                <a:lnTo>
                  <a:pt x="74" y="8"/>
                </a:lnTo>
                <a:lnTo>
                  <a:pt x="76" y="10"/>
                </a:lnTo>
                <a:lnTo>
                  <a:pt x="78" y="10"/>
                </a:lnTo>
                <a:lnTo>
                  <a:pt x="80" y="10"/>
                </a:lnTo>
                <a:lnTo>
                  <a:pt x="80" y="10"/>
                </a:lnTo>
                <a:lnTo>
                  <a:pt x="82" y="8"/>
                </a:lnTo>
                <a:lnTo>
                  <a:pt x="86" y="10"/>
                </a:lnTo>
                <a:lnTo>
                  <a:pt x="86" y="10"/>
                </a:lnTo>
                <a:lnTo>
                  <a:pt x="92" y="10"/>
                </a:lnTo>
                <a:lnTo>
                  <a:pt x="98" y="10"/>
                </a:lnTo>
                <a:lnTo>
                  <a:pt x="98" y="10"/>
                </a:lnTo>
                <a:lnTo>
                  <a:pt x="100" y="10"/>
                </a:lnTo>
                <a:lnTo>
                  <a:pt x="102" y="6"/>
                </a:lnTo>
                <a:lnTo>
                  <a:pt x="102" y="6"/>
                </a:lnTo>
                <a:lnTo>
                  <a:pt x="102" y="2"/>
                </a:lnTo>
                <a:lnTo>
                  <a:pt x="104" y="0"/>
                </a:lnTo>
                <a:lnTo>
                  <a:pt x="104" y="0"/>
                </a:lnTo>
                <a:lnTo>
                  <a:pt x="110" y="0"/>
                </a:lnTo>
                <a:lnTo>
                  <a:pt x="110" y="0"/>
                </a:lnTo>
                <a:lnTo>
                  <a:pt x="112" y="4"/>
                </a:lnTo>
                <a:lnTo>
                  <a:pt x="116" y="4"/>
                </a:lnTo>
                <a:lnTo>
                  <a:pt x="118" y="2"/>
                </a:lnTo>
                <a:lnTo>
                  <a:pt x="118" y="2"/>
                </a:lnTo>
                <a:lnTo>
                  <a:pt x="120" y="0"/>
                </a:lnTo>
                <a:lnTo>
                  <a:pt x="120" y="0"/>
                </a:lnTo>
                <a:lnTo>
                  <a:pt x="124" y="2"/>
                </a:lnTo>
                <a:lnTo>
                  <a:pt x="124" y="2"/>
                </a:lnTo>
                <a:lnTo>
                  <a:pt x="128" y="2"/>
                </a:lnTo>
                <a:lnTo>
                  <a:pt x="130" y="2"/>
                </a:lnTo>
                <a:lnTo>
                  <a:pt x="130" y="4"/>
                </a:lnTo>
                <a:lnTo>
                  <a:pt x="130" y="4"/>
                </a:lnTo>
                <a:lnTo>
                  <a:pt x="132" y="8"/>
                </a:lnTo>
                <a:lnTo>
                  <a:pt x="132" y="10"/>
                </a:lnTo>
                <a:lnTo>
                  <a:pt x="132" y="10"/>
                </a:lnTo>
                <a:lnTo>
                  <a:pt x="134" y="14"/>
                </a:lnTo>
                <a:lnTo>
                  <a:pt x="134" y="16"/>
                </a:lnTo>
                <a:lnTo>
                  <a:pt x="136" y="16"/>
                </a:lnTo>
                <a:lnTo>
                  <a:pt x="136" y="16"/>
                </a:lnTo>
                <a:lnTo>
                  <a:pt x="136" y="18"/>
                </a:lnTo>
                <a:lnTo>
                  <a:pt x="136" y="20"/>
                </a:lnTo>
                <a:lnTo>
                  <a:pt x="138" y="22"/>
                </a:lnTo>
                <a:lnTo>
                  <a:pt x="140" y="22"/>
                </a:lnTo>
                <a:lnTo>
                  <a:pt x="140" y="22"/>
                </a:lnTo>
                <a:lnTo>
                  <a:pt x="144" y="22"/>
                </a:lnTo>
                <a:lnTo>
                  <a:pt x="148" y="22"/>
                </a:lnTo>
                <a:lnTo>
                  <a:pt x="148" y="22"/>
                </a:lnTo>
                <a:lnTo>
                  <a:pt x="154" y="26"/>
                </a:lnTo>
                <a:lnTo>
                  <a:pt x="158" y="24"/>
                </a:lnTo>
                <a:lnTo>
                  <a:pt x="158" y="24"/>
                </a:lnTo>
                <a:lnTo>
                  <a:pt x="160" y="24"/>
                </a:lnTo>
                <a:lnTo>
                  <a:pt x="160" y="26"/>
                </a:lnTo>
                <a:lnTo>
                  <a:pt x="162" y="30"/>
                </a:lnTo>
                <a:lnTo>
                  <a:pt x="162" y="30"/>
                </a:lnTo>
                <a:lnTo>
                  <a:pt x="168" y="32"/>
                </a:lnTo>
                <a:lnTo>
                  <a:pt x="168" y="32"/>
                </a:lnTo>
                <a:lnTo>
                  <a:pt x="170" y="34"/>
                </a:lnTo>
                <a:lnTo>
                  <a:pt x="170" y="38"/>
                </a:lnTo>
                <a:lnTo>
                  <a:pt x="172" y="42"/>
                </a:lnTo>
                <a:lnTo>
                  <a:pt x="172" y="42"/>
                </a:lnTo>
                <a:lnTo>
                  <a:pt x="180" y="38"/>
                </a:lnTo>
                <a:lnTo>
                  <a:pt x="180" y="38"/>
                </a:lnTo>
                <a:lnTo>
                  <a:pt x="184" y="36"/>
                </a:lnTo>
                <a:lnTo>
                  <a:pt x="184" y="36"/>
                </a:lnTo>
                <a:lnTo>
                  <a:pt x="188" y="36"/>
                </a:lnTo>
                <a:lnTo>
                  <a:pt x="192" y="38"/>
                </a:lnTo>
                <a:lnTo>
                  <a:pt x="192" y="38"/>
                </a:lnTo>
                <a:lnTo>
                  <a:pt x="192" y="40"/>
                </a:lnTo>
                <a:lnTo>
                  <a:pt x="194" y="42"/>
                </a:lnTo>
                <a:lnTo>
                  <a:pt x="194" y="42"/>
                </a:lnTo>
                <a:lnTo>
                  <a:pt x="198" y="44"/>
                </a:lnTo>
                <a:lnTo>
                  <a:pt x="202" y="46"/>
                </a:lnTo>
                <a:lnTo>
                  <a:pt x="202" y="46"/>
                </a:lnTo>
                <a:lnTo>
                  <a:pt x="220" y="52"/>
                </a:lnTo>
                <a:lnTo>
                  <a:pt x="220" y="52"/>
                </a:lnTo>
                <a:lnTo>
                  <a:pt x="222" y="56"/>
                </a:lnTo>
                <a:lnTo>
                  <a:pt x="220" y="58"/>
                </a:lnTo>
                <a:lnTo>
                  <a:pt x="220" y="58"/>
                </a:lnTo>
                <a:lnTo>
                  <a:pt x="220" y="60"/>
                </a:lnTo>
                <a:lnTo>
                  <a:pt x="220" y="60"/>
                </a:lnTo>
                <a:lnTo>
                  <a:pt x="224" y="62"/>
                </a:lnTo>
                <a:lnTo>
                  <a:pt x="226" y="62"/>
                </a:lnTo>
                <a:lnTo>
                  <a:pt x="226" y="64"/>
                </a:lnTo>
                <a:lnTo>
                  <a:pt x="226" y="64"/>
                </a:lnTo>
                <a:lnTo>
                  <a:pt x="224" y="68"/>
                </a:lnTo>
                <a:lnTo>
                  <a:pt x="222" y="68"/>
                </a:lnTo>
                <a:lnTo>
                  <a:pt x="224" y="70"/>
                </a:lnTo>
                <a:lnTo>
                  <a:pt x="224" y="70"/>
                </a:lnTo>
                <a:lnTo>
                  <a:pt x="226" y="72"/>
                </a:lnTo>
                <a:lnTo>
                  <a:pt x="226" y="74"/>
                </a:lnTo>
                <a:lnTo>
                  <a:pt x="226" y="76"/>
                </a:lnTo>
                <a:lnTo>
                  <a:pt x="226" y="80"/>
                </a:lnTo>
                <a:lnTo>
                  <a:pt x="226" y="80"/>
                </a:lnTo>
                <a:lnTo>
                  <a:pt x="228" y="82"/>
                </a:lnTo>
                <a:lnTo>
                  <a:pt x="228" y="86"/>
                </a:lnTo>
                <a:lnTo>
                  <a:pt x="228" y="86"/>
                </a:lnTo>
                <a:lnTo>
                  <a:pt x="226" y="96"/>
                </a:lnTo>
                <a:lnTo>
                  <a:pt x="226" y="96"/>
                </a:lnTo>
                <a:lnTo>
                  <a:pt x="224" y="98"/>
                </a:lnTo>
                <a:lnTo>
                  <a:pt x="220" y="98"/>
                </a:lnTo>
                <a:lnTo>
                  <a:pt x="214" y="100"/>
                </a:lnTo>
                <a:lnTo>
                  <a:pt x="212" y="104"/>
                </a:lnTo>
                <a:lnTo>
                  <a:pt x="210" y="108"/>
                </a:lnTo>
                <a:close/>
                <a:moveTo>
                  <a:pt x="96" y="128"/>
                </a:moveTo>
                <a:lnTo>
                  <a:pt x="96" y="128"/>
                </a:lnTo>
                <a:lnTo>
                  <a:pt x="94" y="126"/>
                </a:lnTo>
                <a:lnTo>
                  <a:pt x="88" y="124"/>
                </a:lnTo>
                <a:lnTo>
                  <a:pt x="88" y="124"/>
                </a:lnTo>
                <a:lnTo>
                  <a:pt x="84" y="122"/>
                </a:lnTo>
                <a:lnTo>
                  <a:pt x="82" y="122"/>
                </a:lnTo>
                <a:lnTo>
                  <a:pt x="82" y="122"/>
                </a:lnTo>
                <a:lnTo>
                  <a:pt x="82" y="122"/>
                </a:lnTo>
                <a:lnTo>
                  <a:pt x="80" y="124"/>
                </a:lnTo>
                <a:lnTo>
                  <a:pt x="78" y="126"/>
                </a:lnTo>
                <a:lnTo>
                  <a:pt x="76" y="130"/>
                </a:lnTo>
                <a:lnTo>
                  <a:pt x="76" y="130"/>
                </a:lnTo>
                <a:lnTo>
                  <a:pt x="74" y="136"/>
                </a:lnTo>
                <a:lnTo>
                  <a:pt x="70" y="138"/>
                </a:lnTo>
                <a:lnTo>
                  <a:pt x="74" y="140"/>
                </a:lnTo>
                <a:lnTo>
                  <a:pt x="74" y="140"/>
                </a:lnTo>
                <a:lnTo>
                  <a:pt x="76" y="142"/>
                </a:lnTo>
                <a:lnTo>
                  <a:pt x="78" y="142"/>
                </a:lnTo>
                <a:lnTo>
                  <a:pt x="78" y="140"/>
                </a:lnTo>
                <a:lnTo>
                  <a:pt x="78" y="140"/>
                </a:lnTo>
                <a:lnTo>
                  <a:pt x="80" y="140"/>
                </a:lnTo>
                <a:lnTo>
                  <a:pt x="84" y="140"/>
                </a:lnTo>
                <a:lnTo>
                  <a:pt x="86" y="142"/>
                </a:lnTo>
                <a:lnTo>
                  <a:pt x="86" y="142"/>
                </a:lnTo>
                <a:lnTo>
                  <a:pt x="86" y="138"/>
                </a:lnTo>
                <a:lnTo>
                  <a:pt x="86" y="138"/>
                </a:lnTo>
                <a:lnTo>
                  <a:pt x="90" y="136"/>
                </a:lnTo>
                <a:lnTo>
                  <a:pt x="94" y="132"/>
                </a:lnTo>
                <a:lnTo>
                  <a:pt x="94" y="132"/>
                </a:lnTo>
                <a:lnTo>
                  <a:pt x="96" y="128"/>
                </a:lnTo>
                <a:lnTo>
                  <a:pt x="96" y="1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1" name="Freeform 25">
            <a:extLst>
              <a:ext uri="{FF2B5EF4-FFF2-40B4-BE49-F238E27FC236}">
                <a16:creationId xmlns:a16="http://schemas.microsoft.com/office/drawing/2014/main" id="{A9E07F3E-6035-45EC-B750-FBA41A476BB8}"/>
              </a:ext>
            </a:extLst>
          </p:cNvPr>
          <p:cNvSpPr>
            <a:spLocks noEditPoints="1"/>
          </p:cNvSpPr>
          <p:nvPr userDrawn="1"/>
        </p:nvSpPr>
        <p:spPr bwMode="auto">
          <a:xfrm>
            <a:off x="6504829" y="3563961"/>
            <a:ext cx="127454" cy="185327"/>
          </a:xfrm>
          <a:custGeom>
            <a:avLst/>
            <a:gdLst>
              <a:gd name="T0" fmla="*/ 68 w 76"/>
              <a:gd name="T1" fmla="*/ 76 h 108"/>
              <a:gd name="T2" fmla="*/ 70 w 76"/>
              <a:gd name="T3" fmla="*/ 72 h 108"/>
              <a:gd name="T4" fmla="*/ 68 w 76"/>
              <a:gd name="T5" fmla="*/ 60 h 108"/>
              <a:gd name="T6" fmla="*/ 70 w 76"/>
              <a:gd name="T7" fmla="*/ 50 h 108"/>
              <a:gd name="T8" fmla="*/ 72 w 76"/>
              <a:gd name="T9" fmla="*/ 46 h 108"/>
              <a:gd name="T10" fmla="*/ 76 w 76"/>
              <a:gd name="T11" fmla="*/ 38 h 108"/>
              <a:gd name="T12" fmla="*/ 74 w 76"/>
              <a:gd name="T13" fmla="*/ 28 h 108"/>
              <a:gd name="T14" fmla="*/ 72 w 76"/>
              <a:gd name="T15" fmla="*/ 18 h 108"/>
              <a:gd name="T16" fmla="*/ 74 w 76"/>
              <a:gd name="T17" fmla="*/ 12 h 108"/>
              <a:gd name="T18" fmla="*/ 72 w 76"/>
              <a:gd name="T19" fmla="*/ 8 h 108"/>
              <a:gd name="T20" fmla="*/ 66 w 76"/>
              <a:gd name="T21" fmla="*/ 4 h 108"/>
              <a:gd name="T22" fmla="*/ 60 w 76"/>
              <a:gd name="T23" fmla="*/ 4 h 108"/>
              <a:gd name="T24" fmla="*/ 50 w 76"/>
              <a:gd name="T25" fmla="*/ 2 h 108"/>
              <a:gd name="T26" fmla="*/ 46 w 76"/>
              <a:gd name="T27" fmla="*/ 2 h 108"/>
              <a:gd name="T28" fmla="*/ 40 w 76"/>
              <a:gd name="T29" fmla="*/ 6 h 108"/>
              <a:gd name="T30" fmla="*/ 36 w 76"/>
              <a:gd name="T31" fmla="*/ 12 h 108"/>
              <a:gd name="T32" fmla="*/ 32 w 76"/>
              <a:gd name="T33" fmla="*/ 20 h 108"/>
              <a:gd name="T34" fmla="*/ 32 w 76"/>
              <a:gd name="T35" fmla="*/ 24 h 108"/>
              <a:gd name="T36" fmla="*/ 30 w 76"/>
              <a:gd name="T37" fmla="*/ 30 h 108"/>
              <a:gd name="T38" fmla="*/ 28 w 76"/>
              <a:gd name="T39" fmla="*/ 38 h 108"/>
              <a:gd name="T40" fmla="*/ 32 w 76"/>
              <a:gd name="T41" fmla="*/ 40 h 108"/>
              <a:gd name="T42" fmla="*/ 32 w 76"/>
              <a:gd name="T43" fmla="*/ 42 h 108"/>
              <a:gd name="T44" fmla="*/ 32 w 76"/>
              <a:gd name="T45" fmla="*/ 46 h 108"/>
              <a:gd name="T46" fmla="*/ 26 w 76"/>
              <a:gd name="T47" fmla="*/ 56 h 108"/>
              <a:gd name="T48" fmla="*/ 22 w 76"/>
              <a:gd name="T49" fmla="*/ 54 h 108"/>
              <a:gd name="T50" fmla="*/ 14 w 76"/>
              <a:gd name="T51" fmla="*/ 60 h 108"/>
              <a:gd name="T52" fmla="*/ 10 w 76"/>
              <a:gd name="T53" fmla="*/ 68 h 108"/>
              <a:gd name="T54" fmla="*/ 6 w 76"/>
              <a:gd name="T55" fmla="*/ 80 h 108"/>
              <a:gd name="T56" fmla="*/ 8 w 76"/>
              <a:gd name="T57" fmla="*/ 84 h 108"/>
              <a:gd name="T58" fmla="*/ 4 w 76"/>
              <a:gd name="T59" fmla="*/ 90 h 108"/>
              <a:gd name="T60" fmla="*/ 2 w 76"/>
              <a:gd name="T61" fmla="*/ 92 h 108"/>
              <a:gd name="T62" fmla="*/ 4 w 76"/>
              <a:gd name="T63" fmla="*/ 100 h 108"/>
              <a:gd name="T64" fmla="*/ 10 w 76"/>
              <a:gd name="T65" fmla="*/ 106 h 108"/>
              <a:gd name="T66" fmla="*/ 18 w 76"/>
              <a:gd name="T67" fmla="*/ 106 h 108"/>
              <a:gd name="T68" fmla="*/ 24 w 76"/>
              <a:gd name="T69" fmla="*/ 102 h 108"/>
              <a:gd name="T70" fmla="*/ 42 w 76"/>
              <a:gd name="T71" fmla="*/ 102 h 108"/>
              <a:gd name="T72" fmla="*/ 42 w 76"/>
              <a:gd name="T73" fmla="*/ 98 h 108"/>
              <a:gd name="T74" fmla="*/ 40 w 76"/>
              <a:gd name="T75" fmla="*/ 88 h 108"/>
              <a:gd name="T76" fmla="*/ 38 w 76"/>
              <a:gd name="T77" fmla="*/ 80 h 108"/>
              <a:gd name="T78" fmla="*/ 40 w 76"/>
              <a:gd name="T79" fmla="*/ 76 h 108"/>
              <a:gd name="T80" fmla="*/ 48 w 76"/>
              <a:gd name="T81" fmla="*/ 72 h 108"/>
              <a:gd name="T82" fmla="*/ 62 w 76"/>
              <a:gd name="T83" fmla="*/ 68 h 108"/>
              <a:gd name="T84" fmla="*/ 64 w 76"/>
              <a:gd name="T85" fmla="*/ 70 h 108"/>
              <a:gd name="T86" fmla="*/ 68 w 76"/>
              <a:gd name="T87" fmla="*/ 72 h 108"/>
              <a:gd name="T88" fmla="*/ 66 w 76"/>
              <a:gd name="T89" fmla="*/ 78 h 108"/>
              <a:gd name="T90" fmla="*/ 70 w 76"/>
              <a:gd name="T91" fmla="*/ 78 h 108"/>
              <a:gd name="T92" fmla="*/ 26 w 76"/>
              <a:gd name="T93" fmla="*/ 50 h 108"/>
              <a:gd name="T94" fmla="*/ 28 w 76"/>
              <a:gd name="T95" fmla="*/ 4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 h="108">
                <a:moveTo>
                  <a:pt x="70" y="78"/>
                </a:moveTo>
                <a:lnTo>
                  <a:pt x="70" y="78"/>
                </a:lnTo>
                <a:lnTo>
                  <a:pt x="68" y="76"/>
                </a:lnTo>
                <a:lnTo>
                  <a:pt x="70" y="74"/>
                </a:lnTo>
                <a:lnTo>
                  <a:pt x="70" y="74"/>
                </a:lnTo>
                <a:lnTo>
                  <a:pt x="70" y="72"/>
                </a:lnTo>
                <a:lnTo>
                  <a:pt x="68" y="68"/>
                </a:lnTo>
                <a:lnTo>
                  <a:pt x="68" y="64"/>
                </a:lnTo>
                <a:lnTo>
                  <a:pt x="68" y="60"/>
                </a:lnTo>
                <a:lnTo>
                  <a:pt x="68" y="60"/>
                </a:lnTo>
                <a:lnTo>
                  <a:pt x="70" y="56"/>
                </a:lnTo>
                <a:lnTo>
                  <a:pt x="70" y="50"/>
                </a:lnTo>
                <a:lnTo>
                  <a:pt x="70" y="50"/>
                </a:lnTo>
                <a:lnTo>
                  <a:pt x="70" y="48"/>
                </a:lnTo>
                <a:lnTo>
                  <a:pt x="72" y="46"/>
                </a:lnTo>
                <a:lnTo>
                  <a:pt x="74" y="44"/>
                </a:lnTo>
                <a:lnTo>
                  <a:pt x="74" y="44"/>
                </a:lnTo>
                <a:lnTo>
                  <a:pt x="76" y="38"/>
                </a:lnTo>
                <a:lnTo>
                  <a:pt x="76" y="38"/>
                </a:lnTo>
                <a:lnTo>
                  <a:pt x="76" y="32"/>
                </a:lnTo>
                <a:lnTo>
                  <a:pt x="74" y="28"/>
                </a:lnTo>
                <a:lnTo>
                  <a:pt x="74" y="28"/>
                </a:lnTo>
                <a:lnTo>
                  <a:pt x="70" y="24"/>
                </a:lnTo>
                <a:lnTo>
                  <a:pt x="72" y="18"/>
                </a:lnTo>
                <a:lnTo>
                  <a:pt x="72" y="18"/>
                </a:lnTo>
                <a:lnTo>
                  <a:pt x="74" y="14"/>
                </a:lnTo>
                <a:lnTo>
                  <a:pt x="74" y="12"/>
                </a:lnTo>
                <a:lnTo>
                  <a:pt x="72" y="10"/>
                </a:lnTo>
                <a:lnTo>
                  <a:pt x="72" y="10"/>
                </a:lnTo>
                <a:lnTo>
                  <a:pt x="72" y="8"/>
                </a:lnTo>
                <a:lnTo>
                  <a:pt x="70" y="8"/>
                </a:lnTo>
                <a:lnTo>
                  <a:pt x="70" y="8"/>
                </a:lnTo>
                <a:lnTo>
                  <a:pt x="66" y="4"/>
                </a:lnTo>
                <a:lnTo>
                  <a:pt x="66" y="0"/>
                </a:lnTo>
                <a:lnTo>
                  <a:pt x="60" y="4"/>
                </a:lnTo>
                <a:lnTo>
                  <a:pt x="60" y="4"/>
                </a:lnTo>
                <a:lnTo>
                  <a:pt x="58" y="2"/>
                </a:lnTo>
                <a:lnTo>
                  <a:pt x="54" y="0"/>
                </a:lnTo>
                <a:lnTo>
                  <a:pt x="50" y="2"/>
                </a:lnTo>
                <a:lnTo>
                  <a:pt x="50" y="2"/>
                </a:lnTo>
                <a:lnTo>
                  <a:pt x="48" y="2"/>
                </a:lnTo>
                <a:lnTo>
                  <a:pt x="46" y="2"/>
                </a:lnTo>
                <a:lnTo>
                  <a:pt x="46" y="2"/>
                </a:lnTo>
                <a:lnTo>
                  <a:pt x="42" y="4"/>
                </a:lnTo>
                <a:lnTo>
                  <a:pt x="40" y="6"/>
                </a:lnTo>
                <a:lnTo>
                  <a:pt x="36" y="10"/>
                </a:lnTo>
                <a:lnTo>
                  <a:pt x="36" y="10"/>
                </a:lnTo>
                <a:lnTo>
                  <a:pt x="36" y="12"/>
                </a:lnTo>
                <a:lnTo>
                  <a:pt x="36" y="16"/>
                </a:lnTo>
                <a:lnTo>
                  <a:pt x="36" y="16"/>
                </a:lnTo>
                <a:lnTo>
                  <a:pt x="32" y="20"/>
                </a:lnTo>
                <a:lnTo>
                  <a:pt x="30" y="22"/>
                </a:lnTo>
                <a:lnTo>
                  <a:pt x="32" y="24"/>
                </a:lnTo>
                <a:lnTo>
                  <a:pt x="32" y="24"/>
                </a:lnTo>
                <a:lnTo>
                  <a:pt x="32" y="24"/>
                </a:lnTo>
                <a:lnTo>
                  <a:pt x="32" y="26"/>
                </a:lnTo>
                <a:lnTo>
                  <a:pt x="30" y="30"/>
                </a:lnTo>
                <a:lnTo>
                  <a:pt x="30" y="30"/>
                </a:lnTo>
                <a:lnTo>
                  <a:pt x="28" y="34"/>
                </a:lnTo>
                <a:lnTo>
                  <a:pt x="28" y="38"/>
                </a:lnTo>
                <a:lnTo>
                  <a:pt x="30" y="38"/>
                </a:lnTo>
                <a:lnTo>
                  <a:pt x="30" y="38"/>
                </a:lnTo>
                <a:lnTo>
                  <a:pt x="32" y="40"/>
                </a:lnTo>
                <a:lnTo>
                  <a:pt x="32" y="42"/>
                </a:lnTo>
                <a:lnTo>
                  <a:pt x="32" y="42"/>
                </a:lnTo>
                <a:lnTo>
                  <a:pt x="32" y="42"/>
                </a:lnTo>
                <a:lnTo>
                  <a:pt x="32" y="44"/>
                </a:lnTo>
                <a:lnTo>
                  <a:pt x="32" y="46"/>
                </a:lnTo>
                <a:lnTo>
                  <a:pt x="32" y="46"/>
                </a:lnTo>
                <a:lnTo>
                  <a:pt x="30" y="50"/>
                </a:lnTo>
                <a:lnTo>
                  <a:pt x="26" y="54"/>
                </a:lnTo>
                <a:lnTo>
                  <a:pt x="26" y="56"/>
                </a:lnTo>
                <a:lnTo>
                  <a:pt x="24" y="56"/>
                </a:lnTo>
                <a:lnTo>
                  <a:pt x="24" y="56"/>
                </a:lnTo>
                <a:lnTo>
                  <a:pt x="22" y="54"/>
                </a:lnTo>
                <a:lnTo>
                  <a:pt x="22" y="54"/>
                </a:lnTo>
                <a:lnTo>
                  <a:pt x="18" y="58"/>
                </a:lnTo>
                <a:lnTo>
                  <a:pt x="14" y="60"/>
                </a:lnTo>
                <a:lnTo>
                  <a:pt x="14" y="60"/>
                </a:lnTo>
                <a:lnTo>
                  <a:pt x="12" y="64"/>
                </a:lnTo>
                <a:lnTo>
                  <a:pt x="10" y="68"/>
                </a:lnTo>
                <a:lnTo>
                  <a:pt x="10" y="68"/>
                </a:lnTo>
                <a:lnTo>
                  <a:pt x="6" y="80"/>
                </a:lnTo>
                <a:lnTo>
                  <a:pt x="6" y="80"/>
                </a:lnTo>
                <a:lnTo>
                  <a:pt x="10" y="80"/>
                </a:lnTo>
                <a:lnTo>
                  <a:pt x="10" y="80"/>
                </a:lnTo>
                <a:lnTo>
                  <a:pt x="8" y="84"/>
                </a:lnTo>
                <a:lnTo>
                  <a:pt x="6" y="88"/>
                </a:lnTo>
                <a:lnTo>
                  <a:pt x="6" y="88"/>
                </a:lnTo>
                <a:lnTo>
                  <a:pt x="4" y="90"/>
                </a:lnTo>
                <a:lnTo>
                  <a:pt x="4" y="90"/>
                </a:lnTo>
                <a:lnTo>
                  <a:pt x="2" y="92"/>
                </a:lnTo>
                <a:lnTo>
                  <a:pt x="2" y="92"/>
                </a:lnTo>
                <a:lnTo>
                  <a:pt x="0" y="96"/>
                </a:lnTo>
                <a:lnTo>
                  <a:pt x="0" y="98"/>
                </a:lnTo>
                <a:lnTo>
                  <a:pt x="4" y="100"/>
                </a:lnTo>
                <a:lnTo>
                  <a:pt x="4" y="102"/>
                </a:lnTo>
                <a:lnTo>
                  <a:pt x="4" y="102"/>
                </a:lnTo>
                <a:lnTo>
                  <a:pt x="10" y="106"/>
                </a:lnTo>
                <a:lnTo>
                  <a:pt x="10" y="106"/>
                </a:lnTo>
                <a:lnTo>
                  <a:pt x="14" y="108"/>
                </a:lnTo>
                <a:lnTo>
                  <a:pt x="18" y="106"/>
                </a:lnTo>
                <a:lnTo>
                  <a:pt x="18" y="106"/>
                </a:lnTo>
                <a:lnTo>
                  <a:pt x="22" y="104"/>
                </a:lnTo>
                <a:lnTo>
                  <a:pt x="24" y="102"/>
                </a:lnTo>
                <a:lnTo>
                  <a:pt x="42" y="102"/>
                </a:lnTo>
                <a:lnTo>
                  <a:pt x="42" y="102"/>
                </a:lnTo>
                <a:lnTo>
                  <a:pt x="42" y="102"/>
                </a:lnTo>
                <a:lnTo>
                  <a:pt x="42" y="100"/>
                </a:lnTo>
                <a:lnTo>
                  <a:pt x="42" y="98"/>
                </a:lnTo>
                <a:lnTo>
                  <a:pt x="42" y="98"/>
                </a:lnTo>
                <a:lnTo>
                  <a:pt x="36" y="94"/>
                </a:lnTo>
                <a:lnTo>
                  <a:pt x="36" y="94"/>
                </a:lnTo>
                <a:lnTo>
                  <a:pt x="40" y="88"/>
                </a:lnTo>
                <a:lnTo>
                  <a:pt x="40" y="88"/>
                </a:lnTo>
                <a:lnTo>
                  <a:pt x="38" y="82"/>
                </a:lnTo>
                <a:lnTo>
                  <a:pt x="38" y="80"/>
                </a:lnTo>
                <a:lnTo>
                  <a:pt x="40" y="80"/>
                </a:lnTo>
                <a:lnTo>
                  <a:pt x="40" y="80"/>
                </a:lnTo>
                <a:lnTo>
                  <a:pt x="40" y="76"/>
                </a:lnTo>
                <a:lnTo>
                  <a:pt x="40" y="76"/>
                </a:lnTo>
                <a:lnTo>
                  <a:pt x="44" y="74"/>
                </a:lnTo>
                <a:lnTo>
                  <a:pt x="48" y="72"/>
                </a:lnTo>
                <a:lnTo>
                  <a:pt x="60" y="74"/>
                </a:lnTo>
                <a:lnTo>
                  <a:pt x="60" y="74"/>
                </a:lnTo>
                <a:lnTo>
                  <a:pt x="62" y="68"/>
                </a:lnTo>
                <a:lnTo>
                  <a:pt x="64" y="68"/>
                </a:lnTo>
                <a:lnTo>
                  <a:pt x="64" y="68"/>
                </a:lnTo>
                <a:lnTo>
                  <a:pt x="64" y="70"/>
                </a:lnTo>
                <a:lnTo>
                  <a:pt x="64" y="72"/>
                </a:lnTo>
                <a:lnTo>
                  <a:pt x="64" y="72"/>
                </a:lnTo>
                <a:lnTo>
                  <a:pt x="68" y="72"/>
                </a:lnTo>
                <a:lnTo>
                  <a:pt x="68" y="72"/>
                </a:lnTo>
                <a:lnTo>
                  <a:pt x="68" y="76"/>
                </a:lnTo>
                <a:lnTo>
                  <a:pt x="66" y="78"/>
                </a:lnTo>
                <a:lnTo>
                  <a:pt x="66" y="78"/>
                </a:lnTo>
                <a:lnTo>
                  <a:pt x="70" y="78"/>
                </a:lnTo>
                <a:lnTo>
                  <a:pt x="70" y="78"/>
                </a:lnTo>
                <a:close/>
                <a:moveTo>
                  <a:pt x="28" y="46"/>
                </a:moveTo>
                <a:lnTo>
                  <a:pt x="28" y="46"/>
                </a:lnTo>
                <a:lnTo>
                  <a:pt x="26" y="50"/>
                </a:lnTo>
                <a:lnTo>
                  <a:pt x="26" y="50"/>
                </a:lnTo>
                <a:lnTo>
                  <a:pt x="28" y="48"/>
                </a:lnTo>
                <a:lnTo>
                  <a:pt x="28" y="48"/>
                </a:lnTo>
                <a:lnTo>
                  <a:pt x="28" y="46"/>
                </a:lnTo>
                <a:lnTo>
                  <a:pt x="28"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2" name="Freeform 26">
            <a:extLst>
              <a:ext uri="{FF2B5EF4-FFF2-40B4-BE49-F238E27FC236}">
                <a16:creationId xmlns:a16="http://schemas.microsoft.com/office/drawing/2014/main" id="{9D49FEC8-0774-493A-99BF-99C65F3C0C25}"/>
              </a:ext>
            </a:extLst>
          </p:cNvPr>
          <p:cNvSpPr>
            <a:spLocks/>
          </p:cNvSpPr>
          <p:nvPr userDrawn="1"/>
        </p:nvSpPr>
        <p:spPr bwMode="auto">
          <a:xfrm>
            <a:off x="7031418" y="2414249"/>
            <a:ext cx="318637" cy="233374"/>
          </a:xfrm>
          <a:custGeom>
            <a:avLst/>
            <a:gdLst>
              <a:gd name="T0" fmla="*/ 4 w 190"/>
              <a:gd name="T1" fmla="*/ 22 h 136"/>
              <a:gd name="T2" fmla="*/ 6 w 190"/>
              <a:gd name="T3" fmla="*/ 22 h 136"/>
              <a:gd name="T4" fmla="*/ 4 w 190"/>
              <a:gd name="T5" fmla="*/ 18 h 136"/>
              <a:gd name="T6" fmla="*/ 10 w 190"/>
              <a:gd name="T7" fmla="*/ 12 h 136"/>
              <a:gd name="T8" fmla="*/ 20 w 190"/>
              <a:gd name="T9" fmla="*/ 14 h 136"/>
              <a:gd name="T10" fmla="*/ 26 w 190"/>
              <a:gd name="T11" fmla="*/ 26 h 136"/>
              <a:gd name="T12" fmla="*/ 30 w 190"/>
              <a:gd name="T13" fmla="*/ 32 h 136"/>
              <a:gd name="T14" fmla="*/ 24 w 190"/>
              <a:gd name="T15" fmla="*/ 36 h 136"/>
              <a:gd name="T16" fmla="*/ 24 w 190"/>
              <a:gd name="T17" fmla="*/ 38 h 136"/>
              <a:gd name="T18" fmla="*/ 24 w 190"/>
              <a:gd name="T19" fmla="*/ 40 h 136"/>
              <a:gd name="T20" fmla="*/ 10 w 190"/>
              <a:gd name="T21" fmla="*/ 38 h 136"/>
              <a:gd name="T22" fmla="*/ 6 w 190"/>
              <a:gd name="T23" fmla="*/ 32 h 136"/>
              <a:gd name="T24" fmla="*/ 6 w 190"/>
              <a:gd name="T25" fmla="*/ 38 h 136"/>
              <a:gd name="T26" fmla="*/ 2 w 190"/>
              <a:gd name="T27" fmla="*/ 52 h 136"/>
              <a:gd name="T28" fmla="*/ 4 w 190"/>
              <a:gd name="T29" fmla="*/ 54 h 136"/>
              <a:gd name="T30" fmla="*/ 8 w 190"/>
              <a:gd name="T31" fmla="*/ 52 h 136"/>
              <a:gd name="T32" fmla="*/ 16 w 190"/>
              <a:gd name="T33" fmla="*/ 50 h 136"/>
              <a:gd name="T34" fmla="*/ 16 w 190"/>
              <a:gd name="T35" fmla="*/ 52 h 136"/>
              <a:gd name="T36" fmla="*/ 12 w 190"/>
              <a:gd name="T37" fmla="*/ 56 h 136"/>
              <a:gd name="T38" fmla="*/ 16 w 190"/>
              <a:gd name="T39" fmla="*/ 66 h 136"/>
              <a:gd name="T40" fmla="*/ 22 w 190"/>
              <a:gd name="T41" fmla="*/ 74 h 136"/>
              <a:gd name="T42" fmla="*/ 20 w 190"/>
              <a:gd name="T43" fmla="*/ 80 h 136"/>
              <a:gd name="T44" fmla="*/ 18 w 190"/>
              <a:gd name="T45" fmla="*/ 88 h 136"/>
              <a:gd name="T46" fmla="*/ 20 w 190"/>
              <a:gd name="T47" fmla="*/ 100 h 136"/>
              <a:gd name="T48" fmla="*/ 32 w 190"/>
              <a:gd name="T49" fmla="*/ 92 h 136"/>
              <a:gd name="T50" fmla="*/ 46 w 190"/>
              <a:gd name="T51" fmla="*/ 86 h 136"/>
              <a:gd name="T52" fmla="*/ 74 w 190"/>
              <a:gd name="T53" fmla="*/ 86 h 136"/>
              <a:gd name="T54" fmla="*/ 96 w 190"/>
              <a:gd name="T55" fmla="*/ 92 h 136"/>
              <a:gd name="T56" fmla="*/ 116 w 190"/>
              <a:gd name="T57" fmla="*/ 104 h 136"/>
              <a:gd name="T58" fmla="*/ 130 w 190"/>
              <a:gd name="T59" fmla="*/ 116 h 136"/>
              <a:gd name="T60" fmla="*/ 128 w 190"/>
              <a:gd name="T61" fmla="*/ 134 h 136"/>
              <a:gd name="T62" fmla="*/ 142 w 190"/>
              <a:gd name="T63" fmla="*/ 136 h 136"/>
              <a:gd name="T64" fmla="*/ 160 w 190"/>
              <a:gd name="T65" fmla="*/ 116 h 136"/>
              <a:gd name="T66" fmla="*/ 164 w 190"/>
              <a:gd name="T67" fmla="*/ 100 h 136"/>
              <a:gd name="T68" fmla="*/ 176 w 190"/>
              <a:gd name="T69" fmla="*/ 100 h 136"/>
              <a:gd name="T70" fmla="*/ 182 w 190"/>
              <a:gd name="T71" fmla="*/ 90 h 136"/>
              <a:gd name="T72" fmla="*/ 182 w 190"/>
              <a:gd name="T73" fmla="*/ 84 h 136"/>
              <a:gd name="T74" fmla="*/ 168 w 190"/>
              <a:gd name="T75" fmla="*/ 76 h 136"/>
              <a:gd name="T76" fmla="*/ 150 w 190"/>
              <a:gd name="T77" fmla="*/ 66 h 136"/>
              <a:gd name="T78" fmla="*/ 138 w 190"/>
              <a:gd name="T79" fmla="*/ 52 h 136"/>
              <a:gd name="T80" fmla="*/ 130 w 190"/>
              <a:gd name="T81" fmla="*/ 38 h 136"/>
              <a:gd name="T82" fmla="*/ 112 w 190"/>
              <a:gd name="T83" fmla="*/ 30 h 136"/>
              <a:gd name="T84" fmla="*/ 96 w 190"/>
              <a:gd name="T85" fmla="*/ 34 h 136"/>
              <a:gd name="T86" fmla="*/ 96 w 190"/>
              <a:gd name="T87" fmla="*/ 22 h 136"/>
              <a:gd name="T88" fmla="*/ 84 w 190"/>
              <a:gd name="T89" fmla="*/ 2 h 136"/>
              <a:gd name="T90" fmla="*/ 72 w 190"/>
              <a:gd name="T91" fmla="*/ 4 h 136"/>
              <a:gd name="T92" fmla="*/ 60 w 190"/>
              <a:gd name="T93" fmla="*/ 10 h 136"/>
              <a:gd name="T94" fmla="*/ 62 w 190"/>
              <a:gd name="T95" fmla="*/ 22 h 136"/>
              <a:gd name="T96" fmla="*/ 44 w 190"/>
              <a:gd name="T97" fmla="*/ 20 h 136"/>
              <a:gd name="T98" fmla="*/ 30 w 190"/>
              <a:gd name="T99" fmla="*/ 12 h 136"/>
              <a:gd name="T100" fmla="*/ 18 w 190"/>
              <a:gd name="T101" fmla="*/ 6 h 136"/>
              <a:gd name="T102" fmla="*/ 4 w 190"/>
              <a:gd name="T103" fmla="*/ 8 h 136"/>
              <a:gd name="T104" fmla="*/ 2 w 190"/>
              <a:gd name="T105" fmla="*/ 16 h 136"/>
              <a:gd name="T106" fmla="*/ 0 w 190"/>
              <a:gd name="T107" fmla="*/ 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 h="136">
                <a:moveTo>
                  <a:pt x="0" y="18"/>
                </a:moveTo>
                <a:lnTo>
                  <a:pt x="0" y="18"/>
                </a:lnTo>
                <a:lnTo>
                  <a:pt x="4" y="22"/>
                </a:lnTo>
                <a:lnTo>
                  <a:pt x="4" y="22"/>
                </a:lnTo>
                <a:lnTo>
                  <a:pt x="6" y="22"/>
                </a:lnTo>
                <a:lnTo>
                  <a:pt x="6" y="22"/>
                </a:lnTo>
                <a:lnTo>
                  <a:pt x="6" y="20"/>
                </a:lnTo>
                <a:lnTo>
                  <a:pt x="4" y="18"/>
                </a:lnTo>
                <a:lnTo>
                  <a:pt x="4" y="18"/>
                </a:lnTo>
                <a:lnTo>
                  <a:pt x="8" y="16"/>
                </a:lnTo>
                <a:lnTo>
                  <a:pt x="8" y="16"/>
                </a:lnTo>
                <a:lnTo>
                  <a:pt x="10" y="12"/>
                </a:lnTo>
                <a:lnTo>
                  <a:pt x="10" y="12"/>
                </a:lnTo>
                <a:lnTo>
                  <a:pt x="20" y="14"/>
                </a:lnTo>
                <a:lnTo>
                  <a:pt x="20" y="14"/>
                </a:lnTo>
                <a:lnTo>
                  <a:pt x="20" y="20"/>
                </a:lnTo>
                <a:lnTo>
                  <a:pt x="20" y="20"/>
                </a:lnTo>
                <a:lnTo>
                  <a:pt x="26" y="26"/>
                </a:lnTo>
                <a:lnTo>
                  <a:pt x="30" y="30"/>
                </a:lnTo>
                <a:lnTo>
                  <a:pt x="30" y="30"/>
                </a:lnTo>
                <a:lnTo>
                  <a:pt x="30" y="32"/>
                </a:lnTo>
                <a:lnTo>
                  <a:pt x="28" y="36"/>
                </a:lnTo>
                <a:lnTo>
                  <a:pt x="28" y="36"/>
                </a:lnTo>
                <a:lnTo>
                  <a:pt x="24" y="36"/>
                </a:lnTo>
                <a:lnTo>
                  <a:pt x="24" y="36"/>
                </a:lnTo>
                <a:lnTo>
                  <a:pt x="24" y="36"/>
                </a:lnTo>
                <a:lnTo>
                  <a:pt x="24" y="38"/>
                </a:lnTo>
                <a:lnTo>
                  <a:pt x="24" y="38"/>
                </a:lnTo>
                <a:lnTo>
                  <a:pt x="24" y="38"/>
                </a:lnTo>
                <a:lnTo>
                  <a:pt x="24" y="40"/>
                </a:lnTo>
                <a:lnTo>
                  <a:pt x="24" y="40"/>
                </a:lnTo>
                <a:lnTo>
                  <a:pt x="10" y="38"/>
                </a:lnTo>
                <a:lnTo>
                  <a:pt x="10" y="38"/>
                </a:lnTo>
                <a:lnTo>
                  <a:pt x="8" y="32"/>
                </a:lnTo>
                <a:lnTo>
                  <a:pt x="8" y="32"/>
                </a:lnTo>
                <a:lnTo>
                  <a:pt x="6" y="32"/>
                </a:lnTo>
                <a:lnTo>
                  <a:pt x="6" y="32"/>
                </a:lnTo>
                <a:lnTo>
                  <a:pt x="6" y="38"/>
                </a:lnTo>
                <a:lnTo>
                  <a:pt x="6" y="38"/>
                </a:lnTo>
                <a:lnTo>
                  <a:pt x="4" y="46"/>
                </a:lnTo>
                <a:lnTo>
                  <a:pt x="2" y="52"/>
                </a:lnTo>
                <a:lnTo>
                  <a:pt x="2" y="52"/>
                </a:lnTo>
                <a:lnTo>
                  <a:pt x="2" y="54"/>
                </a:lnTo>
                <a:lnTo>
                  <a:pt x="2" y="54"/>
                </a:lnTo>
                <a:lnTo>
                  <a:pt x="4" y="54"/>
                </a:lnTo>
                <a:lnTo>
                  <a:pt x="6" y="54"/>
                </a:lnTo>
                <a:lnTo>
                  <a:pt x="6" y="54"/>
                </a:lnTo>
                <a:lnTo>
                  <a:pt x="8" y="52"/>
                </a:lnTo>
                <a:lnTo>
                  <a:pt x="10" y="50"/>
                </a:lnTo>
                <a:lnTo>
                  <a:pt x="10" y="50"/>
                </a:lnTo>
                <a:lnTo>
                  <a:pt x="16" y="50"/>
                </a:lnTo>
                <a:lnTo>
                  <a:pt x="20" y="52"/>
                </a:lnTo>
                <a:lnTo>
                  <a:pt x="20" y="52"/>
                </a:lnTo>
                <a:lnTo>
                  <a:pt x="16" y="52"/>
                </a:lnTo>
                <a:lnTo>
                  <a:pt x="12" y="52"/>
                </a:lnTo>
                <a:lnTo>
                  <a:pt x="12" y="52"/>
                </a:lnTo>
                <a:lnTo>
                  <a:pt x="12" y="56"/>
                </a:lnTo>
                <a:lnTo>
                  <a:pt x="12" y="56"/>
                </a:lnTo>
                <a:lnTo>
                  <a:pt x="16" y="60"/>
                </a:lnTo>
                <a:lnTo>
                  <a:pt x="16" y="66"/>
                </a:lnTo>
                <a:lnTo>
                  <a:pt x="16" y="66"/>
                </a:lnTo>
                <a:lnTo>
                  <a:pt x="20" y="70"/>
                </a:lnTo>
                <a:lnTo>
                  <a:pt x="22" y="74"/>
                </a:lnTo>
                <a:lnTo>
                  <a:pt x="22" y="78"/>
                </a:lnTo>
                <a:lnTo>
                  <a:pt x="22" y="78"/>
                </a:lnTo>
                <a:lnTo>
                  <a:pt x="20" y="80"/>
                </a:lnTo>
                <a:lnTo>
                  <a:pt x="18" y="80"/>
                </a:lnTo>
                <a:lnTo>
                  <a:pt x="18" y="80"/>
                </a:lnTo>
                <a:lnTo>
                  <a:pt x="18" y="88"/>
                </a:lnTo>
                <a:lnTo>
                  <a:pt x="18" y="94"/>
                </a:lnTo>
                <a:lnTo>
                  <a:pt x="18" y="94"/>
                </a:lnTo>
                <a:lnTo>
                  <a:pt x="20" y="100"/>
                </a:lnTo>
                <a:lnTo>
                  <a:pt x="28" y="100"/>
                </a:lnTo>
                <a:lnTo>
                  <a:pt x="32" y="94"/>
                </a:lnTo>
                <a:lnTo>
                  <a:pt x="32" y="92"/>
                </a:lnTo>
                <a:lnTo>
                  <a:pt x="34" y="88"/>
                </a:lnTo>
                <a:lnTo>
                  <a:pt x="38" y="86"/>
                </a:lnTo>
                <a:lnTo>
                  <a:pt x="46" y="86"/>
                </a:lnTo>
                <a:lnTo>
                  <a:pt x="52" y="84"/>
                </a:lnTo>
                <a:lnTo>
                  <a:pt x="58" y="82"/>
                </a:lnTo>
                <a:lnTo>
                  <a:pt x="74" y="86"/>
                </a:lnTo>
                <a:lnTo>
                  <a:pt x="82" y="86"/>
                </a:lnTo>
                <a:lnTo>
                  <a:pt x="86" y="88"/>
                </a:lnTo>
                <a:lnTo>
                  <a:pt x="96" y="92"/>
                </a:lnTo>
                <a:lnTo>
                  <a:pt x="104" y="96"/>
                </a:lnTo>
                <a:lnTo>
                  <a:pt x="112" y="102"/>
                </a:lnTo>
                <a:lnTo>
                  <a:pt x="116" y="104"/>
                </a:lnTo>
                <a:lnTo>
                  <a:pt x="118" y="108"/>
                </a:lnTo>
                <a:lnTo>
                  <a:pt x="122" y="114"/>
                </a:lnTo>
                <a:lnTo>
                  <a:pt x="130" y="116"/>
                </a:lnTo>
                <a:lnTo>
                  <a:pt x="130" y="122"/>
                </a:lnTo>
                <a:lnTo>
                  <a:pt x="130" y="128"/>
                </a:lnTo>
                <a:lnTo>
                  <a:pt x="128" y="134"/>
                </a:lnTo>
                <a:lnTo>
                  <a:pt x="134" y="136"/>
                </a:lnTo>
                <a:lnTo>
                  <a:pt x="138" y="134"/>
                </a:lnTo>
                <a:lnTo>
                  <a:pt x="142" y="136"/>
                </a:lnTo>
                <a:lnTo>
                  <a:pt x="154" y="130"/>
                </a:lnTo>
                <a:lnTo>
                  <a:pt x="152" y="124"/>
                </a:lnTo>
                <a:lnTo>
                  <a:pt x="160" y="116"/>
                </a:lnTo>
                <a:lnTo>
                  <a:pt x="162" y="112"/>
                </a:lnTo>
                <a:lnTo>
                  <a:pt x="162" y="104"/>
                </a:lnTo>
                <a:lnTo>
                  <a:pt x="164" y="100"/>
                </a:lnTo>
                <a:lnTo>
                  <a:pt x="166" y="96"/>
                </a:lnTo>
                <a:lnTo>
                  <a:pt x="172" y="98"/>
                </a:lnTo>
                <a:lnTo>
                  <a:pt x="176" y="100"/>
                </a:lnTo>
                <a:lnTo>
                  <a:pt x="182" y="102"/>
                </a:lnTo>
                <a:lnTo>
                  <a:pt x="182" y="94"/>
                </a:lnTo>
                <a:lnTo>
                  <a:pt x="182" y="90"/>
                </a:lnTo>
                <a:lnTo>
                  <a:pt x="190" y="86"/>
                </a:lnTo>
                <a:lnTo>
                  <a:pt x="188" y="84"/>
                </a:lnTo>
                <a:lnTo>
                  <a:pt x="182" y="84"/>
                </a:lnTo>
                <a:lnTo>
                  <a:pt x="178" y="80"/>
                </a:lnTo>
                <a:lnTo>
                  <a:pt x="172" y="80"/>
                </a:lnTo>
                <a:lnTo>
                  <a:pt x="168" y="76"/>
                </a:lnTo>
                <a:lnTo>
                  <a:pt x="160" y="78"/>
                </a:lnTo>
                <a:lnTo>
                  <a:pt x="156" y="72"/>
                </a:lnTo>
                <a:lnTo>
                  <a:pt x="150" y="66"/>
                </a:lnTo>
                <a:lnTo>
                  <a:pt x="144" y="64"/>
                </a:lnTo>
                <a:lnTo>
                  <a:pt x="140" y="60"/>
                </a:lnTo>
                <a:lnTo>
                  <a:pt x="138" y="52"/>
                </a:lnTo>
                <a:lnTo>
                  <a:pt x="134" y="48"/>
                </a:lnTo>
                <a:lnTo>
                  <a:pt x="130" y="44"/>
                </a:lnTo>
                <a:lnTo>
                  <a:pt x="130" y="38"/>
                </a:lnTo>
                <a:lnTo>
                  <a:pt x="126" y="30"/>
                </a:lnTo>
                <a:lnTo>
                  <a:pt x="120" y="30"/>
                </a:lnTo>
                <a:lnTo>
                  <a:pt x="112" y="30"/>
                </a:lnTo>
                <a:lnTo>
                  <a:pt x="108" y="32"/>
                </a:lnTo>
                <a:lnTo>
                  <a:pt x="102" y="36"/>
                </a:lnTo>
                <a:lnTo>
                  <a:pt x="96" y="34"/>
                </a:lnTo>
                <a:lnTo>
                  <a:pt x="94" y="32"/>
                </a:lnTo>
                <a:lnTo>
                  <a:pt x="96" y="28"/>
                </a:lnTo>
                <a:lnTo>
                  <a:pt x="96" y="22"/>
                </a:lnTo>
                <a:lnTo>
                  <a:pt x="88" y="20"/>
                </a:lnTo>
                <a:lnTo>
                  <a:pt x="86" y="10"/>
                </a:lnTo>
                <a:lnTo>
                  <a:pt x="84" y="2"/>
                </a:lnTo>
                <a:lnTo>
                  <a:pt x="80" y="0"/>
                </a:lnTo>
                <a:lnTo>
                  <a:pt x="76" y="0"/>
                </a:lnTo>
                <a:lnTo>
                  <a:pt x="72" y="4"/>
                </a:lnTo>
                <a:lnTo>
                  <a:pt x="70" y="8"/>
                </a:lnTo>
                <a:lnTo>
                  <a:pt x="62" y="8"/>
                </a:lnTo>
                <a:lnTo>
                  <a:pt x="60" y="10"/>
                </a:lnTo>
                <a:lnTo>
                  <a:pt x="60" y="16"/>
                </a:lnTo>
                <a:lnTo>
                  <a:pt x="62" y="20"/>
                </a:lnTo>
                <a:lnTo>
                  <a:pt x="62" y="22"/>
                </a:lnTo>
                <a:lnTo>
                  <a:pt x="48" y="20"/>
                </a:lnTo>
                <a:lnTo>
                  <a:pt x="48" y="20"/>
                </a:lnTo>
                <a:lnTo>
                  <a:pt x="44" y="20"/>
                </a:lnTo>
                <a:lnTo>
                  <a:pt x="36" y="20"/>
                </a:lnTo>
                <a:lnTo>
                  <a:pt x="36" y="20"/>
                </a:lnTo>
                <a:lnTo>
                  <a:pt x="30" y="12"/>
                </a:lnTo>
                <a:lnTo>
                  <a:pt x="26" y="8"/>
                </a:lnTo>
                <a:lnTo>
                  <a:pt x="22" y="6"/>
                </a:lnTo>
                <a:lnTo>
                  <a:pt x="18" y="6"/>
                </a:lnTo>
                <a:lnTo>
                  <a:pt x="18" y="6"/>
                </a:lnTo>
                <a:lnTo>
                  <a:pt x="8" y="6"/>
                </a:lnTo>
                <a:lnTo>
                  <a:pt x="4" y="8"/>
                </a:lnTo>
                <a:lnTo>
                  <a:pt x="4" y="14"/>
                </a:lnTo>
                <a:lnTo>
                  <a:pt x="4" y="14"/>
                </a:lnTo>
                <a:lnTo>
                  <a:pt x="2" y="16"/>
                </a:lnTo>
                <a:lnTo>
                  <a:pt x="2" y="18"/>
                </a:lnTo>
                <a:lnTo>
                  <a:pt x="0" y="18"/>
                </a:lnTo>
                <a:lnTo>
                  <a:pt x="0"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3" name="Freeform 27">
            <a:extLst>
              <a:ext uri="{FF2B5EF4-FFF2-40B4-BE49-F238E27FC236}">
                <a16:creationId xmlns:a16="http://schemas.microsoft.com/office/drawing/2014/main" id="{385C2EC0-8E8E-4299-BAB9-39010CD9FA5F}"/>
              </a:ext>
            </a:extLst>
          </p:cNvPr>
          <p:cNvSpPr>
            <a:spLocks noEditPoints="1"/>
          </p:cNvSpPr>
          <p:nvPr userDrawn="1"/>
        </p:nvSpPr>
        <p:spPr bwMode="auto">
          <a:xfrm>
            <a:off x="6447810" y="2438273"/>
            <a:ext cx="422613" cy="202487"/>
          </a:xfrm>
          <a:custGeom>
            <a:avLst/>
            <a:gdLst>
              <a:gd name="T0" fmla="*/ 12 w 252"/>
              <a:gd name="T1" fmla="*/ 4 h 118"/>
              <a:gd name="T2" fmla="*/ 12 w 252"/>
              <a:gd name="T3" fmla="*/ 12 h 118"/>
              <a:gd name="T4" fmla="*/ 6 w 252"/>
              <a:gd name="T5" fmla="*/ 18 h 118"/>
              <a:gd name="T6" fmla="*/ 0 w 252"/>
              <a:gd name="T7" fmla="*/ 26 h 118"/>
              <a:gd name="T8" fmla="*/ 0 w 252"/>
              <a:gd name="T9" fmla="*/ 36 h 118"/>
              <a:gd name="T10" fmla="*/ 18 w 252"/>
              <a:gd name="T11" fmla="*/ 26 h 118"/>
              <a:gd name="T12" fmla="*/ 34 w 252"/>
              <a:gd name="T13" fmla="*/ 20 h 118"/>
              <a:gd name="T14" fmla="*/ 24 w 252"/>
              <a:gd name="T15" fmla="*/ 8 h 118"/>
              <a:gd name="T16" fmla="*/ 132 w 252"/>
              <a:gd name="T17" fmla="*/ 118 h 118"/>
              <a:gd name="T18" fmla="*/ 140 w 252"/>
              <a:gd name="T19" fmla="*/ 112 h 118"/>
              <a:gd name="T20" fmla="*/ 140 w 252"/>
              <a:gd name="T21" fmla="*/ 102 h 118"/>
              <a:gd name="T22" fmla="*/ 150 w 252"/>
              <a:gd name="T23" fmla="*/ 100 h 118"/>
              <a:gd name="T24" fmla="*/ 162 w 252"/>
              <a:gd name="T25" fmla="*/ 100 h 118"/>
              <a:gd name="T26" fmla="*/ 188 w 252"/>
              <a:gd name="T27" fmla="*/ 94 h 118"/>
              <a:gd name="T28" fmla="*/ 210 w 252"/>
              <a:gd name="T29" fmla="*/ 90 h 118"/>
              <a:gd name="T30" fmla="*/ 220 w 252"/>
              <a:gd name="T31" fmla="*/ 90 h 118"/>
              <a:gd name="T32" fmla="*/ 232 w 252"/>
              <a:gd name="T33" fmla="*/ 90 h 118"/>
              <a:gd name="T34" fmla="*/ 244 w 252"/>
              <a:gd name="T35" fmla="*/ 86 h 118"/>
              <a:gd name="T36" fmla="*/ 236 w 252"/>
              <a:gd name="T37" fmla="*/ 70 h 118"/>
              <a:gd name="T38" fmla="*/ 240 w 252"/>
              <a:gd name="T39" fmla="*/ 60 h 118"/>
              <a:gd name="T40" fmla="*/ 240 w 252"/>
              <a:gd name="T41" fmla="*/ 52 h 118"/>
              <a:gd name="T42" fmla="*/ 248 w 252"/>
              <a:gd name="T43" fmla="*/ 50 h 118"/>
              <a:gd name="T44" fmla="*/ 246 w 252"/>
              <a:gd name="T45" fmla="*/ 38 h 118"/>
              <a:gd name="T46" fmla="*/ 234 w 252"/>
              <a:gd name="T47" fmla="*/ 26 h 118"/>
              <a:gd name="T48" fmla="*/ 232 w 252"/>
              <a:gd name="T49" fmla="*/ 14 h 118"/>
              <a:gd name="T50" fmla="*/ 222 w 252"/>
              <a:gd name="T51" fmla="*/ 12 h 118"/>
              <a:gd name="T52" fmla="*/ 208 w 252"/>
              <a:gd name="T53" fmla="*/ 8 h 118"/>
              <a:gd name="T54" fmla="*/ 202 w 252"/>
              <a:gd name="T55" fmla="*/ 8 h 118"/>
              <a:gd name="T56" fmla="*/ 194 w 252"/>
              <a:gd name="T57" fmla="*/ 16 h 118"/>
              <a:gd name="T58" fmla="*/ 182 w 252"/>
              <a:gd name="T59" fmla="*/ 20 h 118"/>
              <a:gd name="T60" fmla="*/ 166 w 252"/>
              <a:gd name="T61" fmla="*/ 20 h 118"/>
              <a:gd name="T62" fmla="*/ 150 w 252"/>
              <a:gd name="T63" fmla="*/ 18 h 118"/>
              <a:gd name="T64" fmla="*/ 138 w 252"/>
              <a:gd name="T65" fmla="*/ 16 h 118"/>
              <a:gd name="T66" fmla="*/ 118 w 252"/>
              <a:gd name="T67" fmla="*/ 4 h 118"/>
              <a:gd name="T68" fmla="*/ 108 w 252"/>
              <a:gd name="T69" fmla="*/ 4 h 118"/>
              <a:gd name="T70" fmla="*/ 88 w 252"/>
              <a:gd name="T71" fmla="*/ 2 h 118"/>
              <a:gd name="T72" fmla="*/ 72 w 252"/>
              <a:gd name="T73" fmla="*/ 14 h 118"/>
              <a:gd name="T74" fmla="*/ 56 w 252"/>
              <a:gd name="T75" fmla="*/ 16 h 118"/>
              <a:gd name="T76" fmla="*/ 38 w 252"/>
              <a:gd name="T77" fmla="*/ 20 h 118"/>
              <a:gd name="T78" fmla="*/ 38 w 252"/>
              <a:gd name="T79" fmla="*/ 24 h 118"/>
              <a:gd name="T80" fmla="*/ 26 w 252"/>
              <a:gd name="T81" fmla="*/ 28 h 118"/>
              <a:gd name="T82" fmla="*/ 14 w 252"/>
              <a:gd name="T83" fmla="*/ 32 h 118"/>
              <a:gd name="T84" fmla="*/ 0 w 252"/>
              <a:gd name="T85" fmla="*/ 50 h 118"/>
              <a:gd name="T86" fmla="*/ 8 w 252"/>
              <a:gd name="T87" fmla="*/ 64 h 118"/>
              <a:gd name="T88" fmla="*/ 8 w 252"/>
              <a:gd name="T89" fmla="*/ 70 h 118"/>
              <a:gd name="T90" fmla="*/ 4 w 252"/>
              <a:gd name="T91" fmla="*/ 70 h 118"/>
              <a:gd name="T92" fmla="*/ 14 w 252"/>
              <a:gd name="T93" fmla="*/ 78 h 118"/>
              <a:gd name="T94" fmla="*/ 24 w 252"/>
              <a:gd name="T95" fmla="*/ 94 h 118"/>
              <a:gd name="T96" fmla="*/ 32 w 252"/>
              <a:gd name="T97" fmla="*/ 102 h 118"/>
              <a:gd name="T98" fmla="*/ 38 w 252"/>
              <a:gd name="T99" fmla="*/ 106 h 118"/>
              <a:gd name="T100" fmla="*/ 60 w 252"/>
              <a:gd name="T101" fmla="*/ 100 h 118"/>
              <a:gd name="T102" fmla="*/ 86 w 252"/>
              <a:gd name="T103" fmla="*/ 112 h 118"/>
              <a:gd name="T104" fmla="*/ 112 w 252"/>
              <a:gd name="T105" fmla="*/ 102 h 118"/>
              <a:gd name="T106" fmla="*/ 128 w 252"/>
              <a:gd name="T107" fmla="*/ 96 h 118"/>
              <a:gd name="T108" fmla="*/ 126 w 252"/>
              <a:gd name="T109" fmla="*/ 108 h 118"/>
              <a:gd name="T110" fmla="*/ 128 w 252"/>
              <a:gd name="T11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2" h="118">
                <a:moveTo>
                  <a:pt x="24" y="6"/>
                </a:moveTo>
                <a:lnTo>
                  <a:pt x="24" y="6"/>
                </a:lnTo>
                <a:lnTo>
                  <a:pt x="20" y="6"/>
                </a:lnTo>
                <a:lnTo>
                  <a:pt x="16" y="6"/>
                </a:lnTo>
                <a:lnTo>
                  <a:pt x="16" y="6"/>
                </a:lnTo>
                <a:lnTo>
                  <a:pt x="12" y="4"/>
                </a:lnTo>
                <a:lnTo>
                  <a:pt x="8" y="6"/>
                </a:lnTo>
                <a:lnTo>
                  <a:pt x="8" y="6"/>
                </a:lnTo>
                <a:lnTo>
                  <a:pt x="8" y="8"/>
                </a:lnTo>
                <a:lnTo>
                  <a:pt x="8" y="8"/>
                </a:lnTo>
                <a:lnTo>
                  <a:pt x="12" y="12"/>
                </a:lnTo>
                <a:lnTo>
                  <a:pt x="12" y="12"/>
                </a:lnTo>
                <a:lnTo>
                  <a:pt x="14" y="14"/>
                </a:lnTo>
                <a:lnTo>
                  <a:pt x="14" y="16"/>
                </a:lnTo>
                <a:lnTo>
                  <a:pt x="12" y="18"/>
                </a:lnTo>
                <a:lnTo>
                  <a:pt x="12" y="18"/>
                </a:lnTo>
                <a:lnTo>
                  <a:pt x="10" y="18"/>
                </a:lnTo>
                <a:lnTo>
                  <a:pt x="6" y="18"/>
                </a:lnTo>
                <a:lnTo>
                  <a:pt x="6" y="16"/>
                </a:lnTo>
                <a:lnTo>
                  <a:pt x="4" y="18"/>
                </a:lnTo>
                <a:lnTo>
                  <a:pt x="4" y="18"/>
                </a:lnTo>
                <a:lnTo>
                  <a:pt x="4" y="22"/>
                </a:lnTo>
                <a:lnTo>
                  <a:pt x="2" y="24"/>
                </a:lnTo>
                <a:lnTo>
                  <a:pt x="0" y="26"/>
                </a:lnTo>
                <a:lnTo>
                  <a:pt x="2" y="28"/>
                </a:lnTo>
                <a:lnTo>
                  <a:pt x="4" y="28"/>
                </a:lnTo>
                <a:lnTo>
                  <a:pt x="0" y="30"/>
                </a:lnTo>
                <a:lnTo>
                  <a:pt x="0" y="30"/>
                </a:lnTo>
                <a:lnTo>
                  <a:pt x="0" y="34"/>
                </a:lnTo>
                <a:lnTo>
                  <a:pt x="0" y="36"/>
                </a:lnTo>
                <a:lnTo>
                  <a:pt x="2" y="36"/>
                </a:lnTo>
                <a:lnTo>
                  <a:pt x="2" y="36"/>
                </a:lnTo>
                <a:lnTo>
                  <a:pt x="10" y="28"/>
                </a:lnTo>
                <a:lnTo>
                  <a:pt x="10" y="28"/>
                </a:lnTo>
                <a:lnTo>
                  <a:pt x="18" y="26"/>
                </a:lnTo>
                <a:lnTo>
                  <a:pt x="18" y="26"/>
                </a:lnTo>
                <a:lnTo>
                  <a:pt x="18" y="24"/>
                </a:lnTo>
                <a:lnTo>
                  <a:pt x="20" y="22"/>
                </a:lnTo>
                <a:lnTo>
                  <a:pt x="20" y="22"/>
                </a:lnTo>
                <a:lnTo>
                  <a:pt x="28" y="22"/>
                </a:lnTo>
                <a:lnTo>
                  <a:pt x="34" y="20"/>
                </a:lnTo>
                <a:lnTo>
                  <a:pt x="34" y="20"/>
                </a:lnTo>
                <a:lnTo>
                  <a:pt x="36" y="16"/>
                </a:lnTo>
                <a:lnTo>
                  <a:pt x="36" y="16"/>
                </a:lnTo>
                <a:lnTo>
                  <a:pt x="30" y="12"/>
                </a:lnTo>
                <a:lnTo>
                  <a:pt x="26" y="10"/>
                </a:lnTo>
                <a:lnTo>
                  <a:pt x="24" y="8"/>
                </a:lnTo>
                <a:lnTo>
                  <a:pt x="24" y="8"/>
                </a:lnTo>
                <a:lnTo>
                  <a:pt x="24" y="6"/>
                </a:lnTo>
                <a:lnTo>
                  <a:pt x="24" y="6"/>
                </a:lnTo>
                <a:close/>
                <a:moveTo>
                  <a:pt x="128" y="118"/>
                </a:moveTo>
                <a:lnTo>
                  <a:pt x="128" y="118"/>
                </a:lnTo>
                <a:lnTo>
                  <a:pt x="132" y="118"/>
                </a:lnTo>
                <a:lnTo>
                  <a:pt x="132" y="118"/>
                </a:lnTo>
                <a:lnTo>
                  <a:pt x="134" y="118"/>
                </a:lnTo>
                <a:lnTo>
                  <a:pt x="134" y="116"/>
                </a:lnTo>
                <a:lnTo>
                  <a:pt x="136" y="114"/>
                </a:lnTo>
                <a:lnTo>
                  <a:pt x="138" y="112"/>
                </a:lnTo>
                <a:lnTo>
                  <a:pt x="138" y="112"/>
                </a:lnTo>
                <a:lnTo>
                  <a:pt x="140" y="112"/>
                </a:lnTo>
                <a:lnTo>
                  <a:pt x="140" y="110"/>
                </a:lnTo>
                <a:lnTo>
                  <a:pt x="140" y="110"/>
                </a:lnTo>
                <a:lnTo>
                  <a:pt x="140" y="106"/>
                </a:lnTo>
                <a:lnTo>
                  <a:pt x="140" y="104"/>
                </a:lnTo>
                <a:lnTo>
                  <a:pt x="140" y="102"/>
                </a:lnTo>
                <a:lnTo>
                  <a:pt x="140" y="102"/>
                </a:lnTo>
                <a:lnTo>
                  <a:pt x="142" y="102"/>
                </a:lnTo>
                <a:lnTo>
                  <a:pt x="144" y="102"/>
                </a:lnTo>
                <a:lnTo>
                  <a:pt x="146" y="104"/>
                </a:lnTo>
                <a:lnTo>
                  <a:pt x="148" y="104"/>
                </a:lnTo>
                <a:lnTo>
                  <a:pt x="148" y="104"/>
                </a:lnTo>
                <a:lnTo>
                  <a:pt x="150" y="100"/>
                </a:lnTo>
                <a:lnTo>
                  <a:pt x="154" y="100"/>
                </a:lnTo>
                <a:lnTo>
                  <a:pt x="154" y="100"/>
                </a:lnTo>
                <a:lnTo>
                  <a:pt x="158" y="100"/>
                </a:lnTo>
                <a:lnTo>
                  <a:pt x="160" y="100"/>
                </a:lnTo>
                <a:lnTo>
                  <a:pt x="162" y="100"/>
                </a:lnTo>
                <a:lnTo>
                  <a:pt x="162" y="100"/>
                </a:lnTo>
                <a:lnTo>
                  <a:pt x="170" y="98"/>
                </a:lnTo>
                <a:lnTo>
                  <a:pt x="174" y="98"/>
                </a:lnTo>
                <a:lnTo>
                  <a:pt x="180" y="94"/>
                </a:lnTo>
                <a:lnTo>
                  <a:pt x="180" y="94"/>
                </a:lnTo>
                <a:lnTo>
                  <a:pt x="184" y="94"/>
                </a:lnTo>
                <a:lnTo>
                  <a:pt x="188" y="94"/>
                </a:lnTo>
                <a:lnTo>
                  <a:pt x="194" y="94"/>
                </a:lnTo>
                <a:lnTo>
                  <a:pt x="198" y="92"/>
                </a:lnTo>
                <a:lnTo>
                  <a:pt x="198" y="92"/>
                </a:lnTo>
                <a:lnTo>
                  <a:pt x="204" y="88"/>
                </a:lnTo>
                <a:lnTo>
                  <a:pt x="210" y="86"/>
                </a:lnTo>
                <a:lnTo>
                  <a:pt x="210" y="90"/>
                </a:lnTo>
                <a:lnTo>
                  <a:pt x="210" y="90"/>
                </a:lnTo>
                <a:lnTo>
                  <a:pt x="214" y="92"/>
                </a:lnTo>
                <a:lnTo>
                  <a:pt x="214" y="92"/>
                </a:lnTo>
                <a:lnTo>
                  <a:pt x="218" y="90"/>
                </a:lnTo>
                <a:lnTo>
                  <a:pt x="218" y="90"/>
                </a:lnTo>
                <a:lnTo>
                  <a:pt x="220" y="90"/>
                </a:lnTo>
                <a:lnTo>
                  <a:pt x="222" y="92"/>
                </a:lnTo>
                <a:lnTo>
                  <a:pt x="224" y="92"/>
                </a:lnTo>
                <a:lnTo>
                  <a:pt x="226" y="92"/>
                </a:lnTo>
                <a:lnTo>
                  <a:pt x="226" y="92"/>
                </a:lnTo>
                <a:lnTo>
                  <a:pt x="230" y="88"/>
                </a:lnTo>
                <a:lnTo>
                  <a:pt x="232" y="90"/>
                </a:lnTo>
                <a:lnTo>
                  <a:pt x="234" y="94"/>
                </a:lnTo>
                <a:lnTo>
                  <a:pt x="238" y="90"/>
                </a:lnTo>
                <a:lnTo>
                  <a:pt x="244" y="92"/>
                </a:lnTo>
                <a:lnTo>
                  <a:pt x="244" y="92"/>
                </a:lnTo>
                <a:lnTo>
                  <a:pt x="244" y="90"/>
                </a:lnTo>
                <a:lnTo>
                  <a:pt x="244" y="86"/>
                </a:lnTo>
                <a:lnTo>
                  <a:pt x="244" y="86"/>
                </a:lnTo>
                <a:lnTo>
                  <a:pt x="242" y="82"/>
                </a:lnTo>
                <a:lnTo>
                  <a:pt x="242" y="78"/>
                </a:lnTo>
                <a:lnTo>
                  <a:pt x="242" y="78"/>
                </a:lnTo>
                <a:lnTo>
                  <a:pt x="238" y="74"/>
                </a:lnTo>
                <a:lnTo>
                  <a:pt x="236" y="70"/>
                </a:lnTo>
                <a:lnTo>
                  <a:pt x="238" y="68"/>
                </a:lnTo>
                <a:lnTo>
                  <a:pt x="238" y="68"/>
                </a:lnTo>
                <a:lnTo>
                  <a:pt x="240" y="66"/>
                </a:lnTo>
                <a:lnTo>
                  <a:pt x="240" y="62"/>
                </a:lnTo>
                <a:lnTo>
                  <a:pt x="240" y="62"/>
                </a:lnTo>
                <a:lnTo>
                  <a:pt x="240" y="60"/>
                </a:lnTo>
                <a:lnTo>
                  <a:pt x="240" y="58"/>
                </a:lnTo>
                <a:lnTo>
                  <a:pt x="240" y="58"/>
                </a:lnTo>
                <a:lnTo>
                  <a:pt x="238" y="54"/>
                </a:lnTo>
                <a:lnTo>
                  <a:pt x="238" y="54"/>
                </a:lnTo>
                <a:lnTo>
                  <a:pt x="240" y="52"/>
                </a:lnTo>
                <a:lnTo>
                  <a:pt x="240" y="52"/>
                </a:lnTo>
                <a:lnTo>
                  <a:pt x="242" y="48"/>
                </a:lnTo>
                <a:lnTo>
                  <a:pt x="242" y="48"/>
                </a:lnTo>
                <a:lnTo>
                  <a:pt x="244" y="48"/>
                </a:lnTo>
                <a:lnTo>
                  <a:pt x="244" y="48"/>
                </a:lnTo>
                <a:lnTo>
                  <a:pt x="248" y="50"/>
                </a:lnTo>
                <a:lnTo>
                  <a:pt x="248" y="50"/>
                </a:lnTo>
                <a:lnTo>
                  <a:pt x="250" y="46"/>
                </a:lnTo>
                <a:lnTo>
                  <a:pt x="250" y="46"/>
                </a:lnTo>
                <a:lnTo>
                  <a:pt x="252" y="44"/>
                </a:lnTo>
                <a:lnTo>
                  <a:pt x="250" y="42"/>
                </a:lnTo>
                <a:lnTo>
                  <a:pt x="246" y="38"/>
                </a:lnTo>
                <a:lnTo>
                  <a:pt x="246" y="38"/>
                </a:lnTo>
                <a:lnTo>
                  <a:pt x="238" y="36"/>
                </a:lnTo>
                <a:lnTo>
                  <a:pt x="234" y="34"/>
                </a:lnTo>
                <a:lnTo>
                  <a:pt x="232" y="32"/>
                </a:lnTo>
                <a:lnTo>
                  <a:pt x="232" y="30"/>
                </a:lnTo>
                <a:lnTo>
                  <a:pt x="232" y="30"/>
                </a:lnTo>
                <a:lnTo>
                  <a:pt x="234" y="26"/>
                </a:lnTo>
                <a:lnTo>
                  <a:pt x="236" y="24"/>
                </a:lnTo>
                <a:lnTo>
                  <a:pt x="236" y="24"/>
                </a:lnTo>
                <a:lnTo>
                  <a:pt x="238" y="22"/>
                </a:lnTo>
                <a:lnTo>
                  <a:pt x="236" y="18"/>
                </a:lnTo>
                <a:lnTo>
                  <a:pt x="234" y="14"/>
                </a:lnTo>
                <a:lnTo>
                  <a:pt x="232" y="14"/>
                </a:lnTo>
                <a:lnTo>
                  <a:pt x="232" y="14"/>
                </a:lnTo>
                <a:lnTo>
                  <a:pt x="232" y="12"/>
                </a:lnTo>
                <a:lnTo>
                  <a:pt x="232" y="10"/>
                </a:lnTo>
                <a:lnTo>
                  <a:pt x="230" y="10"/>
                </a:lnTo>
                <a:lnTo>
                  <a:pt x="230" y="10"/>
                </a:lnTo>
                <a:lnTo>
                  <a:pt x="222" y="12"/>
                </a:lnTo>
                <a:lnTo>
                  <a:pt x="222" y="12"/>
                </a:lnTo>
                <a:lnTo>
                  <a:pt x="220" y="10"/>
                </a:lnTo>
                <a:lnTo>
                  <a:pt x="216" y="8"/>
                </a:lnTo>
                <a:lnTo>
                  <a:pt x="216" y="8"/>
                </a:lnTo>
                <a:lnTo>
                  <a:pt x="212" y="8"/>
                </a:lnTo>
                <a:lnTo>
                  <a:pt x="208" y="8"/>
                </a:lnTo>
                <a:lnTo>
                  <a:pt x="208" y="8"/>
                </a:lnTo>
                <a:lnTo>
                  <a:pt x="206" y="10"/>
                </a:lnTo>
                <a:lnTo>
                  <a:pt x="206" y="8"/>
                </a:lnTo>
                <a:lnTo>
                  <a:pt x="204" y="8"/>
                </a:lnTo>
                <a:lnTo>
                  <a:pt x="204" y="8"/>
                </a:lnTo>
                <a:lnTo>
                  <a:pt x="202" y="8"/>
                </a:lnTo>
                <a:lnTo>
                  <a:pt x="202" y="8"/>
                </a:lnTo>
                <a:lnTo>
                  <a:pt x="200" y="10"/>
                </a:lnTo>
                <a:lnTo>
                  <a:pt x="200" y="10"/>
                </a:lnTo>
                <a:lnTo>
                  <a:pt x="198" y="14"/>
                </a:lnTo>
                <a:lnTo>
                  <a:pt x="198" y="14"/>
                </a:lnTo>
                <a:lnTo>
                  <a:pt x="194" y="16"/>
                </a:lnTo>
                <a:lnTo>
                  <a:pt x="190" y="16"/>
                </a:lnTo>
                <a:lnTo>
                  <a:pt x="190" y="16"/>
                </a:lnTo>
                <a:lnTo>
                  <a:pt x="188" y="18"/>
                </a:lnTo>
                <a:lnTo>
                  <a:pt x="186" y="20"/>
                </a:lnTo>
                <a:lnTo>
                  <a:pt x="182" y="20"/>
                </a:lnTo>
                <a:lnTo>
                  <a:pt x="182" y="20"/>
                </a:lnTo>
                <a:lnTo>
                  <a:pt x="180" y="18"/>
                </a:lnTo>
                <a:lnTo>
                  <a:pt x="176" y="16"/>
                </a:lnTo>
                <a:lnTo>
                  <a:pt x="176" y="16"/>
                </a:lnTo>
                <a:lnTo>
                  <a:pt x="172" y="20"/>
                </a:lnTo>
                <a:lnTo>
                  <a:pt x="172" y="20"/>
                </a:lnTo>
                <a:lnTo>
                  <a:pt x="166" y="20"/>
                </a:lnTo>
                <a:lnTo>
                  <a:pt x="158" y="20"/>
                </a:lnTo>
                <a:lnTo>
                  <a:pt x="158" y="20"/>
                </a:lnTo>
                <a:lnTo>
                  <a:pt x="156" y="18"/>
                </a:lnTo>
                <a:lnTo>
                  <a:pt x="156" y="18"/>
                </a:lnTo>
                <a:lnTo>
                  <a:pt x="150" y="18"/>
                </a:lnTo>
                <a:lnTo>
                  <a:pt x="150" y="18"/>
                </a:lnTo>
                <a:lnTo>
                  <a:pt x="148" y="14"/>
                </a:lnTo>
                <a:lnTo>
                  <a:pt x="148" y="14"/>
                </a:lnTo>
                <a:lnTo>
                  <a:pt x="144" y="12"/>
                </a:lnTo>
                <a:lnTo>
                  <a:pt x="138" y="12"/>
                </a:lnTo>
                <a:lnTo>
                  <a:pt x="138" y="16"/>
                </a:lnTo>
                <a:lnTo>
                  <a:pt x="138" y="16"/>
                </a:lnTo>
                <a:lnTo>
                  <a:pt x="134" y="16"/>
                </a:lnTo>
                <a:lnTo>
                  <a:pt x="134" y="16"/>
                </a:lnTo>
                <a:lnTo>
                  <a:pt x="130" y="6"/>
                </a:lnTo>
                <a:lnTo>
                  <a:pt x="130" y="6"/>
                </a:lnTo>
                <a:lnTo>
                  <a:pt x="124" y="6"/>
                </a:lnTo>
                <a:lnTo>
                  <a:pt x="118" y="4"/>
                </a:lnTo>
                <a:lnTo>
                  <a:pt x="118" y="4"/>
                </a:lnTo>
                <a:lnTo>
                  <a:pt x="118" y="0"/>
                </a:lnTo>
                <a:lnTo>
                  <a:pt x="118" y="0"/>
                </a:lnTo>
                <a:lnTo>
                  <a:pt x="114" y="2"/>
                </a:lnTo>
                <a:lnTo>
                  <a:pt x="108" y="4"/>
                </a:lnTo>
                <a:lnTo>
                  <a:pt x="108" y="4"/>
                </a:lnTo>
                <a:lnTo>
                  <a:pt x="102" y="2"/>
                </a:lnTo>
                <a:lnTo>
                  <a:pt x="98" y="0"/>
                </a:lnTo>
                <a:lnTo>
                  <a:pt x="94" y="0"/>
                </a:lnTo>
                <a:lnTo>
                  <a:pt x="94" y="2"/>
                </a:lnTo>
                <a:lnTo>
                  <a:pt x="94" y="2"/>
                </a:lnTo>
                <a:lnTo>
                  <a:pt x="88" y="2"/>
                </a:lnTo>
                <a:lnTo>
                  <a:pt x="82" y="4"/>
                </a:lnTo>
                <a:lnTo>
                  <a:pt x="82" y="4"/>
                </a:lnTo>
                <a:lnTo>
                  <a:pt x="80" y="8"/>
                </a:lnTo>
                <a:lnTo>
                  <a:pt x="80" y="8"/>
                </a:lnTo>
                <a:lnTo>
                  <a:pt x="72" y="10"/>
                </a:lnTo>
                <a:lnTo>
                  <a:pt x="72" y="14"/>
                </a:lnTo>
                <a:lnTo>
                  <a:pt x="72" y="14"/>
                </a:lnTo>
                <a:lnTo>
                  <a:pt x="66" y="18"/>
                </a:lnTo>
                <a:lnTo>
                  <a:pt x="66" y="18"/>
                </a:lnTo>
                <a:lnTo>
                  <a:pt x="60" y="18"/>
                </a:lnTo>
                <a:lnTo>
                  <a:pt x="56" y="16"/>
                </a:lnTo>
                <a:lnTo>
                  <a:pt x="56" y="16"/>
                </a:lnTo>
                <a:lnTo>
                  <a:pt x="56" y="16"/>
                </a:lnTo>
                <a:lnTo>
                  <a:pt x="54" y="16"/>
                </a:lnTo>
                <a:lnTo>
                  <a:pt x="52" y="18"/>
                </a:lnTo>
                <a:lnTo>
                  <a:pt x="52" y="18"/>
                </a:lnTo>
                <a:lnTo>
                  <a:pt x="40" y="16"/>
                </a:lnTo>
                <a:lnTo>
                  <a:pt x="38" y="20"/>
                </a:lnTo>
                <a:lnTo>
                  <a:pt x="38" y="20"/>
                </a:lnTo>
                <a:lnTo>
                  <a:pt x="48" y="24"/>
                </a:lnTo>
                <a:lnTo>
                  <a:pt x="48" y="24"/>
                </a:lnTo>
                <a:lnTo>
                  <a:pt x="40" y="24"/>
                </a:lnTo>
                <a:lnTo>
                  <a:pt x="38" y="24"/>
                </a:lnTo>
                <a:lnTo>
                  <a:pt x="38" y="24"/>
                </a:lnTo>
                <a:lnTo>
                  <a:pt x="40" y="26"/>
                </a:lnTo>
                <a:lnTo>
                  <a:pt x="40" y="26"/>
                </a:lnTo>
                <a:lnTo>
                  <a:pt x="30" y="30"/>
                </a:lnTo>
                <a:lnTo>
                  <a:pt x="30" y="30"/>
                </a:lnTo>
                <a:lnTo>
                  <a:pt x="28" y="30"/>
                </a:lnTo>
                <a:lnTo>
                  <a:pt x="26" y="28"/>
                </a:lnTo>
                <a:lnTo>
                  <a:pt x="24" y="28"/>
                </a:lnTo>
                <a:lnTo>
                  <a:pt x="22" y="28"/>
                </a:lnTo>
                <a:lnTo>
                  <a:pt x="22" y="28"/>
                </a:lnTo>
                <a:lnTo>
                  <a:pt x="22" y="32"/>
                </a:lnTo>
                <a:lnTo>
                  <a:pt x="22" y="32"/>
                </a:lnTo>
                <a:lnTo>
                  <a:pt x="14" y="32"/>
                </a:lnTo>
                <a:lnTo>
                  <a:pt x="10" y="32"/>
                </a:lnTo>
                <a:lnTo>
                  <a:pt x="0" y="40"/>
                </a:lnTo>
                <a:lnTo>
                  <a:pt x="0" y="40"/>
                </a:lnTo>
                <a:lnTo>
                  <a:pt x="2" y="42"/>
                </a:lnTo>
                <a:lnTo>
                  <a:pt x="2" y="46"/>
                </a:lnTo>
                <a:lnTo>
                  <a:pt x="0" y="50"/>
                </a:lnTo>
                <a:lnTo>
                  <a:pt x="0" y="50"/>
                </a:lnTo>
                <a:lnTo>
                  <a:pt x="10" y="50"/>
                </a:lnTo>
                <a:lnTo>
                  <a:pt x="10" y="50"/>
                </a:lnTo>
                <a:lnTo>
                  <a:pt x="10" y="58"/>
                </a:lnTo>
                <a:lnTo>
                  <a:pt x="8" y="64"/>
                </a:lnTo>
                <a:lnTo>
                  <a:pt x="8" y="64"/>
                </a:lnTo>
                <a:lnTo>
                  <a:pt x="12" y="66"/>
                </a:lnTo>
                <a:lnTo>
                  <a:pt x="12" y="68"/>
                </a:lnTo>
                <a:lnTo>
                  <a:pt x="12" y="68"/>
                </a:lnTo>
                <a:lnTo>
                  <a:pt x="10" y="70"/>
                </a:lnTo>
                <a:lnTo>
                  <a:pt x="10" y="70"/>
                </a:lnTo>
                <a:lnTo>
                  <a:pt x="8" y="70"/>
                </a:lnTo>
                <a:lnTo>
                  <a:pt x="6" y="68"/>
                </a:lnTo>
                <a:lnTo>
                  <a:pt x="6" y="68"/>
                </a:lnTo>
                <a:lnTo>
                  <a:pt x="4" y="68"/>
                </a:lnTo>
                <a:lnTo>
                  <a:pt x="4" y="70"/>
                </a:lnTo>
                <a:lnTo>
                  <a:pt x="4" y="70"/>
                </a:lnTo>
                <a:lnTo>
                  <a:pt x="4" y="70"/>
                </a:lnTo>
                <a:lnTo>
                  <a:pt x="4" y="72"/>
                </a:lnTo>
                <a:lnTo>
                  <a:pt x="4" y="76"/>
                </a:lnTo>
                <a:lnTo>
                  <a:pt x="4" y="76"/>
                </a:lnTo>
                <a:lnTo>
                  <a:pt x="10" y="74"/>
                </a:lnTo>
                <a:lnTo>
                  <a:pt x="10" y="74"/>
                </a:lnTo>
                <a:lnTo>
                  <a:pt x="14" y="78"/>
                </a:lnTo>
                <a:lnTo>
                  <a:pt x="14" y="78"/>
                </a:lnTo>
                <a:lnTo>
                  <a:pt x="14" y="86"/>
                </a:lnTo>
                <a:lnTo>
                  <a:pt x="14" y="94"/>
                </a:lnTo>
                <a:lnTo>
                  <a:pt x="14" y="94"/>
                </a:lnTo>
                <a:lnTo>
                  <a:pt x="24" y="94"/>
                </a:lnTo>
                <a:lnTo>
                  <a:pt x="24" y="94"/>
                </a:lnTo>
                <a:lnTo>
                  <a:pt x="24" y="98"/>
                </a:lnTo>
                <a:lnTo>
                  <a:pt x="24" y="100"/>
                </a:lnTo>
                <a:lnTo>
                  <a:pt x="24" y="100"/>
                </a:lnTo>
                <a:lnTo>
                  <a:pt x="30" y="98"/>
                </a:lnTo>
                <a:lnTo>
                  <a:pt x="30" y="98"/>
                </a:lnTo>
                <a:lnTo>
                  <a:pt x="32" y="102"/>
                </a:lnTo>
                <a:lnTo>
                  <a:pt x="32" y="102"/>
                </a:lnTo>
                <a:lnTo>
                  <a:pt x="34" y="102"/>
                </a:lnTo>
                <a:lnTo>
                  <a:pt x="38" y="102"/>
                </a:lnTo>
                <a:lnTo>
                  <a:pt x="38" y="102"/>
                </a:lnTo>
                <a:lnTo>
                  <a:pt x="38" y="104"/>
                </a:lnTo>
                <a:lnTo>
                  <a:pt x="38" y="106"/>
                </a:lnTo>
                <a:lnTo>
                  <a:pt x="38" y="106"/>
                </a:lnTo>
                <a:lnTo>
                  <a:pt x="48" y="116"/>
                </a:lnTo>
                <a:lnTo>
                  <a:pt x="48" y="116"/>
                </a:lnTo>
                <a:lnTo>
                  <a:pt x="56" y="110"/>
                </a:lnTo>
                <a:lnTo>
                  <a:pt x="60" y="100"/>
                </a:lnTo>
                <a:lnTo>
                  <a:pt x="60" y="100"/>
                </a:lnTo>
                <a:lnTo>
                  <a:pt x="70" y="102"/>
                </a:lnTo>
                <a:lnTo>
                  <a:pt x="78" y="106"/>
                </a:lnTo>
                <a:lnTo>
                  <a:pt x="78" y="106"/>
                </a:lnTo>
                <a:lnTo>
                  <a:pt x="82" y="110"/>
                </a:lnTo>
                <a:lnTo>
                  <a:pt x="86" y="112"/>
                </a:lnTo>
                <a:lnTo>
                  <a:pt x="86" y="112"/>
                </a:lnTo>
                <a:lnTo>
                  <a:pt x="92" y="114"/>
                </a:lnTo>
                <a:lnTo>
                  <a:pt x="98" y="112"/>
                </a:lnTo>
                <a:lnTo>
                  <a:pt x="108" y="108"/>
                </a:lnTo>
                <a:lnTo>
                  <a:pt x="108" y="108"/>
                </a:lnTo>
                <a:lnTo>
                  <a:pt x="110" y="106"/>
                </a:lnTo>
                <a:lnTo>
                  <a:pt x="112" y="102"/>
                </a:lnTo>
                <a:lnTo>
                  <a:pt x="112" y="102"/>
                </a:lnTo>
                <a:lnTo>
                  <a:pt x="116" y="102"/>
                </a:lnTo>
                <a:lnTo>
                  <a:pt x="120" y="104"/>
                </a:lnTo>
                <a:lnTo>
                  <a:pt x="126" y="96"/>
                </a:lnTo>
                <a:lnTo>
                  <a:pt x="126" y="96"/>
                </a:lnTo>
                <a:lnTo>
                  <a:pt x="128" y="96"/>
                </a:lnTo>
                <a:lnTo>
                  <a:pt x="128" y="96"/>
                </a:lnTo>
                <a:lnTo>
                  <a:pt x="130" y="102"/>
                </a:lnTo>
                <a:lnTo>
                  <a:pt x="128" y="106"/>
                </a:lnTo>
                <a:lnTo>
                  <a:pt x="128" y="106"/>
                </a:lnTo>
                <a:lnTo>
                  <a:pt x="126" y="108"/>
                </a:lnTo>
                <a:lnTo>
                  <a:pt x="126" y="108"/>
                </a:lnTo>
                <a:lnTo>
                  <a:pt x="126" y="112"/>
                </a:lnTo>
                <a:lnTo>
                  <a:pt x="126" y="112"/>
                </a:lnTo>
                <a:lnTo>
                  <a:pt x="126" y="112"/>
                </a:lnTo>
                <a:lnTo>
                  <a:pt x="126" y="116"/>
                </a:lnTo>
                <a:lnTo>
                  <a:pt x="126" y="116"/>
                </a:lnTo>
                <a:lnTo>
                  <a:pt x="128" y="118"/>
                </a:lnTo>
                <a:lnTo>
                  <a:pt x="128" y="1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4" name="Freeform 28">
            <a:extLst>
              <a:ext uri="{FF2B5EF4-FFF2-40B4-BE49-F238E27FC236}">
                <a16:creationId xmlns:a16="http://schemas.microsoft.com/office/drawing/2014/main" id="{39350D87-8CDD-4CB1-9611-6D1FDD67291B}"/>
              </a:ext>
            </a:extLst>
          </p:cNvPr>
          <p:cNvSpPr>
            <a:spLocks/>
          </p:cNvSpPr>
          <p:nvPr userDrawn="1"/>
        </p:nvSpPr>
        <p:spPr bwMode="auto">
          <a:xfrm>
            <a:off x="6016811" y="2592712"/>
            <a:ext cx="92237" cy="202487"/>
          </a:xfrm>
          <a:custGeom>
            <a:avLst/>
            <a:gdLst>
              <a:gd name="T0" fmla="*/ 55 w 55"/>
              <a:gd name="T1" fmla="*/ 70 h 118"/>
              <a:gd name="T2" fmla="*/ 49 w 55"/>
              <a:gd name="T3" fmla="*/ 68 h 118"/>
              <a:gd name="T4" fmla="*/ 42 w 55"/>
              <a:gd name="T5" fmla="*/ 64 h 118"/>
              <a:gd name="T6" fmla="*/ 42 w 55"/>
              <a:gd name="T7" fmla="*/ 60 h 118"/>
              <a:gd name="T8" fmla="*/ 42 w 55"/>
              <a:gd name="T9" fmla="*/ 56 h 118"/>
              <a:gd name="T10" fmla="*/ 49 w 55"/>
              <a:gd name="T11" fmla="*/ 48 h 118"/>
              <a:gd name="T12" fmla="*/ 49 w 55"/>
              <a:gd name="T13" fmla="*/ 44 h 118"/>
              <a:gd name="T14" fmla="*/ 51 w 55"/>
              <a:gd name="T15" fmla="*/ 44 h 118"/>
              <a:gd name="T16" fmla="*/ 49 w 55"/>
              <a:gd name="T17" fmla="*/ 36 h 118"/>
              <a:gd name="T18" fmla="*/ 51 w 55"/>
              <a:gd name="T19" fmla="*/ 30 h 118"/>
              <a:gd name="T20" fmla="*/ 46 w 55"/>
              <a:gd name="T21" fmla="*/ 30 h 118"/>
              <a:gd name="T22" fmla="*/ 46 w 55"/>
              <a:gd name="T23" fmla="*/ 20 h 118"/>
              <a:gd name="T24" fmla="*/ 46 w 55"/>
              <a:gd name="T25" fmla="*/ 20 h 118"/>
              <a:gd name="T26" fmla="*/ 53 w 55"/>
              <a:gd name="T27" fmla="*/ 14 h 118"/>
              <a:gd name="T28" fmla="*/ 55 w 55"/>
              <a:gd name="T29" fmla="*/ 6 h 118"/>
              <a:gd name="T30" fmla="*/ 49 w 55"/>
              <a:gd name="T31" fmla="*/ 8 h 118"/>
              <a:gd name="T32" fmla="*/ 44 w 55"/>
              <a:gd name="T33" fmla="*/ 6 h 118"/>
              <a:gd name="T34" fmla="*/ 42 w 55"/>
              <a:gd name="T35" fmla="*/ 2 h 118"/>
              <a:gd name="T36" fmla="*/ 40 w 55"/>
              <a:gd name="T37" fmla="*/ 0 h 118"/>
              <a:gd name="T38" fmla="*/ 38 w 55"/>
              <a:gd name="T39" fmla="*/ 2 h 118"/>
              <a:gd name="T40" fmla="*/ 38 w 55"/>
              <a:gd name="T41" fmla="*/ 0 h 118"/>
              <a:gd name="T42" fmla="*/ 28 w 55"/>
              <a:gd name="T43" fmla="*/ 4 h 118"/>
              <a:gd name="T44" fmla="*/ 18 w 55"/>
              <a:gd name="T45" fmla="*/ 4 h 118"/>
              <a:gd name="T46" fmla="*/ 8 w 55"/>
              <a:gd name="T47" fmla="*/ 4 h 118"/>
              <a:gd name="T48" fmla="*/ 8 w 55"/>
              <a:gd name="T49" fmla="*/ 14 h 118"/>
              <a:gd name="T50" fmla="*/ 10 w 55"/>
              <a:gd name="T51" fmla="*/ 16 h 118"/>
              <a:gd name="T52" fmla="*/ 12 w 55"/>
              <a:gd name="T53" fmla="*/ 24 h 118"/>
              <a:gd name="T54" fmla="*/ 12 w 55"/>
              <a:gd name="T55" fmla="*/ 30 h 118"/>
              <a:gd name="T56" fmla="*/ 14 w 55"/>
              <a:gd name="T57" fmla="*/ 38 h 118"/>
              <a:gd name="T58" fmla="*/ 12 w 55"/>
              <a:gd name="T59" fmla="*/ 42 h 118"/>
              <a:gd name="T60" fmla="*/ 10 w 55"/>
              <a:gd name="T61" fmla="*/ 44 h 118"/>
              <a:gd name="T62" fmla="*/ 8 w 55"/>
              <a:gd name="T63" fmla="*/ 50 h 118"/>
              <a:gd name="T64" fmla="*/ 4 w 55"/>
              <a:gd name="T65" fmla="*/ 54 h 118"/>
              <a:gd name="T66" fmla="*/ 0 w 55"/>
              <a:gd name="T67" fmla="*/ 58 h 118"/>
              <a:gd name="T68" fmla="*/ 2 w 55"/>
              <a:gd name="T69" fmla="*/ 72 h 118"/>
              <a:gd name="T70" fmla="*/ 4 w 55"/>
              <a:gd name="T71" fmla="*/ 72 h 118"/>
              <a:gd name="T72" fmla="*/ 8 w 55"/>
              <a:gd name="T73" fmla="*/ 74 h 118"/>
              <a:gd name="T74" fmla="*/ 10 w 55"/>
              <a:gd name="T75" fmla="*/ 86 h 118"/>
              <a:gd name="T76" fmla="*/ 22 w 55"/>
              <a:gd name="T77" fmla="*/ 118 h 118"/>
              <a:gd name="T78" fmla="*/ 26 w 55"/>
              <a:gd name="T79" fmla="*/ 118 h 118"/>
              <a:gd name="T80" fmla="*/ 30 w 55"/>
              <a:gd name="T81" fmla="*/ 116 h 118"/>
              <a:gd name="T82" fmla="*/ 30 w 55"/>
              <a:gd name="T83" fmla="*/ 112 h 118"/>
              <a:gd name="T84" fmla="*/ 34 w 55"/>
              <a:gd name="T85" fmla="*/ 108 h 118"/>
              <a:gd name="T86" fmla="*/ 34 w 55"/>
              <a:gd name="T87" fmla="*/ 106 h 118"/>
              <a:gd name="T88" fmla="*/ 34 w 55"/>
              <a:gd name="T89" fmla="*/ 94 h 118"/>
              <a:gd name="T90" fmla="*/ 34 w 55"/>
              <a:gd name="T91" fmla="*/ 92 h 118"/>
              <a:gd name="T92" fmla="*/ 38 w 55"/>
              <a:gd name="T93" fmla="*/ 92 h 118"/>
              <a:gd name="T94" fmla="*/ 44 w 55"/>
              <a:gd name="T95" fmla="*/ 90 h 118"/>
              <a:gd name="T96" fmla="*/ 49 w 55"/>
              <a:gd name="T97" fmla="*/ 86 h 118"/>
              <a:gd name="T98" fmla="*/ 51 w 55"/>
              <a:gd name="T99" fmla="*/ 80 h 118"/>
              <a:gd name="T100" fmla="*/ 55 w 55"/>
              <a:gd name="T101"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 h="118">
                <a:moveTo>
                  <a:pt x="55" y="70"/>
                </a:moveTo>
                <a:lnTo>
                  <a:pt x="55" y="70"/>
                </a:lnTo>
                <a:lnTo>
                  <a:pt x="49" y="68"/>
                </a:lnTo>
                <a:lnTo>
                  <a:pt x="49" y="68"/>
                </a:lnTo>
                <a:lnTo>
                  <a:pt x="44" y="66"/>
                </a:lnTo>
                <a:lnTo>
                  <a:pt x="42" y="64"/>
                </a:lnTo>
                <a:lnTo>
                  <a:pt x="42" y="64"/>
                </a:lnTo>
                <a:lnTo>
                  <a:pt x="42" y="60"/>
                </a:lnTo>
                <a:lnTo>
                  <a:pt x="42" y="56"/>
                </a:lnTo>
                <a:lnTo>
                  <a:pt x="42" y="56"/>
                </a:lnTo>
                <a:lnTo>
                  <a:pt x="49" y="48"/>
                </a:lnTo>
                <a:lnTo>
                  <a:pt x="49" y="48"/>
                </a:lnTo>
                <a:lnTo>
                  <a:pt x="49" y="44"/>
                </a:lnTo>
                <a:lnTo>
                  <a:pt x="49" y="44"/>
                </a:lnTo>
                <a:lnTo>
                  <a:pt x="51" y="44"/>
                </a:lnTo>
                <a:lnTo>
                  <a:pt x="51" y="44"/>
                </a:lnTo>
                <a:lnTo>
                  <a:pt x="51" y="40"/>
                </a:lnTo>
                <a:lnTo>
                  <a:pt x="49" y="36"/>
                </a:lnTo>
                <a:lnTo>
                  <a:pt x="49" y="36"/>
                </a:lnTo>
                <a:lnTo>
                  <a:pt x="51" y="30"/>
                </a:lnTo>
                <a:lnTo>
                  <a:pt x="51" y="30"/>
                </a:lnTo>
                <a:lnTo>
                  <a:pt x="46" y="30"/>
                </a:lnTo>
                <a:lnTo>
                  <a:pt x="46" y="30"/>
                </a:lnTo>
                <a:lnTo>
                  <a:pt x="46" y="20"/>
                </a:lnTo>
                <a:lnTo>
                  <a:pt x="46" y="20"/>
                </a:lnTo>
                <a:lnTo>
                  <a:pt x="46" y="20"/>
                </a:lnTo>
                <a:lnTo>
                  <a:pt x="46" y="20"/>
                </a:lnTo>
                <a:lnTo>
                  <a:pt x="53" y="14"/>
                </a:lnTo>
                <a:lnTo>
                  <a:pt x="55" y="8"/>
                </a:lnTo>
                <a:lnTo>
                  <a:pt x="55" y="6"/>
                </a:lnTo>
                <a:lnTo>
                  <a:pt x="53" y="6"/>
                </a:lnTo>
                <a:lnTo>
                  <a:pt x="49" y="8"/>
                </a:lnTo>
                <a:lnTo>
                  <a:pt x="49" y="8"/>
                </a:lnTo>
                <a:lnTo>
                  <a:pt x="44" y="6"/>
                </a:lnTo>
                <a:lnTo>
                  <a:pt x="44" y="6"/>
                </a:lnTo>
                <a:lnTo>
                  <a:pt x="42" y="2"/>
                </a:lnTo>
                <a:lnTo>
                  <a:pt x="40" y="0"/>
                </a:lnTo>
                <a:lnTo>
                  <a:pt x="40" y="0"/>
                </a:lnTo>
                <a:lnTo>
                  <a:pt x="40" y="2"/>
                </a:lnTo>
                <a:lnTo>
                  <a:pt x="38" y="2"/>
                </a:lnTo>
                <a:lnTo>
                  <a:pt x="38" y="0"/>
                </a:lnTo>
                <a:lnTo>
                  <a:pt x="38" y="0"/>
                </a:lnTo>
                <a:lnTo>
                  <a:pt x="32" y="0"/>
                </a:lnTo>
                <a:lnTo>
                  <a:pt x="28" y="4"/>
                </a:lnTo>
                <a:lnTo>
                  <a:pt x="28" y="4"/>
                </a:lnTo>
                <a:lnTo>
                  <a:pt x="18" y="4"/>
                </a:lnTo>
                <a:lnTo>
                  <a:pt x="8" y="4"/>
                </a:lnTo>
                <a:lnTo>
                  <a:pt x="8" y="4"/>
                </a:lnTo>
                <a:lnTo>
                  <a:pt x="8" y="10"/>
                </a:lnTo>
                <a:lnTo>
                  <a:pt x="8" y="14"/>
                </a:lnTo>
                <a:lnTo>
                  <a:pt x="10" y="16"/>
                </a:lnTo>
                <a:lnTo>
                  <a:pt x="10" y="16"/>
                </a:lnTo>
                <a:lnTo>
                  <a:pt x="12" y="20"/>
                </a:lnTo>
                <a:lnTo>
                  <a:pt x="12" y="24"/>
                </a:lnTo>
                <a:lnTo>
                  <a:pt x="12" y="24"/>
                </a:lnTo>
                <a:lnTo>
                  <a:pt x="12" y="30"/>
                </a:lnTo>
                <a:lnTo>
                  <a:pt x="14" y="38"/>
                </a:lnTo>
                <a:lnTo>
                  <a:pt x="14" y="38"/>
                </a:lnTo>
                <a:lnTo>
                  <a:pt x="14" y="40"/>
                </a:lnTo>
                <a:lnTo>
                  <a:pt x="12" y="42"/>
                </a:lnTo>
                <a:lnTo>
                  <a:pt x="12" y="44"/>
                </a:lnTo>
                <a:lnTo>
                  <a:pt x="10" y="44"/>
                </a:lnTo>
                <a:lnTo>
                  <a:pt x="10" y="44"/>
                </a:lnTo>
                <a:lnTo>
                  <a:pt x="8" y="50"/>
                </a:lnTo>
                <a:lnTo>
                  <a:pt x="4" y="54"/>
                </a:lnTo>
                <a:lnTo>
                  <a:pt x="4" y="54"/>
                </a:lnTo>
                <a:lnTo>
                  <a:pt x="0" y="54"/>
                </a:lnTo>
                <a:lnTo>
                  <a:pt x="0" y="58"/>
                </a:lnTo>
                <a:lnTo>
                  <a:pt x="0" y="58"/>
                </a:lnTo>
                <a:lnTo>
                  <a:pt x="2" y="72"/>
                </a:lnTo>
                <a:lnTo>
                  <a:pt x="2" y="72"/>
                </a:lnTo>
                <a:lnTo>
                  <a:pt x="4" y="72"/>
                </a:lnTo>
                <a:lnTo>
                  <a:pt x="6" y="72"/>
                </a:lnTo>
                <a:lnTo>
                  <a:pt x="8" y="74"/>
                </a:lnTo>
                <a:lnTo>
                  <a:pt x="8" y="74"/>
                </a:lnTo>
                <a:lnTo>
                  <a:pt x="10" y="86"/>
                </a:lnTo>
                <a:lnTo>
                  <a:pt x="18" y="88"/>
                </a:lnTo>
                <a:lnTo>
                  <a:pt x="22" y="118"/>
                </a:lnTo>
                <a:lnTo>
                  <a:pt x="26" y="118"/>
                </a:lnTo>
                <a:lnTo>
                  <a:pt x="26" y="118"/>
                </a:lnTo>
                <a:lnTo>
                  <a:pt x="28" y="116"/>
                </a:lnTo>
                <a:lnTo>
                  <a:pt x="30" y="116"/>
                </a:lnTo>
                <a:lnTo>
                  <a:pt x="30" y="112"/>
                </a:lnTo>
                <a:lnTo>
                  <a:pt x="30" y="112"/>
                </a:lnTo>
                <a:lnTo>
                  <a:pt x="32" y="110"/>
                </a:lnTo>
                <a:lnTo>
                  <a:pt x="34" y="108"/>
                </a:lnTo>
                <a:lnTo>
                  <a:pt x="34" y="106"/>
                </a:lnTo>
                <a:lnTo>
                  <a:pt x="34" y="106"/>
                </a:lnTo>
                <a:lnTo>
                  <a:pt x="32" y="98"/>
                </a:lnTo>
                <a:lnTo>
                  <a:pt x="34" y="94"/>
                </a:lnTo>
                <a:lnTo>
                  <a:pt x="34" y="94"/>
                </a:lnTo>
                <a:lnTo>
                  <a:pt x="34" y="92"/>
                </a:lnTo>
                <a:lnTo>
                  <a:pt x="38" y="92"/>
                </a:lnTo>
                <a:lnTo>
                  <a:pt x="38" y="92"/>
                </a:lnTo>
                <a:lnTo>
                  <a:pt x="42" y="90"/>
                </a:lnTo>
                <a:lnTo>
                  <a:pt x="44" y="90"/>
                </a:lnTo>
                <a:lnTo>
                  <a:pt x="49" y="86"/>
                </a:lnTo>
                <a:lnTo>
                  <a:pt x="49" y="86"/>
                </a:lnTo>
                <a:lnTo>
                  <a:pt x="51" y="82"/>
                </a:lnTo>
                <a:lnTo>
                  <a:pt x="51" y="80"/>
                </a:lnTo>
                <a:lnTo>
                  <a:pt x="51" y="78"/>
                </a:lnTo>
                <a:lnTo>
                  <a:pt x="55"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5" name="Freeform 29">
            <a:extLst>
              <a:ext uri="{FF2B5EF4-FFF2-40B4-BE49-F238E27FC236}">
                <a16:creationId xmlns:a16="http://schemas.microsoft.com/office/drawing/2014/main" id="{8EA39C6F-B4FF-4CA7-B7ED-F9E555C4C7FA}"/>
              </a:ext>
            </a:extLst>
          </p:cNvPr>
          <p:cNvSpPr>
            <a:spLocks/>
          </p:cNvSpPr>
          <p:nvPr userDrawn="1"/>
        </p:nvSpPr>
        <p:spPr bwMode="auto">
          <a:xfrm>
            <a:off x="5849107" y="3347746"/>
            <a:ext cx="43603" cy="175030"/>
          </a:xfrm>
          <a:custGeom>
            <a:avLst/>
            <a:gdLst>
              <a:gd name="T0" fmla="*/ 16 w 26"/>
              <a:gd name="T1" fmla="*/ 100 h 102"/>
              <a:gd name="T2" fmla="*/ 20 w 26"/>
              <a:gd name="T3" fmla="*/ 94 h 102"/>
              <a:gd name="T4" fmla="*/ 20 w 26"/>
              <a:gd name="T5" fmla="*/ 100 h 102"/>
              <a:gd name="T6" fmla="*/ 18 w 26"/>
              <a:gd name="T7" fmla="*/ 102 h 102"/>
              <a:gd name="T8" fmla="*/ 20 w 26"/>
              <a:gd name="T9" fmla="*/ 102 h 102"/>
              <a:gd name="T10" fmla="*/ 22 w 26"/>
              <a:gd name="T11" fmla="*/ 98 h 102"/>
              <a:gd name="T12" fmla="*/ 24 w 26"/>
              <a:gd name="T13" fmla="*/ 98 h 102"/>
              <a:gd name="T14" fmla="*/ 26 w 26"/>
              <a:gd name="T15" fmla="*/ 98 h 102"/>
              <a:gd name="T16" fmla="*/ 24 w 26"/>
              <a:gd name="T17" fmla="*/ 90 h 102"/>
              <a:gd name="T18" fmla="*/ 24 w 26"/>
              <a:gd name="T19" fmla="*/ 86 h 102"/>
              <a:gd name="T20" fmla="*/ 24 w 26"/>
              <a:gd name="T21" fmla="*/ 84 h 102"/>
              <a:gd name="T22" fmla="*/ 22 w 26"/>
              <a:gd name="T23" fmla="*/ 78 h 102"/>
              <a:gd name="T24" fmla="*/ 24 w 26"/>
              <a:gd name="T25" fmla="*/ 68 h 102"/>
              <a:gd name="T26" fmla="*/ 24 w 26"/>
              <a:gd name="T27" fmla="*/ 64 h 102"/>
              <a:gd name="T28" fmla="*/ 24 w 26"/>
              <a:gd name="T29" fmla="*/ 58 h 102"/>
              <a:gd name="T30" fmla="*/ 24 w 26"/>
              <a:gd name="T31" fmla="*/ 46 h 102"/>
              <a:gd name="T32" fmla="*/ 24 w 26"/>
              <a:gd name="T33" fmla="*/ 38 h 102"/>
              <a:gd name="T34" fmla="*/ 24 w 26"/>
              <a:gd name="T35" fmla="*/ 36 h 102"/>
              <a:gd name="T36" fmla="*/ 22 w 26"/>
              <a:gd name="T37" fmla="*/ 28 h 102"/>
              <a:gd name="T38" fmla="*/ 22 w 26"/>
              <a:gd name="T39" fmla="*/ 22 h 102"/>
              <a:gd name="T40" fmla="*/ 12 w 26"/>
              <a:gd name="T41" fmla="*/ 16 h 102"/>
              <a:gd name="T42" fmla="*/ 12 w 26"/>
              <a:gd name="T43" fmla="*/ 2 h 102"/>
              <a:gd name="T44" fmla="*/ 6 w 26"/>
              <a:gd name="T45" fmla="*/ 2 h 102"/>
              <a:gd name="T46" fmla="*/ 0 w 26"/>
              <a:gd name="T47" fmla="*/ 0 h 102"/>
              <a:gd name="T48" fmla="*/ 0 w 26"/>
              <a:gd name="T49" fmla="*/ 12 h 102"/>
              <a:gd name="T50" fmla="*/ 0 w 26"/>
              <a:gd name="T51" fmla="*/ 14 h 102"/>
              <a:gd name="T52" fmla="*/ 4 w 26"/>
              <a:gd name="T53" fmla="*/ 22 h 102"/>
              <a:gd name="T54" fmla="*/ 6 w 26"/>
              <a:gd name="T55" fmla="*/ 28 h 102"/>
              <a:gd name="T56" fmla="*/ 4 w 26"/>
              <a:gd name="T57" fmla="*/ 34 h 102"/>
              <a:gd name="T58" fmla="*/ 4 w 26"/>
              <a:gd name="T59" fmla="*/ 38 h 102"/>
              <a:gd name="T60" fmla="*/ 6 w 26"/>
              <a:gd name="T61" fmla="*/ 40 h 102"/>
              <a:gd name="T62" fmla="*/ 4 w 26"/>
              <a:gd name="T63" fmla="*/ 46 h 102"/>
              <a:gd name="T64" fmla="*/ 4 w 26"/>
              <a:gd name="T65" fmla="*/ 52 h 102"/>
              <a:gd name="T66" fmla="*/ 8 w 26"/>
              <a:gd name="T67" fmla="*/ 56 h 102"/>
              <a:gd name="T68" fmla="*/ 10 w 26"/>
              <a:gd name="T69" fmla="*/ 60 h 102"/>
              <a:gd name="T70" fmla="*/ 8 w 26"/>
              <a:gd name="T71" fmla="*/ 74 h 102"/>
              <a:gd name="T72" fmla="*/ 8 w 26"/>
              <a:gd name="T73" fmla="*/ 80 h 102"/>
              <a:gd name="T74" fmla="*/ 8 w 26"/>
              <a:gd name="T75" fmla="*/ 82 h 102"/>
              <a:gd name="T76" fmla="*/ 8 w 26"/>
              <a:gd name="T77" fmla="*/ 84 h 102"/>
              <a:gd name="T78" fmla="*/ 8 w 26"/>
              <a:gd name="T79" fmla="*/ 84 h 102"/>
              <a:gd name="T80" fmla="*/ 16 w 26"/>
              <a:gd name="T81" fmla="*/ 10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102">
                <a:moveTo>
                  <a:pt x="16" y="100"/>
                </a:moveTo>
                <a:lnTo>
                  <a:pt x="16" y="100"/>
                </a:lnTo>
                <a:lnTo>
                  <a:pt x="20" y="94"/>
                </a:lnTo>
                <a:lnTo>
                  <a:pt x="20" y="94"/>
                </a:lnTo>
                <a:lnTo>
                  <a:pt x="20" y="98"/>
                </a:lnTo>
                <a:lnTo>
                  <a:pt x="20" y="100"/>
                </a:lnTo>
                <a:lnTo>
                  <a:pt x="20" y="100"/>
                </a:lnTo>
                <a:lnTo>
                  <a:pt x="18" y="102"/>
                </a:lnTo>
                <a:lnTo>
                  <a:pt x="18" y="102"/>
                </a:lnTo>
                <a:lnTo>
                  <a:pt x="20" y="102"/>
                </a:lnTo>
                <a:lnTo>
                  <a:pt x="20" y="102"/>
                </a:lnTo>
                <a:lnTo>
                  <a:pt x="22" y="98"/>
                </a:lnTo>
                <a:lnTo>
                  <a:pt x="22" y="98"/>
                </a:lnTo>
                <a:lnTo>
                  <a:pt x="24" y="98"/>
                </a:lnTo>
                <a:lnTo>
                  <a:pt x="26" y="98"/>
                </a:lnTo>
                <a:lnTo>
                  <a:pt x="26" y="98"/>
                </a:lnTo>
                <a:lnTo>
                  <a:pt x="26" y="96"/>
                </a:lnTo>
                <a:lnTo>
                  <a:pt x="24" y="90"/>
                </a:lnTo>
                <a:lnTo>
                  <a:pt x="24" y="90"/>
                </a:lnTo>
                <a:lnTo>
                  <a:pt x="24" y="86"/>
                </a:lnTo>
                <a:lnTo>
                  <a:pt x="24" y="86"/>
                </a:lnTo>
                <a:lnTo>
                  <a:pt x="24" y="84"/>
                </a:lnTo>
                <a:lnTo>
                  <a:pt x="22" y="78"/>
                </a:lnTo>
                <a:lnTo>
                  <a:pt x="22" y="78"/>
                </a:lnTo>
                <a:lnTo>
                  <a:pt x="22" y="74"/>
                </a:lnTo>
                <a:lnTo>
                  <a:pt x="24" y="68"/>
                </a:lnTo>
                <a:lnTo>
                  <a:pt x="24" y="68"/>
                </a:lnTo>
                <a:lnTo>
                  <a:pt x="24" y="64"/>
                </a:lnTo>
                <a:lnTo>
                  <a:pt x="24" y="58"/>
                </a:lnTo>
                <a:lnTo>
                  <a:pt x="24" y="58"/>
                </a:lnTo>
                <a:lnTo>
                  <a:pt x="22" y="52"/>
                </a:lnTo>
                <a:lnTo>
                  <a:pt x="24" y="46"/>
                </a:lnTo>
                <a:lnTo>
                  <a:pt x="24" y="46"/>
                </a:lnTo>
                <a:lnTo>
                  <a:pt x="24" y="38"/>
                </a:lnTo>
                <a:lnTo>
                  <a:pt x="24" y="36"/>
                </a:lnTo>
                <a:lnTo>
                  <a:pt x="24" y="36"/>
                </a:lnTo>
                <a:lnTo>
                  <a:pt x="22" y="34"/>
                </a:lnTo>
                <a:lnTo>
                  <a:pt x="22" y="28"/>
                </a:lnTo>
                <a:lnTo>
                  <a:pt x="22" y="28"/>
                </a:lnTo>
                <a:lnTo>
                  <a:pt x="22" y="22"/>
                </a:lnTo>
                <a:lnTo>
                  <a:pt x="22" y="20"/>
                </a:lnTo>
                <a:lnTo>
                  <a:pt x="12" y="16"/>
                </a:lnTo>
                <a:lnTo>
                  <a:pt x="12" y="2"/>
                </a:lnTo>
                <a:lnTo>
                  <a:pt x="12" y="2"/>
                </a:lnTo>
                <a:lnTo>
                  <a:pt x="6" y="2"/>
                </a:lnTo>
                <a:lnTo>
                  <a:pt x="6" y="2"/>
                </a:lnTo>
                <a:lnTo>
                  <a:pt x="0" y="0"/>
                </a:lnTo>
                <a:lnTo>
                  <a:pt x="0" y="0"/>
                </a:lnTo>
                <a:lnTo>
                  <a:pt x="0" y="6"/>
                </a:lnTo>
                <a:lnTo>
                  <a:pt x="0" y="12"/>
                </a:lnTo>
                <a:lnTo>
                  <a:pt x="0" y="14"/>
                </a:lnTo>
                <a:lnTo>
                  <a:pt x="0" y="14"/>
                </a:lnTo>
                <a:lnTo>
                  <a:pt x="4" y="16"/>
                </a:lnTo>
                <a:lnTo>
                  <a:pt x="4" y="22"/>
                </a:lnTo>
                <a:lnTo>
                  <a:pt x="4" y="22"/>
                </a:lnTo>
                <a:lnTo>
                  <a:pt x="6" y="28"/>
                </a:lnTo>
                <a:lnTo>
                  <a:pt x="4" y="34"/>
                </a:lnTo>
                <a:lnTo>
                  <a:pt x="4" y="34"/>
                </a:lnTo>
                <a:lnTo>
                  <a:pt x="4" y="36"/>
                </a:lnTo>
                <a:lnTo>
                  <a:pt x="4" y="38"/>
                </a:lnTo>
                <a:lnTo>
                  <a:pt x="6" y="38"/>
                </a:lnTo>
                <a:lnTo>
                  <a:pt x="6" y="40"/>
                </a:lnTo>
                <a:lnTo>
                  <a:pt x="6" y="40"/>
                </a:lnTo>
                <a:lnTo>
                  <a:pt x="4" y="46"/>
                </a:lnTo>
                <a:lnTo>
                  <a:pt x="4" y="48"/>
                </a:lnTo>
                <a:lnTo>
                  <a:pt x="4" y="52"/>
                </a:lnTo>
                <a:lnTo>
                  <a:pt x="4" y="52"/>
                </a:lnTo>
                <a:lnTo>
                  <a:pt x="8" y="56"/>
                </a:lnTo>
                <a:lnTo>
                  <a:pt x="10" y="60"/>
                </a:lnTo>
                <a:lnTo>
                  <a:pt x="10" y="60"/>
                </a:lnTo>
                <a:lnTo>
                  <a:pt x="8" y="74"/>
                </a:lnTo>
                <a:lnTo>
                  <a:pt x="8" y="74"/>
                </a:lnTo>
                <a:lnTo>
                  <a:pt x="6" y="78"/>
                </a:lnTo>
                <a:lnTo>
                  <a:pt x="8" y="80"/>
                </a:lnTo>
                <a:lnTo>
                  <a:pt x="8" y="80"/>
                </a:lnTo>
                <a:lnTo>
                  <a:pt x="8" y="82"/>
                </a:lnTo>
                <a:lnTo>
                  <a:pt x="8" y="82"/>
                </a:lnTo>
                <a:lnTo>
                  <a:pt x="8" y="84"/>
                </a:lnTo>
                <a:lnTo>
                  <a:pt x="8" y="84"/>
                </a:lnTo>
                <a:lnTo>
                  <a:pt x="8" y="84"/>
                </a:lnTo>
                <a:lnTo>
                  <a:pt x="16" y="100"/>
                </a:lnTo>
                <a:lnTo>
                  <a:pt x="16"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6" name="Freeform 30">
            <a:extLst>
              <a:ext uri="{FF2B5EF4-FFF2-40B4-BE49-F238E27FC236}">
                <a16:creationId xmlns:a16="http://schemas.microsoft.com/office/drawing/2014/main" id="{B5DEE3A6-F728-432F-9FDE-96EBD9F4B9DE}"/>
              </a:ext>
            </a:extLst>
          </p:cNvPr>
          <p:cNvSpPr>
            <a:spLocks/>
          </p:cNvSpPr>
          <p:nvPr userDrawn="1"/>
        </p:nvSpPr>
        <p:spPr bwMode="auto">
          <a:xfrm>
            <a:off x="8051055" y="3114372"/>
            <a:ext cx="164349" cy="422133"/>
          </a:xfrm>
          <a:custGeom>
            <a:avLst/>
            <a:gdLst>
              <a:gd name="T0" fmla="*/ 38 w 98"/>
              <a:gd name="T1" fmla="*/ 6 h 246"/>
              <a:gd name="T2" fmla="*/ 40 w 98"/>
              <a:gd name="T3" fmla="*/ 18 h 246"/>
              <a:gd name="T4" fmla="*/ 44 w 98"/>
              <a:gd name="T5" fmla="*/ 26 h 246"/>
              <a:gd name="T6" fmla="*/ 48 w 98"/>
              <a:gd name="T7" fmla="*/ 38 h 246"/>
              <a:gd name="T8" fmla="*/ 62 w 98"/>
              <a:gd name="T9" fmla="*/ 26 h 246"/>
              <a:gd name="T10" fmla="*/ 68 w 98"/>
              <a:gd name="T11" fmla="*/ 32 h 246"/>
              <a:gd name="T12" fmla="*/ 86 w 98"/>
              <a:gd name="T13" fmla="*/ 44 h 246"/>
              <a:gd name="T14" fmla="*/ 90 w 98"/>
              <a:gd name="T15" fmla="*/ 62 h 246"/>
              <a:gd name="T16" fmla="*/ 96 w 98"/>
              <a:gd name="T17" fmla="*/ 76 h 246"/>
              <a:gd name="T18" fmla="*/ 94 w 98"/>
              <a:gd name="T19" fmla="*/ 88 h 246"/>
              <a:gd name="T20" fmla="*/ 80 w 98"/>
              <a:gd name="T21" fmla="*/ 100 h 246"/>
              <a:gd name="T22" fmla="*/ 64 w 98"/>
              <a:gd name="T23" fmla="*/ 104 h 246"/>
              <a:gd name="T24" fmla="*/ 60 w 98"/>
              <a:gd name="T25" fmla="*/ 124 h 246"/>
              <a:gd name="T26" fmla="*/ 66 w 98"/>
              <a:gd name="T27" fmla="*/ 148 h 246"/>
              <a:gd name="T28" fmla="*/ 64 w 98"/>
              <a:gd name="T29" fmla="*/ 144 h 246"/>
              <a:gd name="T30" fmla="*/ 60 w 98"/>
              <a:gd name="T31" fmla="*/ 138 h 246"/>
              <a:gd name="T32" fmla="*/ 56 w 98"/>
              <a:gd name="T33" fmla="*/ 132 h 246"/>
              <a:gd name="T34" fmla="*/ 46 w 98"/>
              <a:gd name="T35" fmla="*/ 126 h 246"/>
              <a:gd name="T36" fmla="*/ 42 w 98"/>
              <a:gd name="T37" fmla="*/ 118 h 246"/>
              <a:gd name="T38" fmla="*/ 32 w 98"/>
              <a:gd name="T39" fmla="*/ 114 h 246"/>
              <a:gd name="T40" fmla="*/ 30 w 98"/>
              <a:gd name="T41" fmla="*/ 116 h 246"/>
              <a:gd name="T42" fmla="*/ 30 w 98"/>
              <a:gd name="T43" fmla="*/ 130 h 246"/>
              <a:gd name="T44" fmla="*/ 30 w 98"/>
              <a:gd name="T45" fmla="*/ 140 h 246"/>
              <a:gd name="T46" fmla="*/ 28 w 98"/>
              <a:gd name="T47" fmla="*/ 144 h 246"/>
              <a:gd name="T48" fmla="*/ 24 w 98"/>
              <a:gd name="T49" fmla="*/ 162 h 246"/>
              <a:gd name="T50" fmla="*/ 20 w 98"/>
              <a:gd name="T51" fmla="*/ 180 h 246"/>
              <a:gd name="T52" fmla="*/ 24 w 98"/>
              <a:gd name="T53" fmla="*/ 186 h 246"/>
              <a:gd name="T54" fmla="*/ 28 w 98"/>
              <a:gd name="T55" fmla="*/ 198 h 246"/>
              <a:gd name="T56" fmla="*/ 32 w 98"/>
              <a:gd name="T57" fmla="*/ 196 h 246"/>
              <a:gd name="T58" fmla="*/ 36 w 98"/>
              <a:gd name="T59" fmla="*/ 214 h 246"/>
              <a:gd name="T60" fmla="*/ 44 w 98"/>
              <a:gd name="T61" fmla="*/ 216 h 246"/>
              <a:gd name="T62" fmla="*/ 48 w 98"/>
              <a:gd name="T63" fmla="*/ 220 h 246"/>
              <a:gd name="T64" fmla="*/ 52 w 98"/>
              <a:gd name="T65" fmla="*/ 226 h 246"/>
              <a:gd name="T66" fmla="*/ 56 w 98"/>
              <a:gd name="T67" fmla="*/ 234 h 246"/>
              <a:gd name="T68" fmla="*/ 48 w 98"/>
              <a:gd name="T69" fmla="*/ 242 h 246"/>
              <a:gd name="T70" fmla="*/ 44 w 98"/>
              <a:gd name="T71" fmla="*/ 240 h 246"/>
              <a:gd name="T72" fmla="*/ 32 w 98"/>
              <a:gd name="T73" fmla="*/ 238 h 246"/>
              <a:gd name="T74" fmla="*/ 30 w 98"/>
              <a:gd name="T75" fmla="*/ 222 h 246"/>
              <a:gd name="T76" fmla="*/ 28 w 98"/>
              <a:gd name="T77" fmla="*/ 218 h 246"/>
              <a:gd name="T78" fmla="*/ 22 w 98"/>
              <a:gd name="T79" fmla="*/ 212 h 246"/>
              <a:gd name="T80" fmla="*/ 10 w 98"/>
              <a:gd name="T81" fmla="*/ 196 h 246"/>
              <a:gd name="T82" fmla="*/ 10 w 98"/>
              <a:gd name="T83" fmla="*/ 182 h 246"/>
              <a:gd name="T84" fmla="*/ 16 w 98"/>
              <a:gd name="T85" fmla="*/ 174 h 246"/>
              <a:gd name="T86" fmla="*/ 14 w 98"/>
              <a:gd name="T87" fmla="*/ 168 h 246"/>
              <a:gd name="T88" fmla="*/ 12 w 98"/>
              <a:gd name="T89" fmla="*/ 162 h 246"/>
              <a:gd name="T90" fmla="*/ 16 w 98"/>
              <a:gd name="T91" fmla="*/ 152 h 246"/>
              <a:gd name="T92" fmla="*/ 20 w 98"/>
              <a:gd name="T93" fmla="*/ 138 h 246"/>
              <a:gd name="T94" fmla="*/ 22 w 98"/>
              <a:gd name="T95" fmla="*/ 112 h 246"/>
              <a:gd name="T96" fmla="*/ 6 w 98"/>
              <a:gd name="T97" fmla="*/ 80 h 246"/>
              <a:gd name="T98" fmla="*/ 8 w 98"/>
              <a:gd name="T99" fmla="*/ 64 h 246"/>
              <a:gd name="T100" fmla="*/ 2 w 98"/>
              <a:gd name="T101" fmla="*/ 36 h 246"/>
              <a:gd name="T102" fmla="*/ 2 w 98"/>
              <a:gd name="T103" fmla="*/ 16 h 246"/>
              <a:gd name="T104" fmla="*/ 14 w 98"/>
              <a:gd name="T105" fmla="*/ 10 h 246"/>
              <a:gd name="T106" fmla="*/ 20 w 98"/>
              <a:gd name="T10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246">
                <a:moveTo>
                  <a:pt x="34" y="2"/>
                </a:moveTo>
                <a:lnTo>
                  <a:pt x="34" y="6"/>
                </a:lnTo>
                <a:lnTo>
                  <a:pt x="38" y="6"/>
                </a:lnTo>
                <a:lnTo>
                  <a:pt x="42" y="6"/>
                </a:lnTo>
                <a:lnTo>
                  <a:pt x="44" y="10"/>
                </a:lnTo>
                <a:lnTo>
                  <a:pt x="40" y="18"/>
                </a:lnTo>
                <a:lnTo>
                  <a:pt x="42" y="20"/>
                </a:lnTo>
                <a:lnTo>
                  <a:pt x="42" y="24"/>
                </a:lnTo>
                <a:lnTo>
                  <a:pt x="44" y="26"/>
                </a:lnTo>
                <a:lnTo>
                  <a:pt x="46" y="32"/>
                </a:lnTo>
                <a:lnTo>
                  <a:pt x="44" y="36"/>
                </a:lnTo>
                <a:lnTo>
                  <a:pt x="48" y="38"/>
                </a:lnTo>
                <a:lnTo>
                  <a:pt x="52" y="36"/>
                </a:lnTo>
                <a:lnTo>
                  <a:pt x="54" y="32"/>
                </a:lnTo>
                <a:lnTo>
                  <a:pt x="62" y="26"/>
                </a:lnTo>
                <a:lnTo>
                  <a:pt x="66" y="28"/>
                </a:lnTo>
                <a:lnTo>
                  <a:pt x="66" y="30"/>
                </a:lnTo>
                <a:lnTo>
                  <a:pt x="68" y="32"/>
                </a:lnTo>
                <a:lnTo>
                  <a:pt x="74" y="36"/>
                </a:lnTo>
                <a:lnTo>
                  <a:pt x="80" y="36"/>
                </a:lnTo>
                <a:lnTo>
                  <a:pt x="86" y="44"/>
                </a:lnTo>
                <a:lnTo>
                  <a:pt x="86" y="50"/>
                </a:lnTo>
                <a:lnTo>
                  <a:pt x="86" y="58"/>
                </a:lnTo>
                <a:lnTo>
                  <a:pt x="90" y="62"/>
                </a:lnTo>
                <a:lnTo>
                  <a:pt x="94" y="66"/>
                </a:lnTo>
                <a:lnTo>
                  <a:pt x="96" y="70"/>
                </a:lnTo>
                <a:lnTo>
                  <a:pt x="96" y="76"/>
                </a:lnTo>
                <a:lnTo>
                  <a:pt x="98" y="78"/>
                </a:lnTo>
                <a:lnTo>
                  <a:pt x="96" y="84"/>
                </a:lnTo>
                <a:lnTo>
                  <a:pt x="94" y="88"/>
                </a:lnTo>
                <a:lnTo>
                  <a:pt x="90" y="92"/>
                </a:lnTo>
                <a:lnTo>
                  <a:pt x="86" y="96"/>
                </a:lnTo>
                <a:lnTo>
                  <a:pt x="80" y="100"/>
                </a:lnTo>
                <a:lnTo>
                  <a:pt x="76" y="100"/>
                </a:lnTo>
                <a:lnTo>
                  <a:pt x="70" y="100"/>
                </a:lnTo>
                <a:lnTo>
                  <a:pt x="64" y="104"/>
                </a:lnTo>
                <a:lnTo>
                  <a:pt x="60" y="106"/>
                </a:lnTo>
                <a:lnTo>
                  <a:pt x="60" y="114"/>
                </a:lnTo>
                <a:lnTo>
                  <a:pt x="60" y="124"/>
                </a:lnTo>
                <a:lnTo>
                  <a:pt x="64" y="130"/>
                </a:lnTo>
                <a:lnTo>
                  <a:pt x="66" y="138"/>
                </a:lnTo>
                <a:lnTo>
                  <a:pt x="66" y="148"/>
                </a:lnTo>
                <a:lnTo>
                  <a:pt x="66" y="148"/>
                </a:lnTo>
                <a:lnTo>
                  <a:pt x="64" y="144"/>
                </a:lnTo>
                <a:lnTo>
                  <a:pt x="64" y="144"/>
                </a:lnTo>
                <a:lnTo>
                  <a:pt x="62" y="140"/>
                </a:lnTo>
                <a:lnTo>
                  <a:pt x="62" y="140"/>
                </a:lnTo>
                <a:lnTo>
                  <a:pt x="60" y="138"/>
                </a:lnTo>
                <a:lnTo>
                  <a:pt x="58" y="138"/>
                </a:lnTo>
                <a:lnTo>
                  <a:pt x="58" y="138"/>
                </a:lnTo>
                <a:lnTo>
                  <a:pt x="56" y="132"/>
                </a:lnTo>
                <a:lnTo>
                  <a:pt x="52" y="126"/>
                </a:lnTo>
                <a:lnTo>
                  <a:pt x="52" y="126"/>
                </a:lnTo>
                <a:lnTo>
                  <a:pt x="46" y="126"/>
                </a:lnTo>
                <a:lnTo>
                  <a:pt x="46" y="126"/>
                </a:lnTo>
                <a:lnTo>
                  <a:pt x="44" y="120"/>
                </a:lnTo>
                <a:lnTo>
                  <a:pt x="42" y="118"/>
                </a:lnTo>
                <a:lnTo>
                  <a:pt x="38" y="116"/>
                </a:lnTo>
                <a:lnTo>
                  <a:pt x="32" y="114"/>
                </a:lnTo>
                <a:lnTo>
                  <a:pt x="32" y="114"/>
                </a:lnTo>
                <a:lnTo>
                  <a:pt x="32" y="116"/>
                </a:lnTo>
                <a:lnTo>
                  <a:pt x="30" y="116"/>
                </a:lnTo>
                <a:lnTo>
                  <a:pt x="30" y="116"/>
                </a:lnTo>
                <a:lnTo>
                  <a:pt x="30" y="122"/>
                </a:lnTo>
                <a:lnTo>
                  <a:pt x="30" y="126"/>
                </a:lnTo>
                <a:lnTo>
                  <a:pt x="30" y="130"/>
                </a:lnTo>
                <a:lnTo>
                  <a:pt x="30" y="136"/>
                </a:lnTo>
                <a:lnTo>
                  <a:pt x="30" y="136"/>
                </a:lnTo>
                <a:lnTo>
                  <a:pt x="30" y="140"/>
                </a:lnTo>
                <a:lnTo>
                  <a:pt x="30" y="140"/>
                </a:lnTo>
                <a:lnTo>
                  <a:pt x="28" y="144"/>
                </a:lnTo>
                <a:lnTo>
                  <a:pt x="28" y="144"/>
                </a:lnTo>
                <a:lnTo>
                  <a:pt x="26" y="152"/>
                </a:lnTo>
                <a:lnTo>
                  <a:pt x="26" y="160"/>
                </a:lnTo>
                <a:lnTo>
                  <a:pt x="24" y="162"/>
                </a:lnTo>
                <a:lnTo>
                  <a:pt x="24" y="162"/>
                </a:lnTo>
                <a:lnTo>
                  <a:pt x="22" y="172"/>
                </a:lnTo>
                <a:lnTo>
                  <a:pt x="20" y="180"/>
                </a:lnTo>
                <a:lnTo>
                  <a:pt x="22" y="184"/>
                </a:lnTo>
                <a:lnTo>
                  <a:pt x="22" y="184"/>
                </a:lnTo>
                <a:lnTo>
                  <a:pt x="24" y="186"/>
                </a:lnTo>
                <a:lnTo>
                  <a:pt x="26" y="188"/>
                </a:lnTo>
                <a:lnTo>
                  <a:pt x="26" y="188"/>
                </a:lnTo>
                <a:lnTo>
                  <a:pt x="28" y="198"/>
                </a:lnTo>
                <a:lnTo>
                  <a:pt x="28" y="198"/>
                </a:lnTo>
                <a:lnTo>
                  <a:pt x="30" y="198"/>
                </a:lnTo>
                <a:lnTo>
                  <a:pt x="32" y="196"/>
                </a:lnTo>
                <a:lnTo>
                  <a:pt x="32" y="196"/>
                </a:lnTo>
                <a:lnTo>
                  <a:pt x="34" y="208"/>
                </a:lnTo>
                <a:lnTo>
                  <a:pt x="36" y="214"/>
                </a:lnTo>
                <a:lnTo>
                  <a:pt x="40" y="216"/>
                </a:lnTo>
                <a:lnTo>
                  <a:pt x="40" y="216"/>
                </a:lnTo>
                <a:lnTo>
                  <a:pt x="44" y="216"/>
                </a:lnTo>
                <a:lnTo>
                  <a:pt x="48" y="218"/>
                </a:lnTo>
                <a:lnTo>
                  <a:pt x="48" y="218"/>
                </a:lnTo>
                <a:lnTo>
                  <a:pt x="48" y="220"/>
                </a:lnTo>
                <a:lnTo>
                  <a:pt x="48" y="222"/>
                </a:lnTo>
                <a:lnTo>
                  <a:pt x="48" y="222"/>
                </a:lnTo>
                <a:lnTo>
                  <a:pt x="52" y="226"/>
                </a:lnTo>
                <a:lnTo>
                  <a:pt x="54" y="228"/>
                </a:lnTo>
                <a:lnTo>
                  <a:pt x="54" y="228"/>
                </a:lnTo>
                <a:lnTo>
                  <a:pt x="56" y="234"/>
                </a:lnTo>
                <a:lnTo>
                  <a:pt x="54" y="236"/>
                </a:lnTo>
                <a:lnTo>
                  <a:pt x="54" y="244"/>
                </a:lnTo>
                <a:lnTo>
                  <a:pt x="48" y="242"/>
                </a:lnTo>
                <a:lnTo>
                  <a:pt x="48" y="246"/>
                </a:lnTo>
                <a:lnTo>
                  <a:pt x="44" y="246"/>
                </a:lnTo>
                <a:lnTo>
                  <a:pt x="44" y="240"/>
                </a:lnTo>
                <a:lnTo>
                  <a:pt x="38" y="236"/>
                </a:lnTo>
                <a:lnTo>
                  <a:pt x="32" y="238"/>
                </a:lnTo>
                <a:lnTo>
                  <a:pt x="32" y="238"/>
                </a:lnTo>
                <a:lnTo>
                  <a:pt x="32" y="230"/>
                </a:lnTo>
                <a:lnTo>
                  <a:pt x="30" y="222"/>
                </a:lnTo>
                <a:lnTo>
                  <a:pt x="30" y="222"/>
                </a:lnTo>
                <a:lnTo>
                  <a:pt x="28" y="220"/>
                </a:lnTo>
                <a:lnTo>
                  <a:pt x="28" y="220"/>
                </a:lnTo>
                <a:lnTo>
                  <a:pt x="28" y="218"/>
                </a:lnTo>
                <a:lnTo>
                  <a:pt x="26" y="214"/>
                </a:lnTo>
                <a:lnTo>
                  <a:pt x="26" y="214"/>
                </a:lnTo>
                <a:lnTo>
                  <a:pt x="22" y="212"/>
                </a:lnTo>
                <a:lnTo>
                  <a:pt x="22" y="212"/>
                </a:lnTo>
                <a:lnTo>
                  <a:pt x="14" y="202"/>
                </a:lnTo>
                <a:lnTo>
                  <a:pt x="10" y="196"/>
                </a:lnTo>
                <a:lnTo>
                  <a:pt x="10" y="190"/>
                </a:lnTo>
                <a:lnTo>
                  <a:pt x="10" y="190"/>
                </a:lnTo>
                <a:lnTo>
                  <a:pt x="10" y="182"/>
                </a:lnTo>
                <a:lnTo>
                  <a:pt x="12" y="176"/>
                </a:lnTo>
                <a:lnTo>
                  <a:pt x="12" y="176"/>
                </a:lnTo>
                <a:lnTo>
                  <a:pt x="16" y="174"/>
                </a:lnTo>
                <a:lnTo>
                  <a:pt x="16" y="174"/>
                </a:lnTo>
                <a:lnTo>
                  <a:pt x="14" y="172"/>
                </a:lnTo>
                <a:lnTo>
                  <a:pt x="14" y="168"/>
                </a:lnTo>
                <a:lnTo>
                  <a:pt x="12" y="166"/>
                </a:lnTo>
                <a:lnTo>
                  <a:pt x="12" y="162"/>
                </a:lnTo>
                <a:lnTo>
                  <a:pt x="12" y="162"/>
                </a:lnTo>
                <a:lnTo>
                  <a:pt x="16" y="156"/>
                </a:lnTo>
                <a:lnTo>
                  <a:pt x="16" y="156"/>
                </a:lnTo>
                <a:lnTo>
                  <a:pt x="16" y="152"/>
                </a:lnTo>
                <a:lnTo>
                  <a:pt x="18" y="152"/>
                </a:lnTo>
                <a:lnTo>
                  <a:pt x="18" y="146"/>
                </a:lnTo>
                <a:lnTo>
                  <a:pt x="20" y="138"/>
                </a:lnTo>
                <a:lnTo>
                  <a:pt x="26" y="130"/>
                </a:lnTo>
                <a:lnTo>
                  <a:pt x="26" y="122"/>
                </a:lnTo>
                <a:lnTo>
                  <a:pt x="22" y="112"/>
                </a:lnTo>
                <a:lnTo>
                  <a:pt x="14" y="104"/>
                </a:lnTo>
                <a:lnTo>
                  <a:pt x="10" y="92"/>
                </a:lnTo>
                <a:lnTo>
                  <a:pt x="6" y="80"/>
                </a:lnTo>
                <a:lnTo>
                  <a:pt x="14" y="76"/>
                </a:lnTo>
                <a:lnTo>
                  <a:pt x="14" y="70"/>
                </a:lnTo>
                <a:lnTo>
                  <a:pt x="8" y="64"/>
                </a:lnTo>
                <a:lnTo>
                  <a:pt x="2" y="56"/>
                </a:lnTo>
                <a:lnTo>
                  <a:pt x="0" y="44"/>
                </a:lnTo>
                <a:lnTo>
                  <a:pt x="2" y="36"/>
                </a:lnTo>
                <a:lnTo>
                  <a:pt x="2" y="30"/>
                </a:lnTo>
                <a:lnTo>
                  <a:pt x="0" y="22"/>
                </a:lnTo>
                <a:lnTo>
                  <a:pt x="2" y="16"/>
                </a:lnTo>
                <a:lnTo>
                  <a:pt x="6" y="16"/>
                </a:lnTo>
                <a:lnTo>
                  <a:pt x="10" y="10"/>
                </a:lnTo>
                <a:lnTo>
                  <a:pt x="14" y="10"/>
                </a:lnTo>
                <a:lnTo>
                  <a:pt x="14" y="6"/>
                </a:lnTo>
                <a:lnTo>
                  <a:pt x="16" y="0"/>
                </a:lnTo>
                <a:lnTo>
                  <a:pt x="20" y="0"/>
                </a:lnTo>
                <a:lnTo>
                  <a:pt x="24" y="2"/>
                </a:lnTo>
                <a:lnTo>
                  <a:pt x="3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7" name="Freeform 31">
            <a:extLst>
              <a:ext uri="{FF2B5EF4-FFF2-40B4-BE49-F238E27FC236}">
                <a16:creationId xmlns:a16="http://schemas.microsoft.com/office/drawing/2014/main" id="{FD1DE370-3282-409A-9F74-6439AC193713}"/>
              </a:ext>
            </a:extLst>
          </p:cNvPr>
          <p:cNvSpPr>
            <a:spLocks/>
          </p:cNvSpPr>
          <p:nvPr userDrawn="1"/>
        </p:nvSpPr>
        <p:spPr bwMode="auto">
          <a:xfrm>
            <a:off x="6521599" y="3738991"/>
            <a:ext cx="241493" cy="295149"/>
          </a:xfrm>
          <a:custGeom>
            <a:avLst/>
            <a:gdLst>
              <a:gd name="T0" fmla="*/ 126 w 144"/>
              <a:gd name="T1" fmla="*/ 54 h 172"/>
              <a:gd name="T2" fmla="*/ 126 w 144"/>
              <a:gd name="T3" fmla="*/ 58 h 172"/>
              <a:gd name="T4" fmla="*/ 124 w 144"/>
              <a:gd name="T5" fmla="*/ 68 h 172"/>
              <a:gd name="T6" fmla="*/ 122 w 144"/>
              <a:gd name="T7" fmla="*/ 74 h 172"/>
              <a:gd name="T8" fmla="*/ 128 w 144"/>
              <a:gd name="T9" fmla="*/ 86 h 172"/>
              <a:gd name="T10" fmla="*/ 132 w 144"/>
              <a:gd name="T11" fmla="*/ 96 h 172"/>
              <a:gd name="T12" fmla="*/ 130 w 144"/>
              <a:gd name="T13" fmla="*/ 122 h 172"/>
              <a:gd name="T14" fmla="*/ 134 w 144"/>
              <a:gd name="T15" fmla="*/ 136 h 172"/>
              <a:gd name="T16" fmla="*/ 142 w 144"/>
              <a:gd name="T17" fmla="*/ 146 h 172"/>
              <a:gd name="T18" fmla="*/ 144 w 144"/>
              <a:gd name="T19" fmla="*/ 150 h 172"/>
              <a:gd name="T20" fmla="*/ 120 w 144"/>
              <a:gd name="T21" fmla="*/ 160 h 172"/>
              <a:gd name="T22" fmla="*/ 114 w 144"/>
              <a:gd name="T23" fmla="*/ 164 h 172"/>
              <a:gd name="T24" fmla="*/ 106 w 144"/>
              <a:gd name="T25" fmla="*/ 164 h 172"/>
              <a:gd name="T26" fmla="*/ 92 w 144"/>
              <a:gd name="T27" fmla="*/ 170 h 172"/>
              <a:gd name="T28" fmla="*/ 80 w 144"/>
              <a:gd name="T29" fmla="*/ 172 h 172"/>
              <a:gd name="T30" fmla="*/ 76 w 144"/>
              <a:gd name="T31" fmla="*/ 166 h 172"/>
              <a:gd name="T32" fmla="*/ 66 w 144"/>
              <a:gd name="T33" fmla="*/ 170 h 172"/>
              <a:gd name="T34" fmla="*/ 66 w 144"/>
              <a:gd name="T35" fmla="*/ 166 h 172"/>
              <a:gd name="T36" fmla="*/ 60 w 144"/>
              <a:gd name="T37" fmla="*/ 134 h 172"/>
              <a:gd name="T38" fmla="*/ 56 w 144"/>
              <a:gd name="T39" fmla="*/ 130 h 172"/>
              <a:gd name="T40" fmla="*/ 36 w 144"/>
              <a:gd name="T41" fmla="*/ 126 h 172"/>
              <a:gd name="T42" fmla="*/ 30 w 144"/>
              <a:gd name="T43" fmla="*/ 122 h 172"/>
              <a:gd name="T44" fmla="*/ 28 w 144"/>
              <a:gd name="T45" fmla="*/ 114 h 172"/>
              <a:gd name="T46" fmla="*/ 22 w 144"/>
              <a:gd name="T47" fmla="*/ 110 h 172"/>
              <a:gd name="T48" fmla="*/ 20 w 144"/>
              <a:gd name="T49" fmla="*/ 104 h 172"/>
              <a:gd name="T50" fmla="*/ 14 w 144"/>
              <a:gd name="T51" fmla="*/ 96 h 172"/>
              <a:gd name="T52" fmla="*/ 16 w 144"/>
              <a:gd name="T53" fmla="*/ 84 h 172"/>
              <a:gd name="T54" fmla="*/ 0 w 144"/>
              <a:gd name="T55" fmla="*/ 72 h 172"/>
              <a:gd name="T56" fmla="*/ 0 w 144"/>
              <a:gd name="T57" fmla="*/ 60 h 172"/>
              <a:gd name="T58" fmla="*/ 2 w 144"/>
              <a:gd name="T59" fmla="*/ 58 h 172"/>
              <a:gd name="T60" fmla="*/ 0 w 144"/>
              <a:gd name="T61" fmla="*/ 54 h 172"/>
              <a:gd name="T62" fmla="*/ 6 w 144"/>
              <a:gd name="T63" fmla="*/ 52 h 172"/>
              <a:gd name="T64" fmla="*/ 20 w 144"/>
              <a:gd name="T65" fmla="*/ 36 h 172"/>
              <a:gd name="T66" fmla="*/ 22 w 144"/>
              <a:gd name="T67" fmla="*/ 30 h 172"/>
              <a:gd name="T68" fmla="*/ 16 w 144"/>
              <a:gd name="T69" fmla="*/ 24 h 172"/>
              <a:gd name="T70" fmla="*/ 18 w 144"/>
              <a:gd name="T71" fmla="*/ 16 h 172"/>
              <a:gd name="T72" fmla="*/ 32 w 144"/>
              <a:gd name="T73" fmla="*/ 0 h 172"/>
              <a:gd name="T74" fmla="*/ 30 w 144"/>
              <a:gd name="T75" fmla="*/ 16 h 172"/>
              <a:gd name="T76" fmla="*/ 36 w 144"/>
              <a:gd name="T77" fmla="*/ 26 h 172"/>
              <a:gd name="T78" fmla="*/ 38 w 144"/>
              <a:gd name="T79" fmla="*/ 20 h 172"/>
              <a:gd name="T80" fmla="*/ 44 w 144"/>
              <a:gd name="T81" fmla="*/ 18 h 172"/>
              <a:gd name="T82" fmla="*/ 48 w 144"/>
              <a:gd name="T83" fmla="*/ 16 h 172"/>
              <a:gd name="T84" fmla="*/ 54 w 144"/>
              <a:gd name="T85" fmla="*/ 26 h 172"/>
              <a:gd name="T86" fmla="*/ 58 w 144"/>
              <a:gd name="T87" fmla="*/ 18 h 172"/>
              <a:gd name="T88" fmla="*/ 66 w 144"/>
              <a:gd name="T89" fmla="*/ 14 h 172"/>
              <a:gd name="T90" fmla="*/ 62 w 144"/>
              <a:gd name="T91" fmla="*/ 12 h 172"/>
              <a:gd name="T92" fmla="*/ 62 w 144"/>
              <a:gd name="T93" fmla="*/ 10 h 172"/>
              <a:gd name="T94" fmla="*/ 58 w 144"/>
              <a:gd name="T95" fmla="*/ 8 h 172"/>
              <a:gd name="T96" fmla="*/ 104 w 144"/>
              <a:gd name="T97" fmla="*/ 20 h 172"/>
              <a:gd name="T98" fmla="*/ 108 w 144"/>
              <a:gd name="T99" fmla="*/ 32 h 172"/>
              <a:gd name="T100" fmla="*/ 112 w 144"/>
              <a:gd name="T101" fmla="*/ 3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 h="172">
                <a:moveTo>
                  <a:pt x="130" y="46"/>
                </a:moveTo>
                <a:lnTo>
                  <a:pt x="130" y="46"/>
                </a:lnTo>
                <a:lnTo>
                  <a:pt x="128" y="54"/>
                </a:lnTo>
                <a:lnTo>
                  <a:pt x="126" y="54"/>
                </a:lnTo>
                <a:lnTo>
                  <a:pt x="126" y="54"/>
                </a:lnTo>
                <a:lnTo>
                  <a:pt x="126" y="56"/>
                </a:lnTo>
                <a:lnTo>
                  <a:pt x="126" y="58"/>
                </a:lnTo>
                <a:lnTo>
                  <a:pt x="126" y="58"/>
                </a:lnTo>
                <a:lnTo>
                  <a:pt x="126" y="60"/>
                </a:lnTo>
                <a:lnTo>
                  <a:pt x="124" y="62"/>
                </a:lnTo>
                <a:lnTo>
                  <a:pt x="124" y="68"/>
                </a:lnTo>
                <a:lnTo>
                  <a:pt x="124" y="68"/>
                </a:lnTo>
                <a:lnTo>
                  <a:pt x="120" y="70"/>
                </a:lnTo>
                <a:lnTo>
                  <a:pt x="120" y="72"/>
                </a:lnTo>
                <a:lnTo>
                  <a:pt x="120" y="72"/>
                </a:lnTo>
                <a:lnTo>
                  <a:pt x="122" y="74"/>
                </a:lnTo>
                <a:lnTo>
                  <a:pt x="122" y="76"/>
                </a:lnTo>
                <a:lnTo>
                  <a:pt x="122" y="80"/>
                </a:lnTo>
                <a:lnTo>
                  <a:pt x="122" y="80"/>
                </a:lnTo>
                <a:lnTo>
                  <a:pt x="128" y="86"/>
                </a:lnTo>
                <a:lnTo>
                  <a:pt x="134" y="90"/>
                </a:lnTo>
                <a:lnTo>
                  <a:pt x="134" y="90"/>
                </a:lnTo>
                <a:lnTo>
                  <a:pt x="134" y="94"/>
                </a:lnTo>
                <a:lnTo>
                  <a:pt x="132" y="96"/>
                </a:lnTo>
                <a:lnTo>
                  <a:pt x="130" y="100"/>
                </a:lnTo>
                <a:lnTo>
                  <a:pt x="130" y="100"/>
                </a:lnTo>
                <a:lnTo>
                  <a:pt x="130" y="110"/>
                </a:lnTo>
                <a:lnTo>
                  <a:pt x="130" y="122"/>
                </a:lnTo>
                <a:lnTo>
                  <a:pt x="130" y="122"/>
                </a:lnTo>
                <a:lnTo>
                  <a:pt x="130" y="128"/>
                </a:lnTo>
                <a:lnTo>
                  <a:pt x="134" y="136"/>
                </a:lnTo>
                <a:lnTo>
                  <a:pt x="134" y="136"/>
                </a:lnTo>
                <a:lnTo>
                  <a:pt x="138" y="138"/>
                </a:lnTo>
                <a:lnTo>
                  <a:pt x="142" y="142"/>
                </a:lnTo>
                <a:lnTo>
                  <a:pt x="142" y="142"/>
                </a:lnTo>
                <a:lnTo>
                  <a:pt x="142" y="146"/>
                </a:lnTo>
                <a:lnTo>
                  <a:pt x="144" y="146"/>
                </a:lnTo>
                <a:lnTo>
                  <a:pt x="144" y="146"/>
                </a:lnTo>
                <a:lnTo>
                  <a:pt x="144" y="150"/>
                </a:lnTo>
                <a:lnTo>
                  <a:pt x="144" y="150"/>
                </a:lnTo>
                <a:lnTo>
                  <a:pt x="130" y="158"/>
                </a:lnTo>
                <a:lnTo>
                  <a:pt x="130" y="158"/>
                </a:lnTo>
                <a:lnTo>
                  <a:pt x="126" y="160"/>
                </a:lnTo>
                <a:lnTo>
                  <a:pt x="120" y="160"/>
                </a:lnTo>
                <a:lnTo>
                  <a:pt x="120" y="160"/>
                </a:lnTo>
                <a:lnTo>
                  <a:pt x="116" y="162"/>
                </a:lnTo>
                <a:lnTo>
                  <a:pt x="114" y="164"/>
                </a:lnTo>
                <a:lnTo>
                  <a:pt x="114" y="164"/>
                </a:lnTo>
                <a:lnTo>
                  <a:pt x="110" y="166"/>
                </a:lnTo>
                <a:lnTo>
                  <a:pt x="108" y="164"/>
                </a:lnTo>
                <a:lnTo>
                  <a:pt x="108" y="164"/>
                </a:lnTo>
                <a:lnTo>
                  <a:pt x="106" y="164"/>
                </a:lnTo>
                <a:lnTo>
                  <a:pt x="106" y="166"/>
                </a:lnTo>
                <a:lnTo>
                  <a:pt x="102" y="168"/>
                </a:lnTo>
                <a:lnTo>
                  <a:pt x="102" y="168"/>
                </a:lnTo>
                <a:lnTo>
                  <a:pt x="92" y="170"/>
                </a:lnTo>
                <a:lnTo>
                  <a:pt x="92" y="170"/>
                </a:lnTo>
                <a:lnTo>
                  <a:pt x="84" y="172"/>
                </a:lnTo>
                <a:lnTo>
                  <a:pt x="84" y="172"/>
                </a:lnTo>
                <a:lnTo>
                  <a:pt x="80" y="172"/>
                </a:lnTo>
                <a:lnTo>
                  <a:pt x="80" y="170"/>
                </a:lnTo>
                <a:lnTo>
                  <a:pt x="78" y="168"/>
                </a:lnTo>
                <a:lnTo>
                  <a:pt x="76" y="166"/>
                </a:lnTo>
                <a:lnTo>
                  <a:pt x="76" y="166"/>
                </a:lnTo>
                <a:lnTo>
                  <a:pt x="74" y="166"/>
                </a:lnTo>
                <a:lnTo>
                  <a:pt x="72" y="168"/>
                </a:lnTo>
                <a:lnTo>
                  <a:pt x="72" y="168"/>
                </a:lnTo>
                <a:lnTo>
                  <a:pt x="66" y="170"/>
                </a:lnTo>
                <a:lnTo>
                  <a:pt x="66" y="170"/>
                </a:lnTo>
                <a:lnTo>
                  <a:pt x="66" y="170"/>
                </a:lnTo>
                <a:lnTo>
                  <a:pt x="66" y="166"/>
                </a:lnTo>
                <a:lnTo>
                  <a:pt x="66" y="166"/>
                </a:lnTo>
                <a:lnTo>
                  <a:pt x="66" y="152"/>
                </a:lnTo>
                <a:lnTo>
                  <a:pt x="66" y="136"/>
                </a:lnTo>
                <a:lnTo>
                  <a:pt x="66" y="136"/>
                </a:lnTo>
                <a:lnTo>
                  <a:pt x="60" y="134"/>
                </a:lnTo>
                <a:lnTo>
                  <a:pt x="60" y="134"/>
                </a:lnTo>
                <a:lnTo>
                  <a:pt x="60" y="132"/>
                </a:lnTo>
                <a:lnTo>
                  <a:pt x="58" y="130"/>
                </a:lnTo>
                <a:lnTo>
                  <a:pt x="56" y="130"/>
                </a:lnTo>
                <a:lnTo>
                  <a:pt x="44" y="128"/>
                </a:lnTo>
                <a:lnTo>
                  <a:pt x="44" y="128"/>
                </a:lnTo>
                <a:lnTo>
                  <a:pt x="40" y="128"/>
                </a:lnTo>
                <a:lnTo>
                  <a:pt x="36" y="126"/>
                </a:lnTo>
                <a:lnTo>
                  <a:pt x="36" y="126"/>
                </a:lnTo>
                <a:lnTo>
                  <a:pt x="32" y="122"/>
                </a:lnTo>
                <a:lnTo>
                  <a:pt x="30" y="122"/>
                </a:lnTo>
                <a:lnTo>
                  <a:pt x="30" y="122"/>
                </a:lnTo>
                <a:lnTo>
                  <a:pt x="28" y="120"/>
                </a:lnTo>
                <a:lnTo>
                  <a:pt x="28" y="118"/>
                </a:lnTo>
                <a:lnTo>
                  <a:pt x="28" y="114"/>
                </a:lnTo>
                <a:lnTo>
                  <a:pt x="28" y="114"/>
                </a:lnTo>
                <a:lnTo>
                  <a:pt x="26" y="110"/>
                </a:lnTo>
                <a:lnTo>
                  <a:pt x="26" y="110"/>
                </a:lnTo>
                <a:lnTo>
                  <a:pt x="22" y="110"/>
                </a:lnTo>
                <a:lnTo>
                  <a:pt x="22" y="110"/>
                </a:lnTo>
                <a:lnTo>
                  <a:pt x="22" y="104"/>
                </a:lnTo>
                <a:lnTo>
                  <a:pt x="22" y="104"/>
                </a:lnTo>
                <a:lnTo>
                  <a:pt x="20" y="104"/>
                </a:lnTo>
                <a:lnTo>
                  <a:pt x="20" y="104"/>
                </a:lnTo>
                <a:lnTo>
                  <a:pt x="18" y="100"/>
                </a:lnTo>
                <a:lnTo>
                  <a:pt x="18" y="98"/>
                </a:lnTo>
                <a:lnTo>
                  <a:pt x="18" y="98"/>
                </a:lnTo>
                <a:lnTo>
                  <a:pt x="14" y="96"/>
                </a:lnTo>
                <a:lnTo>
                  <a:pt x="14" y="96"/>
                </a:lnTo>
                <a:lnTo>
                  <a:pt x="14" y="90"/>
                </a:lnTo>
                <a:lnTo>
                  <a:pt x="16" y="84"/>
                </a:lnTo>
                <a:lnTo>
                  <a:pt x="16" y="84"/>
                </a:lnTo>
                <a:lnTo>
                  <a:pt x="8" y="78"/>
                </a:lnTo>
                <a:lnTo>
                  <a:pt x="6" y="76"/>
                </a:lnTo>
                <a:lnTo>
                  <a:pt x="0" y="72"/>
                </a:lnTo>
                <a:lnTo>
                  <a:pt x="0" y="72"/>
                </a:lnTo>
                <a:lnTo>
                  <a:pt x="2" y="60"/>
                </a:lnTo>
                <a:lnTo>
                  <a:pt x="2" y="60"/>
                </a:lnTo>
                <a:lnTo>
                  <a:pt x="2" y="60"/>
                </a:lnTo>
                <a:lnTo>
                  <a:pt x="0" y="60"/>
                </a:lnTo>
                <a:lnTo>
                  <a:pt x="0" y="60"/>
                </a:lnTo>
                <a:lnTo>
                  <a:pt x="0" y="58"/>
                </a:lnTo>
                <a:lnTo>
                  <a:pt x="0" y="58"/>
                </a:lnTo>
                <a:lnTo>
                  <a:pt x="2" y="58"/>
                </a:lnTo>
                <a:lnTo>
                  <a:pt x="2" y="58"/>
                </a:lnTo>
                <a:lnTo>
                  <a:pt x="2" y="54"/>
                </a:lnTo>
                <a:lnTo>
                  <a:pt x="2" y="54"/>
                </a:lnTo>
                <a:lnTo>
                  <a:pt x="0" y="54"/>
                </a:lnTo>
                <a:lnTo>
                  <a:pt x="0" y="50"/>
                </a:lnTo>
                <a:lnTo>
                  <a:pt x="0" y="50"/>
                </a:lnTo>
                <a:lnTo>
                  <a:pt x="6" y="52"/>
                </a:lnTo>
                <a:lnTo>
                  <a:pt x="6" y="52"/>
                </a:lnTo>
                <a:lnTo>
                  <a:pt x="12" y="48"/>
                </a:lnTo>
                <a:lnTo>
                  <a:pt x="14" y="40"/>
                </a:lnTo>
                <a:lnTo>
                  <a:pt x="14" y="40"/>
                </a:lnTo>
                <a:lnTo>
                  <a:pt x="20" y="36"/>
                </a:lnTo>
                <a:lnTo>
                  <a:pt x="20" y="36"/>
                </a:lnTo>
                <a:lnTo>
                  <a:pt x="22" y="30"/>
                </a:lnTo>
                <a:lnTo>
                  <a:pt x="22" y="30"/>
                </a:lnTo>
                <a:lnTo>
                  <a:pt x="22" y="30"/>
                </a:lnTo>
                <a:lnTo>
                  <a:pt x="18" y="30"/>
                </a:lnTo>
                <a:lnTo>
                  <a:pt x="18" y="30"/>
                </a:lnTo>
                <a:lnTo>
                  <a:pt x="16" y="26"/>
                </a:lnTo>
                <a:lnTo>
                  <a:pt x="16" y="24"/>
                </a:lnTo>
                <a:lnTo>
                  <a:pt x="16" y="20"/>
                </a:lnTo>
                <a:lnTo>
                  <a:pt x="16" y="20"/>
                </a:lnTo>
                <a:lnTo>
                  <a:pt x="18" y="20"/>
                </a:lnTo>
                <a:lnTo>
                  <a:pt x="18" y="16"/>
                </a:lnTo>
                <a:lnTo>
                  <a:pt x="18" y="16"/>
                </a:lnTo>
                <a:lnTo>
                  <a:pt x="18" y="8"/>
                </a:lnTo>
                <a:lnTo>
                  <a:pt x="14" y="0"/>
                </a:lnTo>
                <a:lnTo>
                  <a:pt x="32" y="0"/>
                </a:lnTo>
                <a:lnTo>
                  <a:pt x="32" y="0"/>
                </a:lnTo>
                <a:lnTo>
                  <a:pt x="28" y="10"/>
                </a:lnTo>
                <a:lnTo>
                  <a:pt x="28" y="10"/>
                </a:lnTo>
                <a:lnTo>
                  <a:pt x="30" y="16"/>
                </a:lnTo>
                <a:lnTo>
                  <a:pt x="32" y="20"/>
                </a:lnTo>
                <a:lnTo>
                  <a:pt x="32" y="20"/>
                </a:lnTo>
                <a:lnTo>
                  <a:pt x="34" y="24"/>
                </a:lnTo>
                <a:lnTo>
                  <a:pt x="36" y="26"/>
                </a:lnTo>
                <a:lnTo>
                  <a:pt x="40" y="24"/>
                </a:lnTo>
                <a:lnTo>
                  <a:pt x="40" y="24"/>
                </a:lnTo>
                <a:lnTo>
                  <a:pt x="38" y="20"/>
                </a:lnTo>
                <a:lnTo>
                  <a:pt x="38" y="20"/>
                </a:lnTo>
                <a:lnTo>
                  <a:pt x="42" y="20"/>
                </a:lnTo>
                <a:lnTo>
                  <a:pt x="42" y="20"/>
                </a:lnTo>
                <a:lnTo>
                  <a:pt x="44" y="18"/>
                </a:lnTo>
                <a:lnTo>
                  <a:pt x="44" y="18"/>
                </a:lnTo>
                <a:lnTo>
                  <a:pt x="42" y="16"/>
                </a:lnTo>
                <a:lnTo>
                  <a:pt x="42" y="16"/>
                </a:lnTo>
                <a:lnTo>
                  <a:pt x="42" y="16"/>
                </a:lnTo>
                <a:lnTo>
                  <a:pt x="48" y="16"/>
                </a:lnTo>
                <a:lnTo>
                  <a:pt x="54" y="20"/>
                </a:lnTo>
                <a:lnTo>
                  <a:pt x="54" y="20"/>
                </a:lnTo>
                <a:lnTo>
                  <a:pt x="54" y="26"/>
                </a:lnTo>
                <a:lnTo>
                  <a:pt x="54" y="26"/>
                </a:lnTo>
                <a:lnTo>
                  <a:pt x="58" y="28"/>
                </a:lnTo>
                <a:lnTo>
                  <a:pt x="58" y="28"/>
                </a:lnTo>
                <a:lnTo>
                  <a:pt x="58" y="22"/>
                </a:lnTo>
                <a:lnTo>
                  <a:pt x="58" y="18"/>
                </a:lnTo>
                <a:lnTo>
                  <a:pt x="60" y="16"/>
                </a:lnTo>
                <a:lnTo>
                  <a:pt x="66" y="16"/>
                </a:lnTo>
                <a:lnTo>
                  <a:pt x="66" y="16"/>
                </a:lnTo>
                <a:lnTo>
                  <a:pt x="66" y="14"/>
                </a:lnTo>
                <a:lnTo>
                  <a:pt x="68" y="14"/>
                </a:lnTo>
                <a:lnTo>
                  <a:pt x="68" y="12"/>
                </a:lnTo>
                <a:lnTo>
                  <a:pt x="68" y="12"/>
                </a:lnTo>
                <a:lnTo>
                  <a:pt x="62" y="12"/>
                </a:lnTo>
                <a:lnTo>
                  <a:pt x="62" y="12"/>
                </a:lnTo>
                <a:lnTo>
                  <a:pt x="60" y="10"/>
                </a:lnTo>
                <a:lnTo>
                  <a:pt x="60" y="10"/>
                </a:lnTo>
                <a:lnTo>
                  <a:pt x="62" y="10"/>
                </a:lnTo>
                <a:lnTo>
                  <a:pt x="64" y="8"/>
                </a:lnTo>
                <a:lnTo>
                  <a:pt x="64" y="8"/>
                </a:lnTo>
                <a:lnTo>
                  <a:pt x="58" y="8"/>
                </a:lnTo>
                <a:lnTo>
                  <a:pt x="58" y="8"/>
                </a:lnTo>
                <a:lnTo>
                  <a:pt x="62" y="4"/>
                </a:lnTo>
                <a:lnTo>
                  <a:pt x="64" y="0"/>
                </a:lnTo>
                <a:lnTo>
                  <a:pt x="104" y="20"/>
                </a:lnTo>
                <a:lnTo>
                  <a:pt x="104" y="20"/>
                </a:lnTo>
                <a:lnTo>
                  <a:pt x="106" y="22"/>
                </a:lnTo>
                <a:lnTo>
                  <a:pt x="108" y="26"/>
                </a:lnTo>
                <a:lnTo>
                  <a:pt x="108" y="26"/>
                </a:lnTo>
                <a:lnTo>
                  <a:pt x="108" y="32"/>
                </a:lnTo>
                <a:lnTo>
                  <a:pt x="108" y="32"/>
                </a:lnTo>
                <a:lnTo>
                  <a:pt x="110" y="34"/>
                </a:lnTo>
                <a:lnTo>
                  <a:pt x="110" y="34"/>
                </a:lnTo>
                <a:lnTo>
                  <a:pt x="112" y="36"/>
                </a:lnTo>
                <a:lnTo>
                  <a:pt x="114" y="36"/>
                </a:lnTo>
                <a:lnTo>
                  <a:pt x="130"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8" name="Freeform 32">
            <a:extLst>
              <a:ext uri="{FF2B5EF4-FFF2-40B4-BE49-F238E27FC236}">
                <a16:creationId xmlns:a16="http://schemas.microsoft.com/office/drawing/2014/main" id="{C1D96FEB-2C8C-47F4-BAD8-591DFB110C56}"/>
              </a:ext>
            </a:extLst>
          </p:cNvPr>
          <p:cNvSpPr>
            <a:spLocks/>
          </p:cNvSpPr>
          <p:nvPr userDrawn="1"/>
        </p:nvSpPr>
        <p:spPr bwMode="auto">
          <a:xfrm>
            <a:off x="7360117" y="2476025"/>
            <a:ext cx="167704" cy="157870"/>
          </a:xfrm>
          <a:custGeom>
            <a:avLst/>
            <a:gdLst>
              <a:gd name="T0" fmla="*/ 42 w 100"/>
              <a:gd name="T1" fmla="*/ 8 h 92"/>
              <a:gd name="T2" fmla="*/ 46 w 100"/>
              <a:gd name="T3" fmla="*/ 0 h 92"/>
              <a:gd name="T4" fmla="*/ 42 w 100"/>
              <a:gd name="T5" fmla="*/ 0 h 92"/>
              <a:gd name="T6" fmla="*/ 38 w 100"/>
              <a:gd name="T7" fmla="*/ 2 h 92"/>
              <a:gd name="T8" fmla="*/ 36 w 100"/>
              <a:gd name="T9" fmla="*/ 6 h 92"/>
              <a:gd name="T10" fmla="*/ 34 w 100"/>
              <a:gd name="T11" fmla="*/ 6 h 92"/>
              <a:gd name="T12" fmla="*/ 28 w 100"/>
              <a:gd name="T13" fmla="*/ 0 h 92"/>
              <a:gd name="T14" fmla="*/ 26 w 100"/>
              <a:gd name="T15" fmla="*/ 0 h 92"/>
              <a:gd name="T16" fmla="*/ 22 w 100"/>
              <a:gd name="T17" fmla="*/ 2 h 92"/>
              <a:gd name="T18" fmla="*/ 24 w 100"/>
              <a:gd name="T19" fmla="*/ 8 h 92"/>
              <a:gd name="T20" fmla="*/ 26 w 100"/>
              <a:gd name="T21" fmla="*/ 10 h 92"/>
              <a:gd name="T22" fmla="*/ 26 w 100"/>
              <a:gd name="T23" fmla="*/ 12 h 92"/>
              <a:gd name="T24" fmla="*/ 24 w 100"/>
              <a:gd name="T25" fmla="*/ 14 h 92"/>
              <a:gd name="T26" fmla="*/ 20 w 100"/>
              <a:gd name="T27" fmla="*/ 18 h 92"/>
              <a:gd name="T28" fmla="*/ 20 w 100"/>
              <a:gd name="T29" fmla="*/ 22 h 92"/>
              <a:gd name="T30" fmla="*/ 22 w 100"/>
              <a:gd name="T31" fmla="*/ 20 h 92"/>
              <a:gd name="T32" fmla="*/ 20 w 100"/>
              <a:gd name="T33" fmla="*/ 24 h 92"/>
              <a:gd name="T34" fmla="*/ 20 w 100"/>
              <a:gd name="T35" fmla="*/ 24 h 92"/>
              <a:gd name="T36" fmla="*/ 12 w 100"/>
              <a:gd name="T37" fmla="*/ 30 h 92"/>
              <a:gd name="T38" fmla="*/ 10 w 100"/>
              <a:gd name="T39" fmla="*/ 30 h 92"/>
              <a:gd name="T40" fmla="*/ 8 w 100"/>
              <a:gd name="T41" fmla="*/ 28 h 92"/>
              <a:gd name="T42" fmla="*/ 4 w 100"/>
              <a:gd name="T43" fmla="*/ 28 h 92"/>
              <a:gd name="T44" fmla="*/ 0 w 100"/>
              <a:gd name="T45" fmla="*/ 34 h 92"/>
              <a:gd name="T46" fmla="*/ 2 w 100"/>
              <a:gd name="T47" fmla="*/ 36 h 92"/>
              <a:gd name="T48" fmla="*/ 8 w 100"/>
              <a:gd name="T49" fmla="*/ 40 h 92"/>
              <a:gd name="T50" fmla="*/ 14 w 100"/>
              <a:gd name="T51" fmla="*/ 40 h 92"/>
              <a:gd name="T52" fmla="*/ 16 w 100"/>
              <a:gd name="T53" fmla="*/ 42 h 92"/>
              <a:gd name="T54" fmla="*/ 12 w 100"/>
              <a:gd name="T55" fmla="*/ 48 h 92"/>
              <a:gd name="T56" fmla="*/ 14 w 100"/>
              <a:gd name="T57" fmla="*/ 52 h 92"/>
              <a:gd name="T58" fmla="*/ 16 w 100"/>
              <a:gd name="T59" fmla="*/ 54 h 92"/>
              <a:gd name="T60" fmla="*/ 14 w 100"/>
              <a:gd name="T61" fmla="*/ 58 h 92"/>
              <a:gd name="T62" fmla="*/ 10 w 100"/>
              <a:gd name="T63" fmla="*/ 62 h 92"/>
              <a:gd name="T64" fmla="*/ 6 w 100"/>
              <a:gd name="T65" fmla="*/ 70 h 92"/>
              <a:gd name="T66" fmla="*/ 16 w 100"/>
              <a:gd name="T67" fmla="*/ 70 h 92"/>
              <a:gd name="T68" fmla="*/ 24 w 100"/>
              <a:gd name="T69" fmla="*/ 64 h 92"/>
              <a:gd name="T70" fmla="*/ 32 w 100"/>
              <a:gd name="T71" fmla="*/ 62 h 92"/>
              <a:gd name="T72" fmla="*/ 38 w 100"/>
              <a:gd name="T73" fmla="*/ 72 h 92"/>
              <a:gd name="T74" fmla="*/ 34 w 100"/>
              <a:gd name="T75" fmla="*/ 86 h 92"/>
              <a:gd name="T76" fmla="*/ 46 w 100"/>
              <a:gd name="T77" fmla="*/ 90 h 92"/>
              <a:gd name="T78" fmla="*/ 56 w 100"/>
              <a:gd name="T79" fmla="*/ 80 h 92"/>
              <a:gd name="T80" fmla="*/ 70 w 100"/>
              <a:gd name="T81" fmla="*/ 74 h 92"/>
              <a:gd name="T82" fmla="*/ 84 w 100"/>
              <a:gd name="T83" fmla="*/ 74 h 92"/>
              <a:gd name="T84" fmla="*/ 100 w 100"/>
              <a:gd name="T85" fmla="*/ 72 h 92"/>
              <a:gd name="T86" fmla="*/ 96 w 100"/>
              <a:gd name="T87" fmla="*/ 64 h 92"/>
              <a:gd name="T88" fmla="*/ 92 w 100"/>
              <a:gd name="T89" fmla="*/ 50 h 92"/>
              <a:gd name="T90" fmla="*/ 94 w 100"/>
              <a:gd name="T91" fmla="*/ 40 h 92"/>
              <a:gd name="T92" fmla="*/ 84 w 100"/>
              <a:gd name="T93" fmla="*/ 42 h 92"/>
              <a:gd name="T94" fmla="*/ 80 w 100"/>
              <a:gd name="T95" fmla="*/ 34 h 92"/>
              <a:gd name="T96" fmla="*/ 80 w 100"/>
              <a:gd name="T97" fmla="*/ 28 h 92"/>
              <a:gd name="T98" fmla="*/ 74 w 100"/>
              <a:gd name="T99" fmla="*/ 26 h 92"/>
              <a:gd name="T100" fmla="*/ 68 w 100"/>
              <a:gd name="T101" fmla="*/ 28 h 92"/>
              <a:gd name="T102" fmla="*/ 60 w 100"/>
              <a:gd name="T103" fmla="*/ 28 h 92"/>
              <a:gd name="T104" fmla="*/ 58 w 100"/>
              <a:gd name="T105" fmla="*/ 28 h 92"/>
              <a:gd name="T106" fmla="*/ 54 w 100"/>
              <a:gd name="T107" fmla="*/ 26 h 92"/>
              <a:gd name="T108" fmla="*/ 52 w 100"/>
              <a:gd name="T109" fmla="*/ 24 h 92"/>
              <a:gd name="T110" fmla="*/ 46 w 100"/>
              <a:gd name="T111" fmla="*/ 26 h 92"/>
              <a:gd name="T112" fmla="*/ 44 w 100"/>
              <a:gd name="T113" fmla="*/ 26 h 92"/>
              <a:gd name="T114" fmla="*/ 42 w 100"/>
              <a:gd name="T115" fmla="*/ 22 h 92"/>
              <a:gd name="T116" fmla="*/ 28 w 100"/>
              <a:gd name="T117" fmla="*/ 18 h 92"/>
              <a:gd name="T118" fmla="*/ 42 w 100"/>
              <a:gd name="T119"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 h="92">
                <a:moveTo>
                  <a:pt x="42" y="16"/>
                </a:moveTo>
                <a:lnTo>
                  <a:pt x="42" y="8"/>
                </a:lnTo>
                <a:lnTo>
                  <a:pt x="48" y="6"/>
                </a:lnTo>
                <a:lnTo>
                  <a:pt x="46" y="0"/>
                </a:lnTo>
                <a:lnTo>
                  <a:pt x="46" y="0"/>
                </a:lnTo>
                <a:lnTo>
                  <a:pt x="42" y="0"/>
                </a:lnTo>
                <a:lnTo>
                  <a:pt x="38" y="2"/>
                </a:lnTo>
                <a:lnTo>
                  <a:pt x="38" y="2"/>
                </a:lnTo>
                <a:lnTo>
                  <a:pt x="38" y="4"/>
                </a:lnTo>
                <a:lnTo>
                  <a:pt x="36" y="6"/>
                </a:lnTo>
                <a:lnTo>
                  <a:pt x="34" y="6"/>
                </a:lnTo>
                <a:lnTo>
                  <a:pt x="34" y="6"/>
                </a:lnTo>
                <a:lnTo>
                  <a:pt x="30" y="2"/>
                </a:lnTo>
                <a:lnTo>
                  <a:pt x="28" y="0"/>
                </a:lnTo>
                <a:lnTo>
                  <a:pt x="28" y="0"/>
                </a:lnTo>
                <a:lnTo>
                  <a:pt x="26" y="0"/>
                </a:lnTo>
                <a:lnTo>
                  <a:pt x="24" y="2"/>
                </a:lnTo>
                <a:lnTo>
                  <a:pt x="22" y="2"/>
                </a:lnTo>
                <a:lnTo>
                  <a:pt x="22" y="2"/>
                </a:lnTo>
                <a:lnTo>
                  <a:pt x="24" y="8"/>
                </a:lnTo>
                <a:lnTo>
                  <a:pt x="26" y="10"/>
                </a:lnTo>
                <a:lnTo>
                  <a:pt x="26" y="10"/>
                </a:lnTo>
                <a:lnTo>
                  <a:pt x="26" y="12"/>
                </a:lnTo>
                <a:lnTo>
                  <a:pt x="26" y="12"/>
                </a:lnTo>
                <a:lnTo>
                  <a:pt x="24" y="14"/>
                </a:lnTo>
                <a:lnTo>
                  <a:pt x="24" y="14"/>
                </a:lnTo>
                <a:lnTo>
                  <a:pt x="22" y="16"/>
                </a:lnTo>
                <a:lnTo>
                  <a:pt x="20" y="18"/>
                </a:lnTo>
                <a:lnTo>
                  <a:pt x="20" y="22"/>
                </a:lnTo>
                <a:lnTo>
                  <a:pt x="20" y="22"/>
                </a:lnTo>
                <a:lnTo>
                  <a:pt x="20" y="22"/>
                </a:lnTo>
                <a:lnTo>
                  <a:pt x="22" y="20"/>
                </a:lnTo>
                <a:lnTo>
                  <a:pt x="22" y="22"/>
                </a:lnTo>
                <a:lnTo>
                  <a:pt x="20" y="24"/>
                </a:lnTo>
                <a:lnTo>
                  <a:pt x="20" y="24"/>
                </a:lnTo>
                <a:lnTo>
                  <a:pt x="20" y="24"/>
                </a:lnTo>
                <a:lnTo>
                  <a:pt x="14" y="28"/>
                </a:lnTo>
                <a:lnTo>
                  <a:pt x="12" y="30"/>
                </a:lnTo>
                <a:lnTo>
                  <a:pt x="10" y="30"/>
                </a:lnTo>
                <a:lnTo>
                  <a:pt x="10" y="30"/>
                </a:lnTo>
                <a:lnTo>
                  <a:pt x="10" y="28"/>
                </a:lnTo>
                <a:lnTo>
                  <a:pt x="8" y="28"/>
                </a:lnTo>
                <a:lnTo>
                  <a:pt x="4" y="28"/>
                </a:lnTo>
                <a:lnTo>
                  <a:pt x="4" y="28"/>
                </a:lnTo>
                <a:lnTo>
                  <a:pt x="0" y="32"/>
                </a:lnTo>
                <a:lnTo>
                  <a:pt x="0" y="34"/>
                </a:lnTo>
                <a:lnTo>
                  <a:pt x="2" y="36"/>
                </a:lnTo>
                <a:lnTo>
                  <a:pt x="2" y="36"/>
                </a:lnTo>
                <a:lnTo>
                  <a:pt x="6" y="40"/>
                </a:lnTo>
                <a:lnTo>
                  <a:pt x="8" y="40"/>
                </a:lnTo>
                <a:lnTo>
                  <a:pt x="8" y="40"/>
                </a:lnTo>
                <a:lnTo>
                  <a:pt x="14" y="40"/>
                </a:lnTo>
                <a:lnTo>
                  <a:pt x="16" y="40"/>
                </a:lnTo>
                <a:lnTo>
                  <a:pt x="16" y="42"/>
                </a:lnTo>
                <a:lnTo>
                  <a:pt x="16" y="42"/>
                </a:lnTo>
                <a:lnTo>
                  <a:pt x="12" y="48"/>
                </a:lnTo>
                <a:lnTo>
                  <a:pt x="12" y="50"/>
                </a:lnTo>
                <a:lnTo>
                  <a:pt x="14" y="52"/>
                </a:lnTo>
                <a:lnTo>
                  <a:pt x="14" y="52"/>
                </a:lnTo>
                <a:lnTo>
                  <a:pt x="16" y="54"/>
                </a:lnTo>
                <a:lnTo>
                  <a:pt x="14" y="58"/>
                </a:lnTo>
                <a:lnTo>
                  <a:pt x="14" y="58"/>
                </a:lnTo>
                <a:lnTo>
                  <a:pt x="12" y="60"/>
                </a:lnTo>
                <a:lnTo>
                  <a:pt x="10" y="62"/>
                </a:lnTo>
                <a:lnTo>
                  <a:pt x="10" y="62"/>
                </a:lnTo>
                <a:lnTo>
                  <a:pt x="6" y="70"/>
                </a:lnTo>
                <a:lnTo>
                  <a:pt x="12" y="68"/>
                </a:lnTo>
                <a:lnTo>
                  <a:pt x="16" y="70"/>
                </a:lnTo>
                <a:lnTo>
                  <a:pt x="22" y="66"/>
                </a:lnTo>
                <a:lnTo>
                  <a:pt x="24" y="64"/>
                </a:lnTo>
                <a:lnTo>
                  <a:pt x="28" y="60"/>
                </a:lnTo>
                <a:lnTo>
                  <a:pt x="32" y="62"/>
                </a:lnTo>
                <a:lnTo>
                  <a:pt x="34" y="66"/>
                </a:lnTo>
                <a:lnTo>
                  <a:pt x="38" y="72"/>
                </a:lnTo>
                <a:lnTo>
                  <a:pt x="36" y="76"/>
                </a:lnTo>
                <a:lnTo>
                  <a:pt x="34" y="86"/>
                </a:lnTo>
                <a:lnTo>
                  <a:pt x="40" y="92"/>
                </a:lnTo>
                <a:lnTo>
                  <a:pt x="46" y="90"/>
                </a:lnTo>
                <a:lnTo>
                  <a:pt x="52" y="84"/>
                </a:lnTo>
                <a:lnTo>
                  <a:pt x="56" y="80"/>
                </a:lnTo>
                <a:lnTo>
                  <a:pt x="60" y="78"/>
                </a:lnTo>
                <a:lnTo>
                  <a:pt x="70" y="74"/>
                </a:lnTo>
                <a:lnTo>
                  <a:pt x="74" y="72"/>
                </a:lnTo>
                <a:lnTo>
                  <a:pt x="84" y="74"/>
                </a:lnTo>
                <a:lnTo>
                  <a:pt x="94" y="74"/>
                </a:lnTo>
                <a:lnTo>
                  <a:pt x="100" y="72"/>
                </a:lnTo>
                <a:lnTo>
                  <a:pt x="98" y="68"/>
                </a:lnTo>
                <a:lnTo>
                  <a:pt x="96" y="64"/>
                </a:lnTo>
                <a:lnTo>
                  <a:pt x="94" y="58"/>
                </a:lnTo>
                <a:lnTo>
                  <a:pt x="92" y="50"/>
                </a:lnTo>
                <a:lnTo>
                  <a:pt x="94" y="44"/>
                </a:lnTo>
                <a:lnTo>
                  <a:pt x="94" y="40"/>
                </a:lnTo>
                <a:lnTo>
                  <a:pt x="92" y="38"/>
                </a:lnTo>
                <a:lnTo>
                  <a:pt x="84" y="42"/>
                </a:lnTo>
                <a:lnTo>
                  <a:pt x="80" y="38"/>
                </a:lnTo>
                <a:lnTo>
                  <a:pt x="80" y="34"/>
                </a:lnTo>
                <a:lnTo>
                  <a:pt x="80" y="34"/>
                </a:lnTo>
                <a:lnTo>
                  <a:pt x="80" y="28"/>
                </a:lnTo>
                <a:lnTo>
                  <a:pt x="80" y="28"/>
                </a:lnTo>
                <a:lnTo>
                  <a:pt x="74" y="26"/>
                </a:lnTo>
                <a:lnTo>
                  <a:pt x="68" y="28"/>
                </a:lnTo>
                <a:lnTo>
                  <a:pt x="68" y="28"/>
                </a:lnTo>
                <a:lnTo>
                  <a:pt x="64" y="28"/>
                </a:lnTo>
                <a:lnTo>
                  <a:pt x="60" y="28"/>
                </a:lnTo>
                <a:lnTo>
                  <a:pt x="60" y="28"/>
                </a:lnTo>
                <a:lnTo>
                  <a:pt x="58" y="28"/>
                </a:lnTo>
                <a:lnTo>
                  <a:pt x="56" y="28"/>
                </a:lnTo>
                <a:lnTo>
                  <a:pt x="54" y="26"/>
                </a:lnTo>
                <a:lnTo>
                  <a:pt x="54" y="26"/>
                </a:lnTo>
                <a:lnTo>
                  <a:pt x="52" y="24"/>
                </a:lnTo>
                <a:lnTo>
                  <a:pt x="50" y="24"/>
                </a:lnTo>
                <a:lnTo>
                  <a:pt x="46" y="26"/>
                </a:lnTo>
                <a:lnTo>
                  <a:pt x="46" y="26"/>
                </a:lnTo>
                <a:lnTo>
                  <a:pt x="44" y="26"/>
                </a:lnTo>
                <a:lnTo>
                  <a:pt x="42" y="24"/>
                </a:lnTo>
                <a:lnTo>
                  <a:pt x="42" y="22"/>
                </a:lnTo>
                <a:lnTo>
                  <a:pt x="32" y="24"/>
                </a:lnTo>
                <a:lnTo>
                  <a:pt x="28" y="18"/>
                </a:lnTo>
                <a:lnTo>
                  <a:pt x="36" y="14"/>
                </a:lnTo>
                <a:lnTo>
                  <a:pt x="42" y="18"/>
                </a:lnTo>
                <a:lnTo>
                  <a:pt x="42" y="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9" name="Freeform 33">
            <a:extLst>
              <a:ext uri="{FF2B5EF4-FFF2-40B4-BE49-F238E27FC236}">
                <a16:creationId xmlns:a16="http://schemas.microsoft.com/office/drawing/2014/main" id="{7FDF9320-F6C7-4974-812D-1CEE43888CEE}"/>
              </a:ext>
            </a:extLst>
          </p:cNvPr>
          <p:cNvSpPr>
            <a:spLocks/>
          </p:cNvSpPr>
          <p:nvPr userDrawn="1"/>
        </p:nvSpPr>
        <p:spPr bwMode="auto">
          <a:xfrm>
            <a:off x="8547458" y="2956501"/>
            <a:ext cx="43603" cy="92663"/>
          </a:xfrm>
          <a:custGeom>
            <a:avLst/>
            <a:gdLst>
              <a:gd name="T0" fmla="*/ 18 w 26"/>
              <a:gd name="T1" fmla="*/ 0 h 54"/>
              <a:gd name="T2" fmla="*/ 18 w 26"/>
              <a:gd name="T3" fmla="*/ 0 h 54"/>
              <a:gd name="T4" fmla="*/ 14 w 26"/>
              <a:gd name="T5" fmla="*/ 4 h 54"/>
              <a:gd name="T6" fmla="*/ 14 w 26"/>
              <a:gd name="T7" fmla="*/ 4 h 54"/>
              <a:gd name="T8" fmla="*/ 12 w 26"/>
              <a:gd name="T9" fmla="*/ 10 h 54"/>
              <a:gd name="T10" fmla="*/ 12 w 26"/>
              <a:gd name="T11" fmla="*/ 10 h 54"/>
              <a:gd name="T12" fmla="*/ 8 w 26"/>
              <a:gd name="T13" fmla="*/ 14 h 54"/>
              <a:gd name="T14" fmla="*/ 6 w 26"/>
              <a:gd name="T15" fmla="*/ 18 h 54"/>
              <a:gd name="T16" fmla="*/ 6 w 26"/>
              <a:gd name="T17" fmla="*/ 18 h 54"/>
              <a:gd name="T18" fmla="*/ 6 w 26"/>
              <a:gd name="T19" fmla="*/ 22 h 54"/>
              <a:gd name="T20" fmla="*/ 6 w 26"/>
              <a:gd name="T21" fmla="*/ 24 h 54"/>
              <a:gd name="T22" fmla="*/ 6 w 26"/>
              <a:gd name="T23" fmla="*/ 24 h 54"/>
              <a:gd name="T24" fmla="*/ 2 w 26"/>
              <a:gd name="T25" fmla="*/ 28 h 54"/>
              <a:gd name="T26" fmla="*/ 2 w 26"/>
              <a:gd name="T27" fmla="*/ 28 h 54"/>
              <a:gd name="T28" fmla="*/ 0 w 26"/>
              <a:gd name="T29" fmla="*/ 34 h 54"/>
              <a:gd name="T30" fmla="*/ 0 w 26"/>
              <a:gd name="T31" fmla="*/ 42 h 54"/>
              <a:gd name="T32" fmla="*/ 0 w 26"/>
              <a:gd name="T33" fmla="*/ 42 h 54"/>
              <a:gd name="T34" fmla="*/ 2 w 26"/>
              <a:gd name="T35" fmla="*/ 46 h 54"/>
              <a:gd name="T36" fmla="*/ 4 w 26"/>
              <a:gd name="T37" fmla="*/ 50 h 54"/>
              <a:gd name="T38" fmla="*/ 4 w 26"/>
              <a:gd name="T39" fmla="*/ 50 h 54"/>
              <a:gd name="T40" fmla="*/ 8 w 26"/>
              <a:gd name="T41" fmla="*/ 54 h 54"/>
              <a:gd name="T42" fmla="*/ 8 w 26"/>
              <a:gd name="T43" fmla="*/ 54 h 54"/>
              <a:gd name="T44" fmla="*/ 10 w 26"/>
              <a:gd name="T45" fmla="*/ 48 h 54"/>
              <a:gd name="T46" fmla="*/ 10 w 26"/>
              <a:gd name="T47" fmla="*/ 48 h 54"/>
              <a:gd name="T48" fmla="*/ 14 w 26"/>
              <a:gd name="T49" fmla="*/ 46 h 54"/>
              <a:gd name="T50" fmla="*/ 16 w 26"/>
              <a:gd name="T51" fmla="*/ 44 h 54"/>
              <a:gd name="T52" fmla="*/ 16 w 26"/>
              <a:gd name="T53" fmla="*/ 44 h 54"/>
              <a:gd name="T54" fmla="*/ 16 w 26"/>
              <a:gd name="T55" fmla="*/ 40 h 54"/>
              <a:gd name="T56" fmla="*/ 18 w 26"/>
              <a:gd name="T57" fmla="*/ 36 h 54"/>
              <a:gd name="T58" fmla="*/ 18 w 26"/>
              <a:gd name="T59" fmla="*/ 36 h 54"/>
              <a:gd name="T60" fmla="*/ 18 w 26"/>
              <a:gd name="T61" fmla="*/ 24 h 54"/>
              <a:gd name="T62" fmla="*/ 18 w 26"/>
              <a:gd name="T63" fmla="*/ 24 h 54"/>
              <a:gd name="T64" fmla="*/ 26 w 26"/>
              <a:gd name="T65" fmla="*/ 4 h 54"/>
              <a:gd name="T66" fmla="*/ 26 w 26"/>
              <a:gd name="T67" fmla="*/ 4 h 54"/>
              <a:gd name="T68" fmla="*/ 24 w 26"/>
              <a:gd name="T69" fmla="*/ 2 h 54"/>
              <a:gd name="T70" fmla="*/ 22 w 26"/>
              <a:gd name="T71" fmla="*/ 0 h 54"/>
              <a:gd name="T72" fmla="*/ 18 w 26"/>
              <a:gd name="T73" fmla="*/ 0 h 54"/>
              <a:gd name="T74" fmla="*/ 18 w 26"/>
              <a:gd name="T7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54">
                <a:moveTo>
                  <a:pt x="18" y="0"/>
                </a:moveTo>
                <a:lnTo>
                  <a:pt x="18" y="0"/>
                </a:lnTo>
                <a:lnTo>
                  <a:pt x="14" y="4"/>
                </a:lnTo>
                <a:lnTo>
                  <a:pt x="14" y="4"/>
                </a:lnTo>
                <a:lnTo>
                  <a:pt x="12" y="10"/>
                </a:lnTo>
                <a:lnTo>
                  <a:pt x="12" y="10"/>
                </a:lnTo>
                <a:lnTo>
                  <a:pt x="8" y="14"/>
                </a:lnTo>
                <a:lnTo>
                  <a:pt x="6" y="18"/>
                </a:lnTo>
                <a:lnTo>
                  <a:pt x="6" y="18"/>
                </a:lnTo>
                <a:lnTo>
                  <a:pt x="6" y="22"/>
                </a:lnTo>
                <a:lnTo>
                  <a:pt x="6" y="24"/>
                </a:lnTo>
                <a:lnTo>
                  <a:pt x="6" y="24"/>
                </a:lnTo>
                <a:lnTo>
                  <a:pt x="2" y="28"/>
                </a:lnTo>
                <a:lnTo>
                  <a:pt x="2" y="28"/>
                </a:lnTo>
                <a:lnTo>
                  <a:pt x="0" y="34"/>
                </a:lnTo>
                <a:lnTo>
                  <a:pt x="0" y="42"/>
                </a:lnTo>
                <a:lnTo>
                  <a:pt x="0" y="42"/>
                </a:lnTo>
                <a:lnTo>
                  <a:pt x="2" y="46"/>
                </a:lnTo>
                <a:lnTo>
                  <a:pt x="4" y="50"/>
                </a:lnTo>
                <a:lnTo>
                  <a:pt x="4" y="50"/>
                </a:lnTo>
                <a:lnTo>
                  <a:pt x="8" y="54"/>
                </a:lnTo>
                <a:lnTo>
                  <a:pt x="8" y="54"/>
                </a:lnTo>
                <a:lnTo>
                  <a:pt x="10" y="48"/>
                </a:lnTo>
                <a:lnTo>
                  <a:pt x="10" y="48"/>
                </a:lnTo>
                <a:lnTo>
                  <a:pt x="14" y="46"/>
                </a:lnTo>
                <a:lnTo>
                  <a:pt x="16" y="44"/>
                </a:lnTo>
                <a:lnTo>
                  <a:pt x="16" y="44"/>
                </a:lnTo>
                <a:lnTo>
                  <a:pt x="16" y="40"/>
                </a:lnTo>
                <a:lnTo>
                  <a:pt x="18" y="36"/>
                </a:lnTo>
                <a:lnTo>
                  <a:pt x="18" y="36"/>
                </a:lnTo>
                <a:lnTo>
                  <a:pt x="18" y="24"/>
                </a:lnTo>
                <a:lnTo>
                  <a:pt x="18" y="24"/>
                </a:lnTo>
                <a:lnTo>
                  <a:pt x="26" y="4"/>
                </a:lnTo>
                <a:lnTo>
                  <a:pt x="26" y="4"/>
                </a:lnTo>
                <a:lnTo>
                  <a:pt x="24" y="2"/>
                </a:lnTo>
                <a:lnTo>
                  <a:pt x="22" y="0"/>
                </a:lnTo>
                <a:lnTo>
                  <a:pt x="18" y="0"/>
                </a:lnTo>
                <a:lnTo>
                  <a:pt x="18"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0" name="Freeform 34">
            <a:extLst>
              <a:ext uri="{FF2B5EF4-FFF2-40B4-BE49-F238E27FC236}">
                <a16:creationId xmlns:a16="http://schemas.microsoft.com/office/drawing/2014/main" id="{05639C3E-CA0F-450B-B506-C18EB381DA55}"/>
              </a:ext>
            </a:extLst>
          </p:cNvPr>
          <p:cNvSpPr>
            <a:spLocks/>
          </p:cNvSpPr>
          <p:nvPr userDrawn="1"/>
        </p:nvSpPr>
        <p:spPr bwMode="auto">
          <a:xfrm>
            <a:off x="6659116" y="2585848"/>
            <a:ext cx="147579" cy="161303"/>
          </a:xfrm>
          <a:custGeom>
            <a:avLst/>
            <a:gdLst>
              <a:gd name="T0" fmla="*/ 2 w 88"/>
              <a:gd name="T1" fmla="*/ 32 h 94"/>
              <a:gd name="T2" fmla="*/ 0 w 88"/>
              <a:gd name="T3" fmla="*/ 36 h 94"/>
              <a:gd name="T4" fmla="*/ 0 w 88"/>
              <a:gd name="T5" fmla="*/ 40 h 94"/>
              <a:gd name="T6" fmla="*/ 4 w 88"/>
              <a:gd name="T7" fmla="*/ 40 h 94"/>
              <a:gd name="T8" fmla="*/ 4 w 88"/>
              <a:gd name="T9" fmla="*/ 48 h 94"/>
              <a:gd name="T10" fmla="*/ 2 w 88"/>
              <a:gd name="T11" fmla="*/ 48 h 94"/>
              <a:gd name="T12" fmla="*/ 2 w 88"/>
              <a:gd name="T13" fmla="*/ 48 h 94"/>
              <a:gd name="T14" fmla="*/ 2 w 88"/>
              <a:gd name="T15" fmla="*/ 50 h 94"/>
              <a:gd name="T16" fmla="*/ 4 w 88"/>
              <a:gd name="T17" fmla="*/ 52 h 94"/>
              <a:gd name="T18" fmla="*/ 6 w 88"/>
              <a:gd name="T19" fmla="*/ 56 h 94"/>
              <a:gd name="T20" fmla="*/ 8 w 88"/>
              <a:gd name="T21" fmla="*/ 52 h 94"/>
              <a:gd name="T22" fmla="*/ 12 w 88"/>
              <a:gd name="T23" fmla="*/ 52 h 94"/>
              <a:gd name="T24" fmla="*/ 16 w 88"/>
              <a:gd name="T25" fmla="*/ 54 h 94"/>
              <a:gd name="T26" fmla="*/ 18 w 88"/>
              <a:gd name="T27" fmla="*/ 56 h 94"/>
              <a:gd name="T28" fmla="*/ 16 w 88"/>
              <a:gd name="T29" fmla="*/ 64 h 94"/>
              <a:gd name="T30" fmla="*/ 12 w 88"/>
              <a:gd name="T31" fmla="*/ 70 h 94"/>
              <a:gd name="T32" fmla="*/ 10 w 88"/>
              <a:gd name="T33" fmla="*/ 78 h 94"/>
              <a:gd name="T34" fmla="*/ 8 w 88"/>
              <a:gd name="T35" fmla="*/ 80 h 94"/>
              <a:gd name="T36" fmla="*/ 6 w 88"/>
              <a:gd name="T37" fmla="*/ 82 h 94"/>
              <a:gd name="T38" fmla="*/ 4 w 88"/>
              <a:gd name="T39" fmla="*/ 94 h 94"/>
              <a:gd name="T40" fmla="*/ 6 w 88"/>
              <a:gd name="T41" fmla="*/ 92 h 94"/>
              <a:gd name="T42" fmla="*/ 12 w 88"/>
              <a:gd name="T43" fmla="*/ 90 h 94"/>
              <a:gd name="T44" fmla="*/ 18 w 88"/>
              <a:gd name="T45" fmla="*/ 92 h 94"/>
              <a:gd name="T46" fmla="*/ 42 w 88"/>
              <a:gd name="T47" fmla="*/ 78 h 94"/>
              <a:gd name="T48" fmla="*/ 70 w 88"/>
              <a:gd name="T49" fmla="*/ 56 h 94"/>
              <a:gd name="T50" fmla="*/ 74 w 88"/>
              <a:gd name="T51" fmla="*/ 52 h 94"/>
              <a:gd name="T52" fmla="*/ 76 w 88"/>
              <a:gd name="T53" fmla="*/ 44 h 94"/>
              <a:gd name="T54" fmla="*/ 76 w 88"/>
              <a:gd name="T55" fmla="*/ 38 h 94"/>
              <a:gd name="T56" fmla="*/ 76 w 88"/>
              <a:gd name="T57" fmla="*/ 34 h 94"/>
              <a:gd name="T58" fmla="*/ 80 w 88"/>
              <a:gd name="T59" fmla="*/ 30 h 94"/>
              <a:gd name="T60" fmla="*/ 78 w 88"/>
              <a:gd name="T61" fmla="*/ 26 h 94"/>
              <a:gd name="T62" fmla="*/ 78 w 88"/>
              <a:gd name="T63" fmla="*/ 22 h 94"/>
              <a:gd name="T64" fmla="*/ 80 w 88"/>
              <a:gd name="T65" fmla="*/ 18 h 94"/>
              <a:gd name="T66" fmla="*/ 84 w 88"/>
              <a:gd name="T67" fmla="*/ 14 h 94"/>
              <a:gd name="T68" fmla="*/ 88 w 88"/>
              <a:gd name="T69" fmla="*/ 8 h 94"/>
              <a:gd name="T70" fmla="*/ 88 w 88"/>
              <a:gd name="T71" fmla="*/ 6 h 94"/>
              <a:gd name="T72" fmla="*/ 84 w 88"/>
              <a:gd name="T73" fmla="*/ 4 h 94"/>
              <a:gd name="T74" fmla="*/ 84 w 88"/>
              <a:gd name="T75" fmla="*/ 0 h 94"/>
              <a:gd name="T76" fmla="*/ 72 w 88"/>
              <a:gd name="T77" fmla="*/ 6 h 94"/>
              <a:gd name="T78" fmla="*/ 68 w 88"/>
              <a:gd name="T79" fmla="*/ 8 h 94"/>
              <a:gd name="T80" fmla="*/ 58 w 88"/>
              <a:gd name="T81" fmla="*/ 8 h 94"/>
              <a:gd name="T82" fmla="*/ 54 w 88"/>
              <a:gd name="T83" fmla="*/ 8 h 94"/>
              <a:gd name="T84" fmla="*/ 44 w 88"/>
              <a:gd name="T85" fmla="*/ 12 h 94"/>
              <a:gd name="T86" fmla="*/ 36 w 88"/>
              <a:gd name="T87" fmla="*/ 14 h 94"/>
              <a:gd name="T88" fmla="*/ 32 w 88"/>
              <a:gd name="T89" fmla="*/ 14 h 94"/>
              <a:gd name="T90" fmla="*/ 28 w 88"/>
              <a:gd name="T91" fmla="*/ 14 h 94"/>
              <a:gd name="T92" fmla="*/ 22 w 88"/>
              <a:gd name="T93" fmla="*/ 18 h 94"/>
              <a:gd name="T94" fmla="*/ 20 w 88"/>
              <a:gd name="T95" fmla="*/ 18 h 94"/>
              <a:gd name="T96" fmla="*/ 16 w 88"/>
              <a:gd name="T97" fmla="*/ 16 h 94"/>
              <a:gd name="T98" fmla="*/ 14 w 88"/>
              <a:gd name="T99" fmla="*/ 16 h 94"/>
              <a:gd name="T100" fmla="*/ 14 w 88"/>
              <a:gd name="T101" fmla="*/ 20 h 94"/>
              <a:gd name="T102" fmla="*/ 14 w 88"/>
              <a:gd name="T103" fmla="*/ 24 h 94"/>
              <a:gd name="T104" fmla="*/ 12 w 88"/>
              <a:gd name="T105" fmla="*/ 26 h 94"/>
              <a:gd name="T106" fmla="*/ 10 w 88"/>
              <a:gd name="T107" fmla="*/ 28 h 94"/>
              <a:gd name="T108" fmla="*/ 8 w 88"/>
              <a:gd name="T109" fmla="*/ 32 h 94"/>
              <a:gd name="T110" fmla="*/ 6 w 88"/>
              <a:gd name="T111" fmla="*/ 32 h 94"/>
              <a:gd name="T112" fmla="*/ 2 w 88"/>
              <a:gd name="T113"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 h="94">
                <a:moveTo>
                  <a:pt x="2" y="32"/>
                </a:moveTo>
                <a:lnTo>
                  <a:pt x="2" y="32"/>
                </a:lnTo>
                <a:lnTo>
                  <a:pt x="0" y="36"/>
                </a:lnTo>
                <a:lnTo>
                  <a:pt x="0" y="36"/>
                </a:lnTo>
                <a:lnTo>
                  <a:pt x="0" y="40"/>
                </a:lnTo>
                <a:lnTo>
                  <a:pt x="0" y="40"/>
                </a:lnTo>
                <a:lnTo>
                  <a:pt x="4" y="40"/>
                </a:lnTo>
                <a:lnTo>
                  <a:pt x="4" y="40"/>
                </a:lnTo>
                <a:lnTo>
                  <a:pt x="4" y="48"/>
                </a:lnTo>
                <a:lnTo>
                  <a:pt x="4" y="48"/>
                </a:lnTo>
                <a:lnTo>
                  <a:pt x="2" y="48"/>
                </a:lnTo>
                <a:lnTo>
                  <a:pt x="2" y="48"/>
                </a:lnTo>
                <a:lnTo>
                  <a:pt x="2" y="48"/>
                </a:lnTo>
                <a:lnTo>
                  <a:pt x="2" y="48"/>
                </a:lnTo>
                <a:lnTo>
                  <a:pt x="2" y="48"/>
                </a:lnTo>
                <a:lnTo>
                  <a:pt x="2" y="50"/>
                </a:lnTo>
                <a:lnTo>
                  <a:pt x="2" y="50"/>
                </a:lnTo>
                <a:lnTo>
                  <a:pt x="4" y="52"/>
                </a:lnTo>
                <a:lnTo>
                  <a:pt x="4" y="52"/>
                </a:lnTo>
                <a:lnTo>
                  <a:pt x="6" y="56"/>
                </a:lnTo>
                <a:lnTo>
                  <a:pt x="6" y="56"/>
                </a:lnTo>
                <a:lnTo>
                  <a:pt x="8" y="52"/>
                </a:lnTo>
                <a:lnTo>
                  <a:pt x="10" y="52"/>
                </a:lnTo>
                <a:lnTo>
                  <a:pt x="12" y="52"/>
                </a:lnTo>
                <a:lnTo>
                  <a:pt x="12" y="52"/>
                </a:lnTo>
                <a:lnTo>
                  <a:pt x="16" y="54"/>
                </a:lnTo>
                <a:lnTo>
                  <a:pt x="18" y="54"/>
                </a:lnTo>
                <a:lnTo>
                  <a:pt x="18" y="56"/>
                </a:lnTo>
                <a:lnTo>
                  <a:pt x="18" y="56"/>
                </a:lnTo>
                <a:lnTo>
                  <a:pt x="16" y="64"/>
                </a:lnTo>
                <a:lnTo>
                  <a:pt x="12" y="70"/>
                </a:lnTo>
                <a:lnTo>
                  <a:pt x="12" y="70"/>
                </a:lnTo>
                <a:lnTo>
                  <a:pt x="10" y="74"/>
                </a:lnTo>
                <a:lnTo>
                  <a:pt x="10" y="78"/>
                </a:lnTo>
                <a:lnTo>
                  <a:pt x="10" y="78"/>
                </a:lnTo>
                <a:lnTo>
                  <a:pt x="8" y="80"/>
                </a:lnTo>
                <a:lnTo>
                  <a:pt x="6" y="82"/>
                </a:lnTo>
                <a:lnTo>
                  <a:pt x="6" y="82"/>
                </a:lnTo>
                <a:lnTo>
                  <a:pt x="2" y="88"/>
                </a:lnTo>
                <a:lnTo>
                  <a:pt x="4" y="94"/>
                </a:lnTo>
                <a:lnTo>
                  <a:pt x="4" y="94"/>
                </a:lnTo>
                <a:lnTo>
                  <a:pt x="6" y="92"/>
                </a:lnTo>
                <a:lnTo>
                  <a:pt x="10" y="90"/>
                </a:lnTo>
                <a:lnTo>
                  <a:pt x="12" y="90"/>
                </a:lnTo>
                <a:lnTo>
                  <a:pt x="12" y="90"/>
                </a:lnTo>
                <a:lnTo>
                  <a:pt x="18" y="92"/>
                </a:lnTo>
                <a:lnTo>
                  <a:pt x="22" y="94"/>
                </a:lnTo>
                <a:lnTo>
                  <a:pt x="42" y="78"/>
                </a:lnTo>
                <a:lnTo>
                  <a:pt x="70" y="56"/>
                </a:lnTo>
                <a:lnTo>
                  <a:pt x="70" y="56"/>
                </a:lnTo>
                <a:lnTo>
                  <a:pt x="74" y="52"/>
                </a:lnTo>
                <a:lnTo>
                  <a:pt x="74" y="52"/>
                </a:lnTo>
                <a:lnTo>
                  <a:pt x="76" y="44"/>
                </a:lnTo>
                <a:lnTo>
                  <a:pt x="76" y="44"/>
                </a:lnTo>
                <a:lnTo>
                  <a:pt x="78" y="42"/>
                </a:lnTo>
                <a:lnTo>
                  <a:pt x="76" y="38"/>
                </a:lnTo>
                <a:lnTo>
                  <a:pt x="76" y="38"/>
                </a:lnTo>
                <a:lnTo>
                  <a:pt x="76" y="34"/>
                </a:lnTo>
                <a:lnTo>
                  <a:pt x="76" y="32"/>
                </a:lnTo>
                <a:lnTo>
                  <a:pt x="80" y="30"/>
                </a:lnTo>
                <a:lnTo>
                  <a:pt x="80" y="30"/>
                </a:lnTo>
                <a:lnTo>
                  <a:pt x="78" y="26"/>
                </a:lnTo>
                <a:lnTo>
                  <a:pt x="78" y="22"/>
                </a:lnTo>
                <a:lnTo>
                  <a:pt x="78" y="22"/>
                </a:lnTo>
                <a:lnTo>
                  <a:pt x="78" y="20"/>
                </a:lnTo>
                <a:lnTo>
                  <a:pt x="80" y="18"/>
                </a:lnTo>
                <a:lnTo>
                  <a:pt x="84" y="14"/>
                </a:lnTo>
                <a:lnTo>
                  <a:pt x="84" y="14"/>
                </a:lnTo>
                <a:lnTo>
                  <a:pt x="86" y="12"/>
                </a:lnTo>
                <a:lnTo>
                  <a:pt x="88" y="8"/>
                </a:lnTo>
                <a:lnTo>
                  <a:pt x="88" y="6"/>
                </a:lnTo>
                <a:lnTo>
                  <a:pt x="88" y="6"/>
                </a:lnTo>
                <a:lnTo>
                  <a:pt x="84" y="4"/>
                </a:lnTo>
                <a:lnTo>
                  <a:pt x="84" y="4"/>
                </a:lnTo>
                <a:lnTo>
                  <a:pt x="84" y="0"/>
                </a:lnTo>
                <a:lnTo>
                  <a:pt x="84" y="0"/>
                </a:lnTo>
                <a:lnTo>
                  <a:pt x="78" y="2"/>
                </a:lnTo>
                <a:lnTo>
                  <a:pt x="72" y="6"/>
                </a:lnTo>
                <a:lnTo>
                  <a:pt x="72" y="6"/>
                </a:lnTo>
                <a:lnTo>
                  <a:pt x="68" y="8"/>
                </a:lnTo>
                <a:lnTo>
                  <a:pt x="62" y="8"/>
                </a:lnTo>
                <a:lnTo>
                  <a:pt x="58" y="8"/>
                </a:lnTo>
                <a:lnTo>
                  <a:pt x="54" y="8"/>
                </a:lnTo>
                <a:lnTo>
                  <a:pt x="54" y="8"/>
                </a:lnTo>
                <a:lnTo>
                  <a:pt x="48" y="12"/>
                </a:lnTo>
                <a:lnTo>
                  <a:pt x="44" y="12"/>
                </a:lnTo>
                <a:lnTo>
                  <a:pt x="36" y="14"/>
                </a:lnTo>
                <a:lnTo>
                  <a:pt x="36" y="14"/>
                </a:lnTo>
                <a:lnTo>
                  <a:pt x="34" y="14"/>
                </a:lnTo>
                <a:lnTo>
                  <a:pt x="32" y="14"/>
                </a:lnTo>
                <a:lnTo>
                  <a:pt x="28" y="14"/>
                </a:lnTo>
                <a:lnTo>
                  <a:pt x="28" y="14"/>
                </a:lnTo>
                <a:lnTo>
                  <a:pt x="24" y="14"/>
                </a:lnTo>
                <a:lnTo>
                  <a:pt x="22" y="18"/>
                </a:lnTo>
                <a:lnTo>
                  <a:pt x="22" y="18"/>
                </a:lnTo>
                <a:lnTo>
                  <a:pt x="20" y="18"/>
                </a:lnTo>
                <a:lnTo>
                  <a:pt x="18" y="16"/>
                </a:lnTo>
                <a:lnTo>
                  <a:pt x="16" y="16"/>
                </a:lnTo>
                <a:lnTo>
                  <a:pt x="14" y="16"/>
                </a:lnTo>
                <a:lnTo>
                  <a:pt x="14" y="16"/>
                </a:lnTo>
                <a:lnTo>
                  <a:pt x="14" y="18"/>
                </a:lnTo>
                <a:lnTo>
                  <a:pt x="14" y="20"/>
                </a:lnTo>
                <a:lnTo>
                  <a:pt x="14" y="24"/>
                </a:lnTo>
                <a:lnTo>
                  <a:pt x="14" y="24"/>
                </a:lnTo>
                <a:lnTo>
                  <a:pt x="14" y="26"/>
                </a:lnTo>
                <a:lnTo>
                  <a:pt x="12" y="26"/>
                </a:lnTo>
                <a:lnTo>
                  <a:pt x="12" y="26"/>
                </a:lnTo>
                <a:lnTo>
                  <a:pt x="10" y="28"/>
                </a:lnTo>
                <a:lnTo>
                  <a:pt x="8" y="30"/>
                </a:lnTo>
                <a:lnTo>
                  <a:pt x="8" y="32"/>
                </a:lnTo>
                <a:lnTo>
                  <a:pt x="6" y="32"/>
                </a:lnTo>
                <a:lnTo>
                  <a:pt x="6" y="32"/>
                </a:lnTo>
                <a:lnTo>
                  <a:pt x="2" y="32"/>
                </a:lnTo>
                <a:lnTo>
                  <a:pt x="2"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1" name="Freeform 35">
            <a:extLst>
              <a:ext uri="{FF2B5EF4-FFF2-40B4-BE49-F238E27FC236}">
                <a16:creationId xmlns:a16="http://schemas.microsoft.com/office/drawing/2014/main" id="{F48D3A74-F57E-4E0F-8EAE-E9EF346EC3F4}"/>
              </a:ext>
            </a:extLst>
          </p:cNvPr>
          <p:cNvSpPr>
            <a:spLocks/>
          </p:cNvSpPr>
          <p:nvPr userDrawn="1"/>
        </p:nvSpPr>
        <p:spPr bwMode="auto">
          <a:xfrm>
            <a:off x="5986624" y="2246082"/>
            <a:ext cx="103976" cy="75504"/>
          </a:xfrm>
          <a:custGeom>
            <a:avLst/>
            <a:gdLst>
              <a:gd name="T0" fmla="*/ 60 w 62"/>
              <a:gd name="T1" fmla="*/ 20 h 44"/>
              <a:gd name="T2" fmla="*/ 62 w 62"/>
              <a:gd name="T3" fmla="*/ 18 h 44"/>
              <a:gd name="T4" fmla="*/ 60 w 62"/>
              <a:gd name="T5" fmla="*/ 18 h 44"/>
              <a:gd name="T6" fmla="*/ 60 w 62"/>
              <a:gd name="T7" fmla="*/ 18 h 44"/>
              <a:gd name="T8" fmla="*/ 56 w 62"/>
              <a:gd name="T9" fmla="*/ 12 h 44"/>
              <a:gd name="T10" fmla="*/ 46 w 62"/>
              <a:gd name="T11" fmla="*/ 2 h 44"/>
              <a:gd name="T12" fmla="*/ 42 w 62"/>
              <a:gd name="T13" fmla="*/ 0 h 44"/>
              <a:gd name="T14" fmla="*/ 40 w 62"/>
              <a:gd name="T15" fmla="*/ 0 h 44"/>
              <a:gd name="T16" fmla="*/ 36 w 62"/>
              <a:gd name="T17" fmla="*/ 2 h 44"/>
              <a:gd name="T18" fmla="*/ 30 w 62"/>
              <a:gd name="T19" fmla="*/ 6 h 44"/>
              <a:gd name="T20" fmla="*/ 28 w 62"/>
              <a:gd name="T21" fmla="*/ 6 h 44"/>
              <a:gd name="T22" fmla="*/ 24 w 62"/>
              <a:gd name="T23" fmla="*/ 6 h 44"/>
              <a:gd name="T24" fmla="*/ 24 w 62"/>
              <a:gd name="T25" fmla="*/ 6 h 44"/>
              <a:gd name="T26" fmla="*/ 22 w 62"/>
              <a:gd name="T27" fmla="*/ 10 h 44"/>
              <a:gd name="T28" fmla="*/ 22 w 62"/>
              <a:gd name="T29" fmla="*/ 10 h 44"/>
              <a:gd name="T30" fmla="*/ 18 w 62"/>
              <a:gd name="T31" fmla="*/ 12 h 44"/>
              <a:gd name="T32" fmla="*/ 14 w 62"/>
              <a:gd name="T33" fmla="*/ 16 h 44"/>
              <a:gd name="T34" fmla="*/ 10 w 62"/>
              <a:gd name="T35" fmla="*/ 22 h 44"/>
              <a:gd name="T36" fmla="*/ 2 w 62"/>
              <a:gd name="T37" fmla="*/ 32 h 44"/>
              <a:gd name="T38" fmla="*/ 0 w 62"/>
              <a:gd name="T39" fmla="*/ 38 h 44"/>
              <a:gd name="T40" fmla="*/ 4 w 62"/>
              <a:gd name="T41" fmla="*/ 38 h 44"/>
              <a:gd name="T42" fmla="*/ 8 w 62"/>
              <a:gd name="T43" fmla="*/ 36 h 44"/>
              <a:gd name="T44" fmla="*/ 10 w 62"/>
              <a:gd name="T45" fmla="*/ 38 h 44"/>
              <a:gd name="T46" fmla="*/ 12 w 62"/>
              <a:gd name="T47" fmla="*/ 40 h 44"/>
              <a:gd name="T48" fmla="*/ 16 w 62"/>
              <a:gd name="T49" fmla="*/ 42 h 44"/>
              <a:gd name="T50" fmla="*/ 18 w 62"/>
              <a:gd name="T51" fmla="*/ 44 h 44"/>
              <a:gd name="T52" fmla="*/ 22 w 62"/>
              <a:gd name="T53" fmla="*/ 44 h 44"/>
              <a:gd name="T54" fmla="*/ 24 w 62"/>
              <a:gd name="T55" fmla="*/ 42 h 44"/>
              <a:gd name="T56" fmla="*/ 28 w 62"/>
              <a:gd name="T57" fmla="*/ 40 h 44"/>
              <a:gd name="T58" fmla="*/ 30 w 62"/>
              <a:gd name="T59" fmla="*/ 38 h 44"/>
              <a:gd name="T60" fmla="*/ 30 w 62"/>
              <a:gd name="T61" fmla="*/ 32 h 44"/>
              <a:gd name="T62" fmla="*/ 32 w 62"/>
              <a:gd name="T63" fmla="*/ 34 h 44"/>
              <a:gd name="T64" fmla="*/ 38 w 62"/>
              <a:gd name="T65" fmla="*/ 38 h 44"/>
              <a:gd name="T66" fmla="*/ 42 w 62"/>
              <a:gd name="T67" fmla="*/ 40 h 44"/>
              <a:gd name="T68" fmla="*/ 44 w 62"/>
              <a:gd name="T69" fmla="*/ 40 h 44"/>
              <a:gd name="T70" fmla="*/ 44 w 62"/>
              <a:gd name="T71" fmla="*/ 36 h 44"/>
              <a:gd name="T72" fmla="*/ 46 w 62"/>
              <a:gd name="T73" fmla="*/ 34 h 44"/>
              <a:gd name="T74" fmla="*/ 50 w 62"/>
              <a:gd name="T75" fmla="*/ 32 h 44"/>
              <a:gd name="T76" fmla="*/ 50 w 62"/>
              <a:gd name="T77" fmla="*/ 30 h 44"/>
              <a:gd name="T78" fmla="*/ 54 w 62"/>
              <a:gd name="T79" fmla="*/ 26 h 44"/>
              <a:gd name="T80" fmla="*/ 56 w 62"/>
              <a:gd name="T81" fmla="*/ 28 h 44"/>
              <a:gd name="T82" fmla="*/ 60 w 62"/>
              <a:gd name="T83" fmla="*/ 26 h 44"/>
              <a:gd name="T84" fmla="*/ 62 w 62"/>
              <a:gd name="T85" fmla="*/ 26 h 44"/>
              <a:gd name="T86" fmla="*/ 58 w 62"/>
              <a:gd name="T87" fmla="*/ 24 h 44"/>
              <a:gd name="T88" fmla="*/ 60 w 62"/>
              <a:gd name="T8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44">
                <a:moveTo>
                  <a:pt x="60" y="20"/>
                </a:moveTo>
                <a:lnTo>
                  <a:pt x="60" y="20"/>
                </a:lnTo>
                <a:lnTo>
                  <a:pt x="62" y="18"/>
                </a:lnTo>
                <a:lnTo>
                  <a:pt x="62" y="18"/>
                </a:lnTo>
                <a:lnTo>
                  <a:pt x="60" y="18"/>
                </a:lnTo>
                <a:lnTo>
                  <a:pt x="60" y="18"/>
                </a:lnTo>
                <a:lnTo>
                  <a:pt x="60" y="18"/>
                </a:lnTo>
                <a:lnTo>
                  <a:pt x="60" y="18"/>
                </a:lnTo>
                <a:lnTo>
                  <a:pt x="56" y="16"/>
                </a:lnTo>
                <a:lnTo>
                  <a:pt x="56" y="12"/>
                </a:lnTo>
                <a:lnTo>
                  <a:pt x="58" y="10"/>
                </a:lnTo>
                <a:lnTo>
                  <a:pt x="46" y="2"/>
                </a:lnTo>
                <a:lnTo>
                  <a:pt x="46" y="2"/>
                </a:lnTo>
                <a:lnTo>
                  <a:pt x="42" y="0"/>
                </a:lnTo>
                <a:lnTo>
                  <a:pt x="42" y="0"/>
                </a:lnTo>
                <a:lnTo>
                  <a:pt x="40" y="0"/>
                </a:lnTo>
                <a:lnTo>
                  <a:pt x="38" y="0"/>
                </a:lnTo>
                <a:lnTo>
                  <a:pt x="36" y="2"/>
                </a:lnTo>
                <a:lnTo>
                  <a:pt x="36" y="2"/>
                </a:lnTo>
                <a:lnTo>
                  <a:pt x="30" y="6"/>
                </a:lnTo>
                <a:lnTo>
                  <a:pt x="30" y="6"/>
                </a:lnTo>
                <a:lnTo>
                  <a:pt x="28" y="6"/>
                </a:lnTo>
                <a:lnTo>
                  <a:pt x="26" y="6"/>
                </a:lnTo>
                <a:lnTo>
                  <a:pt x="24" y="6"/>
                </a:lnTo>
                <a:lnTo>
                  <a:pt x="24" y="6"/>
                </a:lnTo>
                <a:lnTo>
                  <a:pt x="24" y="6"/>
                </a:lnTo>
                <a:lnTo>
                  <a:pt x="22" y="6"/>
                </a:lnTo>
                <a:lnTo>
                  <a:pt x="22" y="10"/>
                </a:lnTo>
                <a:lnTo>
                  <a:pt x="22" y="10"/>
                </a:lnTo>
                <a:lnTo>
                  <a:pt x="22" y="10"/>
                </a:lnTo>
                <a:lnTo>
                  <a:pt x="18" y="12"/>
                </a:lnTo>
                <a:lnTo>
                  <a:pt x="18" y="12"/>
                </a:lnTo>
                <a:lnTo>
                  <a:pt x="16" y="14"/>
                </a:lnTo>
                <a:lnTo>
                  <a:pt x="14" y="16"/>
                </a:lnTo>
                <a:lnTo>
                  <a:pt x="10" y="22"/>
                </a:lnTo>
                <a:lnTo>
                  <a:pt x="10" y="22"/>
                </a:lnTo>
                <a:lnTo>
                  <a:pt x="2" y="32"/>
                </a:lnTo>
                <a:lnTo>
                  <a:pt x="2" y="32"/>
                </a:lnTo>
                <a:lnTo>
                  <a:pt x="0" y="36"/>
                </a:lnTo>
                <a:lnTo>
                  <a:pt x="0" y="38"/>
                </a:lnTo>
                <a:lnTo>
                  <a:pt x="4" y="38"/>
                </a:lnTo>
                <a:lnTo>
                  <a:pt x="4" y="38"/>
                </a:lnTo>
                <a:lnTo>
                  <a:pt x="6" y="36"/>
                </a:lnTo>
                <a:lnTo>
                  <a:pt x="8" y="36"/>
                </a:lnTo>
                <a:lnTo>
                  <a:pt x="10" y="38"/>
                </a:lnTo>
                <a:lnTo>
                  <a:pt x="10" y="38"/>
                </a:lnTo>
                <a:lnTo>
                  <a:pt x="10" y="40"/>
                </a:lnTo>
                <a:lnTo>
                  <a:pt x="12" y="40"/>
                </a:lnTo>
                <a:lnTo>
                  <a:pt x="16" y="40"/>
                </a:lnTo>
                <a:lnTo>
                  <a:pt x="16" y="42"/>
                </a:lnTo>
                <a:lnTo>
                  <a:pt x="16" y="42"/>
                </a:lnTo>
                <a:lnTo>
                  <a:pt x="18" y="44"/>
                </a:lnTo>
                <a:lnTo>
                  <a:pt x="20" y="44"/>
                </a:lnTo>
                <a:lnTo>
                  <a:pt x="22" y="44"/>
                </a:lnTo>
                <a:lnTo>
                  <a:pt x="22" y="44"/>
                </a:lnTo>
                <a:lnTo>
                  <a:pt x="24" y="42"/>
                </a:lnTo>
                <a:lnTo>
                  <a:pt x="26" y="40"/>
                </a:lnTo>
                <a:lnTo>
                  <a:pt x="28" y="40"/>
                </a:lnTo>
                <a:lnTo>
                  <a:pt x="30" y="38"/>
                </a:lnTo>
                <a:lnTo>
                  <a:pt x="30" y="38"/>
                </a:lnTo>
                <a:lnTo>
                  <a:pt x="30" y="34"/>
                </a:lnTo>
                <a:lnTo>
                  <a:pt x="30" y="32"/>
                </a:lnTo>
                <a:lnTo>
                  <a:pt x="32" y="34"/>
                </a:lnTo>
                <a:lnTo>
                  <a:pt x="32" y="34"/>
                </a:lnTo>
                <a:lnTo>
                  <a:pt x="34" y="38"/>
                </a:lnTo>
                <a:lnTo>
                  <a:pt x="38" y="38"/>
                </a:lnTo>
                <a:lnTo>
                  <a:pt x="38" y="38"/>
                </a:lnTo>
                <a:lnTo>
                  <a:pt x="42" y="40"/>
                </a:lnTo>
                <a:lnTo>
                  <a:pt x="44" y="40"/>
                </a:lnTo>
                <a:lnTo>
                  <a:pt x="44" y="40"/>
                </a:lnTo>
                <a:lnTo>
                  <a:pt x="46" y="40"/>
                </a:lnTo>
                <a:lnTo>
                  <a:pt x="44" y="36"/>
                </a:lnTo>
                <a:lnTo>
                  <a:pt x="44" y="36"/>
                </a:lnTo>
                <a:lnTo>
                  <a:pt x="46" y="34"/>
                </a:lnTo>
                <a:lnTo>
                  <a:pt x="48" y="32"/>
                </a:lnTo>
                <a:lnTo>
                  <a:pt x="50" y="32"/>
                </a:lnTo>
                <a:lnTo>
                  <a:pt x="50" y="30"/>
                </a:lnTo>
                <a:lnTo>
                  <a:pt x="50" y="30"/>
                </a:lnTo>
                <a:lnTo>
                  <a:pt x="52" y="28"/>
                </a:lnTo>
                <a:lnTo>
                  <a:pt x="54" y="26"/>
                </a:lnTo>
                <a:lnTo>
                  <a:pt x="56" y="28"/>
                </a:lnTo>
                <a:lnTo>
                  <a:pt x="56" y="28"/>
                </a:lnTo>
                <a:lnTo>
                  <a:pt x="58" y="28"/>
                </a:lnTo>
                <a:lnTo>
                  <a:pt x="60" y="26"/>
                </a:lnTo>
                <a:lnTo>
                  <a:pt x="60" y="26"/>
                </a:lnTo>
                <a:lnTo>
                  <a:pt x="62" y="26"/>
                </a:lnTo>
                <a:lnTo>
                  <a:pt x="60" y="24"/>
                </a:lnTo>
                <a:lnTo>
                  <a:pt x="58" y="24"/>
                </a:lnTo>
                <a:lnTo>
                  <a:pt x="60" y="22"/>
                </a:lnTo>
                <a:lnTo>
                  <a:pt x="6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2" name="Freeform 36">
            <a:extLst>
              <a:ext uri="{FF2B5EF4-FFF2-40B4-BE49-F238E27FC236}">
                <a16:creationId xmlns:a16="http://schemas.microsoft.com/office/drawing/2014/main" id="{F5A26430-5DE3-4B86-BB63-8ED75938289C}"/>
              </a:ext>
            </a:extLst>
          </p:cNvPr>
          <p:cNvSpPr>
            <a:spLocks/>
          </p:cNvSpPr>
          <p:nvPr userDrawn="1"/>
        </p:nvSpPr>
        <p:spPr bwMode="auto">
          <a:xfrm>
            <a:off x="6112402" y="1446432"/>
            <a:ext cx="281742" cy="531956"/>
          </a:xfrm>
          <a:custGeom>
            <a:avLst/>
            <a:gdLst>
              <a:gd name="T0" fmla="*/ 164 w 168"/>
              <a:gd name="T1" fmla="*/ 52 h 310"/>
              <a:gd name="T2" fmla="*/ 162 w 168"/>
              <a:gd name="T3" fmla="*/ 36 h 310"/>
              <a:gd name="T4" fmla="*/ 160 w 168"/>
              <a:gd name="T5" fmla="*/ 24 h 310"/>
              <a:gd name="T6" fmla="*/ 144 w 168"/>
              <a:gd name="T7" fmla="*/ 12 h 310"/>
              <a:gd name="T8" fmla="*/ 134 w 168"/>
              <a:gd name="T9" fmla="*/ 2 h 310"/>
              <a:gd name="T10" fmla="*/ 120 w 168"/>
              <a:gd name="T11" fmla="*/ 12 h 310"/>
              <a:gd name="T12" fmla="*/ 106 w 168"/>
              <a:gd name="T13" fmla="*/ 18 h 310"/>
              <a:gd name="T14" fmla="*/ 102 w 168"/>
              <a:gd name="T15" fmla="*/ 24 h 310"/>
              <a:gd name="T16" fmla="*/ 98 w 168"/>
              <a:gd name="T17" fmla="*/ 26 h 310"/>
              <a:gd name="T18" fmla="*/ 84 w 168"/>
              <a:gd name="T19" fmla="*/ 30 h 310"/>
              <a:gd name="T20" fmla="*/ 76 w 168"/>
              <a:gd name="T21" fmla="*/ 46 h 310"/>
              <a:gd name="T22" fmla="*/ 68 w 168"/>
              <a:gd name="T23" fmla="*/ 52 h 310"/>
              <a:gd name="T24" fmla="*/ 62 w 168"/>
              <a:gd name="T25" fmla="*/ 70 h 310"/>
              <a:gd name="T26" fmla="*/ 48 w 168"/>
              <a:gd name="T27" fmla="*/ 86 h 310"/>
              <a:gd name="T28" fmla="*/ 46 w 168"/>
              <a:gd name="T29" fmla="*/ 108 h 310"/>
              <a:gd name="T30" fmla="*/ 36 w 168"/>
              <a:gd name="T31" fmla="*/ 102 h 310"/>
              <a:gd name="T32" fmla="*/ 22 w 168"/>
              <a:gd name="T33" fmla="*/ 116 h 310"/>
              <a:gd name="T34" fmla="*/ 12 w 168"/>
              <a:gd name="T35" fmla="*/ 128 h 310"/>
              <a:gd name="T36" fmla="*/ 12 w 168"/>
              <a:gd name="T37" fmla="*/ 146 h 310"/>
              <a:gd name="T38" fmla="*/ 10 w 168"/>
              <a:gd name="T39" fmla="*/ 168 h 310"/>
              <a:gd name="T40" fmla="*/ 16 w 168"/>
              <a:gd name="T41" fmla="*/ 178 h 310"/>
              <a:gd name="T42" fmla="*/ 10 w 168"/>
              <a:gd name="T43" fmla="*/ 188 h 310"/>
              <a:gd name="T44" fmla="*/ 10 w 168"/>
              <a:gd name="T45" fmla="*/ 204 h 310"/>
              <a:gd name="T46" fmla="*/ 8 w 168"/>
              <a:gd name="T47" fmla="*/ 214 h 310"/>
              <a:gd name="T48" fmla="*/ 4 w 168"/>
              <a:gd name="T49" fmla="*/ 220 h 310"/>
              <a:gd name="T50" fmla="*/ 4 w 168"/>
              <a:gd name="T51" fmla="*/ 236 h 310"/>
              <a:gd name="T52" fmla="*/ 4 w 168"/>
              <a:gd name="T53" fmla="*/ 244 h 310"/>
              <a:gd name="T54" fmla="*/ 4 w 168"/>
              <a:gd name="T55" fmla="*/ 260 h 310"/>
              <a:gd name="T56" fmla="*/ 12 w 168"/>
              <a:gd name="T57" fmla="*/ 266 h 310"/>
              <a:gd name="T58" fmla="*/ 20 w 168"/>
              <a:gd name="T59" fmla="*/ 278 h 310"/>
              <a:gd name="T60" fmla="*/ 24 w 168"/>
              <a:gd name="T61" fmla="*/ 286 h 310"/>
              <a:gd name="T62" fmla="*/ 18 w 168"/>
              <a:gd name="T63" fmla="*/ 294 h 310"/>
              <a:gd name="T64" fmla="*/ 24 w 168"/>
              <a:gd name="T65" fmla="*/ 310 h 310"/>
              <a:gd name="T66" fmla="*/ 42 w 168"/>
              <a:gd name="T67" fmla="*/ 296 h 310"/>
              <a:gd name="T68" fmla="*/ 50 w 168"/>
              <a:gd name="T69" fmla="*/ 290 h 310"/>
              <a:gd name="T70" fmla="*/ 68 w 168"/>
              <a:gd name="T71" fmla="*/ 288 h 310"/>
              <a:gd name="T72" fmla="*/ 74 w 168"/>
              <a:gd name="T73" fmla="*/ 278 h 310"/>
              <a:gd name="T74" fmla="*/ 70 w 168"/>
              <a:gd name="T75" fmla="*/ 284 h 310"/>
              <a:gd name="T76" fmla="*/ 70 w 168"/>
              <a:gd name="T77" fmla="*/ 270 h 310"/>
              <a:gd name="T78" fmla="*/ 74 w 168"/>
              <a:gd name="T79" fmla="*/ 260 h 310"/>
              <a:gd name="T80" fmla="*/ 78 w 168"/>
              <a:gd name="T81" fmla="*/ 240 h 310"/>
              <a:gd name="T82" fmla="*/ 90 w 168"/>
              <a:gd name="T83" fmla="*/ 236 h 310"/>
              <a:gd name="T84" fmla="*/ 98 w 168"/>
              <a:gd name="T85" fmla="*/ 232 h 310"/>
              <a:gd name="T86" fmla="*/ 104 w 168"/>
              <a:gd name="T87" fmla="*/ 226 h 310"/>
              <a:gd name="T88" fmla="*/ 106 w 168"/>
              <a:gd name="T89" fmla="*/ 218 h 310"/>
              <a:gd name="T90" fmla="*/ 100 w 168"/>
              <a:gd name="T91" fmla="*/ 206 h 310"/>
              <a:gd name="T92" fmla="*/ 92 w 168"/>
              <a:gd name="T93" fmla="*/ 194 h 310"/>
              <a:gd name="T94" fmla="*/ 82 w 168"/>
              <a:gd name="T95" fmla="*/ 194 h 310"/>
              <a:gd name="T96" fmla="*/ 80 w 168"/>
              <a:gd name="T97" fmla="*/ 170 h 310"/>
              <a:gd name="T98" fmla="*/ 84 w 168"/>
              <a:gd name="T99" fmla="*/ 158 h 310"/>
              <a:gd name="T100" fmla="*/ 82 w 168"/>
              <a:gd name="T101" fmla="*/ 148 h 310"/>
              <a:gd name="T102" fmla="*/ 92 w 168"/>
              <a:gd name="T103" fmla="*/ 146 h 310"/>
              <a:gd name="T104" fmla="*/ 98 w 168"/>
              <a:gd name="T105" fmla="*/ 138 h 310"/>
              <a:gd name="T106" fmla="*/ 104 w 168"/>
              <a:gd name="T107" fmla="*/ 126 h 310"/>
              <a:gd name="T108" fmla="*/ 116 w 168"/>
              <a:gd name="T109" fmla="*/ 122 h 310"/>
              <a:gd name="T110" fmla="*/ 126 w 168"/>
              <a:gd name="T111" fmla="*/ 116 h 310"/>
              <a:gd name="T112" fmla="*/ 136 w 168"/>
              <a:gd name="T113" fmla="*/ 106 h 310"/>
              <a:gd name="T114" fmla="*/ 134 w 168"/>
              <a:gd name="T115" fmla="*/ 100 h 310"/>
              <a:gd name="T116" fmla="*/ 136 w 168"/>
              <a:gd name="T117" fmla="*/ 84 h 310"/>
              <a:gd name="T118" fmla="*/ 138 w 168"/>
              <a:gd name="T119" fmla="*/ 80 h 310"/>
              <a:gd name="T120" fmla="*/ 146 w 168"/>
              <a:gd name="T121" fmla="*/ 78 h 310"/>
              <a:gd name="T122" fmla="*/ 152 w 168"/>
              <a:gd name="T123" fmla="*/ 70 h 310"/>
              <a:gd name="T124" fmla="*/ 160 w 168"/>
              <a:gd name="T125" fmla="*/ 6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310">
                <a:moveTo>
                  <a:pt x="168" y="70"/>
                </a:moveTo>
                <a:lnTo>
                  <a:pt x="164" y="60"/>
                </a:lnTo>
                <a:lnTo>
                  <a:pt x="164" y="60"/>
                </a:lnTo>
                <a:lnTo>
                  <a:pt x="162" y="56"/>
                </a:lnTo>
                <a:lnTo>
                  <a:pt x="162" y="56"/>
                </a:lnTo>
                <a:lnTo>
                  <a:pt x="164" y="52"/>
                </a:lnTo>
                <a:lnTo>
                  <a:pt x="164" y="46"/>
                </a:lnTo>
                <a:lnTo>
                  <a:pt x="164" y="46"/>
                </a:lnTo>
                <a:lnTo>
                  <a:pt x="164" y="42"/>
                </a:lnTo>
                <a:lnTo>
                  <a:pt x="162" y="38"/>
                </a:lnTo>
                <a:lnTo>
                  <a:pt x="162" y="38"/>
                </a:lnTo>
                <a:lnTo>
                  <a:pt x="162" y="36"/>
                </a:lnTo>
                <a:lnTo>
                  <a:pt x="162" y="34"/>
                </a:lnTo>
                <a:lnTo>
                  <a:pt x="162" y="32"/>
                </a:lnTo>
                <a:lnTo>
                  <a:pt x="162" y="30"/>
                </a:lnTo>
                <a:lnTo>
                  <a:pt x="162" y="30"/>
                </a:lnTo>
                <a:lnTo>
                  <a:pt x="160" y="26"/>
                </a:lnTo>
                <a:lnTo>
                  <a:pt x="160" y="24"/>
                </a:lnTo>
                <a:lnTo>
                  <a:pt x="160" y="24"/>
                </a:lnTo>
                <a:lnTo>
                  <a:pt x="154" y="16"/>
                </a:lnTo>
                <a:lnTo>
                  <a:pt x="154" y="16"/>
                </a:lnTo>
                <a:lnTo>
                  <a:pt x="152" y="14"/>
                </a:lnTo>
                <a:lnTo>
                  <a:pt x="150" y="14"/>
                </a:lnTo>
                <a:lnTo>
                  <a:pt x="144" y="12"/>
                </a:lnTo>
                <a:lnTo>
                  <a:pt x="144" y="12"/>
                </a:lnTo>
                <a:lnTo>
                  <a:pt x="140" y="12"/>
                </a:lnTo>
                <a:lnTo>
                  <a:pt x="138" y="10"/>
                </a:lnTo>
                <a:lnTo>
                  <a:pt x="134" y="4"/>
                </a:lnTo>
                <a:lnTo>
                  <a:pt x="134" y="4"/>
                </a:lnTo>
                <a:lnTo>
                  <a:pt x="134" y="2"/>
                </a:lnTo>
                <a:lnTo>
                  <a:pt x="130" y="0"/>
                </a:lnTo>
                <a:lnTo>
                  <a:pt x="126" y="0"/>
                </a:lnTo>
                <a:lnTo>
                  <a:pt x="120" y="0"/>
                </a:lnTo>
                <a:lnTo>
                  <a:pt x="122" y="4"/>
                </a:lnTo>
                <a:lnTo>
                  <a:pt x="120" y="12"/>
                </a:lnTo>
                <a:lnTo>
                  <a:pt x="120" y="12"/>
                </a:lnTo>
                <a:lnTo>
                  <a:pt x="118" y="16"/>
                </a:lnTo>
                <a:lnTo>
                  <a:pt x="118" y="18"/>
                </a:lnTo>
                <a:lnTo>
                  <a:pt x="116" y="20"/>
                </a:lnTo>
                <a:lnTo>
                  <a:pt x="116" y="20"/>
                </a:lnTo>
                <a:lnTo>
                  <a:pt x="110" y="18"/>
                </a:lnTo>
                <a:lnTo>
                  <a:pt x="106" y="18"/>
                </a:lnTo>
                <a:lnTo>
                  <a:pt x="106" y="18"/>
                </a:lnTo>
                <a:lnTo>
                  <a:pt x="102" y="18"/>
                </a:lnTo>
                <a:lnTo>
                  <a:pt x="102" y="18"/>
                </a:lnTo>
                <a:lnTo>
                  <a:pt x="102" y="20"/>
                </a:lnTo>
                <a:lnTo>
                  <a:pt x="102" y="20"/>
                </a:lnTo>
                <a:lnTo>
                  <a:pt x="102" y="24"/>
                </a:lnTo>
                <a:lnTo>
                  <a:pt x="100" y="26"/>
                </a:lnTo>
                <a:lnTo>
                  <a:pt x="102" y="28"/>
                </a:lnTo>
                <a:lnTo>
                  <a:pt x="102" y="28"/>
                </a:lnTo>
                <a:lnTo>
                  <a:pt x="102" y="28"/>
                </a:lnTo>
                <a:lnTo>
                  <a:pt x="102" y="28"/>
                </a:lnTo>
                <a:lnTo>
                  <a:pt x="98" y="26"/>
                </a:lnTo>
                <a:lnTo>
                  <a:pt x="92" y="20"/>
                </a:lnTo>
                <a:lnTo>
                  <a:pt x="92" y="20"/>
                </a:lnTo>
                <a:lnTo>
                  <a:pt x="90" y="22"/>
                </a:lnTo>
                <a:lnTo>
                  <a:pt x="86" y="26"/>
                </a:lnTo>
                <a:lnTo>
                  <a:pt x="86" y="26"/>
                </a:lnTo>
                <a:lnTo>
                  <a:pt x="84" y="30"/>
                </a:lnTo>
                <a:lnTo>
                  <a:pt x="84" y="36"/>
                </a:lnTo>
                <a:lnTo>
                  <a:pt x="84" y="36"/>
                </a:lnTo>
                <a:lnTo>
                  <a:pt x="82" y="40"/>
                </a:lnTo>
                <a:lnTo>
                  <a:pt x="80" y="42"/>
                </a:lnTo>
                <a:lnTo>
                  <a:pt x="80" y="42"/>
                </a:lnTo>
                <a:lnTo>
                  <a:pt x="76" y="46"/>
                </a:lnTo>
                <a:lnTo>
                  <a:pt x="74" y="48"/>
                </a:lnTo>
                <a:lnTo>
                  <a:pt x="72" y="50"/>
                </a:lnTo>
                <a:lnTo>
                  <a:pt x="72" y="50"/>
                </a:lnTo>
                <a:lnTo>
                  <a:pt x="72" y="50"/>
                </a:lnTo>
                <a:lnTo>
                  <a:pt x="72" y="52"/>
                </a:lnTo>
                <a:lnTo>
                  <a:pt x="68" y="52"/>
                </a:lnTo>
                <a:lnTo>
                  <a:pt x="68" y="52"/>
                </a:lnTo>
                <a:lnTo>
                  <a:pt x="66" y="54"/>
                </a:lnTo>
                <a:lnTo>
                  <a:pt x="64" y="56"/>
                </a:lnTo>
                <a:lnTo>
                  <a:pt x="64" y="62"/>
                </a:lnTo>
                <a:lnTo>
                  <a:pt x="64" y="62"/>
                </a:lnTo>
                <a:lnTo>
                  <a:pt x="62" y="70"/>
                </a:lnTo>
                <a:lnTo>
                  <a:pt x="58" y="76"/>
                </a:lnTo>
                <a:lnTo>
                  <a:pt x="56" y="80"/>
                </a:lnTo>
                <a:lnTo>
                  <a:pt x="56" y="80"/>
                </a:lnTo>
                <a:lnTo>
                  <a:pt x="52" y="82"/>
                </a:lnTo>
                <a:lnTo>
                  <a:pt x="50" y="84"/>
                </a:lnTo>
                <a:lnTo>
                  <a:pt x="48" y="86"/>
                </a:lnTo>
                <a:lnTo>
                  <a:pt x="48" y="86"/>
                </a:lnTo>
                <a:lnTo>
                  <a:pt x="50" y="92"/>
                </a:lnTo>
                <a:lnTo>
                  <a:pt x="48" y="100"/>
                </a:lnTo>
                <a:lnTo>
                  <a:pt x="48" y="100"/>
                </a:lnTo>
                <a:lnTo>
                  <a:pt x="48" y="106"/>
                </a:lnTo>
                <a:lnTo>
                  <a:pt x="46" y="108"/>
                </a:lnTo>
                <a:lnTo>
                  <a:pt x="44" y="108"/>
                </a:lnTo>
                <a:lnTo>
                  <a:pt x="44" y="108"/>
                </a:lnTo>
                <a:lnTo>
                  <a:pt x="40" y="104"/>
                </a:lnTo>
                <a:lnTo>
                  <a:pt x="38" y="102"/>
                </a:lnTo>
                <a:lnTo>
                  <a:pt x="36" y="102"/>
                </a:lnTo>
                <a:lnTo>
                  <a:pt x="36" y="102"/>
                </a:lnTo>
                <a:lnTo>
                  <a:pt x="28" y="104"/>
                </a:lnTo>
                <a:lnTo>
                  <a:pt x="26" y="108"/>
                </a:lnTo>
                <a:lnTo>
                  <a:pt x="24" y="110"/>
                </a:lnTo>
                <a:lnTo>
                  <a:pt x="24" y="110"/>
                </a:lnTo>
                <a:lnTo>
                  <a:pt x="24" y="112"/>
                </a:lnTo>
                <a:lnTo>
                  <a:pt x="22" y="116"/>
                </a:lnTo>
                <a:lnTo>
                  <a:pt x="18" y="118"/>
                </a:lnTo>
                <a:lnTo>
                  <a:pt x="18" y="122"/>
                </a:lnTo>
                <a:lnTo>
                  <a:pt x="18" y="122"/>
                </a:lnTo>
                <a:lnTo>
                  <a:pt x="16" y="124"/>
                </a:lnTo>
                <a:lnTo>
                  <a:pt x="14" y="126"/>
                </a:lnTo>
                <a:lnTo>
                  <a:pt x="12" y="128"/>
                </a:lnTo>
                <a:lnTo>
                  <a:pt x="10" y="132"/>
                </a:lnTo>
                <a:lnTo>
                  <a:pt x="10" y="132"/>
                </a:lnTo>
                <a:lnTo>
                  <a:pt x="12" y="136"/>
                </a:lnTo>
                <a:lnTo>
                  <a:pt x="12" y="140"/>
                </a:lnTo>
                <a:lnTo>
                  <a:pt x="12" y="140"/>
                </a:lnTo>
                <a:lnTo>
                  <a:pt x="12" y="146"/>
                </a:lnTo>
                <a:lnTo>
                  <a:pt x="12" y="152"/>
                </a:lnTo>
                <a:lnTo>
                  <a:pt x="12" y="152"/>
                </a:lnTo>
                <a:lnTo>
                  <a:pt x="12" y="158"/>
                </a:lnTo>
                <a:lnTo>
                  <a:pt x="12" y="164"/>
                </a:lnTo>
                <a:lnTo>
                  <a:pt x="12" y="164"/>
                </a:lnTo>
                <a:lnTo>
                  <a:pt x="10" y="168"/>
                </a:lnTo>
                <a:lnTo>
                  <a:pt x="10" y="170"/>
                </a:lnTo>
                <a:lnTo>
                  <a:pt x="12" y="170"/>
                </a:lnTo>
                <a:lnTo>
                  <a:pt x="12" y="170"/>
                </a:lnTo>
                <a:lnTo>
                  <a:pt x="14" y="172"/>
                </a:lnTo>
                <a:lnTo>
                  <a:pt x="16" y="178"/>
                </a:lnTo>
                <a:lnTo>
                  <a:pt x="16" y="178"/>
                </a:lnTo>
                <a:lnTo>
                  <a:pt x="16" y="182"/>
                </a:lnTo>
                <a:lnTo>
                  <a:pt x="16" y="184"/>
                </a:lnTo>
                <a:lnTo>
                  <a:pt x="14" y="186"/>
                </a:lnTo>
                <a:lnTo>
                  <a:pt x="14" y="186"/>
                </a:lnTo>
                <a:lnTo>
                  <a:pt x="10" y="188"/>
                </a:lnTo>
                <a:lnTo>
                  <a:pt x="10" y="188"/>
                </a:lnTo>
                <a:lnTo>
                  <a:pt x="10" y="188"/>
                </a:lnTo>
                <a:lnTo>
                  <a:pt x="10" y="196"/>
                </a:lnTo>
                <a:lnTo>
                  <a:pt x="10" y="196"/>
                </a:lnTo>
                <a:lnTo>
                  <a:pt x="8" y="200"/>
                </a:lnTo>
                <a:lnTo>
                  <a:pt x="8" y="202"/>
                </a:lnTo>
                <a:lnTo>
                  <a:pt x="10" y="204"/>
                </a:lnTo>
                <a:lnTo>
                  <a:pt x="10" y="204"/>
                </a:lnTo>
                <a:lnTo>
                  <a:pt x="12" y="208"/>
                </a:lnTo>
                <a:lnTo>
                  <a:pt x="10" y="210"/>
                </a:lnTo>
                <a:lnTo>
                  <a:pt x="10" y="210"/>
                </a:lnTo>
                <a:lnTo>
                  <a:pt x="8" y="212"/>
                </a:lnTo>
                <a:lnTo>
                  <a:pt x="8" y="214"/>
                </a:lnTo>
                <a:lnTo>
                  <a:pt x="8" y="216"/>
                </a:lnTo>
                <a:lnTo>
                  <a:pt x="6" y="216"/>
                </a:lnTo>
                <a:lnTo>
                  <a:pt x="6" y="216"/>
                </a:lnTo>
                <a:lnTo>
                  <a:pt x="4" y="218"/>
                </a:lnTo>
                <a:lnTo>
                  <a:pt x="4" y="220"/>
                </a:lnTo>
                <a:lnTo>
                  <a:pt x="4" y="220"/>
                </a:lnTo>
                <a:lnTo>
                  <a:pt x="6" y="226"/>
                </a:lnTo>
                <a:lnTo>
                  <a:pt x="8" y="228"/>
                </a:lnTo>
                <a:lnTo>
                  <a:pt x="8" y="228"/>
                </a:lnTo>
                <a:lnTo>
                  <a:pt x="6" y="234"/>
                </a:lnTo>
                <a:lnTo>
                  <a:pt x="6" y="236"/>
                </a:lnTo>
                <a:lnTo>
                  <a:pt x="4" y="236"/>
                </a:lnTo>
                <a:lnTo>
                  <a:pt x="4" y="236"/>
                </a:lnTo>
                <a:lnTo>
                  <a:pt x="0" y="236"/>
                </a:lnTo>
                <a:lnTo>
                  <a:pt x="0" y="236"/>
                </a:lnTo>
                <a:lnTo>
                  <a:pt x="0" y="244"/>
                </a:lnTo>
                <a:lnTo>
                  <a:pt x="0" y="244"/>
                </a:lnTo>
                <a:lnTo>
                  <a:pt x="4" y="244"/>
                </a:lnTo>
                <a:lnTo>
                  <a:pt x="4" y="244"/>
                </a:lnTo>
                <a:lnTo>
                  <a:pt x="8" y="252"/>
                </a:lnTo>
                <a:lnTo>
                  <a:pt x="8" y="252"/>
                </a:lnTo>
                <a:lnTo>
                  <a:pt x="8" y="252"/>
                </a:lnTo>
                <a:lnTo>
                  <a:pt x="6" y="256"/>
                </a:lnTo>
                <a:lnTo>
                  <a:pt x="4" y="260"/>
                </a:lnTo>
                <a:lnTo>
                  <a:pt x="4" y="260"/>
                </a:lnTo>
                <a:lnTo>
                  <a:pt x="8" y="262"/>
                </a:lnTo>
                <a:lnTo>
                  <a:pt x="8" y="262"/>
                </a:lnTo>
                <a:lnTo>
                  <a:pt x="8" y="266"/>
                </a:lnTo>
                <a:lnTo>
                  <a:pt x="8" y="266"/>
                </a:lnTo>
                <a:lnTo>
                  <a:pt x="12" y="266"/>
                </a:lnTo>
                <a:lnTo>
                  <a:pt x="12" y="266"/>
                </a:lnTo>
                <a:lnTo>
                  <a:pt x="12" y="268"/>
                </a:lnTo>
                <a:lnTo>
                  <a:pt x="12" y="270"/>
                </a:lnTo>
                <a:lnTo>
                  <a:pt x="12" y="270"/>
                </a:lnTo>
                <a:lnTo>
                  <a:pt x="16" y="274"/>
                </a:lnTo>
                <a:lnTo>
                  <a:pt x="20" y="278"/>
                </a:lnTo>
                <a:lnTo>
                  <a:pt x="20" y="278"/>
                </a:lnTo>
                <a:lnTo>
                  <a:pt x="20" y="282"/>
                </a:lnTo>
                <a:lnTo>
                  <a:pt x="20" y="282"/>
                </a:lnTo>
                <a:lnTo>
                  <a:pt x="24" y="284"/>
                </a:lnTo>
                <a:lnTo>
                  <a:pt x="24" y="286"/>
                </a:lnTo>
                <a:lnTo>
                  <a:pt x="24" y="286"/>
                </a:lnTo>
                <a:lnTo>
                  <a:pt x="20" y="286"/>
                </a:lnTo>
                <a:lnTo>
                  <a:pt x="20" y="286"/>
                </a:lnTo>
                <a:lnTo>
                  <a:pt x="22" y="292"/>
                </a:lnTo>
                <a:lnTo>
                  <a:pt x="22" y="292"/>
                </a:lnTo>
                <a:lnTo>
                  <a:pt x="18" y="294"/>
                </a:lnTo>
                <a:lnTo>
                  <a:pt x="18" y="294"/>
                </a:lnTo>
                <a:lnTo>
                  <a:pt x="18" y="298"/>
                </a:lnTo>
                <a:lnTo>
                  <a:pt x="20" y="300"/>
                </a:lnTo>
                <a:lnTo>
                  <a:pt x="20" y="300"/>
                </a:lnTo>
                <a:lnTo>
                  <a:pt x="20" y="306"/>
                </a:lnTo>
                <a:lnTo>
                  <a:pt x="22" y="310"/>
                </a:lnTo>
                <a:lnTo>
                  <a:pt x="24" y="310"/>
                </a:lnTo>
                <a:lnTo>
                  <a:pt x="24" y="310"/>
                </a:lnTo>
                <a:lnTo>
                  <a:pt x="32" y="310"/>
                </a:lnTo>
                <a:lnTo>
                  <a:pt x="40" y="306"/>
                </a:lnTo>
                <a:lnTo>
                  <a:pt x="40" y="306"/>
                </a:lnTo>
                <a:lnTo>
                  <a:pt x="40" y="300"/>
                </a:lnTo>
                <a:lnTo>
                  <a:pt x="42" y="296"/>
                </a:lnTo>
                <a:lnTo>
                  <a:pt x="42" y="296"/>
                </a:lnTo>
                <a:lnTo>
                  <a:pt x="46" y="296"/>
                </a:lnTo>
                <a:lnTo>
                  <a:pt x="46" y="296"/>
                </a:lnTo>
                <a:lnTo>
                  <a:pt x="46" y="292"/>
                </a:lnTo>
                <a:lnTo>
                  <a:pt x="46" y="292"/>
                </a:lnTo>
                <a:lnTo>
                  <a:pt x="50" y="290"/>
                </a:lnTo>
                <a:lnTo>
                  <a:pt x="54" y="290"/>
                </a:lnTo>
                <a:lnTo>
                  <a:pt x="64" y="292"/>
                </a:lnTo>
                <a:lnTo>
                  <a:pt x="64" y="292"/>
                </a:lnTo>
                <a:lnTo>
                  <a:pt x="66" y="288"/>
                </a:lnTo>
                <a:lnTo>
                  <a:pt x="66" y="288"/>
                </a:lnTo>
                <a:lnTo>
                  <a:pt x="68" y="288"/>
                </a:lnTo>
                <a:lnTo>
                  <a:pt x="68" y="290"/>
                </a:lnTo>
                <a:lnTo>
                  <a:pt x="68" y="290"/>
                </a:lnTo>
                <a:lnTo>
                  <a:pt x="70" y="290"/>
                </a:lnTo>
                <a:lnTo>
                  <a:pt x="70" y="290"/>
                </a:lnTo>
                <a:lnTo>
                  <a:pt x="74" y="278"/>
                </a:lnTo>
                <a:lnTo>
                  <a:pt x="74" y="278"/>
                </a:lnTo>
                <a:lnTo>
                  <a:pt x="74" y="278"/>
                </a:lnTo>
                <a:lnTo>
                  <a:pt x="74" y="278"/>
                </a:lnTo>
                <a:lnTo>
                  <a:pt x="74" y="278"/>
                </a:lnTo>
                <a:lnTo>
                  <a:pt x="72" y="280"/>
                </a:lnTo>
                <a:lnTo>
                  <a:pt x="70" y="284"/>
                </a:lnTo>
                <a:lnTo>
                  <a:pt x="70" y="284"/>
                </a:lnTo>
                <a:lnTo>
                  <a:pt x="68" y="284"/>
                </a:lnTo>
                <a:lnTo>
                  <a:pt x="68" y="284"/>
                </a:lnTo>
                <a:lnTo>
                  <a:pt x="68" y="280"/>
                </a:lnTo>
                <a:lnTo>
                  <a:pt x="68" y="280"/>
                </a:lnTo>
                <a:lnTo>
                  <a:pt x="70" y="270"/>
                </a:lnTo>
                <a:lnTo>
                  <a:pt x="70" y="270"/>
                </a:lnTo>
                <a:lnTo>
                  <a:pt x="74" y="266"/>
                </a:lnTo>
                <a:lnTo>
                  <a:pt x="74" y="266"/>
                </a:lnTo>
                <a:lnTo>
                  <a:pt x="72" y="262"/>
                </a:lnTo>
                <a:lnTo>
                  <a:pt x="72" y="260"/>
                </a:lnTo>
                <a:lnTo>
                  <a:pt x="74" y="260"/>
                </a:lnTo>
                <a:lnTo>
                  <a:pt x="74" y="260"/>
                </a:lnTo>
                <a:lnTo>
                  <a:pt x="76" y="254"/>
                </a:lnTo>
                <a:lnTo>
                  <a:pt x="74" y="250"/>
                </a:lnTo>
                <a:lnTo>
                  <a:pt x="74" y="242"/>
                </a:lnTo>
                <a:lnTo>
                  <a:pt x="74" y="242"/>
                </a:lnTo>
                <a:lnTo>
                  <a:pt x="78" y="240"/>
                </a:lnTo>
                <a:lnTo>
                  <a:pt x="78" y="240"/>
                </a:lnTo>
                <a:lnTo>
                  <a:pt x="70" y="236"/>
                </a:lnTo>
                <a:lnTo>
                  <a:pt x="70" y="236"/>
                </a:lnTo>
                <a:lnTo>
                  <a:pt x="78" y="236"/>
                </a:lnTo>
                <a:lnTo>
                  <a:pt x="88" y="234"/>
                </a:lnTo>
                <a:lnTo>
                  <a:pt x="88" y="236"/>
                </a:lnTo>
                <a:lnTo>
                  <a:pt x="90" y="236"/>
                </a:lnTo>
                <a:lnTo>
                  <a:pt x="90" y="236"/>
                </a:lnTo>
                <a:lnTo>
                  <a:pt x="90" y="234"/>
                </a:lnTo>
                <a:lnTo>
                  <a:pt x="92" y="232"/>
                </a:lnTo>
                <a:lnTo>
                  <a:pt x="92" y="232"/>
                </a:lnTo>
                <a:lnTo>
                  <a:pt x="94" y="232"/>
                </a:lnTo>
                <a:lnTo>
                  <a:pt x="98" y="232"/>
                </a:lnTo>
                <a:lnTo>
                  <a:pt x="98" y="232"/>
                </a:lnTo>
                <a:lnTo>
                  <a:pt x="98" y="230"/>
                </a:lnTo>
                <a:lnTo>
                  <a:pt x="98" y="228"/>
                </a:lnTo>
                <a:lnTo>
                  <a:pt x="98" y="228"/>
                </a:lnTo>
                <a:lnTo>
                  <a:pt x="100" y="226"/>
                </a:lnTo>
                <a:lnTo>
                  <a:pt x="104" y="226"/>
                </a:lnTo>
                <a:lnTo>
                  <a:pt x="102" y="224"/>
                </a:lnTo>
                <a:lnTo>
                  <a:pt x="102" y="224"/>
                </a:lnTo>
                <a:lnTo>
                  <a:pt x="96" y="222"/>
                </a:lnTo>
                <a:lnTo>
                  <a:pt x="96" y="222"/>
                </a:lnTo>
                <a:lnTo>
                  <a:pt x="106" y="218"/>
                </a:lnTo>
                <a:lnTo>
                  <a:pt x="106" y="218"/>
                </a:lnTo>
                <a:lnTo>
                  <a:pt x="106" y="212"/>
                </a:lnTo>
                <a:lnTo>
                  <a:pt x="104" y="206"/>
                </a:lnTo>
                <a:lnTo>
                  <a:pt x="104" y="206"/>
                </a:lnTo>
                <a:lnTo>
                  <a:pt x="102" y="206"/>
                </a:lnTo>
                <a:lnTo>
                  <a:pt x="100" y="206"/>
                </a:lnTo>
                <a:lnTo>
                  <a:pt x="100" y="206"/>
                </a:lnTo>
                <a:lnTo>
                  <a:pt x="98" y="204"/>
                </a:lnTo>
                <a:lnTo>
                  <a:pt x="98" y="200"/>
                </a:lnTo>
                <a:lnTo>
                  <a:pt x="98" y="200"/>
                </a:lnTo>
                <a:lnTo>
                  <a:pt x="94" y="200"/>
                </a:lnTo>
                <a:lnTo>
                  <a:pt x="92" y="194"/>
                </a:lnTo>
                <a:lnTo>
                  <a:pt x="92" y="194"/>
                </a:lnTo>
                <a:lnTo>
                  <a:pt x="88" y="198"/>
                </a:lnTo>
                <a:lnTo>
                  <a:pt x="88" y="198"/>
                </a:lnTo>
                <a:lnTo>
                  <a:pt x="86" y="198"/>
                </a:lnTo>
                <a:lnTo>
                  <a:pt x="84" y="196"/>
                </a:lnTo>
                <a:lnTo>
                  <a:pt x="84" y="196"/>
                </a:lnTo>
                <a:lnTo>
                  <a:pt x="82" y="194"/>
                </a:lnTo>
                <a:lnTo>
                  <a:pt x="82" y="194"/>
                </a:lnTo>
                <a:lnTo>
                  <a:pt x="82" y="188"/>
                </a:lnTo>
                <a:lnTo>
                  <a:pt x="82" y="184"/>
                </a:lnTo>
                <a:lnTo>
                  <a:pt x="80" y="174"/>
                </a:lnTo>
                <a:lnTo>
                  <a:pt x="80" y="174"/>
                </a:lnTo>
                <a:lnTo>
                  <a:pt x="80" y="170"/>
                </a:lnTo>
                <a:lnTo>
                  <a:pt x="80" y="170"/>
                </a:lnTo>
                <a:lnTo>
                  <a:pt x="84" y="170"/>
                </a:lnTo>
                <a:lnTo>
                  <a:pt x="84" y="170"/>
                </a:lnTo>
                <a:lnTo>
                  <a:pt x="82" y="166"/>
                </a:lnTo>
                <a:lnTo>
                  <a:pt x="82" y="162"/>
                </a:lnTo>
                <a:lnTo>
                  <a:pt x="84" y="158"/>
                </a:lnTo>
                <a:lnTo>
                  <a:pt x="84" y="152"/>
                </a:lnTo>
                <a:lnTo>
                  <a:pt x="84" y="152"/>
                </a:lnTo>
                <a:lnTo>
                  <a:pt x="82" y="152"/>
                </a:lnTo>
                <a:lnTo>
                  <a:pt x="82" y="152"/>
                </a:lnTo>
                <a:lnTo>
                  <a:pt x="82" y="148"/>
                </a:lnTo>
                <a:lnTo>
                  <a:pt x="82" y="148"/>
                </a:lnTo>
                <a:lnTo>
                  <a:pt x="84" y="148"/>
                </a:lnTo>
                <a:lnTo>
                  <a:pt x="86" y="150"/>
                </a:lnTo>
                <a:lnTo>
                  <a:pt x="86" y="150"/>
                </a:lnTo>
                <a:lnTo>
                  <a:pt x="88" y="148"/>
                </a:lnTo>
                <a:lnTo>
                  <a:pt x="88" y="148"/>
                </a:lnTo>
                <a:lnTo>
                  <a:pt x="92" y="146"/>
                </a:lnTo>
                <a:lnTo>
                  <a:pt x="92" y="146"/>
                </a:lnTo>
                <a:lnTo>
                  <a:pt x="94" y="140"/>
                </a:lnTo>
                <a:lnTo>
                  <a:pt x="92" y="140"/>
                </a:lnTo>
                <a:lnTo>
                  <a:pt x="92" y="138"/>
                </a:lnTo>
                <a:lnTo>
                  <a:pt x="92" y="138"/>
                </a:lnTo>
                <a:lnTo>
                  <a:pt x="98" y="138"/>
                </a:lnTo>
                <a:lnTo>
                  <a:pt x="100" y="136"/>
                </a:lnTo>
                <a:lnTo>
                  <a:pt x="102" y="134"/>
                </a:lnTo>
                <a:lnTo>
                  <a:pt x="102" y="134"/>
                </a:lnTo>
                <a:lnTo>
                  <a:pt x="100" y="134"/>
                </a:lnTo>
                <a:lnTo>
                  <a:pt x="98" y="132"/>
                </a:lnTo>
                <a:lnTo>
                  <a:pt x="104" y="126"/>
                </a:lnTo>
                <a:lnTo>
                  <a:pt x="104" y="126"/>
                </a:lnTo>
                <a:lnTo>
                  <a:pt x="106" y="126"/>
                </a:lnTo>
                <a:lnTo>
                  <a:pt x="108" y="128"/>
                </a:lnTo>
                <a:lnTo>
                  <a:pt x="108" y="128"/>
                </a:lnTo>
                <a:lnTo>
                  <a:pt x="112" y="124"/>
                </a:lnTo>
                <a:lnTo>
                  <a:pt x="116" y="122"/>
                </a:lnTo>
                <a:lnTo>
                  <a:pt x="116" y="122"/>
                </a:lnTo>
                <a:lnTo>
                  <a:pt x="120" y="120"/>
                </a:lnTo>
                <a:lnTo>
                  <a:pt x="122" y="122"/>
                </a:lnTo>
                <a:lnTo>
                  <a:pt x="122" y="122"/>
                </a:lnTo>
                <a:lnTo>
                  <a:pt x="126" y="120"/>
                </a:lnTo>
                <a:lnTo>
                  <a:pt x="126" y="116"/>
                </a:lnTo>
                <a:lnTo>
                  <a:pt x="130" y="110"/>
                </a:lnTo>
                <a:lnTo>
                  <a:pt x="130" y="110"/>
                </a:lnTo>
                <a:lnTo>
                  <a:pt x="132" y="110"/>
                </a:lnTo>
                <a:lnTo>
                  <a:pt x="136" y="108"/>
                </a:lnTo>
                <a:lnTo>
                  <a:pt x="136" y="108"/>
                </a:lnTo>
                <a:lnTo>
                  <a:pt x="136" y="106"/>
                </a:lnTo>
                <a:lnTo>
                  <a:pt x="136" y="104"/>
                </a:lnTo>
                <a:lnTo>
                  <a:pt x="136" y="104"/>
                </a:lnTo>
                <a:lnTo>
                  <a:pt x="132" y="104"/>
                </a:lnTo>
                <a:lnTo>
                  <a:pt x="132" y="104"/>
                </a:lnTo>
                <a:lnTo>
                  <a:pt x="134" y="100"/>
                </a:lnTo>
                <a:lnTo>
                  <a:pt x="134" y="100"/>
                </a:lnTo>
                <a:lnTo>
                  <a:pt x="132" y="96"/>
                </a:lnTo>
                <a:lnTo>
                  <a:pt x="132" y="92"/>
                </a:lnTo>
                <a:lnTo>
                  <a:pt x="138" y="88"/>
                </a:lnTo>
                <a:lnTo>
                  <a:pt x="138" y="88"/>
                </a:lnTo>
                <a:lnTo>
                  <a:pt x="138" y="86"/>
                </a:lnTo>
                <a:lnTo>
                  <a:pt x="136" y="84"/>
                </a:lnTo>
                <a:lnTo>
                  <a:pt x="136" y="84"/>
                </a:lnTo>
                <a:lnTo>
                  <a:pt x="138" y="84"/>
                </a:lnTo>
                <a:lnTo>
                  <a:pt x="140" y="82"/>
                </a:lnTo>
                <a:lnTo>
                  <a:pt x="140" y="82"/>
                </a:lnTo>
                <a:lnTo>
                  <a:pt x="138" y="80"/>
                </a:lnTo>
                <a:lnTo>
                  <a:pt x="138" y="80"/>
                </a:lnTo>
                <a:lnTo>
                  <a:pt x="138" y="80"/>
                </a:lnTo>
                <a:lnTo>
                  <a:pt x="138" y="80"/>
                </a:lnTo>
                <a:lnTo>
                  <a:pt x="140" y="78"/>
                </a:lnTo>
                <a:lnTo>
                  <a:pt x="144" y="80"/>
                </a:lnTo>
                <a:lnTo>
                  <a:pt x="144" y="80"/>
                </a:lnTo>
                <a:lnTo>
                  <a:pt x="146" y="78"/>
                </a:lnTo>
                <a:lnTo>
                  <a:pt x="148" y="74"/>
                </a:lnTo>
                <a:lnTo>
                  <a:pt x="150" y="66"/>
                </a:lnTo>
                <a:lnTo>
                  <a:pt x="150" y="66"/>
                </a:lnTo>
                <a:lnTo>
                  <a:pt x="150" y="68"/>
                </a:lnTo>
                <a:lnTo>
                  <a:pt x="152" y="70"/>
                </a:lnTo>
                <a:lnTo>
                  <a:pt x="152" y="70"/>
                </a:lnTo>
                <a:lnTo>
                  <a:pt x="156" y="68"/>
                </a:lnTo>
                <a:lnTo>
                  <a:pt x="156" y="68"/>
                </a:lnTo>
                <a:lnTo>
                  <a:pt x="158" y="72"/>
                </a:lnTo>
                <a:lnTo>
                  <a:pt x="158" y="72"/>
                </a:lnTo>
                <a:lnTo>
                  <a:pt x="160" y="70"/>
                </a:lnTo>
                <a:lnTo>
                  <a:pt x="160" y="68"/>
                </a:lnTo>
                <a:lnTo>
                  <a:pt x="160" y="68"/>
                </a:lnTo>
                <a:lnTo>
                  <a:pt x="168" y="70"/>
                </a:lnTo>
                <a:lnTo>
                  <a:pt x="168"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3" name="Freeform 37">
            <a:extLst>
              <a:ext uri="{FF2B5EF4-FFF2-40B4-BE49-F238E27FC236}">
                <a16:creationId xmlns:a16="http://schemas.microsoft.com/office/drawing/2014/main" id="{08BB1A89-D9D5-4940-B65D-AFA936A2FFB5}"/>
              </a:ext>
            </a:extLst>
          </p:cNvPr>
          <p:cNvSpPr>
            <a:spLocks/>
          </p:cNvSpPr>
          <p:nvPr userDrawn="1"/>
        </p:nvSpPr>
        <p:spPr bwMode="auto">
          <a:xfrm>
            <a:off x="6545077" y="4428818"/>
            <a:ext cx="26832" cy="41184"/>
          </a:xfrm>
          <a:custGeom>
            <a:avLst/>
            <a:gdLst>
              <a:gd name="T0" fmla="*/ 14 w 16"/>
              <a:gd name="T1" fmla="*/ 14 h 24"/>
              <a:gd name="T2" fmla="*/ 14 w 16"/>
              <a:gd name="T3" fmla="*/ 14 h 24"/>
              <a:gd name="T4" fmla="*/ 16 w 16"/>
              <a:gd name="T5" fmla="*/ 6 h 24"/>
              <a:gd name="T6" fmla="*/ 16 w 16"/>
              <a:gd name="T7" fmla="*/ 6 h 24"/>
              <a:gd name="T8" fmla="*/ 16 w 16"/>
              <a:gd name="T9" fmla="*/ 4 h 24"/>
              <a:gd name="T10" fmla="*/ 14 w 16"/>
              <a:gd name="T11" fmla="*/ 2 h 24"/>
              <a:gd name="T12" fmla="*/ 10 w 16"/>
              <a:gd name="T13" fmla="*/ 0 h 24"/>
              <a:gd name="T14" fmla="*/ 10 w 16"/>
              <a:gd name="T15" fmla="*/ 0 h 24"/>
              <a:gd name="T16" fmla="*/ 8 w 16"/>
              <a:gd name="T17" fmla="*/ 0 h 24"/>
              <a:gd name="T18" fmla="*/ 6 w 16"/>
              <a:gd name="T19" fmla="*/ 2 h 24"/>
              <a:gd name="T20" fmla="*/ 4 w 16"/>
              <a:gd name="T21" fmla="*/ 0 h 24"/>
              <a:gd name="T22" fmla="*/ 4 w 16"/>
              <a:gd name="T23" fmla="*/ 0 h 24"/>
              <a:gd name="T24" fmla="*/ 2 w 16"/>
              <a:gd name="T25" fmla="*/ 0 h 24"/>
              <a:gd name="T26" fmla="*/ 2 w 16"/>
              <a:gd name="T27" fmla="*/ 2 h 24"/>
              <a:gd name="T28" fmla="*/ 0 w 16"/>
              <a:gd name="T29" fmla="*/ 8 h 24"/>
              <a:gd name="T30" fmla="*/ 0 w 16"/>
              <a:gd name="T31" fmla="*/ 8 h 24"/>
              <a:gd name="T32" fmla="*/ 0 w 16"/>
              <a:gd name="T33" fmla="*/ 12 h 24"/>
              <a:gd name="T34" fmla="*/ 0 w 16"/>
              <a:gd name="T35" fmla="*/ 16 h 24"/>
              <a:gd name="T36" fmla="*/ 0 w 16"/>
              <a:gd name="T37" fmla="*/ 16 h 24"/>
              <a:gd name="T38" fmla="*/ 2 w 16"/>
              <a:gd name="T39" fmla="*/ 18 h 24"/>
              <a:gd name="T40" fmla="*/ 6 w 16"/>
              <a:gd name="T41" fmla="*/ 20 h 24"/>
              <a:gd name="T42" fmla="*/ 6 w 16"/>
              <a:gd name="T43" fmla="*/ 20 h 24"/>
              <a:gd name="T44" fmla="*/ 12 w 16"/>
              <a:gd name="T45" fmla="*/ 22 h 24"/>
              <a:gd name="T46" fmla="*/ 16 w 16"/>
              <a:gd name="T47" fmla="*/ 24 h 24"/>
              <a:gd name="T48" fmla="*/ 14 w 16"/>
              <a:gd name="T4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4">
                <a:moveTo>
                  <a:pt x="14" y="14"/>
                </a:moveTo>
                <a:lnTo>
                  <a:pt x="14" y="14"/>
                </a:lnTo>
                <a:lnTo>
                  <a:pt x="16" y="6"/>
                </a:lnTo>
                <a:lnTo>
                  <a:pt x="16" y="6"/>
                </a:lnTo>
                <a:lnTo>
                  <a:pt x="16" y="4"/>
                </a:lnTo>
                <a:lnTo>
                  <a:pt x="14" y="2"/>
                </a:lnTo>
                <a:lnTo>
                  <a:pt x="10" y="0"/>
                </a:lnTo>
                <a:lnTo>
                  <a:pt x="10" y="0"/>
                </a:lnTo>
                <a:lnTo>
                  <a:pt x="8" y="0"/>
                </a:lnTo>
                <a:lnTo>
                  <a:pt x="6" y="2"/>
                </a:lnTo>
                <a:lnTo>
                  <a:pt x="4" y="0"/>
                </a:lnTo>
                <a:lnTo>
                  <a:pt x="4" y="0"/>
                </a:lnTo>
                <a:lnTo>
                  <a:pt x="2" y="0"/>
                </a:lnTo>
                <a:lnTo>
                  <a:pt x="2" y="2"/>
                </a:lnTo>
                <a:lnTo>
                  <a:pt x="0" y="8"/>
                </a:lnTo>
                <a:lnTo>
                  <a:pt x="0" y="8"/>
                </a:lnTo>
                <a:lnTo>
                  <a:pt x="0" y="12"/>
                </a:lnTo>
                <a:lnTo>
                  <a:pt x="0" y="16"/>
                </a:lnTo>
                <a:lnTo>
                  <a:pt x="0" y="16"/>
                </a:lnTo>
                <a:lnTo>
                  <a:pt x="2" y="18"/>
                </a:lnTo>
                <a:lnTo>
                  <a:pt x="6" y="20"/>
                </a:lnTo>
                <a:lnTo>
                  <a:pt x="6" y="20"/>
                </a:lnTo>
                <a:lnTo>
                  <a:pt x="12" y="22"/>
                </a:lnTo>
                <a:lnTo>
                  <a:pt x="16" y="24"/>
                </a:lnTo>
                <a:lnTo>
                  <a:pt x="14"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4" name="Freeform 38">
            <a:extLst>
              <a:ext uri="{FF2B5EF4-FFF2-40B4-BE49-F238E27FC236}">
                <a16:creationId xmlns:a16="http://schemas.microsoft.com/office/drawing/2014/main" id="{CAD72996-B468-48D6-9C1D-05B33131F0AA}"/>
              </a:ext>
            </a:extLst>
          </p:cNvPr>
          <p:cNvSpPr>
            <a:spLocks/>
          </p:cNvSpPr>
          <p:nvPr userDrawn="1"/>
        </p:nvSpPr>
        <p:spPr bwMode="auto">
          <a:xfrm>
            <a:off x="4547728" y="3502185"/>
            <a:ext cx="90560" cy="147575"/>
          </a:xfrm>
          <a:custGeom>
            <a:avLst/>
            <a:gdLst>
              <a:gd name="T0" fmla="*/ 52 w 54"/>
              <a:gd name="T1" fmla="*/ 2 h 86"/>
              <a:gd name="T2" fmla="*/ 48 w 54"/>
              <a:gd name="T3" fmla="*/ 2 h 86"/>
              <a:gd name="T4" fmla="*/ 46 w 54"/>
              <a:gd name="T5" fmla="*/ 0 h 86"/>
              <a:gd name="T6" fmla="*/ 40 w 54"/>
              <a:gd name="T7" fmla="*/ 0 h 86"/>
              <a:gd name="T8" fmla="*/ 40 w 54"/>
              <a:gd name="T9" fmla="*/ 2 h 86"/>
              <a:gd name="T10" fmla="*/ 34 w 54"/>
              <a:gd name="T11" fmla="*/ 4 h 86"/>
              <a:gd name="T12" fmla="*/ 22 w 54"/>
              <a:gd name="T13" fmla="*/ 2 h 86"/>
              <a:gd name="T14" fmla="*/ 16 w 54"/>
              <a:gd name="T15" fmla="*/ 8 h 86"/>
              <a:gd name="T16" fmla="*/ 16 w 54"/>
              <a:gd name="T17" fmla="*/ 6 h 86"/>
              <a:gd name="T18" fmla="*/ 8 w 54"/>
              <a:gd name="T19" fmla="*/ 18 h 86"/>
              <a:gd name="T20" fmla="*/ 8 w 54"/>
              <a:gd name="T21" fmla="*/ 26 h 86"/>
              <a:gd name="T22" fmla="*/ 0 w 54"/>
              <a:gd name="T23" fmla="*/ 32 h 86"/>
              <a:gd name="T24" fmla="*/ 0 w 54"/>
              <a:gd name="T25" fmla="*/ 34 h 86"/>
              <a:gd name="T26" fmla="*/ 2 w 54"/>
              <a:gd name="T27" fmla="*/ 42 h 86"/>
              <a:gd name="T28" fmla="*/ 2 w 54"/>
              <a:gd name="T29" fmla="*/ 52 h 86"/>
              <a:gd name="T30" fmla="*/ 4 w 54"/>
              <a:gd name="T31" fmla="*/ 56 h 86"/>
              <a:gd name="T32" fmla="*/ 6 w 54"/>
              <a:gd name="T33" fmla="*/ 58 h 86"/>
              <a:gd name="T34" fmla="*/ 4 w 54"/>
              <a:gd name="T35" fmla="*/ 64 h 86"/>
              <a:gd name="T36" fmla="*/ 8 w 54"/>
              <a:gd name="T37" fmla="*/ 84 h 86"/>
              <a:gd name="T38" fmla="*/ 24 w 54"/>
              <a:gd name="T39" fmla="*/ 86 h 86"/>
              <a:gd name="T40" fmla="*/ 22 w 54"/>
              <a:gd name="T41" fmla="*/ 76 h 86"/>
              <a:gd name="T42" fmla="*/ 34 w 54"/>
              <a:gd name="T43" fmla="*/ 72 h 86"/>
              <a:gd name="T44" fmla="*/ 40 w 54"/>
              <a:gd name="T45" fmla="*/ 72 h 86"/>
              <a:gd name="T46" fmla="*/ 46 w 54"/>
              <a:gd name="T47" fmla="*/ 72 h 86"/>
              <a:gd name="T48" fmla="*/ 50 w 54"/>
              <a:gd name="T49" fmla="*/ 62 h 86"/>
              <a:gd name="T50" fmla="*/ 54 w 54"/>
              <a:gd name="T51" fmla="*/ 52 h 86"/>
              <a:gd name="T52" fmla="*/ 50 w 54"/>
              <a:gd name="T53" fmla="*/ 48 h 86"/>
              <a:gd name="T54" fmla="*/ 46 w 54"/>
              <a:gd name="T55" fmla="*/ 40 h 86"/>
              <a:gd name="T56" fmla="*/ 46 w 54"/>
              <a:gd name="T57" fmla="*/ 22 h 86"/>
              <a:gd name="T58" fmla="*/ 52 w 54"/>
              <a:gd name="T59" fmla="*/ 12 h 86"/>
              <a:gd name="T60" fmla="*/ 52 w 54"/>
              <a:gd name="T61" fmla="*/ 6 h 86"/>
              <a:gd name="T62" fmla="*/ 52 w 54"/>
              <a:gd name="T63" fmla="*/ 8 h 86"/>
              <a:gd name="T64" fmla="*/ 52 w 54"/>
              <a:gd name="T65" fmla="*/ 4 h 86"/>
              <a:gd name="T66" fmla="*/ 52 w 54"/>
              <a:gd name="T67"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86">
                <a:moveTo>
                  <a:pt x="52" y="2"/>
                </a:moveTo>
                <a:lnTo>
                  <a:pt x="52" y="2"/>
                </a:lnTo>
                <a:lnTo>
                  <a:pt x="50" y="2"/>
                </a:lnTo>
                <a:lnTo>
                  <a:pt x="48" y="2"/>
                </a:lnTo>
                <a:lnTo>
                  <a:pt x="48" y="2"/>
                </a:lnTo>
                <a:lnTo>
                  <a:pt x="46" y="0"/>
                </a:lnTo>
                <a:lnTo>
                  <a:pt x="46" y="0"/>
                </a:lnTo>
                <a:lnTo>
                  <a:pt x="40" y="0"/>
                </a:lnTo>
                <a:lnTo>
                  <a:pt x="40" y="2"/>
                </a:lnTo>
                <a:lnTo>
                  <a:pt x="40" y="2"/>
                </a:lnTo>
                <a:lnTo>
                  <a:pt x="34" y="4"/>
                </a:lnTo>
                <a:lnTo>
                  <a:pt x="34" y="4"/>
                </a:lnTo>
                <a:lnTo>
                  <a:pt x="28" y="4"/>
                </a:lnTo>
                <a:lnTo>
                  <a:pt x="22" y="2"/>
                </a:lnTo>
                <a:lnTo>
                  <a:pt x="20" y="2"/>
                </a:lnTo>
                <a:lnTo>
                  <a:pt x="16" y="8"/>
                </a:lnTo>
                <a:lnTo>
                  <a:pt x="16" y="6"/>
                </a:lnTo>
                <a:lnTo>
                  <a:pt x="16" y="6"/>
                </a:lnTo>
                <a:lnTo>
                  <a:pt x="8" y="18"/>
                </a:lnTo>
                <a:lnTo>
                  <a:pt x="8" y="18"/>
                </a:lnTo>
                <a:lnTo>
                  <a:pt x="8" y="26"/>
                </a:lnTo>
                <a:lnTo>
                  <a:pt x="8" y="26"/>
                </a:lnTo>
                <a:lnTo>
                  <a:pt x="4" y="30"/>
                </a:lnTo>
                <a:lnTo>
                  <a:pt x="0" y="32"/>
                </a:lnTo>
                <a:lnTo>
                  <a:pt x="0" y="32"/>
                </a:lnTo>
                <a:lnTo>
                  <a:pt x="0" y="34"/>
                </a:lnTo>
                <a:lnTo>
                  <a:pt x="0" y="36"/>
                </a:lnTo>
                <a:lnTo>
                  <a:pt x="2" y="42"/>
                </a:lnTo>
                <a:lnTo>
                  <a:pt x="2" y="42"/>
                </a:lnTo>
                <a:lnTo>
                  <a:pt x="2" y="52"/>
                </a:lnTo>
                <a:lnTo>
                  <a:pt x="2" y="52"/>
                </a:lnTo>
                <a:lnTo>
                  <a:pt x="4" y="56"/>
                </a:lnTo>
                <a:lnTo>
                  <a:pt x="4" y="56"/>
                </a:lnTo>
                <a:lnTo>
                  <a:pt x="6" y="58"/>
                </a:lnTo>
                <a:lnTo>
                  <a:pt x="6" y="60"/>
                </a:lnTo>
                <a:lnTo>
                  <a:pt x="4" y="64"/>
                </a:lnTo>
                <a:lnTo>
                  <a:pt x="6" y="76"/>
                </a:lnTo>
                <a:lnTo>
                  <a:pt x="8" y="84"/>
                </a:lnTo>
                <a:lnTo>
                  <a:pt x="14" y="82"/>
                </a:lnTo>
                <a:lnTo>
                  <a:pt x="24" y="86"/>
                </a:lnTo>
                <a:lnTo>
                  <a:pt x="26" y="80"/>
                </a:lnTo>
                <a:lnTo>
                  <a:pt x="22" y="76"/>
                </a:lnTo>
                <a:lnTo>
                  <a:pt x="24" y="68"/>
                </a:lnTo>
                <a:lnTo>
                  <a:pt x="34" y="72"/>
                </a:lnTo>
                <a:lnTo>
                  <a:pt x="38" y="70"/>
                </a:lnTo>
                <a:lnTo>
                  <a:pt x="40" y="72"/>
                </a:lnTo>
                <a:lnTo>
                  <a:pt x="46" y="72"/>
                </a:lnTo>
                <a:lnTo>
                  <a:pt x="46" y="72"/>
                </a:lnTo>
                <a:lnTo>
                  <a:pt x="50" y="62"/>
                </a:lnTo>
                <a:lnTo>
                  <a:pt x="50" y="62"/>
                </a:lnTo>
                <a:lnTo>
                  <a:pt x="54" y="56"/>
                </a:lnTo>
                <a:lnTo>
                  <a:pt x="54" y="52"/>
                </a:lnTo>
                <a:lnTo>
                  <a:pt x="54" y="52"/>
                </a:lnTo>
                <a:lnTo>
                  <a:pt x="50" y="48"/>
                </a:lnTo>
                <a:lnTo>
                  <a:pt x="48" y="44"/>
                </a:lnTo>
                <a:lnTo>
                  <a:pt x="46" y="40"/>
                </a:lnTo>
                <a:lnTo>
                  <a:pt x="46" y="40"/>
                </a:lnTo>
                <a:lnTo>
                  <a:pt x="46" y="22"/>
                </a:lnTo>
                <a:lnTo>
                  <a:pt x="52" y="12"/>
                </a:lnTo>
                <a:lnTo>
                  <a:pt x="52" y="12"/>
                </a:lnTo>
                <a:lnTo>
                  <a:pt x="52" y="6"/>
                </a:lnTo>
                <a:lnTo>
                  <a:pt x="52" y="6"/>
                </a:lnTo>
                <a:lnTo>
                  <a:pt x="52" y="8"/>
                </a:lnTo>
                <a:lnTo>
                  <a:pt x="52" y="8"/>
                </a:lnTo>
                <a:lnTo>
                  <a:pt x="52" y="6"/>
                </a:lnTo>
                <a:lnTo>
                  <a:pt x="52" y="4"/>
                </a:lnTo>
                <a:lnTo>
                  <a:pt x="52" y="4"/>
                </a:lnTo>
                <a:lnTo>
                  <a:pt x="52"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5" name="Freeform 39">
            <a:extLst>
              <a:ext uri="{FF2B5EF4-FFF2-40B4-BE49-F238E27FC236}">
                <a16:creationId xmlns:a16="http://schemas.microsoft.com/office/drawing/2014/main" id="{20E3A621-5724-44D5-99F0-1CD446E7A0F8}"/>
              </a:ext>
            </a:extLst>
          </p:cNvPr>
          <p:cNvSpPr>
            <a:spLocks/>
          </p:cNvSpPr>
          <p:nvPr userDrawn="1"/>
        </p:nvSpPr>
        <p:spPr bwMode="auto">
          <a:xfrm>
            <a:off x="6340479" y="3011413"/>
            <a:ext cx="379010" cy="569707"/>
          </a:xfrm>
          <a:custGeom>
            <a:avLst/>
            <a:gdLst>
              <a:gd name="T0" fmla="*/ 222 w 226"/>
              <a:gd name="T1" fmla="*/ 80 h 332"/>
              <a:gd name="T2" fmla="*/ 210 w 226"/>
              <a:gd name="T3" fmla="*/ 68 h 332"/>
              <a:gd name="T4" fmla="*/ 212 w 226"/>
              <a:gd name="T5" fmla="*/ 52 h 332"/>
              <a:gd name="T6" fmla="*/ 212 w 226"/>
              <a:gd name="T7" fmla="*/ 34 h 332"/>
              <a:gd name="T8" fmla="*/ 206 w 226"/>
              <a:gd name="T9" fmla="*/ 18 h 332"/>
              <a:gd name="T10" fmla="*/ 196 w 226"/>
              <a:gd name="T11" fmla="*/ 12 h 332"/>
              <a:gd name="T12" fmla="*/ 190 w 226"/>
              <a:gd name="T13" fmla="*/ 0 h 332"/>
              <a:gd name="T14" fmla="*/ 168 w 226"/>
              <a:gd name="T15" fmla="*/ 22 h 332"/>
              <a:gd name="T16" fmla="*/ 144 w 226"/>
              <a:gd name="T17" fmla="*/ 20 h 332"/>
              <a:gd name="T18" fmla="*/ 36 w 226"/>
              <a:gd name="T19" fmla="*/ 126 h 332"/>
              <a:gd name="T20" fmla="*/ 22 w 226"/>
              <a:gd name="T21" fmla="*/ 126 h 332"/>
              <a:gd name="T22" fmla="*/ 16 w 226"/>
              <a:gd name="T23" fmla="*/ 134 h 332"/>
              <a:gd name="T24" fmla="*/ 14 w 226"/>
              <a:gd name="T25" fmla="*/ 144 h 332"/>
              <a:gd name="T26" fmla="*/ 8 w 226"/>
              <a:gd name="T27" fmla="*/ 160 h 332"/>
              <a:gd name="T28" fmla="*/ 4 w 226"/>
              <a:gd name="T29" fmla="*/ 168 h 332"/>
              <a:gd name="T30" fmla="*/ 0 w 226"/>
              <a:gd name="T31" fmla="*/ 176 h 332"/>
              <a:gd name="T32" fmla="*/ 8 w 226"/>
              <a:gd name="T33" fmla="*/ 178 h 332"/>
              <a:gd name="T34" fmla="*/ 8 w 226"/>
              <a:gd name="T35" fmla="*/ 186 h 332"/>
              <a:gd name="T36" fmla="*/ 10 w 226"/>
              <a:gd name="T37" fmla="*/ 198 h 332"/>
              <a:gd name="T38" fmla="*/ 12 w 226"/>
              <a:gd name="T39" fmla="*/ 208 h 332"/>
              <a:gd name="T40" fmla="*/ 20 w 226"/>
              <a:gd name="T41" fmla="*/ 226 h 332"/>
              <a:gd name="T42" fmla="*/ 26 w 226"/>
              <a:gd name="T43" fmla="*/ 236 h 332"/>
              <a:gd name="T44" fmla="*/ 32 w 226"/>
              <a:gd name="T45" fmla="*/ 254 h 332"/>
              <a:gd name="T46" fmla="*/ 36 w 226"/>
              <a:gd name="T47" fmla="*/ 260 h 332"/>
              <a:gd name="T48" fmla="*/ 50 w 226"/>
              <a:gd name="T49" fmla="*/ 266 h 332"/>
              <a:gd name="T50" fmla="*/ 56 w 226"/>
              <a:gd name="T51" fmla="*/ 274 h 332"/>
              <a:gd name="T52" fmla="*/ 70 w 226"/>
              <a:gd name="T53" fmla="*/ 286 h 332"/>
              <a:gd name="T54" fmla="*/ 72 w 226"/>
              <a:gd name="T55" fmla="*/ 294 h 332"/>
              <a:gd name="T56" fmla="*/ 80 w 226"/>
              <a:gd name="T57" fmla="*/ 310 h 332"/>
              <a:gd name="T58" fmla="*/ 88 w 226"/>
              <a:gd name="T59" fmla="*/ 310 h 332"/>
              <a:gd name="T60" fmla="*/ 98 w 226"/>
              <a:gd name="T61" fmla="*/ 314 h 332"/>
              <a:gd name="T62" fmla="*/ 108 w 226"/>
              <a:gd name="T63" fmla="*/ 314 h 332"/>
              <a:gd name="T64" fmla="*/ 122 w 226"/>
              <a:gd name="T65" fmla="*/ 326 h 332"/>
              <a:gd name="T66" fmla="*/ 134 w 226"/>
              <a:gd name="T67" fmla="*/ 332 h 332"/>
              <a:gd name="T68" fmla="*/ 146 w 226"/>
              <a:gd name="T69" fmla="*/ 324 h 332"/>
              <a:gd name="T70" fmla="*/ 158 w 226"/>
              <a:gd name="T71" fmla="*/ 326 h 332"/>
              <a:gd name="T72" fmla="*/ 180 w 226"/>
              <a:gd name="T73" fmla="*/ 316 h 332"/>
              <a:gd name="T74" fmla="*/ 192 w 226"/>
              <a:gd name="T75" fmla="*/ 314 h 332"/>
              <a:gd name="T76" fmla="*/ 186 w 226"/>
              <a:gd name="T77" fmla="*/ 310 h 332"/>
              <a:gd name="T78" fmla="*/ 174 w 226"/>
              <a:gd name="T79" fmla="*/ 298 h 332"/>
              <a:gd name="T80" fmla="*/ 168 w 226"/>
              <a:gd name="T81" fmla="*/ 284 h 332"/>
              <a:gd name="T82" fmla="*/ 156 w 226"/>
              <a:gd name="T83" fmla="*/ 270 h 332"/>
              <a:gd name="T84" fmla="*/ 146 w 226"/>
              <a:gd name="T85" fmla="*/ 268 h 332"/>
              <a:gd name="T86" fmla="*/ 158 w 226"/>
              <a:gd name="T87" fmla="*/ 258 h 332"/>
              <a:gd name="T88" fmla="*/ 162 w 226"/>
              <a:gd name="T89" fmla="*/ 250 h 332"/>
              <a:gd name="T90" fmla="*/ 168 w 226"/>
              <a:gd name="T91" fmla="*/ 222 h 332"/>
              <a:gd name="T92" fmla="*/ 174 w 226"/>
              <a:gd name="T93" fmla="*/ 206 h 332"/>
              <a:gd name="T94" fmla="*/ 184 w 226"/>
              <a:gd name="T95" fmla="*/ 192 h 332"/>
              <a:gd name="T96" fmla="*/ 190 w 226"/>
              <a:gd name="T97" fmla="*/ 176 h 332"/>
              <a:gd name="T98" fmla="*/ 202 w 226"/>
              <a:gd name="T99" fmla="*/ 156 h 332"/>
              <a:gd name="T100" fmla="*/ 202 w 226"/>
              <a:gd name="T101" fmla="*/ 130 h 332"/>
              <a:gd name="T102" fmla="*/ 206 w 226"/>
              <a:gd name="T103" fmla="*/ 112 h 332"/>
              <a:gd name="T104" fmla="*/ 208 w 226"/>
              <a:gd name="T105" fmla="*/ 100 h 332"/>
              <a:gd name="T106" fmla="*/ 212 w 226"/>
              <a:gd name="T107" fmla="*/ 9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32">
                <a:moveTo>
                  <a:pt x="226" y="88"/>
                </a:moveTo>
                <a:lnTo>
                  <a:pt x="226" y="88"/>
                </a:lnTo>
                <a:lnTo>
                  <a:pt x="224" y="84"/>
                </a:lnTo>
                <a:lnTo>
                  <a:pt x="222" y="80"/>
                </a:lnTo>
                <a:lnTo>
                  <a:pt x="222" y="80"/>
                </a:lnTo>
                <a:lnTo>
                  <a:pt x="214" y="78"/>
                </a:lnTo>
                <a:lnTo>
                  <a:pt x="214" y="78"/>
                </a:lnTo>
                <a:lnTo>
                  <a:pt x="212" y="74"/>
                </a:lnTo>
                <a:lnTo>
                  <a:pt x="212" y="70"/>
                </a:lnTo>
                <a:lnTo>
                  <a:pt x="210" y="68"/>
                </a:lnTo>
                <a:lnTo>
                  <a:pt x="210" y="68"/>
                </a:lnTo>
                <a:lnTo>
                  <a:pt x="210" y="58"/>
                </a:lnTo>
                <a:lnTo>
                  <a:pt x="210" y="54"/>
                </a:lnTo>
                <a:lnTo>
                  <a:pt x="210" y="54"/>
                </a:lnTo>
                <a:lnTo>
                  <a:pt x="212" y="52"/>
                </a:lnTo>
                <a:lnTo>
                  <a:pt x="212" y="52"/>
                </a:lnTo>
                <a:lnTo>
                  <a:pt x="212" y="42"/>
                </a:lnTo>
                <a:lnTo>
                  <a:pt x="210" y="40"/>
                </a:lnTo>
                <a:lnTo>
                  <a:pt x="210" y="40"/>
                </a:lnTo>
                <a:lnTo>
                  <a:pt x="212" y="34"/>
                </a:lnTo>
                <a:lnTo>
                  <a:pt x="212" y="34"/>
                </a:lnTo>
                <a:lnTo>
                  <a:pt x="208" y="32"/>
                </a:lnTo>
                <a:lnTo>
                  <a:pt x="208" y="32"/>
                </a:lnTo>
                <a:lnTo>
                  <a:pt x="206" y="26"/>
                </a:lnTo>
                <a:lnTo>
                  <a:pt x="206" y="18"/>
                </a:lnTo>
                <a:lnTo>
                  <a:pt x="206" y="18"/>
                </a:lnTo>
                <a:lnTo>
                  <a:pt x="202" y="18"/>
                </a:lnTo>
                <a:lnTo>
                  <a:pt x="200" y="16"/>
                </a:lnTo>
                <a:lnTo>
                  <a:pt x="200" y="16"/>
                </a:lnTo>
                <a:lnTo>
                  <a:pt x="196" y="12"/>
                </a:lnTo>
                <a:lnTo>
                  <a:pt x="192" y="6"/>
                </a:lnTo>
                <a:lnTo>
                  <a:pt x="190" y="6"/>
                </a:lnTo>
                <a:lnTo>
                  <a:pt x="190" y="6"/>
                </a:lnTo>
                <a:lnTo>
                  <a:pt x="190" y="0"/>
                </a:lnTo>
                <a:lnTo>
                  <a:pt x="190" y="0"/>
                </a:lnTo>
                <a:lnTo>
                  <a:pt x="182" y="4"/>
                </a:lnTo>
                <a:lnTo>
                  <a:pt x="178" y="4"/>
                </a:lnTo>
                <a:lnTo>
                  <a:pt x="174" y="12"/>
                </a:lnTo>
                <a:lnTo>
                  <a:pt x="168" y="14"/>
                </a:lnTo>
                <a:lnTo>
                  <a:pt x="168" y="22"/>
                </a:lnTo>
                <a:lnTo>
                  <a:pt x="162" y="24"/>
                </a:lnTo>
                <a:lnTo>
                  <a:pt x="160" y="20"/>
                </a:lnTo>
                <a:lnTo>
                  <a:pt x="148" y="20"/>
                </a:lnTo>
                <a:lnTo>
                  <a:pt x="148" y="18"/>
                </a:lnTo>
                <a:lnTo>
                  <a:pt x="144" y="20"/>
                </a:lnTo>
                <a:lnTo>
                  <a:pt x="48" y="20"/>
                </a:lnTo>
                <a:lnTo>
                  <a:pt x="48" y="52"/>
                </a:lnTo>
                <a:lnTo>
                  <a:pt x="36" y="52"/>
                </a:lnTo>
                <a:lnTo>
                  <a:pt x="36" y="64"/>
                </a:lnTo>
                <a:lnTo>
                  <a:pt x="36" y="126"/>
                </a:lnTo>
                <a:lnTo>
                  <a:pt x="36" y="126"/>
                </a:lnTo>
                <a:lnTo>
                  <a:pt x="32" y="128"/>
                </a:lnTo>
                <a:lnTo>
                  <a:pt x="26" y="126"/>
                </a:lnTo>
                <a:lnTo>
                  <a:pt x="26" y="126"/>
                </a:lnTo>
                <a:lnTo>
                  <a:pt x="22" y="126"/>
                </a:lnTo>
                <a:lnTo>
                  <a:pt x="20" y="126"/>
                </a:lnTo>
                <a:lnTo>
                  <a:pt x="20" y="128"/>
                </a:lnTo>
                <a:lnTo>
                  <a:pt x="20" y="128"/>
                </a:lnTo>
                <a:lnTo>
                  <a:pt x="16" y="132"/>
                </a:lnTo>
                <a:lnTo>
                  <a:pt x="16" y="134"/>
                </a:lnTo>
                <a:lnTo>
                  <a:pt x="16" y="136"/>
                </a:lnTo>
                <a:lnTo>
                  <a:pt x="16" y="136"/>
                </a:lnTo>
                <a:lnTo>
                  <a:pt x="16" y="140"/>
                </a:lnTo>
                <a:lnTo>
                  <a:pt x="14" y="144"/>
                </a:lnTo>
                <a:lnTo>
                  <a:pt x="14" y="144"/>
                </a:lnTo>
                <a:lnTo>
                  <a:pt x="12" y="146"/>
                </a:lnTo>
                <a:lnTo>
                  <a:pt x="12" y="150"/>
                </a:lnTo>
                <a:lnTo>
                  <a:pt x="12" y="150"/>
                </a:lnTo>
                <a:lnTo>
                  <a:pt x="10" y="154"/>
                </a:lnTo>
                <a:lnTo>
                  <a:pt x="8" y="160"/>
                </a:lnTo>
                <a:lnTo>
                  <a:pt x="8" y="160"/>
                </a:lnTo>
                <a:lnTo>
                  <a:pt x="6" y="162"/>
                </a:lnTo>
                <a:lnTo>
                  <a:pt x="4" y="164"/>
                </a:lnTo>
                <a:lnTo>
                  <a:pt x="4" y="164"/>
                </a:lnTo>
                <a:lnTo>
                  <a:pt x="4" y="168"/>
                </a:lnTo>
                <a:lnTo>
                  <a:pt x="0" y="170"/>
                </a:lnTo>
                <a:lnTo>
                  <a:pt x="0" y="170"/>
                </a:lnTo>
                <a:lnTo>
                  <a:pt x="0" y="172"/>
                </a:lnTo>
                <a:lnTo>
                  <a:pt x="0" y="176"/>
                </a:lnTo>
                <a:lnTo>
                  <a:pt x="0" y="176"/>
                </a:lnTo>
                <a:lnTo>
                  <a:pt x="0" y="178"/>
                </a:lnTo>
                <a:lnTo>
                  <a:pt x="2" y="178"/>
                </a:lnTo>
                <a:lnTo>
                  <a:pt x="6" y="176"/>
                </a:lnTo>
                <a:lnTo>
                  <a:pt x="6" y="176"/>
                </a:lnTo>
                <a:lnTo>
                  <a:pt x="8" y="178"/>
                </a:lnTo>
                <a:lnTo>
                  <a:pt x="12" y="180"/>
                </a:lnTo>
                <a:lnTo>
                  <a:pt x="12" y="180"/>
                </a:lnTo>
                <a:lnTo>
                  <a:pt x="12" y="182"/>
                </a:lnTo>
                <a:lnTo>
                  <a:pt x="10" y="184"/>
                </a:lnTo>
                <a:lnTo>
                  <a:pt x="8" y="186"/>
                </a:lnTo>
                <a:lnTo>
                  <a:pt x="8" y="188"/>
                </a:lnTo>
                <a:lnTo>
                  <a:pt x="10" y="192"/>
                </a:lnTo>
                <a:lnTo>
                  <a:pt x="10" y="192"/>
                </a:lnTo>
                <a:lnTo>
                  <a:pt x="10" y="192"/>
                </a:lnTo>
                <a:lnTo>
                  <a:pt x="10" y="198"/>
                </a:lnTo>
                <a:lnTo>
                  <a:pt x="10" y="198"/>
                </a:lnTo>
                <a:lnTo>
                  <a:pt x="8" y="200"/>
                </a:lnTo>
                <a:lnTo>
                  <a:pt x="12" y="204"/>
                </a:lnTo>
                <a:lnTo>
                  <a:pt x="12" y="204"/>
                </a:lnTo>
                <a:lnTo>
                  <a:pt x="12" y="208"/>
                </a:lnTo>
                <a:lnTo>
                  <a:pt x="12" y="210"/>
                </a:lnTo>
                <a:lnTo>
                  <a:pt x="20" y="218"/>
                </a:lnTo>
                <a:lnTo>
                  <a:pt x="20" y="218"/>
                </a:lnTo>
                <a:lnTo>
                  <a:pt x="20" y="220"/>
                </a:lnTo>
                <a:lnTo>
                  <a:pt x="20" y="226"/>
                </a:lnTo>
                <a:lnTo>
                  <a:pt x="20" y="226"/>
                </a:lnTo>
                <a:lnTo>
                  <a:pt x="20" y="230"/>
                </a:lnTo>
                <a:lnTo>
                  <a:pt x="22" y="232"/>
                </a:lnTo>
                <a:lnTo>
                  <a:pt x="22" y="232"/>
                </a:lnTo>
                <a:lnTo>
                  <a:pt x="26" y="236"/>
                </a:lnTo>
                <a:lnTo>
                  <a:pt x="26" y="242"/>
                </a:lnTo>
                <a:lnTo>
                  <a:pt x="26" y="242"/>
                </a:lnTo>
                <a:lnTo>
                  <a:pt x="26" y="246"/>
                </a:lnTo>
                <a:lnTo>
                  <a:pt x="26" y="248"/>
                </a:lnTo>
                <a:lnTo>
                  <a:pt x="32" y="254"/>
                </a:lnTo>
                <a:lnTo>
                  <a:pt x="32" y="254"/>
                </a:lnTo>
                <a:lnTo>
                  <a:pt x="34" y="258"/>
                </a:lnTo>
                <a:lnTo>
                  <a:pt x="36" y="258"/>
                </a:lnTo>
                <a:lnTo>
                  <a:pt x="36" y="260"/>
                </a:lnTo>
                <a:lnTo>
                  <a:pt x="36" y="260"/>
                </a:lnTo>
                <a:lnTo>
                  <a:pt x="40" y="260"/>
                </a:lnTo>
                <a:lnTo>
                  <a:pt x="44" y="262"/>
                </a:lnTo>
                <a:lnTo>
                  <a:pt x="44" y="262"/>
                </a:lnTo>
                <a:lnTo>
                  <a:pt x="46" y="264"/>
                </a:lnTo>
                <a:lnTo>
                  <a:pt x="50" y="266"/>
                </a:lnTo>
                <a:lnTo>
                  <a:pt x="50" y="266"/>
                </a:lnTo>
                <a:lnTo>
                  <a:pt x="52" y="266"/>
                </a:lnTo>
                <a:lnTo>
                  <a:pt x="56" y="268"/>
                </a:lnTo>
                <a:lnTo>
                  <a:pt x="56" y="268"/>
                </a:lnTo>
                <a:lnTo>
                  <a:pt x="56" y="274"/>
                </a:lnTo>
                <a:lnTo>
                  <a:pt x="58" y="276"/>
                </a:lnTo>
                <a:lnTo>
                  <a:pt x="62" y="278"/>
                </a:lnTo>
                <a:lnTo>
                  <a:pt x="62" y="278"/>
                </a:lnTo>
                <a:lnTo>
                  <a:pt x="66" y="280"/>
                </a:lnTo>
                <a:lnTo>
                  <a:pt x="70" y="286"/>
                </a:lnTo>
                <a:lnTo>
                  <a:pt x="70" y="286"/>
                </a:lnTo>
                <a:lnTo>
                  <a:pt x="70" y="292"/>
                </a:lnTo>
                <a:lnTo>
                  <a:pt x="70" y="294"/>
                </a:lnTo>
                <a:lnTo>
                  <a:pt x="72" y="294"/>
                </a:lnTo>
                <a:lnTo>
                  <a:pt x="72" y="294"/>
                </a:lnTo>
                <a:lnTo>
                  <a:pt x="74" y="298"/>
                </a:lnTo>
                <a:lnTo>
                  <a:pt x="74" y="300"/>
                </a:lnTo>
                <a:lnTo>
                  <a:pt x="78" y="306"/>
                </a:lnTo>
                <a:lnTo>
                  <a:pt x="78" y="306"/>
                </a:lnTo>
                <a:lnTo>
                  <a:pt x="80" y="310"/>
                </a:lnTo>
                <a:lnTo>
                  <a:pt x="82" y="314"/>
                </a:lnTo>
                <a:lnTo>
                  <a:pt x="82" y="314"/>
                </a:lnTo>
                <a:lnTo>
                  <a:pt x="86" y="314"/>
                </a:lnTo>
                <a:lnTo>
                  <a:pt x="88" y="310"/>
                </a:lnTo>
                <a:lnTo>
                  <a:pt x="88" y="310"/>
                </a:lnTo>
                <a:lnTo>
                  <a:pt x="88" y="308"/>
                </a:lnTo>
                <a:lnTo>
                  <a:pt x="90" y="310"/>
                </a:lnTo>
                <a:lnTo>
                  <a:pt x="96" y="314"/>
                </a:lnTo>
                <a:lnTo>
                  <a:pt x="96" y="314"/>
                </a:lnTo>
                <a:lnTo>
                  <a:pt x="98" y="314"/>
                </a:lnTo>
                <a:lnTo>
                  <a:pt x="100" y="312"/>
                </a:lnTo>
                <a:lnTo>
                  <a:pt x="100" y="312"/>
                </a:lnTo>
                <a:lnTo>
                  <a:pt x="102" y="310"/>
                </a:lnTo>
                <a:lnTo>
                  <a:pt x="104" y="310"/>
                </a:lnTo>
                <a:lnTo>
                  <a:pt x="108" y="314"/>
                </a:lnTo>
                <a:lnTo>
                  <a:pt x="108" y="314"/>
                </a:lnTo>
                <a:lnTo>
                  <a:pt x="114" y="322"/>
                </a:lnTo>
                <a:lnTo>
                  <a:pt x="114" y="322"/>
                </a:lnTo>
                <a:lnTo>
                  <a:pt x="118" y="324"/>
                </a:lnTo>
                <a:lnTo>
                  <a:pt x="122" y="326"/>
                </a:lnTo>
                <a:lnTo>
                  <a:pt x="122" y="326"/>
                </a:lnTo>
                <a:lnTo>
                  <a:pt x="124" y="328"/>
                </a:lnTo>
                <a:lnTo>
                  <a:pt x="126" y="326"/>
                </a:lnTo>
                <a:lnTo>
                  <a:pt x="134" y="332"/>
                </a:lnTo>
                <a:lnTo>
                  <a:pt x="134" y="332"/>
                </a:lnTo>
                <a:lnTo>
                  <a:pt x="136" y="328"/>
                </a:lnTo>
                <a:lnTo>
                  <a:pt x="140" y="326"/>
                </a:lnTo>
                <a:lnTo>
                  <a:pt x="144" y="324"/>
                </a:lnTo>
                <a:lnTo>
                  <a:pt x="144" y="324"/>
                </a:lnTo>
                <a:lnTo>
                  <a:pt x="146" y="324"/>
                </a:lnTo>
                <a:lnTo>
                  <a:pt x="148" y="324"/>
                </a:lnTo>
                <a:lnTo>
                  <a:pt x="148" y="324"/>
                </a:lnTo>
                <a:lnTo>
                  <a:pt x="152" y="322"/>
                </a:lnTo>
                <a:lnTo>
                  <a:pt x="156" y="324"/>
                </a:lnTo>
                <a:lnTo>
                  <a:pt x="158" y="326"/>
                </a:lnTo>
                <a:lnTo>
                  <a:pt x="164" y="322"/>
                </a:lnTo>
                <a:lnTo>
                  <a:pt x="170" y="320"/>
                </a:lnTo>
                <a:lnTo>
                  <a:pt x="174" y="316"/>
                </a:lnTo>
                <a:lnTo>
                  <a:pt x="174" y="316"/>
                </a:lnTo>
                <a:lnTo>
                  <a:pt x="180" y="316"/>
                </a:lnTo>
                <a:lnTo>
                  <a:pt x="186" y="316"/>
                </a:lnTo>
                <a:lnTo>
                  <a:pt x="192" y="322"/>
                </a:lnTo>
                <a:lnTo>
                  <a:pt x="192" y="318"/>
                </a:lnTo>
                <a:lnTo>
                  <a:pt x="192" y="318"/>
                </a:lnTo>
                <a:lnTo>
                  <a:pt x="192" y="314"/>
                </a:lnTo>
                <a:lnTo>
                  <a:pt x="192" y="312"/>
                </a:lnTo>
                <a:lnTo>
                  <a:pt x="190" y="310"/>
                </a:lnTo>
                <a:lnTo>
                  <a:pt x="190" y="310"/>
                </a:lnTo>
                <a:lnTo>
                  <a:pt x="186" y="310"/>
                </a:lnTo>
                <a:lnTo>
                  <a:pt x="186" y="310"/>
                </a:lnTo>
                <a:lnTo>
                  <a:pt x="180" y="308"/>
                </a:lnTo>
                <a:lnTo>
                  <a:pt x="178" y="308"/>
                </a:lnTo>
                <a:lnTo>
                  <a:pt x="178" y="304"/>
                </a:lnTo>
                <a:lnTo>
                  <a:pt x="178" y="304"/>
                </a:lnTo>
                <a:lnTo>
                  <a:pt x="174" y="298"/>
                </a:lnTo>
                <a:lnTo>
                  <a:pt x="172" y="290"/>
                </a:lnTo>
                <a:lnTo>
                  <a:pt x="172" y="290"/>
                </a:lnTo>
                <a:lnTo>
                  <a:pt x="172" y="286"/>
                </a:lnTo>
                <a:lnTo>
                  <a:pt x="168" y="284"/>
                </a:lnTo>
                <a:lnTo>
                  <a:pt x="168" y="284"/>
                </a:lnTo>
                <a:lnTo>
                  <a:pt x="166" y="280"/>
                </a:lnTo>
                <a:lnTo>
                  <a:pt x="162" y="276"/>
                </a:lnTo>
                <a:lnTo>
                  <a:pt x="162" y="276"/>
                </a:lnTo>
                <a:lnTo>
                  <a:pt x="160" y="272"/>
                </a:lnTo>
                <a:lnTo>
                  <a:pt x="156" y="270"/>
                </a:lnTo>
                <a:lnTo>
                  <a:pt x="156" y="270"/>
                </a:lnTo>
                <a:lnTo>
                  <a:pt x="150" y="270"/>
                </a:lnTo>
                <a:lnTo>
                  <a:pt x="148" y="270"/>
                </a:lnTo>
                <a:lnTo>
                  <a:pt x="146" y="268"/>
                </a:lnTo>
                <a:lnTo>
                  <a:pt x="146" y="268"/>
                </a:lnTo>
                <a:lnTo>
                  <a:pt x="148" y="260"/>
                </a:lnTo>
                <a:lnTo>
                  <a:pt x="148" y="260"/>
                </a:lnTo>
                <a:lnTo>
                  <a:pt x="154" y="260"/>
                </a:lnTo>
                <a:lnTo>
                  <a:pt x="154" y="260"/>
                </a:lnTo>
                <a:lnTo>
                  <a:pt x="158" y="258"/>
                </a:lnTo>
                <a:lnTo>
                  <a:pt x="158" y="258"/>
                </a:lnTo>
                <a:lnTo>
                  <a:pt x="158" y="258"/>
                </a:lnTo>
                <a:lnTo>
                  <a:pt x="160" y="254"/>
                </a:lnTo>
                <a:lnTo>
                  <a:pt x="162" y="250"/>
                </a:lnTo>
                <a:lnTo>
                  <a:pt x="162" y="250"/>
                </a:lnTo>
                <a:lnTo>
                  <a:pt x="162" y="234"/>
                </a:lnTo>
                <a:lnTo>
                  <a:pt x="162" y="234"/>
                </a:lnTo>
                <a:lnTo>
                  <a:pt x="162" y="232"/>
                </a:lnTo>
                <a:lnTo>
                  <a:pt x="166" y="228"/>
                </a:lnTo>
                <a:lnTo>
                  <a:pt x="168" y="222"/>
                </a:lnTo>
                <a:lnTo>
                  <a:pt x="168" y="218"/>
                </a:lnTo>
                <a:lnTo>
                  <a:pt x="168" y="218"/>
                </a:lnTo>
                <a:lnTo>
                  <a:pt x="168" y="210"/>
                </a:lnTo>
                <a:lnTo>
                  <a:pt x="168" y="210"/>
                </a:lnTo>
                <a:lnTo>
                  <a:pt x="174" y="206"/>
                </a:lnTo>
                <a:lnTo>
                  <a:pt x="174" y="206"/>
                </a:lnTo>
                <a:lnTo>
                  <a:pt x="178" y="204"/>
                </a:lnTo>
                <a:lnTo>
                  <a:pt x="180" y="200"/>
                </a:lnTo>
                <a:lnTo>
                  <a:pt x="180" y="200"/>
                </a:lnTo>
                <a:lnTo>
                  <a:pt x="184" y="192"/>
                </a:lnTo>
                <a:lnTo>
                  <a:pt x="184" y="192"/>
                </a:lnTo>
                <a:lnTo>
                  <a:pt x="186" y="186"/>
                </a:lnTo>
                <a:lnTo>
                  <a:pt x="188" y="180"/>
                </a:lnTo>
                <a:lnTo>
                  <a:pt x="188" y="180"/>
                </a:lnTo>
                <a:lnTo>
                  <a:pt x="190" y="176"/>
                </a:lnTo>
                <a:lnTo>
                  <a:pt x="192" y="172"/>
                </a:lnTo>
                <a:lnTo>
                  <a:pt x="196" y="168"/>
                </a:lnTo>
                <a:lnTo>
                  <a:pt x="196" y="168"/>
                </a:lnTo>
                <a:lnTo>
                  <a:pt x="202" y="156"/>
                </a:lnTo>
                <a:lnTo>
                  <a:pt x="202" y="156"/>
                </a:lnTo>
                <a:lnTo>
                  <a:pt x="202" y="150"/>
                </a:lnTo>
                <a:lnTo>
                  <a:pt x="202" y="142"/>
                </a:lnTo>
                <a:lnTo>
                  <a:pt x="202" y="142"/>
                </a:lnTo>
                <a:lnTo>
                  <a:pt x="202" y="136"/>
                </a:lnTo>
                <a:lnTo>
                  <a:pt x="202" y="130"/>
                </a:lnTo>
                <a:lnTo>
                  <a:pt x="202" y="130"/>
                </a:lnTo>
                <a:lnTo>
                  <a:pt x="206" y="124"/>
                </a:lnTo>
                <a:lnTo>
                  <a:pt x="206" y="118"/>
                </a:lnTo>
                <a:lnTo>
                  <a:pt x="206" y="118"/>
                </a:lnTo>
                <a:lnTo>
                  <a:pt x="206" y="112"/>
                </a:lnTo>
                <a:lnTo>
                  <a:pt x="208" y="108"/>
                </a:lnTo>
                <a:lnTo>
                  <a:pt x="208" y="108"/>
                </a:lnTo>
                <a:lnTo>
                  <a:pt x="208" y="102"/>
                </a:lnTo>
                <a:lnTo>
                  <a:pt x="208" y="102"/>
                </a:lnTo>
                <a:lnTo>
                  <a:pt x="208" y="100"/>
                </a:lnTo>
                <a:lnTo>
                  <a:pt x="208" y="100"/>
                </a:lnTo>
                <a:lnTo>
                  <a:pt x="210" y="100"/>
                </a:lnTo>
                <a:lnTo>
                  <a:pt x="210" y="98"/>
                </a:lnTo>
                <a:lnTo>
                  <a:pt x="212" y="94"/>
                </a:lnTo>
                <a:lnTo>
                  <a:pt x="212" y="94"/>
                </a:lnTo>
                <a:lnTo>
                  <a:pt x="214" y="92"/>
                </a:lnTo>
                <a:lnTo>
                  <a:pt x="216" y="92"/>
                </a:lnTo>
                <a:lnTo>
                  <a:pt x="222" y="94"/>
                </a:lnTo>
                <a:lnTo>
                  <a:pt x="226" y="8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6" name="Freeform 40">
            <a:extLst>
              <a:ext uri="{FF2B5EF4-FFF2-40B4-BE49-F238E27FC236}">
                <a16:creationId xmlns:a16="http://schemas.microsoft.com/office/drawing/2014/main" id="{6C3CD550-6A0B-44FB-B7C4-CCBD5C405830}"/>
              </a:ext>
            </a:extLst>
          </p:cNvPr>
          <p:cNvSpPr>
            <a:spLocks/>
          </p:cNvSpPr>
          <p:nvPr userDrawn="1"/>
        </p:nvSpPr>
        <p:spPr bwMode="auto">
          <a:xfrm>
            <a:off x="7631796" y="3412953"/>
            <a:ext cx="50311" cy="109823"/>
          </a:xfrm>
          <a:custGeom>
            <a:avLst/>
            <a:gdLst>
              <a:gd name="T0" fmla="*/ 4 w 30"/>
              <a:gd name="T1" fmla="*/ 0 h 64"/>
              <a:gd name="T2" fmla="*/ 4 w 30"/>
              <a:gd name="T3" fmla="*/ 0 h 64"/>
              <a:gd name="T4" fmla="*/ 4 w 30"/>
              <a:gd name="T5" fmla="*/ 2 h 64"/>
              <a:gd name="T6" fmla="*/ 4 w 30"/>
              <a:gd name="T7" fmla="*/ 2 h 64"/>
              <a:gd name="T8" fmla="*/ 4 w 30"/>
              <a:gd name="T9" fmla="*/ 6 h 64"/>
              <a:gd name="T10" fmla="*/ 6 w 30"/>
              <a:gd name="T11" fmla="*/ 8 h 64"/>
              <a:gd name="T12" fmla="*/ 6 w 30"/>
              <a:gd name="T13" fmla="*/ 10 h 64"/>
              <a:gd name="T14" fmla="*/ 6 w 30"/>
              <a:gd name="T15" fmla="*/ 10 h 64"/>
              <a:gd name="T16" fmla="*/ 4 w 30"/>
              <a:gd name="T17" fmla="*/ 12 h 64"/>
              <a:gd name="T18" fmla="*/ 4 w 30"/>
              <a:gd name="T19" fmla="*/ 12 h 64"/>
              <a:gd name="T20" fmla="*/ 4 w 30"/>
              <a:gd name="T21" fmla="*/ 18 h 64"/>
              <a:gd name="T22" fmla="*/ 4 w 30"/>
              <a:gd name="T23" fmla="*/ 18 h 64"/>
              <a:gd name="T24" fmla="*/ 0 w 30"/>
              <a:gd name="T25" fmla="*/ 28 h 64"/>
              <a:gd name="T26" fmla="*/ 0 w 30"/>
              <a:gd name="T27" fmla="*/ 28 h 64"/>
              <a:gd name="T28" fmla="*/ 0 w 30"/>
              <a:gd name="T29" fmla="*/ 28 h 64"/>
              <a:gd name="T30" fmla="*/ 0 w 30"/>
              <a:gd name="T31" fmla="*/ 28 h 64"/>
              <a:gd name="T32" fmla="*/ 0 w 30"/>
              <a:gd name="T33" fmla="*/ 36 h 64"/>
              <a:gd name="T34" fmla="*/ 2 w 30"/>
              <a:gd name="T35" fmla="*/ 44 h 64"/>
              <a:gd name="T36" fmla="*/ 2 w 30"/>
              <a:gd name="T37" fmla="*/ 44 h 64"/>
              <a:gd name="T38" fmla="*/ 2 w 30"/>
              <a:gd name="T39" fmla="*/ 50 h 64"/>
              <a:gd name="T40" fmla="*/ 4 w 30"/>
              <a:gd name="T41" fmla="*/ 56 h 64"/>
              <a:gd name="T42" fmla="*/ 6 w 30"/>
              <a:gd name="T43" fmla="*/ 58 h 64"/>
              <a:gd name="T44" fmla="*/ 6 w 30"/>
              <a:gd name="T45" fmla="*/ 58 h 64"/>
              <a:gd name="T46" fmla="*/ 8 w 30"/>
              <a:gd name="T47" fmla="*/ 62 h 64"/>
              <a:gd name="T48" fmla="*/ 8 w 30"/>
              <a:gd name="T49" fmla="*/ 62 h 64"/>
              <a:gd name="T50" fmla="*/ 14 w 30"/>
              <a:gd name="T51" fmla="*/ 64 h 64"/>
              <a:gd name="T52" fmla="*/ 14 w 30"/>
              <a:gd name="T53" fmla="*/ 64 h 64"/>
              <a:gd name="T54" fmla="*/ 20 w 30"/>
              <a:gd name="T55" fmla="*/ 60 h 64"/>
              <a:gd name="T56" fmla="*/ 26 w 30"/>
              <a:gd name="T57" fmla="*/ 56 h 64"/>
              <a:gd name="T58" fmla="*/ 26 w 30"/>
              <a:gd name="T59" fmla="*/ 56 h 64"/>
              <a:gd name="T60" fmla="*/ 28 w 30"/>
              <a:gd name="T61" fmla="*/ 52 h 64"/>
              <a:gd name="T62" fmla="*/ 30 w 30"/>
              <a:gd name="T63" fmla="*/ 48 h 64"/>
              <a:gd name="T64" fmla="*/ 30 w 30"/>
              <a:gd name="T65" fmla="*/ 38 h 64"/>
              <a:gd name="T66" fmla="*/ 30 w 30"/>
              <a:gd name="T67" fmla="*/ 38 h 64"/>
              <a:gd name="T68" fmla="*/ 28 w 30"/>
              <a:gd name="T69" fmla="*/ 38 h 64"/>
              <a:gd name="T70" fmla="*/ 28 w 30"/>
              <a:gd name="T71" fmla="*/ 38 h 64"/>
              <a:gd name="T72" fmla="*/ 28 w 30"/>
              <a:gd name="T73" fmla="*/ 30 h 64"/>
              <a:gd name="T74" fmla="*/ 28 w 30"/>
              <a:gd name="T75" fmla="*/ 30 h 64"/>
              <a:gd name="T76" fmla="*/ 24 w 30"/>
              <a:gd name="T77" fmla="*/ 26 h 64"/>
              <a:gd name="T78" fmla="*/ 24 w 30"/>
              <a:gd name="T79" fmla="*/ 26 h 64"/>
              <a:gd name="T80" fmla="*/ 22 w 30"/>
              <a:gd name="T81" fmla="*/ 20 h 64"/>
              <a:gd name="T82" fmla="*/ 22 w 30"/>
              <a:gd name="T83" fmla="*/ 20 h 64"/>
              <a:gd name="T84" fmla="*/ 20 w 30"/>
              <a:gd name="T85" fmla="*/ 20 h 64"/>
              <a:gd name="T86" fmla="*/ 16 w 30"/>
              <a:gd name="T87" fmla="*/ 16 h 64"/>
              <a:gd name="T88" fmla="*/ 16 w 30"/>
              <a:gd name="T89" fmla="*/ 16 h 64"/>
              <a:gd name="T90" fmla="*/ 16 w 30"/>
              <a:gd name="T91" fmla="*/ 14 h 64"/>
              <a:gd name="T92" fmla="*/ 16 w 30"/>
              <a:gd name="T93" fmla="*/ 14 h 64"/>
              <a:gd name="T94" fmla="*/ 12 w 30"/>
              <a:gd name="T95" fmla="*/ 12 h 64"/>
              <a:gd name="T96" fmla="*/ 12 w 30"/>
              <a:gd name="T97" fmla="*/ 12 h 64"/>
              <a:gd name="T98" fmla="*/ 10 w 30"/>
              <a:gd name="T99" fmla="*/ 6 h 64"/>
              <a:gd name="T100" fmla="*/ 8 w 30"/>
              <a:gd name="T101" fmla="*/ 0 h 64"/>
              <a:gd name="T102" fmla="*/ 8 w 30"/>
              <a:gd name="T103" fmla="*/ 0 h 64"/>
              <a:gd name="T104" fmla="*/ 4 w 30"/>
              <a:gd name="T105" fmla="*/ 0 h 64"/>
              <a:gd name="T106" fmla="*/ 4 w 30"/>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 h="64">
                <a:moveTo>
                  <a:pt x="4" y="0"/>
                </a:moveTo>
                <a:lnTo>
                  <a:pt x="4" y="0"/>
                </a:lnTo>
                <a:lnTo>
                  <a:pt x="4" y="2"/>
                </a:lnTo>
                <a:lnTo>
                  <a:pt x="4" y="2"/>
                </a:lnTo>
                <a:lnTo>
                  <a:pt x="4" y="6"/>
                </a:lnTo>
                <a:lnTo>
                  <a:pt x="6" y="8"/>
                </a:lnTo>
                <a:lnTo>
                  <a:pt x="6" y="10"/>
                </a:lnTo>
                <a:lnTo>
                  <a:pt x="6" y="10"/>
                </a:lnTo>
                <a:lnTo>
                  <a:pt x="4" y="12"/>
                </a:lnTo>
                <a:lnTo>
                  <a:pt x="4" y="12"/>
                </a:lnTo>
                <a:lnTo>
                  <a:pt x="4" y="18"/>
                </a:lnTo>
                <a:lnTo>
                  <a:pt x="4" y="18"/>
                </a:lnTo>
                <a:lnTo>
                  <a:pt x="0" y="28"/>
                </a:lnTo>
                <a:lnTo>
                  <a:pt x="0" y="28"/>
                </a:lnTo>
                <a:lnTo>
                  <a:pt x="0" y="28"/>
                </a:lnTo>
                <a:lnTo>
                  <a:pt x="0" y="28"/>
                </a:lnTo>
                <a:lnTo>
                  <a:pt x="0" y="36"/>
                </a:lnTo>
                <a:lnTo>
                  <a:pt x="2" y="44"/>
                </a:lnTo>
                <a:lnTo>
                  <a:pt x="2" y="44"/>
                </a:lnTo>
                <a:lnTo>
                  <a:pt x="2" y="50"/>
                </a:lnTo>
                <a:lnTo>
                  <a:pt x="4" y="56"/>
                </a:lnTo>
                <a:lnTo>
                  <a:pt x="6" y="58"/>
                </a:lnTo>
                <a:lnTo>
                  <a:pt x="6" y="58"/>
                </a:lnTo>
                <a:lnTo>
                  <a:pt x="8" y="62"/>
                </a:lnTo>
                <a:lnTo>
                  <a:pt x="8" y="62"/>
                </a:lnTo>
                <a:lnTo>
                  <a:pt x="14" y="64"/>
                </a:lnTo>
                <a:lnTo>
                  <a:pt x="14" y="64"/>
                </a:lnTo>
                <a:lnTo>
                  <a:pt x="20" y="60"/>
                </a:lnTo>
                <a:lnTo>
                  <a:pt x="26" y="56"/>
                </a:lnTo>
                <a:lnTo>
                  <a:pt x="26" y="56"/>
                </a:lnTo>
                <a:lnTo>
                  <a:pt x="28" y="52"/>
                </a:lnTo>
                <a:lnTo>
                  <a:pt x="30" y="48"/>
                </a:lnTo>
                <a:lnTo>
                  <a:pt x="30" y="38"/>
                </a:lnTo>
                <a:lnTo>
                  <a:pt x="30" y="38"/>
                </a:lnTo>
                <a:lnTo>
                  <a:pt x="28" y="38"/>
                </a:lnTo>
                <a:lnTo>
                  <a:pt x="28" y="38"/>
                </a:lnTo>
                <a:lnTo>
                  <a:pt x="28" y="30"/>
                </a:lnTo>
                <a:lnTo>
                  <a:pt x="28" y="30"/>
                </a:lnTo>
                <a:lnTo>
                  <a:pt x="24" y="26"/>
                </a:lnTo>
                <a:lnTo>
                  <a:pt x="24" y="26"/>
                </a:lnTo>
                <a:lnTo>
                  <a:pt x="22" y="20"/>
                </a:lnTo>
                <a:lnTo>
                  <a:pt x="22" y="20"/>
                </a:lnTo>
                <a:lnTo>
                  <a:pt x="20" y="20"/>
                </a:lnTo>
                <a:lnTo>
                  <a:pt x="16" y="16"/>
                </a:lnTo>
                <a:lnTo>
                  <a:pt x="16" y="16"/>
                </a:lnTo>
                <a:lnTo>
                  <a:pt x="16" y="14"/>
                </a:lnTo>
                <a:lnTo>
                  <a:pt x="16" y="14"/>
                </a:lnTo>
                <a:lnTo>
                  <a:pt x="12" y="12"/>
                </a:lnTo>
                <a:lnTo>
                  <a:pt x="12" y="12"/>
                </a:lnTo>
                <a:lnTo>
                  <a:pt x="10" y="6"/>
                </a:lnTo>
                <a:lnTo>
                  <a:pt x="8" y="0"/>
                </a:lnTo>
                <a:lnTo>
                  <a:pt x="8" y="0"/>
                </a:lnTo>
                <a:lnTo>
                  <a:pt x="4"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7" name="Freeform 41">
            <a:extLst>
              <a:ext uri="{FF2B5EF4-FFF2-40B4-BE49-F238E27FC236}">
                <a16:creationId xmlns:a16="http://schemas.microsoft.com/office/drawing/2014/main" id="{41CBB549-034A-4E91-BCFA-8ADFE0D1189D}"/>
              </a:ext>
            </a:extLst>
          </p:cNvPr>
          <p:cNvSpPr>
            <a:spLocks noEditPoints="1"/>
          </p:cNvSpPr>
          <p:nvPr userDrawn="1"/>
        </p:nvSpPr>
        <p:spPr bwMode="auto">
          <a:xfrm>
            <a:off x="5644509" y="2379930"/>
            <a:ext cx="328699" cy="240238"/>
          </a:xfrm>
          <a:custGeom>
            <a:avLst/>
            <a:gdLst>
              <a:gd name="T0" fmla="*/ 170 w 196"/>
              <a:gd name="T1" fmla="*/ 34 h 140"/>
              <a:gd name="T2" fmla="*/ 156 w 196"/>
              <a:gd name="T3" fmla="*/ 42 h 140"/>
              <a:gd name="T4" fmla="*/ 150 w 196"/>
              <a:gd name="T5" fmla="*/ 48 h 140"/>
              <a:gd name="T6" fmla="*/ 142 w 196"/>
              <a:gd name="T7" fmla="*/ 56 h 140"/>
              <a:gd name="T8" fmla="*/ 136 w 196"/>
              <a:gd name="T9" fmla="*/ 62 h 140"/>
              <a:gd name="T10" fmla="*/ 128 w 196"/>
              <a:gd name="T11" fmla="*/ 72 h 140"/>
              <a:gd name="T12" fmla="*/ 124 w 196"/>
              <a:gd name="T13" fmla="*/ 82 h 140"/>
              <a:gd name="T14" fmla="*/ 128 w 196"/>
              <a:gd name="T15" fmla="*/ 88 h 140"/>
              <a:gd name="T16" fmla="*/ 120 w 196"/>
              <a:gd name="T17" fmla="*/ 100 h 140"/>
              <a:gd name="T18" fmla="*/ 114 w 196"/>
              <a:gd name="T19" fmla="*/ 108 h 140"/>
              <a:gd name="T20" fmla="*/ 108 w 196"/>
              <a:gd name="T21" fmla="*/ 114 h 140"/>
              <a:gd name="T22" fmla="*/ 94 w 196"/>
              <a:gd name="T23" fmla="*/ 128 h 140"/>
              <a:gd name="T24" fmla="*/ 88 w 196"/>
              <a:gd name="T25" fmla="*/ 132 h 140"/>
              <a:gd name="T26" fmla="*/ 66 w 196"/>
              <a:gd name="T27" fmla="*/ 130 h 140"/>
              <a:gd name="T28" fmla="*/ 62 w 196"/>
              <a:gd name="T29" fmla="*/ 136 h 140"/>
              <a:gd name="T30" fmla="*/ 52 w 196"/>
              <a:gd name="T31" fmla="*/ 140 h 140"/>
              <a:gd name="T32" fmla="*/ 40 w 196"/>
              <a:gd name="T33" fmla="*/ 128 h 140"/>
              <a:gd name="T34" fmla="*/ 28 w 196"/>
              <a:gd name="T35" fmla="*/ 120 h 140"/>
              <a:gd name="T36" fmla="*/ 30 w 196"/>
              <a:gd name="T37" fmla="*/ 112 h 140"/>
              <a:gd name="T38" fmla="*/ 26 w 196"/>
              <a:gd name="T39" fmla="*/ 106 h 140"/>
              <a:gd name="T40" fmla="*/ 30 w 196"/>
              <a:gd name="T41" fmla="*/ 96 h 140"/>
              <a:gd name="T42" fmla="*/ 26 w 196"/>
              <a:gd name="T43" fmla="*/ 88 h 140"/>
              <a:gd name="T44" fmla="*/ 30 w 196"/>
              <a:gd name="T45" fmla="*/ 74 h 140"/>
              <a:gd name="T46" fmla="*/ 32 w 196"/>
              <a:gd name="T47" fmla="*/ 66 h 140"/>
              <a:gd name="T48" fmla="*/ 30 w 196"/>
              <a:gd name="T49" fmla="*/ 52 h 140"/>
              <a:gd name="T50" fmla="*/ 34 w 196"/>
              <a:gd name="T51" fmla="*/ 44 h 140"/>
              <a:gd name="T52" fmla="*/ 32 w 196"/>
              <a:gd name="T53" fmla="*/ 36 h 140"/>
              <a:gd name="T54" fmla="*/ 18 w 196"/>
              <a:gd name="T55" fmla="*/ 36 h 140"/>
              <a:gd name="T56" fmla="*/ 16 w 196"/>
              <a:gd name="T57" fmla="*/ 34 h 140"/>
              <a:gd name="T58" fmla="*/ 8 w 196"/>
              <a:gd name="T59" fmla="*/ 36 h 140"/>
              <a:gd name="T60" fmla="*/ 6 w 196"/>
              <a:gd name="T61" fmla="*/ 32 h 140"/>
              <a:gd name="T62" fmla="*/ 6 w 196"/>
              <a:gd name="T63" fmla="*/ 26 h 140"/>
              <a:gd name="T64" fmla="*/ 4 w 196"/>
              <a:gd name="T65" fmla="*/ 20 h 140"/>
              <a:gd name="T66" fmla="*/ 0 w 196"/>
              <a:gd name="T67" fmla="*/ 14 h 140"/>
              <a:gd name="T68" fmla="*/ 8 w 196"/>
              <a:gd name="T69" fmla="*/ 6 h 140"/>
              <a:gd name="T70" fmla="*/ 16 w 196"/>
              <a:gd name="T71" fmla="*/ 4 h 140"/>
              <a:gd name="T72" fmla="*/ 26 w 196"/>
              <a:gd name="T73" fmla="*/ 0 h 140"/>
              <a:gd name="T74" fmla="*/ 36 w 196"/>
              <a:gd name="T75" fmla="*/ 4 h 140"/>
              <a:gd name="T76" fmla="*/ 66 w 196"/>
              <a:gd name="T77" fmla="*/ 6 h 140"/>
              <a:gd name="T78" fmla="*/ 90 w 196"/>
              <a:gd name="T79" fmla="*/ 6 h 140"/>
              <a:gd name="T80" fmla="*/ 98 w 196"/>
              <a:gd name="T81" fmla="*/ 10 h 140"/>
              <a:gd name="T82" fmla="*/ 106 w 196"/>
              <a:gd name="T83" fmla="*/ 16 h 140"/>
              <a:gd name="T84" fmla="*/ 112 w 196"/>
              <a:gd name="T85" fmla="*/ 18 h 140"/>
              <a:gd name="T86" fmla="*/ 120 w 196"/>
              <a:gd name="T87" fmla="*/ 20 h 140"/>
              <a:gd name="T88" fmla="*/ 132 w 196"/>
              <a:gd name="T89" fmla="*/ 22 h 140"/>
              <a:gd name="T90" fmla="*/ 146 w 196"/>
              <a:gd name="T91" fmla="*/ 26 h 140"/>
              <a:gd name="T92" fmla="*/ 156 w 196"/>
              <a:gd name="T93" fmla="*/ 28 h 140"/>
              <a:gd name="T94" fmla="*/ 162 w 196"/>
              <a:gd name="T95" fmla="*/ 26 h 140"/>
              <a:gd name="T96" fmla="*/ 146 w 196"/>
              <a:gd name="T97" fmla="*/ 82 h 140"/>
              <a:gd name="T98" fmla="*/ 144 w 196"/>
              <a:gd name="T99" fmla="*/ 88 h 140"/>
              <a:gd name="T100" fmla="*/ 144 w 196"/>
              <a:gd name="T101" fmla="*/ 88 h 140"/>
              <a:gd name="T102" fmla="*/ 146 w 196"/>
              <a:gd name="T103" fmla="*/ 82 h 140"/>
              <a:gd name="T104" fmla="*/ 190 w 196"/>
              <a:gd name="T105" fmla="*/ 74 h 140"/>
              <a:gd name="T106" fmla="*/ 196 w 196"/>
              <a:gd name="T107" fmla="*/ 70 h 140"/>
              <a:gd name="T108" fmla="*/ 170 w 196"/>
              <a:gd name="T109" fmla="*/ 70 h 140"/>
              <a:gd name="T110" fmla="*/ 168 w 196"/>
              <a:gd name="T111" fmla="*/ 76 h 140"/>
              <a:gd name="T112" fmla="*/ 168 w 196"/>
              <a:gd name="T113" fmla="*/ 86 h 140"/>
              <a:gd name="T114" fmla="*/ 174 w 196"/>
              <a:gd name="T115" fmla="*/ 82 h 140"/>
              <a:gd name="T116" fmla="*/ 170 w 196"/>
              <a:gd name="T117"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6" h="140">
                <a:moveTo>
                  <a:pt x="168" y="24"/>
                </a:moveTo>
                <a:lnTo>
                  <a:pt x="168" y="24"/>
                </a:lnTo>
                <a:lnTo>
                  <a:pt x="170" y="34"/>
                </a:lnTo>
                <a:lnTo>
                  <a:pt x="170" y="34"/>
                </a:lnTo>
                <a:lnTo>
                  <a:pt x="162" y="42"/>
                </a:lnTo>
                <a:lnTo>
                  <a:pt x="162" y="42"/>
                </a:lnTo>
                <a:lnTo>
                  <a:pt x="158" y="42"/>
                </a:lnTo>
                <a:lnTo>
                  <a:pt x="156" y="42"/>
                </a:lnTo>
                <a:lnTo>
                  <a:pt x="156" y="42"/>
                </a:lnTo>
                <a:lnTo>
                  <a:pt x="156" y="46"/>
                </a:lnTo>
                <a:lnTo>
                  <a:pt x="156" y="46"/>
                </a:lnTo>
                <a:lnTo>
                  <a:pt x="150" y="48"/>
                </a:lnTo>
                <a:lnTo>
                  <a:pt x="150" y="48"/>
                </a:lnTo>
                <a:lnTo>
                  <a:pt x="144" y="52"/>
                </a:lnTo>
                <a:lnTo>
                  <a:pt x="142" y="56"/>
                </a:lnTo>
                <a:lnTo>
                  <a:pt x="142" y="56"/>
                </a:lnTo>
                <a:lnTo>
                  <a:pt x="136" y="58"/>
                </a:lnTo>
                <a:lnTo>
                  <a:pt x="136" y="58"/>
                </a:lnTo>
                <a:lnTo>
                  <a:pt x="136" y="62"/>
                </a:lnTo>
                <a:lnTo>
                  <a:pt x="136" y="62"/>
                </a:lnTo>
                <a:lnTo>
                  <a:pt x="132" y="64"/>
                </a:lnTo>
                <a:lnTo>
                  <a:pt x="132" y="64"/>
                </a:lnTo>
                <a:lnTo>
                  <a:pt x="130" y="68"/>
                </a:lnTo>
                <a:lnTo>
                  <a:pt x="128" y="72"/>
                </a:lnTo>
                <a:lnTo>
                  <a:pt x="128" y="72"/>
                </a:lnTo>
                <a:lnTo>
                  <a:pt x="124" y="76"/>
                </a:lnTo>
                <a:lnTo>
                  <a:pt x="122" y="80"/>
                </a:lnTo>
                <a:lnTo>
                  <a:pt x="124" y="82"/>
                </a:lnTo>
                <a:lnTo>
                  <a:pt x="124" y="82"/>
                </a:lnTo>
                <a:lnTo>
                  <a:pt x="124" y="86"/>
                </a:lnTo>
                <a:lnTo>
                  <a:pt x="124" y="86"/>
                </a:lnTo>
                <a:lnTo>
                  <a:pt x="128" y="88"/>
                </a:lnTo>
                <a:lnTo>
                  <a:pt x="128" y="88"/>
                </a:lnTo>
                <a:lnTo>
                  <a:pt x="128" y="90"/>
                </a:lnTo>
                <a:lnTo>
                  <a:pt x="128" y="90"/>
                </a:lnTo>
                <a:lnTo>
                  <a:pt x="120" y="100"/>
                </a:lnTo>
                <a:lnTo>
                  <a:pt x="120" y="100"/>
                </a:lnTo>
                <a:lnTo>
                  <a:pt x="116" y="104"/>
                </a:lnTo>
                <a:lnTo>
                  <a:pt x="116" y="104"/>
                </a:lnTo>
                <a:lnTo>
                  <a:pt x="114" y="108"/>
                </a:lnTo>
                <a:lnTo>
                  <a:pt x="114" y="112"/>
                </a:lnTo>
                <a:lnTo>
                  <a:pt x="114" y="112"/>
                </a:lnTo>
                <a:lnTo>
                  <a:pt x="112" y="114"/>
                </a:lnTo>
                <a:lnTo>
                  <a:pt x="108" y="114"/>
                </a:lnTo>
                <a:lnTo>
                  <a:pt x="108" y="114"/>
                </a:lnTo>
                <a:lnTo>
                  <a:pt x="96" y="124"/>
                </a:lnTo>
                <a:lnTo>
                  <a:pt x="96" y="124"/>
                </a:lnTo>
                <a:lnTo>
                  <a:pt x="94" y="128"/>
                </a:lnTo>
                <a:lnTo>
                  <a:pt x="94" y="130"/>
                </a:lnTo>
                <a:lnTo>
                  <a:pt x="92" y="132"/>
                </a:lnTo>
                <a:lnTo>
                  <a:pt x="92" y="132"/>
                </a:lnTo>
                <a:lnTo>
                  <a:pt x="88" y="132"/>
                </a:lnTo>
                <a:lnTo>
                  <a:pt x="84" y="132"/>
                </a:lnTo>
                <a:lnTo>
                  <a:pt x="82" y="134"/>
                </a:lnTo>
                <a:lnTo>
                  <a:pt x="82" y="134"/>
                </a:lnTo>
                <a:lnTo>
                  <a:pt x="66" y="130"/>
                </a:lnTo>
                <a:lnTo>
                  <a:pt x="66" y="130"/>
                </a:lnTo>
                <a:lnTo>
                  <a:pt x="64" y="134"/>
                </a:lnTo>
                <a:lnTo>
                  <a:pt x="64" y="134"/>
                </a:lnTo>
                <a:lnTo>
                  <a:pt x="62" y="136"/>
                </a:lnTo>
                <a:lnTo>
                  <a:pt x="58" y="136"/>
                </a:lnTo>
                <a:lnTo>
                  <a:pt x="58" y="136"/>
                </a:lnTo>
                <a:lnTo>
                  <a:pt x="52" y="140"/>
                </a:lnTo>
                <a:lnTo>
                  <a:pt x="52" y="140"/>
                </a:lnTo>
                <a:lnTo>
                  <a:pt x="52" y="140"/>
                </a:lnTo>
                <a:lnTo>
                  <a:pt x="46" y="140"/>
                </a:lnTo>
                <a:lnTo>
                  <a:pt x="46" y="140"/>
                </a:lnTo>
                <a:lnTo>
                  <a:pt x="40" y="128"/>
                </a:lnTo>
                <a:lnTo>
                  <a:pt x="34" y="124"/>
                </a:lnTo>
                <a:lnTo>
                  <a:pt x="28" y="122"/>
                </a:lnTo>
                <a:lnTo>
                  <a:pt x="28" y="122"/>
                </a:lnTo>
                <a:lnTo>
                  <a:pt x="28" y="120"/>
                </a:lnTo>
                <a:lnTo>
                  <a:pt x="30" y="114"/>
                </a:lnTo>
                <a:lnTo>
                  <a:pt x="30" y="114"/>
                </a:lnTo>
                <a:lnTo>
                  <a:pt x="32" y="112"/>
                </a:lnTo>
                <a:lnTo>
                  <a:pt x="30" y="112"/>
                </a:lnTo>
                <a:lnTo>
                  <a:pt x="28" y="112"/>
                </a:lnTo>
                <a:lnTo>
                  <a:pt x="26" y="110"/>
                </a:lnTo>
                <a:lnTo>
                  <a:pt x="26" y="110"/>
                </a:lnTo>
                <a:lnTo>
                  <a:pt x="26" y="106"/>
                </a:lnTo>
                <a:lnTo>
                  <a:pt x="26" y="104"/>
                </a:lnTo>
                <a:lnTo>
                  <a:pt x="28" y="100"/>
                </a:lnTo>
                <a:lnTo>
                  <a:pt x="28" y="100"/>
                </a:lnTo>
                <a:lnTo>
                  <a:pt x="30" y="96"/>
                </a:lnTo>
                <a:lnTo>
                  <a:pt x="28" y="94"/>
                </a:lnTo>
                <a:lnTo>
                  <a:pt x="28" y="94"/>
                </a:lnTo>
                <a:lnTo>
                  <a:pt x="26" y="90"/>
                </a:lnTo>
                <a:lnTo>
                  <a:pt x="26" y="88"/>
                </a:lnTo>
                <a:lnTo>
                  <a:pt x="30" y="84"/>
                </a:lnTo>
                <a:lnTo>
                  <a:pt x="30" y="84"/>
                </a:lnTo>
                <a:lnTo>
                  <a:pt x="30" y="80"/>
                </a:lnTo>
                <a:lnTo>
                  <a:pt x="30" y="74"/>
                </a:lnTo>
                <a:lnTo>
                  <a:pt x="30" y="74"/>
                </a:lnTo>
                <a:lnTo>
                  <a:pt x="28" y="70"/>
                </a:lnTo>
                <a:lnTo>
                  <a:pt x="32" y="66"/>
                </a:lnTo>
                <a:lnTo>
                  <a:pt x="32" y="66"/>
                </a:lnTo>
                <a:lnTo>
                  <a:pt x="34" y="64"/>
                </a:lnTo>
                <a:lnTo>
                  <a:pt x="34" y="60"/>
                </a:lnTo>
                <a:lnTo>
                  <a:pt x="30" y="52"/>
                </a:lnTo>
                <a:lnTo>
                  <a:pt x="30" y="52"/>
                </a:lnTo>
                <a:lnTo>
                  <a:pt x="28" y="50"/>
                </a:lnTo>
                <a:lnTo>
                  <a:pt x="30" y="48"/>
                </a:lnTo>
                <a:lnTo>
                  <a:pt x="34" y="44"/>
                </a:lnTo>
                <a:lnTo>
                  <a:pt x="34" y="44"/>
                </a:lnTo>
                <a:lnTo>
                  <a:pt x="36" y="38"/>
                </a:lnTo>
                <a:lnTo>
                  <a:pt x="32" y="38"/>
                </a:lnTo>
                <a:lnTo>
                  <a:pt x="32" y="38"/>
                </a:lnTo>
                <a:lnTo>
                  <a:pt x="32" y="36"/>
                </a:lnTo>
                <a:lnTo>
                  <a:pt x="28" y="36"/>
                </a:lnTo>
                <a:lnTo>
                  <a:pt x="28" y="36"/>
                </a:lnTo>
                <a:lnTo>
                  <a:pt x="18" y="36"/>
                </a:lnTo>
                <a:lnTo>
                  <a:pt x="18" y="36"/>
                </a:lnTo>
                <a:lnTo>
                  <a:pt x="16" y="36"/>
                </a:lnTo>
                <a:lnTo>
                  <a:pt x="16" y="36"/>
                </a:lnTo>
                <a:lnTo>
                  <a:pt x="16" y="34"/>
                </a:lnTo>
                <a:lnTo>
                  <a:pt x="16" y="34"/>
                </a:lnTo>
                <a:lnTo>
                  <a:pt x="14" y="32"/>
                </a:lnTo>
                <a:lnTo>
                  <a:pt x="10" y="34"/>
                </a:lnTo>
                <a:lnTo>
                  <a:pt x="8" y="36"/>
                </a:lnTo>
                <a:lnTo>
                  <a:pt x="8" y="36"/>
                </a:lnTo>
                <a:lnTo>
                  <a:pt x="6" y="34"/>
                </a:lnTo>
                <a:lnTo>
                  <a:pt x="4" y="34"/>
                </a:lnTo>
                <a:lnTo>
                  <a:pt x="6" y="32"/>
                </a:lnTo>
                <a:lnTo>
                  <a:pt x="6" y="32"/>
                </a:lnTo>
                <a:lnTo>
                  <a:pt x="10" y="28"/>
                </a:lnTo>
                <a:lnTo>
                  <a:pt x="10" y="28"/>
                </a:lnTo>
                <a:lnTo>
                  <a:pt x="6" y="26"/>
                </a:lnTo>
                <a:lnTo>
                  <a:pt x="6" y="26"/>
                </a:lnTo>
                <a:lnTo>
                  <a:pt x="6" y="24"/>
                </a:lnTo>
                <a:lnTo>
                  <a:pt x="4" y="22"/>
                </a:lnTo>
                <a:lnTo>
                  <a:pt x="4" y="22"/>
                </a:lnTo>
                <a:lnTo>
                  <a:pt x="4" y="20"/>
                </a:lnTo>
                <a:lnTo>
                  <a:pt x="4" y="18"/>
                </a:lnTo>
                <a:lnTo>
                  <a:pt x="0" y="16"/>
                </a:lnTo>
                <a:lnTo>
                  <a:pt x="0" y="16"/>
                </a:lnTo>
                <a:lnTo>
                  <a:pt x="0" y="14"/>
                </a:lnTo>
                <a:lnTo>
                  <a:pt x="2" y="10"/>
                </a:lnTo>
                <a:lnTo>
                  <a:pt x="2" y="10"/>
                </a:lnTo>
                <a:lnTo>
                  <a:pt x="8" y="6"/>
                </a:lnTo>
                <a:lnTo>
                  <a:pt x="8" y="6"/>
                </a:lnTo>
                <a:lnTo>
                  <a:pt x="12" y="8"/>
                </a:lnTo>
                <a:lnTo>
                  <a:pt x="16" y="6"/>
                </a:lnTo>
                <a:lnTo>
                  <a:pt x="16" y="6"/>
                </a:lnTo>
                <a:lnTo>
                  <a:pt x="16" y="4"/>
                </a:lnTo>
                <a:lnTo>
                  <a:pt x="16" y="4"/>
                </a:lnTo>
                <a:lnTo>
                  <a:pt x="22" y="2"/>
                </a:lnTo>
                <a:lnTo>
                  <a:pt x="26" y="0"/>
                </a:lnTo>
                <a:lnTo>
                  <a:pt x="26" y="0"/>
                </a:lnTo>
                <a:lnTo>
                  <a:pt x="30" y="0"/>
                </a:lnTo>
                <a:lnTo>
                  <a:pt x="32" y="2"/>
                </a:lnTo>
                <a:lnTo>
                  <a:pt x="36" y="4"/>
                </a:lnTo>
                <a:lnTo>
                  <a:pt x="36" y="4"/>
                </a:lnTo>
                <a:lnTo>
                  <a:pt x="48" y="2"/>
                </a:lnTo>
                <a:lnTo>
                  <a:pt x="48" y="2"/>
                </a:lnTo>
                <a:lnTo>
                  <a:pt x="58" y="4"/>
                </a:lnTo>
                <a:lnTo>
                  <a:pt x="66" y="6"/>
                </a:lnTo>
                <a:lnTo>
                  <a:pt x="66" y="6"/>
                </a:lnTo>
                <a:lnTo>
                  <a:pt x="82" y="4"/>
                </a:lnTo>
                <a:lnTo>
                  <a:pt x="82" y="4"/>
                </a:lnTo>
                <a:lnTo>
                  <a:pt x="90" y="6"/>
                </a:lnTo>
                <a:lnTo>
                  <a:pt x="90" y="6"/>
                </a:lnTo>
                <a:lnTo>
                  <a:pt x="92" y="10"/>
                </a:lnTo>
                <a:lnTo>
                  <a:pt x="92" y="10"/>
                </a:lnTo>
                <a:lnTo>
                  <a:pt x="98" y="10"/>
                </a:lnTo>
                <a:lnTo>
                  <a:pt x="102" y="10"/>
                </a:lnTo>
                <a:lnTo>
                  <a:pt x="102" y="10"/>
                </a:lnTo>
                <a:lnTo>
                  <a:pt x="104" y="12"/>
                </a:lnTo>
                <a:lnTo>
                  <a:pt x="106" y="16"/>
                </a:lnTo>
                <a:lnTo>
                  <a:pt x="106" y="16"/>
                </a:lnTo>
                <a:lnTo>
                  <a:pt x="106" y="16"/>
                </a:lnTo>
                <a:lnTo>
                  <a:pt x="108" y="18"/>
                </a:lnTo>
                <a:lnTo>
                  <a:pt x="112" y="18"/>
                </a:lnTo>
                <a:lnTo>
                  <a:pt x="112" y="18"/>
                </a:lnTo>
                <a:lnTo>
                  <a:pt x="116" y="20"/>
                </a:lnTo>
                <a:lnTo>
                  <a:pt x="120" y="20"/>
                </a:lnTo>
                <a:lnTo>
                  <a:pt x="120" y="20"/>
                </a:lnTo>
                <a:lnTo>
                  <a:pt x="124" y="22"/>
                </a:lnTo>
                <a:lnTo>
                  <a:pt x="128" y="24"/>
                </a:lnTo>
                <a:lnTo>
                  <a:pt x="128" y="24"/>
                </a:lnTo>
                <a:lnTo>
                  <a:pt x="132" y="22"/>
                </a:lnTo>
                <a:lnTo>
                  <a:pt x="134" y="22"/>
                </a:lnTo>
                <a:lnTo>
                  <a:pt x="136" y="24"/>
                </a:lnTo>
                <a:lnTo>
                  <a:pt x="136" y="24"/>
                </a:lnTo>
                <a:lnTo>
                  <a:pt x="146" y="26"/>
                </a:lnTo>
                <a:lnTo>
                  <a:pt x="148" y="30"/>
                </a:lnTo>
                <a:lnTo>
                  <a:pt x="152" y="28"/>
                </a:lnTo>
                <a:lnTo>
                  <a:pt x="152" y="28"/>
                </a:lnTo>
                <a:lnTo>
                  <a:pt x="156" y="28"/>
                </a:lnTo>
                <a:lnTo>
                  <a:pt x="160" y="28"/>
                </a:lnTo>
                <a:lnTo>
                  <a:pt x="160" y="28"/>
                </a:lnTo>
                <a:lnTo>
                  <a:pt x="162" y="26"/>
                </a:lnTo>
                <a:lnTo>
                  <a:pt x="162" y="26"/>
                </a:lnTo>
                <a:lnTo>
                  <a:pt x="164" y="24"/>
                </a:lnTo>
                <a:lnTo>
                  <a:pt x="168" y="24"/>
                </a:lnTo>
                <a:lnTo>
                  <a:pt x="168" y="24"/>
                </a:lnTo>
                <a:close/>
                <a:moveTo>
                  <a:pt x="146" y="82"/>
                </a:moveTo>
                <a:lnTo>
                  <a:pt x="146" y="82"/>
                </a:lnTo>
                <a:lnTo>
                  <a:pt x="144" y="86"/>
                </a:lnTo>
                <a:lnTo>
                  <a:pt x="142" y="88"/>
                </a:lnTo>
                <a:lnTo>
                  <a:pt x="144" y="88"/>
                </a:lnTo>
                <a:lnTo>
                  <a:pt x="144" y="88"/>
                </a:lnTo>
                <a:lnTo>
                  <a:pt x="144" y="88"/>
                </a:lnTo>
                <a:lnTo>
                  <a:pt x="144" y="88"/>
                </a:lnTo>
                <a:lnTo>
                  <a:pt x="144" y="88"/>
                </a:lnTo>
                <a:lnTo>
                  <a:pt x="148" y="84"/>
                </a:lnTo>
                <a:lnTo>
                  <a:pt x="148" y="84"/>
                </a:lnTo>
                <a:lnTo>
                  <a:pt x="148" y="82"/>
                </a:lnTo>
                <a:lnTo>
                  <a:pt x="146" y="82"/>
                </a:lnTo>
                <a:lnTo>
                  <a:pt x="146" y="82"/>
                </a:lnTo>
                <a:close/>
                <a:moveTo>
                  <a:pt x="190" y="70"/>
                </a:moveTo>
                <a:lnTo>
                  <a:pt x="190" y="74"/>
                </a:lnTo>
                <a:lnTo>
                  <a:pt x="190" y="74"/>
                </a:lnTo>
                <a:lnTo>
                  <a:pt x="194" y="74"/>
                </a:lnTo>
                <a:lnTo>
                  <a:pt x="196" y="74"/>
                </a:lnTo>
                <a:lnTo>
                  <a:pt x="196" y="72"/>
                </a:lnTo>
                <a:lnTo>
                  <a:pt x="196" y="70"/>
                </a:lnTo>
                <a:lnTo>
                  <a:pt x="196" y="70"/>
                </a:lnTo>
                <a:lnTo>
                  <a:pt x="190" y="70"/>
                </a:lnTo>
                <a:lnTo>
                  <a:pt x="190" y="70"/>
                </a:lnTo>
                <a:close/>
                <a:moveTo>
                  <a:pt x="170" y="70"/>
                </a:moveTo>
                <a:lnTo>
                  <a:pt x="170" y="70"/>
                </a:lnTo>
                <a:lnTo>
                  <a:pt x="166" y="72"/>
                </a:lnTo>
                <a:lnTo>
                  <a:pt x="166" y="72"/>
                </a:lnTo>
                <a:lnTo>
                  <a:pt x="168" y="76"/>
                </a:lnTo>
                <a:lnTo>
                  <a:pt x="168" y="78"/>
                </a:lnTo>
                <a:lnTo>
                  <a:pt x="168" y="82"/>
                </a:lnTo>
                <a:lnTo>
                  <a:pt x="168" y="82"/>
                </a:lnTo>
                <a:lnTo>
                  <a:pt x="168" y="86"/>
                </a:lnTo>
                <a:lnTo>
                  <a:pt x="168" y="86"/>
                </a:lnTo>
                <a:lnTo>
                  <a:pt x="170" y="86"/>
                </a:lnTo>
                <a:lnTo>
                  <a:pt x="170" y="86"/>
                </a:lnTo>
                <a:lnTo>
                  <a:pt x="174" y="82"/>
                </a:lnTo>
                <a:lnTo>
                  <a:pt x="174" y="82"/>
                </a:lnTo>
                <a:lnTo>
                  <a:pt x="176" y="78"/>
                </a:lnTo>
                <a:lnTo>
                  <a:pt x="176" y="76"/>
                </a:lnTo>
                <a:lnTo>
                  <a:pt x="170" y="70"/>
                </a:lnTo>
                <a:lnTo>
                  <a:pt x="170"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8" name="Freeform 42">
            <a:extLst>
              <a:ext uri="{FF2B5EF4-FFF2-40B4-BE49-F238E27FC236}">
                <a16:creationId xmlns:a16="http://schemas.microsoft.com/office/drawing/2014/main" id="{D42CB693-6BFD-40F6-9BB1-B2F3846593B2}"/>
              </a:ext>
            </a:extLst>
          </p:cNvPr>
          <p:cNvSpPr>
            <a:spLocks/>
          </p:cNvSpPr>
          <p:nvPr userDrawn="1"/>
        </p:nvSpPr>
        <p:spPr bwMode="auto">
          <a:xfrm>
            <a:off x="8684975" y="2561824"/>
            <a:ext cx="67082" cy="126983"/>
          </a:xfrm>
          <a:custGeom>
            <a:avLst/>
            <a:gdLst>
              <a:gd name="T0" fmla="*/ 6 w 40"/>
              <a:gd name="T1" fmla="*/ 10 h 74"/>
              <a:gd name="T2" fmla="*/ 10 w 40"/>
              <a:gd name="T3" fmla="*/ 20 h 74"/>
              <a:gd name="T4" fmla="*/ 10 w 40"/>
              <a:gd name="T5" fmla="*/ 22 h 74"/>
              <a:gd name="T6" fmla="*/ 10 w 40"/>
              <a:gd name="T7" fmla="*/ 24 h 74"/>
              <a:gd name="T8" fmla="*/ 4 w 40"/>
              <a:gd name="T9" fmla="*/ 24 h 74"/>
              <a:gd name="T10" fmla="*/ 4 w 40"/>
              <a:gd name="T11" fmla="*/ 28 h 74"/>
              <a:gd name="T12" fmla="*/ 10 w 40"/>
              <a:gd name="T13" fmla="*/ 32 h 74"/>
              <a:gd name="T14" fmla="*/ 6 w 40"/>
              <a:gd name="T15" fmla="*/ 36 h 74"/>
              <a:gd name="T16" fmla="*/ 6 w 40"/>
              <a:gd name="T17" fmla="*/ 38 h 74"/>
              <a:gd name="T18" fmla="*/ 10 w 40"/>
              <a:gd name="T19" fmla="*/ 44 h 74"/>
              <a:gd name="T20" fmla="*/ 4 w 40"/>
              <a:gd name="T21" fmla="*/ 52 h 74"/>
              <a:gd name="T22" fmla="*/ 4 w 40"/>
              <a:gd name="T23" fmla="*/ 56 h 74"/>
              <a:gd name="T24" fmla="*/ 4 w 40"/>
              <a:gd name="T25" fmla="*/ 60 h 74"/>
              <a:gd name="T26" fmla="*/ 2 w 40"/>
              <a:gd name="T27" fmla="*/ 64 h 74"/>
              <a:gd name="T28" fmla="*/ 2 w 40"/>
              <a:gd name="T29" fmla="*/ 70 h 74"/>
              <a:gd name="T30" fmla="*/ 2 w 40"/>
              <a:gd name="T31" fmla="*/ 70 h 74"/>
              <a:gd name="T32" fmla="*/ 0 w 40"/>
              <a:gd name="T33" fmla="*/ 72 h 74"/>
              <a:gd name="T34" fmla="*/ 6 w 40"/>
              <a:gd name="T35" fmla="*/ 74 h 74"/>
              <a:gd name="T36" fmla="*/ 6 w 40"/>
              <a:gd name="T37" fmla="*/ 74 h 74"/>
              <a:gd name="T38" fmla="*/ 14 w 40"/>
              <a:gd name="T39" fmla="*/ 70 h 74"/>
              <a:gd name="T40" fmla="*/ 14 w 40"/>
              <a:gd name="T41" fmla="*/ 66 h 74"/>
              <a:gd name="T42" fmla="*/ 30 w 40"/>
              <a:gd name="T43" fmla="*/ 64 h 74"/>
              <a:gd name="T44" fmla="*/ 30 w 40"/>
              <a:gd name="T45" fmla="*/ 60 h 74"/>
              <a:gd name="T46" fmla="*/ 30 w 40"/>
              <a:gd name="T47" fmla="*/ 58 h 74"/>
              <a:gd name="T48" fmla="*/ 38 w 40"/>
              <a:gd name="T49" fmla="*/ 56 h 74"/>
              <a:gd name="T50" fmla="*/ 40 w 40"/>
              <a:gd name="T51" fmla="*/ 52 h 74"/>
              <a:gd name="T52" fmla="*/ 40 w 40"/>
              <a:gd name="T53" fmla="*/ 24 h 74"/>
              <a:gd name="T54" fmla="*/ 38 w 40"/>
              <a:gd name="T55" fmla="*/ 20 h 74"/>
              <a:gd name="T56" fmla="*/ 34 w 40"/>
              <a:gd name="T57" fmla="*/ 16 h 74"/>
              <a:gd name="T58" fmla="*/ 34 w 40"/>
              <a:gd name="T59" fmla="*/ 12 h 74"/>
              <a:gd name="T60" fmla="*/ 30 w 40"/>
              <a:gd name="T61" fmla="*/ 10 h 74"/>
              <a:gd name="T62" fmla="*/ 30 w 40"/>
              <a:gd name="T63" fmla="*/ 6 h 74"/>
              <a:gd name="T64" fmla="*/ 30 w 40"/>
              <a:gd name="T65" fmla="*/ 4 h 74"/>
              <a:gd name="T66" fmla="*/ 30 w 40"/>
              <a:gd name="T67" fmla="*/ 2 h 74"/>
              <a:gd name="T68" fmla="*/ 22 w 40"/>
              <a:gd name="T69" fmla="*/ 4 h 74"/>
              <a:gd name="T70" fmla="*/ 12 w 40"/>
              <a:gd name="T71" fmla="*/ 2 h 74"/>
              <a:gd name="T72" fmla="*/ 6 w 40"/>
              <a:gd name="T73"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74">
                <a:moveTo>
                  <a:pt x="6" y="10"/>
                </a:moveTo>
                <a:lnTo>
                  <a:pt x="6" y="10"/>
                </a:lnTo>
                <a:lnTo>
                  <a:pt x="8" y="20"/>
                </a:lnTo>
                <a:lnTo>
                  <a:pt x="10" y="20"/>
                </a:lnTo>
                <a:lnTo>
                  <a:pt x="10" y="20"/>
                </a:lnTo>
                <a:lnTo>
                  <a:pt x="10" y="22"/>
                </a:lnTo>
                <a:lnTo>
                  <a:pt x="10" y="24"/>
                </a:lnTo>
                <a:lnTo>
                  <a:pt x="10" y="24"/>
                </a:lnTo>
                <a:lnTo>
                  <a:pt x="4" y="24"/>
                </a:lnTo>
                <a:lnTo>
                  <a:pt x="4" y="24"/>
                </a:lnTo>
                <a:lnTo>
                  <a:pt x="4" y="28"/>
                </a:lnTo>
                <a:lnTo>
                  <a:pt x="4" y="28"/>
                </a:lnTo>
                <a:lnTo>
                  <a:pt x="10" y="32"/>
                </a:lnTo>
                <a:lnTo>
                  <a:pt x="10" y="32"/>
                </a:lnTo>
                <a:lnTo>
                  <a:pt x="6" y="34"/>
                </a:lnTo>
                <a:lnTo>
                  <a:pt x="6" y="36"/>
                </a:lnTo>
                <a:lnTo>
                  <a:pt x="6" y="38"/>
                </a:lnTo>
                <a:lnTo>
                  <a:pt x="6" y="38"/>
                </a:lnTo>
                <a:lnTo>
                  <a:pt x="10" y="44"/>
                </a:lnTo>
                <a:lnTo>
                  <a:pt x="10" y="44"/>
                </a:lnTo>
                <a:lnTo>
                  <a:pt x="8" y="48"/>
                </a:lnTo>
                <a:lnTo>
                  <a:pt x="4" y="52"/>
                </a:lnTo>
                <a:lnTo>
                  <a:pt x="4" y="52"/>
                </a:lnTo>
                <a:lnTo>
                  <a:pt x="4" y="56"/>
                </a:lnTo>
                <a:lnTo>
                  <a:pt x="4" y="60"/>
                </a:lnTo>
                <a:lnTo>
                  <a:pt x="4" y="60"/>
                </a:lnTo>
                <a:lnTo>
                  <a:pt x="2" y="64"/>
                </a:lnTo>
                <a:lnTo>
                  <a:pt x="2" y="64"/>
                </a:lnTo>
                <a:lnTo>
                  <a:pt x="2" y="68"/>
                </a:lnTo>
                <a:lnTo>
                  <a:pt x="2" y="70"/>
                </a:lnTo>
                <a:lnTo>
                  <a:pt x="2" y="70"/>
                </a:lnTo>
                <a:lnTo>
                  <a:pt x="2" y="70"/>
                </a:lnTo>
                <a:lnTo>
                  <a:pt x="0" y="72"/>
                </a:lnTo>
                <a:lnTo>
                  <a:pt x="0" y="72"/>
                </a:lnTo>
                <a:lnTo>
                  <a:pt x="4" y="74"/>
                </a:lnTo>
                <a:lnTo>
                  <a:pt x="6" y="74"/>
                </a:lnTo>
                <a:lnTo>
                  <a:pt x="6" y="74"/>
                </a:lnTo>
                <a:lnTo>
                  <a:pt x="6" y="74"/>
                </a:lnTo>
                <a:lnTo>
                  <a:pt x="14" y="70"/>
                </a:lnTo>
                <a:lnTo>
                  <a:pt x="14" y="70"/>
                </a:lnTo>
                <a:lnTo>
                  <a:pt x="14" y="66"/>
                </a:lnTo>
                <a:lnTo>
                  <a:pt x="14" y="66"/>
                </a:lnTo>
                <a:lnTo>
                  <a:pt x="22" y="64"/>
                </a:lnTo>
                <a:lnTo>
                  <a:pt x="30" y="64"/>
                </a:lnTo>
                <a:lnTo>
                  <a:pt x="30" y="64"/>
                </a:lnTo>
                <a:lnTo>
                  <a:pt x="30" y="60"/>
                </a:lnTo>
                <a:lnTo>
                  <a:pt x="30" y="58"/>
                </a:lnTo>
                <a:lnTo>
                  <a:pt x="30" y="58"/>
                </a:lnTo>
                <a:lnTo>
                  <a:pt x="36" y="58"/>
                </a:lnTo>
                <a:lnTo>
                  <a:pt x="38" y="56"/>
                </a:lnTo>
                <a:lnTo>
                  <a:pt x="38" y="56"/>
                </a:lnTo>
                <a:lnTo>
                  <a:pt x="40" y="52"/>
                </a:lnTo>
                <a:lnTo>
                  <a:pt x="40" y="40"/>
                </a:lnTo>
                <a:lnTo>
                  <a:pt x="40" y="24"/>
                </a:lnTo>
                <a:lnTo>
                  <a:pt x="40" y="24"/>
                </a:lnTo>
                <a:lnTo>
                  <a:pt x="38" y="20"/>
                </a:lnTo>
                <a:lnTo>
                  <a:pt x="34" y="16"/>
                </a:lnTo>
                <a:lnTo>
                  <a:pt x="34" y="16"/>
                </a:lnTo>
                <a:lnTo>
                  <a:pt x="34" y="12"/>
                </a:lnTo>
                <a:lnTo>
                  <a:pt x="34" y="12"/>
                </a:lnTo>
                <a:lnTo>
                  <a:pt x="32" y="10"/>
                </a:lnTo>
                <a:lnTo>
                  <a:pt x="30" y="10"/>
                </a:lnTo>
                <a:lnTo>
                  <a:pt x="30" y="10"/>
                </a:lnTo>
                <a:lnTo>
                  <a:pt x="30" y="6"/>
                </a:lnTo>
                <a:lnTo>
                  <a:pt x="30" y="4"/>
                </a:lnTo>
                <a:lnTo>
                  <a:pt x="30" y="4"/>
                </a:lnTo>
                <a:lnTo>
                  <a:pt x="30" y="2"/>
                </a:lnTo>
                <a:lnTo>
                  <a:pt x="30" y="2"/>
                </a:lnTo>
                <a:lnTo>
                  <a:pt x="22" y="4"/>
                </a:lnTo>
                <a:lnTo>
                  <a:pt x="22" y="4"/>
                </a:lnTo>
                <a:lnTo>
                  <a:pt x="16" y="0"/>
                </a:lnTo>
                <a:lnTo>
                  <a:pt x="12" y="2"/>
                </a:lnTo>
                <a:lnTo>
                  <a:pt x="4" y="10"/>
                </a:lnTo>
                <a:lnTo>
                  <a:pt x="6" y="1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9" name="Freeform 43">
            <a:extLst>
              <a:ext uri="{FF2B5EF4-FFF2-40B4-BE49-F238E27FC236}">
                <a16:creationId xmlns:a16="http://schemas.microsoft.com/office/drawing/2014/main" id="{5403C34D-F367-466E-905B-A90E9AAB002A}"/>
              </a:ext>
            </a:extLst>
          </p:cNvPr>
          <p:cNvSpPr>
            <a:spLocks/>
          </p:cNvSpPr>
          <p:nvPr userDrawn="1"/>
        </p:nvSpPr>
        <p:spPr bwMode="auto">
          <a:xfrm>
            <a:off x="6223087" y="4325859"/>
            <a:ext cx="362240" cy="374086"/>
          </a:xfrm>
          <a:custGeom>
            <a:avLst/>
            <a:gdLst>
              <a:gd name="T0" fmla="*/ 34 w 216"/>
              <a:gd name="T1" fmla="*/ 106 h 218"/>
              <a:gd name="T2" fmla="*/ 26 w 216"/>
              <a:gd name="T3" fmla="*/ 114 h 218"/>
              <a:gd name="T4" fmla="*/ 12 w 216"/>
              <a:gd name="T5" fmla="*/ 110 h 218"/>
              <a:gd name="T6" fmla="*/ 12 w 216"/>
              <a:gd name="T7" fmla="*/ 104 h 218"/>
              <a:gd name="T8" fmla="*/ 2 w 216"/>
              <a:gd name="T9" fmla="*/ 110 h 218"/>
              <a:gd name="T10" fmla="*/ 8 w 216"/>
              <a:gd name="T11" fmla="*/ 122 h 218"/>
              <a:gd name="T12" fmla="*/ 8 w 216"/>
              <a:gd name="T13" fmla="*/ 128 h 218"/>
              <a:gd name="T14" fmla="*/ 16 w 216"/>
              <a:gd name="T15" fmla="*/ 148 h 218"/>
              <a:gd name="T16" fmla="*/ 22 w 216"/>
              <a:gd name="T17" fmla="*/ 164 h 218"/>
              <a:gd name="T18" fmla="*/ 16 w 216"/>
              <a:gd name="T19" fmla="*/ 182 h 218"/>
              <a:gd name="T20" fmla="*/ 18 w 216"/>
              <a:gd name="T21" fmla="*/ 188 h 218"/>
              <a:gd name="T22" fmla="*/ 16 w 216"/>
              <a:gd name="T23" fmla="*/ 194 h 218"/>
              <a:gd name="T24" fmla="*/ 20 w 216"/>
              <a:gd name="T25" fmla="*/ 204 h 218"/>
              <a:gd name="T26" fmla="*/ 22 w 216"/>
              <a:gd name="T27" fmla="*/ 212 h 218"/>
              <a:gd name="T28" fmla="*/ 26 w 216"/>
              <a:gd name="T29" fmla="*/ 208 h 218"/>
              <a:gd name="T30" fmla="*/ 30 w 216"/>
              <a:gd name="T31" fmla="*/ 212 h 218"/>
              <a:gd name="T32" fmla="*/ 44 w 216"/>
              <a:gd name="T33" fmla="*/ 218 h 218"/>
              <a:gd name="T34" fmla="*/ 56 w 216"/>
              <a:gd name="T35" fmla="*/ 212 h 218"/>
              <a:gd name="T36" fmla="*/ 72 w 216"/>
              <a:gd name="T37" fmla="*/ 212 h 218"/>
              <a:gd name="T38" fmla="*/ 78 w 216"/>
              <a:gd name="T39" fmla="*/ 206 h 218"/>
              <a:gd name="T40" fmla="*/ 84 w 216"/>
              <a:gd name="T41" fmla="*/ 204 h 218"/>
              <a:gd name="T42" fmla="*/ 96 w 216"/>
              <a:gd name="T43" fmla="*/ 202 h 218"/>
              <a:gd name="T44" fmla="*/ 112 w 216"/>
              <a:gd name="T45" fmla="*/ 206 h 218"/>
              <a:gd name="T46" fmla="*/ 124 w 216"/>
              <a:gd name="T47" fmla="*/ 204 h 218"/>
              <a:gd name="T48" fmla="*/ 130 w 216"/>
              <a:gd name="T49" fmla="*/ 200 h 218"/>
              <a:gd name="T50" fmla="*/ 140 w 216"/>
              <a:gd name="T51" fmla="*/ 196 h 218"/>
              <a:gd name="T52" fmla="*/ 154 w 216"/>
              <a:gd name="T53" fmla="*/ 184 h 218"/>
              <a:gd name="T54" fmla="*/ 160 w 216"/>
              <a:gd name="T55" fmla="*/ 176 h 218"/>
              <a:gd name="T56" fmla="*/ 172 w 216"/>
              <a:gd name="T57" fmla="*/ 166 h 218"/>
              <a:gd name="T58" fmla="*/ 176 w 216"/>
              <a:gd name="T59" fmla="*/ 158 h 218"/>
              <a:gd name="T60" fmla="*/ 186 w 216"/>
              <a:gd name="T61" fmla="*/ 144 h 218"/>
              <a:gd name="T62" fmla="*/ 194 w 216"/>
              <a:gd name="T63" fmla="*/ 132 h 218"/>
              <a:gd name="T64" fmla="*/ 210 w 216"/>
              <a:gd name="T65" fmla="*/ 100 h 218"/>
              <a:gd name="T66" fmla="*/ 206 w 216"/>
              <a:gd name="T67" fmla="*/ 74 h 218"/>
              <a:gd name="T68" fmla="*/ 198 w 216"/>
              <a:gd name="T69" fmla="*/ 80 h 218"/>
              <a:gd name="T70" fmla="*/ 192 w 216"/>
              <a:gd name="T71" fmla="*/ 68 h 218"/>
              <a:gd name="T72" fmla="*/ 196 w 216"/>
              <a:gd name="T73" fmla="*/ 60 h 218"/>
              <a:gd name="T74" fmla="*/ 202 w 216"/>
              <a:gd name="T75" fmla="*/ 58 h 218"/>
              <a:gd name="T76" fmla="*/ 200 w 216"/>
              <a:gd name="T77" fmla="*/ 46 h 218"/>
              <a:gd name="T78" fmla="*/ 200 w 216"/>
              <a:gd name="T79" fmla="*/ 18 h 218"/>
              <a:gd name="T80" fmla="*/ 202 w 216"/>
              <a:gd name="T81" fmla="*/ 4 h 218"/>
              <a:gd name="T82" fmla="*/ 188 w 216"/>
              <a:gd name="T83" fmla="*/ 0 h 218"/>
              <a:gd name="T84" fmla="*/ 178 w 216"/>
              <a:gd name="T85" fmla="*/ 2 h 218"/>
              <a:gd name="T86" fmla="*/ 170 w 216"/>
              <a:gd name="T87" fmla="*/ 4 h 218"/>
              <a:gd name="T88" fmla="*/ 162 w 216"/>
              <a:gd name="T89" fmla="*/ 8 h 218"/>
              <a:gd name="T90" fmla="*/ 148 w 216"/>
              <a:gd name="T91" fmla="*/ 14 h 218"/>
              <a:gd name="T92" fmla="*/ 136 w 216"/>
              <a:gd name="T93" fmla="*/ 24 h 218"/>
              <a:gd name="T94" fmla="*/ 132 w 216"/>
              <a:gd name="T95" fmla="*/ 38 h 218"/>
              <a:gd name="T96" fmla="*/ 124 w 216"/>
              <a:gd name="T97" fmla="*/ 60 h 218"/>
              <a:gd name="T98" fmla="*/ 112 w 216"/>
              <a:gd name="T99" fmla="*/ 60 h 218"/>
              <a:gd name="T100" fmla="*/ 102 w 216"/>
              <a:gd name="T101" fmla="*/ 58 h 218"/>
              <a:gd name="T102" fmla="*/ 92 w 216"/>
              <a:gd name="T103" fmla="*/ 56 h 218"/>
              <a:gd name="T104" fmla="*/ 88 w 216"/>
              <a:gd name="T105" fmla="*/ 64 h 218"/>
              <a:gd name="T106" fmla="*/ 70 w 216"/>
              <a:gd name="T107" fmla="*/ 76 h 218"/>
              <a:gd name="T108" fmla="*/ 58 w 216"/>
              <a:gd name="T109" fmla="*/ 82 h 218"/>
              <a:gd name="T110" fmla="*/ 52 w 216"/>
              <a:gd name="T111" fmla="*/ 74 h 218"/>
              <a:gd name="T112" fmla="*/ 48 w 216"/>
              <a:gd name="T113" fmla="*/ 5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8">
                <a:moveTo>
                  <a:pt x="42" y="54"/>
                </a:moveTo>
                <a:lnTo>
                  <a:pt x="40" y="106"/>
                </a:lnTo>
                <a:lnTo>
                  <a:pt x="40" y="106"/>
                </a:lnTo>
                <a:lnTo>
                  <a:pt x="38" y="106"/>
                </a:lnTo>
                <a:lnTo>
                  <a:pt x="34" y="106"/>
                </a:lnTo>
                <a:lnTo>
                  <a:pt x="32" y="108"/>
                </a:lnTo>
                <a:lnTo>
                  <a:pt x="32" y="108"/>
                </a:lnTo>
                <a:lnTo>
                  <a:pt x="30" y="112"/>
                </a:lnTo>
                <a:lnTo>
                  <a:pt x="26" y="114"/>
                </a:lnTo>
                <a:lnTo>
                  <a:pt x="26" y="114"/>
                </a:lnTo>
                <a:lnTo>
                  <a:pt x="24" y="114"/>
                </a:lnTo>
                <a:lnTo>
                  <a:pt x="20" y="114"/>
                </a:lnTo>
                <a:lnTo>
                  <a:pt x="20" y="114"/>
                </a:lnTo>
                <a:lnTo>
                  <a:pt x="14" y="114"/>
                </a:lnTo>
                <a:lnTo>
                  <a:pt x="12" y="110"/>
                </a:lnTo>
                <a:lnTo>
                  <a:pt x="12" y="110"/>
                </a:lnTo>
                <a:lnTo>
                  <a:pt x="12" y="108"/>
                </a:lnTo>
                <a:lnTo>
                  <a:pt x="12" y="106"/>
                </a:lnTo>
                <a:lnTo>
                  <a:pt x="12" y="106"/>
                </a:lnTo>
                <a:lnTo>
                  <a:pt x="12" y="104"/>
                </a:lnTo>
                <a:lnTo>
                  <a:pt x="12" y="104"/>
                </a:lnTo>
                <a:lnTo>
                  <a:pt x="8" y="104"/>
                </a:lnTo>
                <a:lnTo>
                  <a:pt x="6" y="106"/>
                </a:lnTo>
                <a:lnTo>
                  <a:pt x="6" y="106"/>
                </a:lnTo>
                <a:lnTo>
                  <a:pt x="2" y="110"/>
                </a:lnTo>
                <a:lnTo>
                  <a:pt x="0" y="112"/>
                </a:lnTo>
                <a:lnTo>
                  <a:pt x="0" y="112"/>
                </a:lnTo>
                <a:lnTo>
                  <a:pt x="4" y="120"/>
                </a:lnTo>
                <a:lnTo>
                  <a:pt x="4" y="120"/>
                </a:lnTo>
                <a:lnTo>
                  <a:pt x="8" y="122"/>
                </a:lnTo>
                <a:lnTo>
                  <a:pt x="8" y="122"/>
                </a:lnTo>
                <a:lnTo>
                  <a:pt x="6" y="124"/>
                </a:lnTo>
                <a:lnTo>
                  <a:pt x="6" y="126"/>
                </a:lnTo>
                <a:lnTo>
                  <a:pt x="8" y="128"/>
                </a:lnTo>
                <a:lnTo>
                  <a:pt x="8" y="128"/>
                </a:lnTo>
                <a:lnTo>
                  <a:pt x="10" y="136"/>
                </a:lnTo>
                <a:lnTo>
                  <a:pt x="10" y="144"/>
                </a:lnTo>
                <a:lnTo>
                  <a:pt x="10" y="144"/>
                </a:lnTo>
                <a:lnTo>
                  <a:pt x="12" y="146"/>
                </a:lnTo>
                <a:lnTo>
                  <a:pt x="16" y="148"/>
                </a:lnTo>
                <a:lnTo>
                  <a:pt x="16" y="148"/>
                </a:lnTo>
                <a:lnTo>
                  <a:pt x="20" y="160"/>
                </a:lnTo>
                <a:lnTo>
                  <a:pt x="20" y="160"/>
                </a:lnTo>
                <a:lnTo>
                  <a:pt x="22" y="164"/>
                </a:lnTo>
                <a:lnTo>
                  <a:pt x="22" y="164"/>
                </a:lnTo>
                <a:lnTo>
                  <a:pt x="22" y="174"/>
                </a:lnTo>
                <a:lnTo>
                  <a:pt x="20" y="182"/>
                </a:lnTo>
                <a:lnTo>
                  <a:pt x="16" y="180"/>
                </a:lnTo>
                <a:lnTo>
                  <a:pt x="16" y="180"/>
                </a:lnTo>
                <a:lnTo>
                  <a:pt x="16" y="182"/>
                </a:lnTo>
                <a:lnTo>
                  <a:pt x="14" y="182"/>
                </a:lnTo>
                <a:lnTo>
                  <a:pt x="14" y="182"/>
                </a:lnTo>
                <a:lnTo>
                  <a:pt x="16" y="188"/>
                </a:lnTo>
                <a:lnTo>
                  <a:pt x="18" y="188"/>
                </a:lnTo>
                <a:lnTo>
                  <a:pt x="18" y="188"/>
                </a:lnTo>
                <a:lnTo>
                  <a:pt x="16" y="192"/>
                </a:lnTo>
                <a:lnTo>
                  <a:pt x="16" y="192"/>
                </a:lnTo>
                <a:lnTo>
                  <a:pt x="16" y="192"/>
                </a:lnTo>
                <a:lnTo>
                  <a:pt x="16" y="192"/>
                </a:lnTo>
                <a:lnTo>
                  <a:pt x="16" y="194"/>
                </a:lnTo>
                <a:lnTo>
                  <a:pt x="16" y="194"/>
                </a:lnTo>
                <a:lnTo>
                  <a:pt x="16" y="194"/>
                </a:lnTo>
                <a:lnTo>
                  <a:pt x="18" y="196"/>
                </a:lnTo>
                <a:lnTo>
                  <a:pt x="20" y="198"/>
                </a:lnTo>
                <a:lnTo>
                  <a:pt x="20" y="204"/>
                </a:lnTo>
                <a:lnTo>
                  <a:pt x="20" y="204"/>
                </a:lnTo>
                <a:lnTo>
                  <a:pt x="18" y="206"/>
                </a:lnTo>
                <a:lnTo>
                  <a:pt x="18" y="206"/>
                </a:lnTo>
                <a:lnTo>
                  <a:pt x="22" y="212"/>
                </a:lnTo>
                <a:lnTo>
                  <a:pt x="22" y="212"/>
                </a:lnTo>
                <a:lnTo>
                  <a:pt x="24" y="212"/>
                </a:lnTo>
                <a:lnTo>
                  <a:pt x="24" y="212"/>
                </a:lnTo>
                <a:lnTo>
                  <a:pt x="24" y="208"/>
                </a:lnTo>
                <a:lnTo>
                  <a:pt x="24" y="208"/>
                </a:lnTo>
                <a:lnTo>
                  <a:pt x="26" y="208"/>
                </a:lnTo>
                <a:lnTo>
                  <a:pt x="28" y="210"/>
                </a:lnTo>
                <a:lnTo>
                  <a:pt x="28" y="212"/>
                </a:lnTo>
                <a:lnTo>
                  <a:pt x="28" y="212"/>
                </a:lnTo>
                <a:lnTo>
                  <a:pt x="30" y="212"/>
                </a:lnTo>
                <a:lnTo>
                  <a:pt x="30" y="212"/>
                </a:lnTo>
                <a:lnTo>
                  <a:pt x="30" y="212"/>
                </a:lnTo>
                <a:lnTo>
                  <a:pt x="34" y="212"/>
                </a:lnTo>
                <a:lnTo>
                  <a:pt x="36" y="214"/>
                </a:lnTo>
                <a:lnTo>
                  <a:pt x="40" y="216"/>
                </a:lnTo>
                <a:lnTo>
                  <a:pt x="44" y="218"/>
                </a:lnTo>
                <a:lnTo>
                  <a:pt x="44" y="218"/>
                </a:lnTo>
                <a:lnTo>
                  <a:pt x="46" y="216"/>
                </a:lnTo>
                <a:lnTo>
                  <a:pt x="46" y="216"/>
                </a:lnTo>
                <a:lnTo>
                  <a:pt x="56" y="212"/>
                </a:lnTo>
                <a:lnTo>
                  <a:pt x="56" y="212"/>
                </a:lnTo>
                <a:lnTo>
                  <a:pt x="56" y="208"/>
                </a:lnTo>
                <a:lnTo>
                  <a:pt x="56" y="208"/>
                </a:lnTo>
                <a:lnTo>
                  <a:pt x="64" y="208"/>
                </a:lnTo>
                <a:lnTo>
                  <a:pt x="72" y="212"/>
                </a:lnTo>
                <a:lnTo>
                  <a:pt x="72" y="212"/>
                </a:lnTo>
                <a:lnTo>
                  <a:pt x="74" y="210"/>
                </a:lnTo>
                <a:lnTo>
                  <a:pt x="76" y="206"/>
                </a:lnTo>
                <a:lnTo>
                  <a:pt x="76" y="206"/>
                </a:lnTo>
                <a:lnTo>
                  <a:pt x="76" y="206"/>
                </a:lnTo>
                <a:lnTo>
                  <a:pt x="78" y="206"/>
                </a:lnTo>
                <a:lnTo>
                  <a:pt x="80" y="206"/>
                </a:lnTo>
                <a:lnTo>
                  <a:pt x="80" y="206"/>
                </a:lnTo>
                <a:lnTo>
                  <a:pt x="82" y="204"/>
                </a:lnTo>
                <a:lnTo>
                  <a:pt x="84" y="204"/>
                </a:lnTo>
                <a:lnTo>
                  <a:pt x="84" y="204"/>
                </a:lnTo>
                <a:lnTo>
                  <a:pt x="90" y="206"/>
                </a:lnTo>
                <a:lnTo>
                  <a:pt x="90" y="206"/>
                </a:lnTo>
                <a:lnTo>
                  <a:pt x="92" y="204"/>
                </a:lnTo>
                <a:lnTo>
                  <a:pt x="94" y="204"/>
                </a:lnTo>
                <a:lnTo>
                  <a:pt x="96" y="202"/>
                </a:lnTo>
                <a:lnTo>
                  <a:pt x="96" y="202"/>
                </a:lnTo>
                <a:lnTo>
                  <a:pt x="102" y="206"/>
                </a:lnTo>
                <a:lnTo>
                  <a:pt x="106" y="206"/>
                </a:lnTo>
                <a:lnTo>
                  <a:pt x="112" y="206"/>
                </a:lnTo>
                <a:lnTo>
                  <a:pt x="112" y="206"/>
                </a:lnTo>
                <a:lnTo>
                  <a:pt x="114" y="204"/>
                </a:lnTo>
                <a:lnTo>
                  <a:pt x="114" y="204"/>
                </a:lnTo>
                <a:lnTo>
                  <a:pt x="118" y="204"/>
                </a:lnTo>
                <a:lnTo>
                  <a:pt x="124" y="204"/>
                </a:lnTo>
                <a:lnTo>
                  <a:pt x="124" y="204"/>
                </a:lnTo>
                <a:lnTo>
                  <a:pt x="124" y="200"/>
                </a:lnTo>
                <a:lnTo>
                  <a:pt x="126" y="198"/>
                </a:lnTo>
                <a:lnTo>
                  <a:pt x="126" y="198"/>
                </a:lnTo>
                <a:lnTo>
                  <a:pt x="128" y="198"/>
                </a:lnTo>
                <a:lnTo>
                  <a:pt x="130" y="200"/>
                </a:lnTo>
                <a:lnTo>
                  <a:pt x="130" y="200"/>
                </a:lnTo>
                <a:lnTo>
                  <a:pt x="134" y="200"/>
                </a:lnTo>
                <a:lnTo>
                  <a:pt x="136" y="198"/>
                </a:lnTo>
                <a:lnTo>
                  <a:pt x="140" y="196"/>
                </a:lnTo>
                <a:lnTo>
                  <a:pt x="140" y="196"/>
                </a:lnTo>
                <a:lnTo>
                  <a:pt x="144" y="196"/>
                </a:lnTo>
                <a:lnTo>
                  <a:pt x="144" y="196"/>
                </a:lnTo>
                <a:lnTo>
                  <a:pt x="152" y="188"/>
                </a:lnTo>
                <a:lnTo>
                  <a:pt x="152" y="188"/>
                </a:lnTo>
                <a:lnTo>
                  <a:pt x="154" y="184"/>
                </a:lnTo>
                <a:lnTo>
                  <a:pt x="156" y="184"/>
                </a:lnTo>
                <a:lnTo>
                  <a:pt x="156" y="184"/>
                </a:lnTo>
                <a:lnTo>
                  <a:pt x="158" y="180"/>
                </a:lnTo>
                <a:lnTo>
                  <a:pt x="160" y="176"/>
                </a:lnTo>
                <a:lnTo>
                  <a:pt x="160" y="176"/>
                </a:lnTo>
                <a:lnTo>
                  <a:pt x="164" y="174"/>
                </a:lnTo>
                <a:lnTo>
                  <a:pt x="164" y="174"/>
                </a:lnTo>
                <a:lnTo>
                  <a:pt x="170" y="166"/>
                </a:lnTo>
                <a:lnTo>
                  <a:pt x="170" y="166"/>
                </a:lnTo>
                <a:lnTo>
                  <a:pt x="172" y="166"/>
                </a:lnTo>
                <a:lnTo>
                  <a:pt x="176" y="164"/>
                </a:lnTo>
                <a:lnTo>
                  <a:pt x="176" y="164"/>
                </a:lnTo>
                <a:lnTo>
                  <a:pt x="176" y="160"/>
                </a:lnTo>
                <a:lnTo>
                  <a:pt x="176" y="158"/>
                </a:lnTo>
                <a:lnTo>
                  <a:pt x="176" y="158"/>
                </a:lnTo>
                <a:lnTo>
                  <a:pt x="184" y="154"/>
                </a:lnTo>
                <a:lnTo>
                  <a:pt x="184" y="154"/>
                </a:lnTo>
                <a:lnTo>
                  <a:pt x="184" y="148"/>
                </a:lnTo>
                <a:lnTo>
                  <a:pt x="186" y="144"/>
                </a:lnTo>
                <a:lnTo>
                  <a:pt x="186" y="144"/>
                </a:lnTo>
                <a:lnTo>
                  <a:pt x="190" y="142"/>
                </a:lnTo>
                <a:lnTo>
                  <a:pt x="190" y="142"/>
                </a:lnTo>
                <a:lnTo>
                  <a:pt x="192" y="138"/>
                </a:lnTo>
                <a:lnTo>
                  <a:pt x="194" y="132"/>
                </a:lnTo>
                <a:lnTo>
                  <a:pt x="194" y="132"/>
                </a:lnTo>
                <a:lnTo>
                  <a:pt x="196" y="126"/>
                </a:lnTo>
                <a:lnTo>
                  <a:pt x="202" y="122"/>
                </a:lnTo>
                <a:lnTo>
                  <a:pt x="212" y="116"/>
                </a:lnTo>
                <a:lnTo>
                  <a:pt x="212" y="116"/>
                </a:lnTo>
                <a:lnTo>
                  <a:pt x="210" y="100"/>
                </a:lnTo>
                <a:lnTo>
                  <a:pt x="210" y="100"/>
                </a:lnTo>
                <a:lnTo>
                  <a:pt x="214" y="100"/>
                </a:lnTo>
                <a:lnTo>
                  <a:pt x="214" y="100"/>
                </a:lnTo>
                <a:lnTo>
                  <a:pt x="216" y="76"/>
                </a:lnTo>
                <a:lnTo>
                  <a:pt x="206" y="74"/>
                </a:lnTo>
                <a:lnTo>
                  <a:pt x="208" y="84"/>
                </a:lnTo>
                <a:lnTo>
                  <a:pt x="208" y="84"/>
                </a:lnTo>
                <a:lnTo>
                  <a:pt x="204" y="82"/>
                </a:lnTo>
                <a:lnTo>
                  <a:pt x="198" y="80"/>
                </a:lnTo>
                <a:lnTo>
                  <a:pt x="198" y="80"/>
                </a:lnTo>
                <a:lnTo>
                  <a:pt x="194" y="78"/>
                </a:lnTo>
                <a:lnTo>
                  <a:pt x="192" y="76"/>
                </a:lnTo>
                <a:lnTo>
                  <a:pt x="192" y="76"/>
                </a:lnTo>
                <a:lnTo>
                  <a:pt x="192" y="72"/>
                </a:lnTo>
                <a:lnTo>
                  <a:pt x="192" y="68"/>
                </a:lnTo>
                <a:lnTo>
                  <a:pt x="192" y="68"/>
                </a:lnTo>
                <a:lnTo>
                  <a:pt x="194" y="62"/>
                </a:lnTo>
                <a:lnTo>
                  <a:pt x="194" y="60"/>
                </a:lnTo>
                <a:lnTo>
                  <a:pt x="196" y="60"/>
                </a:lnTo>
                <a:lnTo>
                  <a:pt x="196" y="60"/>
                </a:lnTo>
                <a:lnTo>
                  <a:pt x="198" y="62"/>
                </a:lnTo>
                <a:lnTo>
                  <a:pt x="200" y="60"/>
                </a:lnTo>
                <a:lnTo>
                  <a:pt x="202" y="60"/>
                </a:lnTo>
                <a:lnTo>
                  <a:pt x="202" y="60"/>
                </a:lnTo>
                <a:lnTo>
                  <a:pt x="202" y="58"/>
                </a:lnTo>
                <a:lnTo>
                  <a:pt x="200" y="54"/>
                </a:lnTo>
                <a:lnTo>
                  <a:pt x="200" y="54"/>
                </a:lnTo>
                <a:lnTo>
                  <a:pt x="200" y="50"/>
                </a:lnTo>
                <a:lnTo>
                  <a:pt x="200" y="46"/>
                </a:lnTo>
                <a:lnTo>
                  <a:pt x="200" y="46"/>
                </a:lnTo>
                <a:lnTo>
                  <a:pt x="202" y="40"/>
                </a:lnTo>
                <a:lnTo>
                  <a:pt x="202" y="32"/>
                </a:lnTo>
                <a:lnTo>
                  <a:pt x="202" y="32"/>
                </a:lnTo>
                <a:lnTo>
                  <a:pt x="200" y="24"/>
                </a:lnTo>
                <a:lnTo>
                  <a:pt x="200" y="18"/>
                </a:lnTo>
                <a:lnTo>
                  <a:pt x="200" y="18"/>
                </a:lnTo>
                <a:lnTo>
                  <a:pt x="202" y="14"/>
                </a:lnTo>
                <a:lnTo>
                  <a:pt x="202" y="10"/>
                </a:lnTo>
                <a:lnTo>
                  <a:pt x="202" y="4"/>
                </a:lnTo>
                <a:lnTo>
                  <a:pt x="202" y="4"/>
                </a:lnTo>
                <a:lnTo>
                  <a:pt x="200" y="2"/>
                </a:lnTo>
                <a:lnTo>
                  <a:pt x="194" y="2"/>
                </a:lnTo>
                <a:lnTo>
                  <a:pt x="194" y="2"/>
                </a:lnTo>
                <a:lnTo>
                  <a:pt x="190" y="0"/>
                </a:lnTo>
                <a:lnTo>
                  <a:pt x="188" y="0"/>
                </a:lnTo>
                <a:lnTo>
                  <a:pt x="188" y="0"/>
                </a:lnTo>
                <a:lnTo>
                  <a:pt x="186" y="0"/>
                </a:lnTo>
                <a:lnTo>
                  <a:pt x="180" y="0"/>
                </a:lnTo>
                <a:lnTo>
                  <a:pt x="180" y="0"/>
                </a:lnTo>
                <a:lnTo>
                  <a:pt x="178" y="2"/>
                </a:lnTo>
                <a:lnTo>
                  <a:pt x="176" y="0"/>
                </a:lnTo>
                <a:lnTo>
                  <a:pt x="174" y="0"/>
                </a:lnTo>
                <a:lnTo>
                  <a:pt x="174" y="0"/>
                </a:lnTo>
                <a:lnTo>
                  <a:pt x="172" y="2"/>
                </a:lnTo>
                <a:lnTo>
                  <a:pt x="170" y="4"/>
                </a:lnTo>
                <a:lnTo>
                  <a:pt x="166" y="6"/>
                </a:lnTo>
                <a:lnTo>
                  <a:pt x="166" y="6"/>
                </a:lnTo>
                <a:lnTo>
                  <a:pt x="164" y="6"/>
                </a:lnTo>
                <a:lnTo>
                  <a:pt x="162" y="6"/>
                </a:lnTo>
                <a:lnTo>
                  <a:pt x="162" y="8"/>
                </a:lnTo>
                <a:lnTo>
                  <a:pt x="160" y="8"/>
                </a:lnTo>
                <a:lnTo>
                  <a:pt x="160" y="8"/>
                </a:lnTo>
                <a:lnTo>
                  <a:pt x="154" y="12"/>
                </a:lnTo>
                <a:lnTo>
                  <a:pt x="148" y="14"/>
                </a:lnTo>
                <a:lnTo>
                  <a:pt x="148" y="14"/>
                </a:lnTo>
                <a:lnTo>
                  <a:pt x="144" y="16"/>
                </a:lnTo>
                <a:lnTo>
                  <a:pt x="142" y="18"/>
                </a:lnTo>
                <a:lnTo>
                  <a:pt x="140" y="22"/>
                </a:lnTo>
                <a:lnTo>
                  <a:pt x="136" y="24"/>
                </a:lnTo>
                <a:lnTo>
                  <a:pt x="136" y="24"/>
                </a:lnTo>
                <a:lnTo>
                  <a:pt x="134" y="26"/>
                </a:lnTo>
                <a:lnTo>
                  <a:pt x="134" y="32"/>
                </a:lnTo>
                <a:lnTo>
                  <a:pt x="132" y="36"/>
                </a:lnTo>
                <a:lnTo>
                  <a:pt x="132" y="38"/>
                </a:lnTo>
                <a:lnTo>
                  <a:pt x="132" y="38"/>
                </a:lnTo>
                <a:lnTo>
                  <a:pt x="126" y="40"/>
                </a:lnTo>
                <a:lnTo>
                  <a:pt x="124" y="40"/>
                </a:lnTo>
                <a:lnTo>
                  <a:pt x="124" y="40"/>
                </a:lnTo>
                <a:lnTo>
                  <a:pt x="124" y="60"/>
                </a:lnTo>
                <a:lnTo>
                  <a:pt x="124" y="60"/>
                </a:lnTo>
                <a:lnTo>
                  <a:pt x="122" y="62"/>
                </a:lnTo>
                <a:lnTo>
                  <a:pt x="120" y="62"/>
                </a:lnTo>
                <a:lnTo>
                  <a:pt x="116" y="60"/>
                </a:lnTo>
                <a:lnTo>
                  <a:pt x="116" y="60"/>
                </a:lnTo>
                <a:lnTo>
                  <a:pt x="112" y="60"/>
                </a:lnTo>
                <a:lnTo>
                  <a:pt x="108" y="60"/>
                </a:lnTo>
                <a:lnTo>
                  <a:pt x="106" y="60"/>
                </a:lnTo>
                <a:lnTo>
                  <a:pt x="106" y="60"/>
                </a:lnTo>
                <a:lnTo>
                  <a:pt x="104" y="58"/>
                </a:lnTo>
                <a:lnTo>
                  <a:pt x="102" y="58"/>
                </a:lnTo>
                <a:lnTo>
                  <a:pt x="100" y="60"/>
                </a:lnTo>
                <a:lnTo>
                  <a:pt x="98" y="60"/>
                </a:lnTo>
                <a:lnTo>
                  <a:pt x="98" y="60"/>
                </a:lnTo>
                <a:lnTo>
                  <a:pt x="96" y="56"/>
                </a:lnTo>
                <a:lnTo>
                  <a:pt x="92" y="56"/>
                </a:lnTo>
                <a:lnTo>
                  <a:pt x="92" y="56"/>
                </a:lnTo>
                <a:lnTo>
                  <a:pt x="90" y="58"/>
                </a:lnTo>
                <a:lnTo>
                  <a:pt x="88" y="60"/>
                </a:lnTo>
                <a:lnTo>
                  <a:pt x="88" y="64"/>
                </a:lnTo>
                <a:lnTo>
                  <a:pt x="88" y="64"/>
                </a:lnTo>
                <a:lnTo>
                  <a:pt x="86" y="66"/>
                </a:lnTo>
                <a:lnTo>
                  <a:pt x="82" y="70"/>
                </a:lnTo>
                <a:lnTo>
                  <a:pt x="74" y="74"/>
                </a:lnTo>
                <a:lnTo>
                  <a:pt x="74" y="74"/>
                </a:lnTo>
                <a:lnTo>
                  <a:pt x="70" y="76"/>
                </a:lnTo>
                <a:lnTo>
                  <a:pt x="62" y="80"/>
                </a:lnTo>
                <a:lnTo>
                  <a:pt x="62" y="80"/>
                </a:lnTo>
                <a:lnTo>
                  <a:pt x="60" y="80"/>
                </a:lnTo>
                <a:lnTo>
                  <a:pt x="58" y="82"/>
                </a:lnTo>
                <a:lnTo>
                  <a:pt x="58" y="82"/>
                </a:lnTo>
                <a:lnTo>
                  <a:pt x="56" y="82"/>
                </a:lnTo>
                <a:lnTo>
                  <a:pt x="56" y="82"/>
                </a:lnTo>
                <a:lnTo>
                  <a:pt x="54" y="82"/>
                </a:lnTo>
                <a:lnTo>
                  <a:pt x="52" y="80"/>
                </a:lnTo>
                <a:lnTo>
                  <a:pt x="52" y="74"/>
                </a:lnTo>
                <a:lnTo>
                  <a:pt x="52" y="74"/>
                </a:lnTo>
                <a:lnTo>
                  <a:pt x="54" y="70"/>
                </a:lnTo>
                <a:lnTo>
                  <a:pt x="52" y="62"/>
                </a:lnTo>
                <a:lnTo>
                  <a:pt x="52" y="62"/>
                </a:lnTo>
                <a:lnTo>
                  <a:pt x="48" y="58"/>
                </a:lnTo>
                <a:lnTo>
                  <a:pt x="46" y="56"/>
                </a:lnTo>
                <a:lnTo>
                  <a:pt x="42" y="54"/>
                </a:lnTo>
                <a:lnTo>
                  <a:pt x="42" y="5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0" name="Freeform 44">
            <a:extLst>
              <a:ext uri="{FF2B5EF4-FFF2-40B4-BE49-F238E27FC236}">
                <a16:creationId xmlns:a16="http://schemas.microsoft.com/office/drawing/2014/main" id="{8F98B643-8443-4606-A42E-C0EC8BE665FE}"/>
              </a:ext>
            </a:extLst>
          </p:cNvPr>
          <p:cNvSpPr>
            <a:spLocks/>
          </p:cNvSpPr>
          <p:nvPr userDrawn="1"/>
        </p:nvSpPr>
        <p:spPr bwMode="auto">
          <a:xfrm>
            <a:off x="6420977" y="4542073"/>
            <a:ext cx="53665" cy="51480"/>
          </a:xfrm>
          <a:custGeom>
            <a:avLst/>
            <a:gdLst>
              <a:gd name="T0" fmla="*/ 12 w 32"/>
              <a:gd name="T1" fmla="*/ 0 h 30"/>
              <a:gd name="T2" fmla="*/ 26 w 32"/>
              <a:gd name="T3" fmla="*/ 2 h 30"/>
              <a:gd name="T4" fmla="*/ 32 w 32"/>
              <a:gd name="T5" fmla="*/ 14 h 30"/>
              <a:gd name="T6" fmla="*/ 24 w 32"/>
              <a:gd name="T7" fmla="*/ 22 h 30"/>
              <a:gd name="T8" fmla="*/ 8 w 32"/>
              <a:gd name="T9" fmla="*/ 30 h 30"/>
              <a:gd name="T10" fmla="*/ 0 w 32"/>
              <a:gd name="T11" fmla="*/ 20 h 30"/>
              <a:gd name="T12" fmla="*/ 4 w 32"/>
              <a:gd name="T13" fmla="*/ 8 h 30"/>
              <a:gd name="T14" fmla="*/ 12 w 32"/>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12" y="0"/>
                </a:moveTo>
                <a:lnTo>
                  <a:pt x="26" y="2"/>
                </a:lnTo>
                <a:lnTo>
                  <a:pt x="32" y="14"/>
                </a:lnTo>
                <a:lnTo>
                  <a:pt x="24" y="22"/>
                </a:lnTo>
                <a:lnTo>
                  <a:pt x="8" y="30"/>
                </a:lnTo>
                <a:lnTo>
                  <a:pt x="0" y="20"/>
                </a:lnTo>
                <a:lnTo>
                  <a:pt x="4" y="8"/>
                </a:lnTo>
                <a:lnTo>
                  <a:pt x="1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1" name="Freeform 45">
            <a:extLst>
              <a:ext uri="{FF2B5EF4-FFF2-40B4-BE49-F238E27FC236}">
                <a16:creationId xmlns:a16="http://schemas.microsoft.com/office/drawing/2014/main" id="{2C285D87-CA98-44F4-A654-EFBAAB6BED3A}"/>
              </a:ext>
            </a:extLst>
          </p:cNvPr>
          <p:cNvSpPr>
            <a:spLocks/>
          </p:cNvSpPr>
          <p:nvPr userDrawn="1"/>
        </p:nvSpPr>
        <p:spPr bwMode="auto">
          <a:xfrm>
            <a:off x="6786570" y="3354610"/>
            <a:ext cx="218015" cy="356926"/>
          </a:xfrm>
          <a:custGeom>
            <a:avLst/>
            <a:gdLst>
              <a:gd name="T0" fmla="*/ 14 w 130"/>
              <a:gd name="T1" fmla="*/ 202 h 208"/>
              <a:gd name="T2" fmla="*/ 14 w 130"/>
              <a:gd name="T3" fmla="*/ 200 h 208"/>
              <a:gd name="T4" fmla="*/ 18 w 130"/>
              <a:gd name="T5" fmla="*/ 196 h 208"/>
              <a:gd name="T6" fmla="*/ 24 w 130"/>
              <a:gd name="T7" fmla="*/ 188 h 208"/>
              <a:gd name="T8" fmla="*/ 26 w 130"/>
              <a:gd name="T9" fmla="*/ 184 h 208"/>
              <a:gd name="T10" fmla="*/ 38 w 130"/>
              <a:gd name="T11" fmla="*/ 172 h 208"/>
              <a:gd name="T12" fmla="*/ 54 w 130"/>
              <a:gd name="T13" fmla="*/ 164 h 208"/>
              <a:gd name="T14" fmla="*/ 54 w 130"/>
              <a:gd name="T15" fmla="*/ 160 h 208"/>
              <a:gd name="T16" fmla="*/ 68 w 130"/>
              <a:gd name="T17" fmla="*/ 148 h 208"/>
              <a:gd name="T18" fmla="*/ 68 w 130"/>
              <a:gd name="T19" fmla="*/ 144 h 208"/>
              <a:gd name="T20" fmla="*/ 72 w 130"/>
              <a:gd name="T21" fmla="*/ 144 h 208"/>
              <a:gd name="T22" fmla="*/ 78 w 130"/>
              <a:gd name="T23" fmla="*/ 134 h 208"/>
              <a:gd name="T24" fmla="*/ 80 w 130"/>
              <a:gd name="T25" fmla="*/ 130 h 208"/>
              <a:gd name="T26" fmla="*/ 88 w 130"/>
              <a:gd name="T27" fmla="*/ 126 h 208"/>
              <a:gd name="T28" fmla="*/ 92 w 130"/>
              <a:gd name="T29" fmla="*/ 112 h 208"/>
              <a:gd name="T30" fmla="*/ 96 w 130"/>
              <a:gd name="T31" fmla="*/ 106 h 208"/>
              <a:gd name="T32" fmla="*/ 98 w 130"/>
              <a:gd name="T33" fmla="*/ 98 h 208"/>
              <a:gd name="T34" fmla="*/ 102 w 130"/>
              <a:gd name="T35" fmla="*/ 88 h 208"/>
              <a:gd name="T36" fmla="*/ 106 w 130"/>
              <a:gd name="T37" fmla="*/ 78 h 208"/>
              <a:gd name="T38" fmla="*/ 110 w 130"/>
              <a:gd name="T39" fmla="*/ 68 h 208"/>
              <a:gd name="T40" fmla="*/ 112 w 130"/>
              <a:gd name="T41" fmla="*/ 62 h 208"/>
              <a:gd name="T42" fmla="*/ 120 w 130"/>
              <a:gd name="T43" fmla="*/ 48 h 208"/>
              <a:gd name="T44" fmla="*/ 122 w 130"/>
              <a:gd name="T45" fmla="*/ 42 h 208"/>
              <a:gd name="T46" fmla="*/ 126 w 130"/>
              <a:gd name="T47" fmla="*/ 26 h 208"/>
              <a:gd name="T48" fmla="*/ 130 w 130"/>
              <a:gd name="T49" fmla="*/ 2 h 208"/>
              <a:gd name="T50" fmla="*/ 124 w 130"/>
              <a:gd name="T51" fmla="*/ 0 h 208"/>
              <a:gd name="T52" fmla="*/ 122 w 130"/>
              <a:gd name="T53" fmla="*/ 2 h 208"/>
              <a:gd name="T54" fmla="*/ 100 w 130"/>
              <a:gd name="T55" fmla="*/ 8 h 208"/>
              <a:gd name="T56" fmla="*/ 90 w 130"/>
              <a:gd name="T57" fmla="*/ 10 h 208"/>
              <a:gd name="T58" fmla="*/ 80 w 130"/>
              <a:gd name="T59" fmla="*/ 12 h 208"/>
              <a:gd name="T60" fmla="*/ 78 w 130"/>
              <a:gd name="T61" fmla="*/ 16 h 208"/>
              <a:gd name="T62" fmla="*/ 68 w 130"/>
              <a:gd name="T63" fmla="*/ 20 h 208"/>
              <a:gd name="T64" fmla="*/ 62 w 130"/>
              <a:gd name="T65" fmla="*/ 16 h 208"/>
              <a:gd name="T66" fmla="*/ 50 w 130"/>
              <a:gd name="T67" fmla="*/ 18 h 208"/>
              <a:gd name="T68" fmla="*/ 38 w 130"/>
              <a:gd name="T69" fmla="*/ 18 h 208"/>
              <a:gd name="T70" fmla="*/ 30 w 130"/>
              <a:gd name="T71" fmla="*/ 14 h 208"/>
              <a:gd name="T72" fmla="*/ 14 w 130"/>
              <a:gd name="T73" fmla="*/ 20 h 208"/>
              <a:gd name="T74" fmla="*/ 20 w 130"/>
              <a:gd name="T75" fmla="*/ 26 h 208"/>
              <a:gd name="T76" fmla="*/ 24 w 130"/>
              <a:gd name="T77" fmla="*/ 34 h 208"/>
              <a:gd name="T78" fmla="*/ 34 w 130"/>
              <a:gd name="T79" fmla="*/ 42 h 208"/>
              <a:gd name="T80" fmla="*/ 52 w 130"/>
              <a:gd name="T81" fmla="*/ 112 h 208"/>
              <a:gd name="T82" fmla="*/ 18 w 130"/>
              <a:gd name="T83" fmla="*/ 116 h 208"/>
              <a:gd name="T84" fmla="*/ 0 w 130"/>
              <a:gd name="T85" fmla="*/ 142 h 208"/>
              <a:gd name="T86" fmla="*/ 12 w 130"/>
              <a:gd name="T8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8">
                <a:moveTo>
                  <a:pt x="12" y="208"/>
                </a:moveTo>
                <a:lnTo>
                  <a:pt x="12" y="208"/>
                </a:lnTo>
                <a:lnTo>
                  <a:pt x="14" y="202"/>
                </a:lnTo>
                <a:lnTo>
                  <a:pt x="14" y="202"/>
                </a:lnTo>
                <a:lnTo>
                  <a:pt x="14" y="202"/>
                </a:lnTo>
                <a:lnTo>
                  <a:pt x="14" y="200"/>
                </a:lnTo>
                <a:lnTo>
                  <a:pt x="14" y="200"/>
                </a:lnTo>
                <a:lnTo>
                  <a:pt x="18" y="196"/>
                </a:lnTo>
                <a:lnTo>
                  <a:pt x="18" y="196"/>
                </a:lnTo>
                <a:lnTo>
                  <a:pt x="18" y="192"/>
                </a:lnTo>
                <a:lnTo>
                  <a:pt x="18" y="192"/>
                </a:lnTo>
                <a:lnTo>
                  <a:pt x="24" y="188"/>
                </a:lnTo>
                <a:lnTo>
                  <a:pt x="24" y="188"/>
                </a:lnTo>
                <a:lnTo>
                  <a:pt x="26" y="184"/>
                </a:lnTo>
                <a:lnTo>
                  <a:pt x="26" y="184"/>
                </a:lnTo>
                <a:lnTo>
                  <a:pt x="32" y="180"/>
                </a:lnTo>
                <a:lnTo>
                  <a:pt x="32" y="180"/>
                </a:lnTo>
                <a:lnTo>
                  <a:pt x="38" y="172"/>
                </a:lnTo>
                <a:lnTo>
                  <a:pt x="38" y="172"/>
                </a:lnTo>
                <a:lnTo>
                  <a:pt x="46" y="168"/>
                </a:lnTo>
                <a:lnTo>
                  <a:pt x="54" y="164"/>
                </a:lnTo>
                <a:lnTo>
                  <a:pt x="54" y="164"/>
                </a:lnTo>
                <a:lnTo>
                  <a:pt x="54" y="160"/>
                </a:lnTo>
                <a:lnTo>
                  <a:pt x="54" y="160"/>
                </a:lnTo>
                <a:lnTo>
                  <a:pt x="62" y="154"/>
                </a:lnTo>
                <a:lnTo>
                  <a:pt x="64" y="150"/>
                </a:lnTo>
                <a:lnTo>
                  <a:pt x="68" y="148"/>
                </a:lnTo>
                <a:lnTo>
                  <a:pt x="68" y="148"/>
                </a:lnTo>
                <a:lnTo>
                  <a:pt x="68" y="146"/>
                </a:lnTo>
                <a:lnTo>
                  <a:pt x="68" y="144"/>
                </a:lnTo>
                <a:lnTo>
                  <a:pt x="68" y="144"/>
                </a:lnTo>
                <a:lnTo>
                  <a:pt x="72" y="144"/>
                </a:lnTo>
                <a:lnTo>
                  <a:pt x="72" y="144"/>
                </a:lnTo>
                <a:lnTo>
                  <a:pt x="78" y="138"/>
                </a:lnTo>
                <a:lnTo>
                  <a:pt x="78" y="138"/>
                </a:lnTo>
                <a:lnTo>
                  <a:pt x="78" y="134"/>
                </a:lnTo>
                <a:lnTo>
                  <a:pt x="78" y="130"/>
                </a:lnTo>
                <a:lnTo>
                  <a:pt x="80" y="130"/>
                </a:lnTo>
                <a:lnTo>
                  <a:pt x="80" y="130"/>
                </a:lnTo>
                <a:lnTo>
                  <a:pt x="84" y="128"/>
                </a:lnTo>
                <a:lnTo>
                  <a:pt x="88" y="126"/>
                </a:lnTo>
                <a:lnTo>
                  <a:pt x="88" y="126"/>
                </a:lnTo>
                <a:lnTo>
                  <a:pt x="88" y="120"/>
                </a:lnTo>
                <a:lnTo>
                  <a:pt x="92" y="112"/>
                </a:lnTo>
                <a:lnTo>
                  <a:pt x="92" y="112"/>
                </a:lnTo>
                <a:lnTo>
                  <a:pt x="96" y="110"/>
                </a:lnTo>
                <a:lnTo>
                  <a:pt x="96" y="110"/>
                </a:lnTo>
                <a:lnTo>
                  <a:pt x="96" y="106"/>
                </a:lnTo>
                <a:lnTo>
                  <a:pt x="96" y="102"/>
                </a:lnTo>
                <a:lnTo>
                  <a:pt x="96" y="102"/>
                </a:lnTo>
                <a:lnTo>
                  <a:pt x="98" y="98"/>
                </a:lnTo>
                <a:lnTo>
                  <a:pt x="102" y="94"/>
                </a:lnTo>
                <a:lnTo>
                  <a:pt x="102" y="94"/>
                </a:lnTo>
                <a:lnTo>
                  <a:pt x="102" y="88"/>
                </a:lnTo>
                <a:lnTo>
                  <a:pt x="102" y="88"/>
                </a:lnTo>
                <a:lnTo>
                  <a:pt x="106" y="78"/>
                </a:lnTo>
                <a:lnTo>
                  <a:pt x="106" y="78"/>
                </a:lnTo>
                <a:lnTo>
                  <a:pt x="108" y="68"/>
                </a:lnTo>
                <a:lnTo>
                  <a:pt x="110" y="68"/>
                </a:lnTo>
                <a:lnTo>
                  <a:pt x="110" y="68"/>
                </a:lnTo>
                <a:lnTo>
                  <a:pt x="110" y="64"/>
                </a:lnTo>
                <a:lnTo>
                  <a:pt x="112" y="62"/>
                </a:lnTo>
                <a:lnTo>
                  <a:pt x="112" y="62"/>
                </a:lnTo>
                <a:lnTo>
                  <a:pt x="120" y="52"/>
                </a:lnTo>
                <a:lnTo>
                  <a:pt x="120" y="52"/>
                </a:lnTo>
                <a:lnTo>
                  <a:pt x="120" y="48"/>
                </a:lnTo>
                <a:lnTo>
                  <a:pt x="120" y="44"/>
                </a:lnTo>
                <a:lnTo>
                  <a:pt x="122" y="42"/>
                </a:lnTo>
                <a:lnTo>
                  <a:pt x="122" y="42"/>
                </a:lnTo>
                <a:lnTo>
                  <a:pt x="122" y="38"/>
                </a:lnTo>
                <a:lnTo>
                  <a:pt x="122" y="38"/>
                </a:lnTo>
                <a:lnTo>
                  <a:pt x="126" y="26"/>
                </a:lnTo>
                <a:lnTo>
                  <a:pt x="126" y="26"/>
                </a:lnTo>
                <a:lnTo>
                  <a:pt x="128" y="14"/>
                </a:lnTo>
                <a:lnTo>
                  <a:pt x="130" y="2"/>
                </a:lnTo>
                <a:lnTo>
                  <a:pt x="130" y="2"/>
                </a:lnTo>
                <a:lnTo>
                  <a:pt x="126" y="0"/>
                </a:lnTo>
                <a:lnTo>
                  <a:pt x="124" y="0"/>
                </a:lnTo>
                <a:lnTo>
                  <a:pt x="124" y="0"/>
                </a:lnTo>
                <a:lnTo>
                  <a:pt x="122" y="2"/>
                </a:lnTo>
                <a:lnTo>
                  <a:pt x="122" y="2"/>
                </a:lnTo>
                <a:lnTo>
                  <a:pt x="108" y="8"/>
                </a:lnTo>
                <a:lnTo>
                  <a:pt x="108" y="8"/>
                </a:lnTo>
                <a:lnTo>
                  <a:pt x="100" y="8"/>
                </a:lnTo>
                <a:lnTo>
                  <a:pt x="94" y="8"/>
                </a:lnTo>
                <a:lnTo>
                  <a:pt x="94" y="8"/>
                </a:lnTo>
                <a:lnTo>
                  <a:pt x="90" y="10"/>
                </a:lnTo>
                <a:lnTo>
                  <a:pt x="90" y="10"/>
                </a:lnTo>
                <a:lnTo>
                  <a:pt x="84" y="12"/>
                </a:lnTo>
                <a:lnTo>
                  <a:pt x="80" y="12"/>
                </a:lnTo>
                <a:lnTo>
                  <a:pt x="80" y="12"/>
                </a:lnTo>
                <a:lnTo>
                  <a:pt x="78" y="16"/>
                </a:lnTo>
                <a:lnTo>
                  <a:pt x="78" y="16"/>
                </a:lnTo>
                <a:lnTo>
                  <a:pt x="70" y="18"/>
                </a:lnTo>
                <a:lnTo>
                  <a:pt x="68" y="20"/>
                </a:lnTo>
                <a:lnTo>
                  <a:pt x="68" y="20"/>
                </a:lnTo>
                <a:lnTo>
                  <a:pt x="66" y="20"/>
                </a:lnTo>
                <a:lnTo>
                  <a:pt x="64" y="18"/>
                </a:lnTo>
                <a:lnTo>
                  <a:pt x="62" y="16"/>
                </a:lnTo>
                <a:lnTo>
                  <a:pt x="62" y="16"/>
                </a:lnTo>
                <a:lnTo>
                  <a:pt x="56" y="16"/>
                </a:lnTo>
                <a:lnTo>
                  <a:pt x="50" y="18"/>
                </a:lnTo>
                <a:lnTo>
                  <a:pt x="38" y="20"/>
                </a:lnTo>
                <a:lnTo>
                  <a:pt x="38" y="20"/>
                </a:lnTo>
                <a:lnTo>
                  <a:pt x="38" y="18"/>
                </a:lnTo>
                <a:lnTo>
                  <a:pt x="38" y="18"/>
                </a:lnTo>
                <a:lnTo>
                  <a:pt x="34" y="16"/>
                </a:lnTo>
                <a:lnTo>
                  <a:pt x="30" y="14"/>
                </a:lnTo>
                <a:lnTo>
                  <a:pt x="24" y="6"/>
                </a:lnTo>
                <a:lnTo>
                  <a:pt x="18" y="14"/>
                </a:lnTo>
                <a:lnTo>
                  <a:pt x="14" y="20"/>
                </a:lnTo>
                <a:lnTo>
                  <a:pt x="14" y="20"/>
                </a:lnTo>
                <a:lnTo>
                  <a:pt x="20" y="26"/>
                </a:lnTo>
                <a:lnTo>
                  <a:pt x="20" y="26"/>
                </a:lnTo>
                <a:lnTo>
                  <a:pt x="22" y="30"/>
                </a:lnTo>
                <a:lnTo>
                  <a:pt x="24" y="34"/>
                </a:lnTo>
                <a:lnTo>
                  <a:pt x="24" y="34"/>
                </a:lnTo>
                <a:lnTo>
                  <a:pt x="28" y="38"/>
                </a:lnTo>
                <a:lnTo>
                  <a:pt x="34" y="42"/>
                </a:lnTo>
                <a:lnTo>
                  <a:pt x="34" y="42"/>
                </a:lnTo>
                <a:lnTo>
                  <a:pt x="70" y="58"/>
                </a:lnTo>
                <a:lnTo>
                  <a:pt x="88" y="58"/>
                </a:lnTo>
                <a:lnTo>
                  <a:pt x="52" y="112"/>
                </a:lnTo>
                <a:lnTo>
                  <a:pt x="36" y="112"/>
                </a:lnTo>
                <a:lnTo>
                  <a:pt x="30" y="116"/>
                </a:lnTo>
                <a:lnTo>
                  <a:pt x="18" y="116"/>
                </a:lnTo>
                <a:lnTo>
                  <a:pt x="14" y="120"/>
                </a:lnTo>
                <a:lnTo>
                  <a:pt x="6" y="136"/>
                </a:lnTo>
                <a:lnTo>
                  <a:pt x="0" y="142"/>
                </a:lnTo>
                <a:lnTo>
                  <a:pt x="0" y="198"/>
                </a:lnTo>
                <a:lnTo>
                  <a:pt x="10" y="208"/>
                </a:lnTo>
                <a:lnTo>
                  <a:pt x="12" y="2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2" name="Freeform 46">
            <a:extLst>
              <a:ext uri="{FF2B5EF4-FFF2-40B4-BE49-F238E27FC236}">
                <a16:creationId xmlns:a16="http://schemas.microsoft.com/office/drawing/2014/main" id="{B9585CD8-3C41-4E3C-94AA-46BC1ECFF165}"/>
              </a:ext>
            </a:extLst>
          </p:cNvPr>
          <p:cNvSpPr>
            <a:spLocks noEditPoints="1"/>
          </p:cNvSpPr>
          <p:nvPr userDrawn="1"/>
        </p:nvSpPr>
        <p:spPr bwMode="auto">
          <a:xfrm>
            <a:off x="9349082" y="3893430"/>
            <a:ext cx="130809" cy="120119"/>
          </a:xfrm>
          <a:custGeom>
            <a:avLst/>
            <a:gdLst>
              <a:gd name="T0" fmla="*/ 66 w 78"/>
              <a:gd name="T1" fmla="*/ 60 h 70"/>
              <a:gd name="T2" fmla="*/ 66 w 78"/>
              <a:gd name="T3" fmla="*/ 64 h 70"/>
              <a:gd name="T4" fmla="*/ 70 w 78"/>
              <a:gd name="T5" fmla="*/ 66 h 70"/>
              <a:gd name="T6" fmla="*/ 78 w 78"/>
              <a:gd name="T7" fmla="*/ 70 h 70"/>
              <a:gd name="T8" fmla="*/ 78 w 78"/>
              <a:gd name="T9" fmla="*/ 68 h 70"/>
              <a:gd name="T10" fmla="*/ 76 w 78"/>
              <a:gd name="T11" fmla="*/ 68 h 70"/>
              <a:gd name="T12" fmla="*/ 66 w 78"/>
              <a:gd name="T13" fmla="*/ 60 h 70"/>
              <a:gd name="T14" fmla="*/ 42 w 78"/>
              <a:gd name="T15" fmla="*/ 44 h 70"/>
              <a:gd name="T16" fmla="*/ 42 w 78"/>
              <a:gd name="T17" fmla="*/ 46 h 70"/>
              <a:gd name="T18" fmla="*/ 42 w 78"/>
              <a:gd name="T19" fmla="*/ 50 h 70"/>
              <a:gd name="T20" fmla="*/ 50 w 78"/>
              <a:gd name="T21" fmla="*/ 52 h 70"/>
              <a:gd name="T22" fmla="*/ 58 w 78"/>
              <a:gd name="T23" fmla="*/ 52 h 70"/>
              <a:gd name="T24" fmla="*/ 56 w 78"/>
              <a:gd name="T25" fmla="*/ 48 h 70"/>
              <a:gd name="T26" fmla="*/ 42 w 78"/>
              <a:gd name="T27" fmla="*/ 44 h 70"/>
              <a:gd name="T28" fmla="*/ 54 w 78"/>
              <a:gd name="T29" fmla="*/ 30 h 70"/>
              <a:gd name="T30" fmla="*/ 58 w 78"/>
              <a:gd name="T31" fmla="*/ 40 h 70"/>
              <a:gd name="T32" fmla="*/ 62 w 78"/>
              <a:gd name="T33" fmla="*/ 44 h 70"/>
              <a:gd name="T34" fmla="*/ 62 w 78"/>
              <a:gd name="T35" fmla="*/ 46 h 70"/>
              <a:gd name="T36" fmla="*/ 66 w 78"/>
              <a:gd name="T37" fmla="*/ 46 h 70"/>
              <a:gd name="T38" fmla="*/ 56 w 78"/>
              <a:gd name="T39" fmla="*/ 30 h 70"/>
              <a:gd name="T40" fmla="*/ 12 w 78"/>
              <a:gd name="T41" fmla="*/ 20 h 70"/>
              <a:gd name="T42" fmla="*/ 10 w 78"/>
              <a:gd name="T43" fmla="*/ 26 h 70"/>
              <a:gd name="T44" fmla="*/ 14 w 78"/>
              <a:gd name="T45" fmla="*/ 30 h 70"/>
              <a:gd name="T46" fmla="*/ 16 w 78"/>
              <a:gd name="T47" fmla="*/ 30 h 70"/>
              <a:gd name="T48" fmla="*/ 18 w 78"/>
              <a:gd name="T49" fmla="*/ 30 h 70"/>
              <a:gd name="T50" fmla="*/ 16 w 78"/>
              <a:gd name="T51" fmla="*/ 22 h 70"/>
              <a:gd name="T52" fmla="*/ 12 w 78"/>
              <a:gd name="T53" fmla="*/ 20 h 70"/>
              <a:gd name="T54" fmla="*/ 28 w 78"/>
              <a:gd name="T55" fmla="*/ 12 h 70"/>
              <a:gd name="T56" fmla="*/ 26 w 78"/>
              <a:gd name="T57" fmla="*/ 16 h 70"/>
              <a:gd name="T58" fmla="*/ 42 w 78"/>
              <a:gd name="T59" fmla="*/ 28 h 70"/>
              <a:gd name="T60" fmla="*/ 42 w 78"/>
              <a:gd name="T61" fmla="*/ 26 h 70"/>
              <a:gd name="T62" fmla="*/ 38 w 78"/>
              <a:gd name="T63" fmla="*/ 22 h 70"/>
              <a:gd name="T64" fmla="*/ 36 w 78"/>
              <a:gd name="T65" fmla="*/ 16 h 70"/>
              <a:gd name="T66" fmla="*/ 28 w 78"/>
              <a:gd name="T67" fmla="*/ 12 h 70"/>
              <a:gd name="T68" fmla="*/ 0 w 78"/>
              <a:gd name="T69" fmla="*/ 0 h 70"/>
              <a:gd name="T70" fmla="*/ 2 w 78"/>
              <a:gd name="T71" fmla="*/ 4 h 70"/>
              <a:gd name="T72" fmla="*/ 6 w 78"/>
              <a:gd name="T73" fmla="*/ 10 h 70"/>
              <a:gd name="T74" fmla="*/ 12 w 78"/>
              <a:gd name="T75" fmla="*/ 10 h 70"/>
              <a:gd name="T76" fmla="*/ 10 w 78"/>
              <a:gd name="T77" fmla="*/ 8 h 70"/>
              <a:gd name="T78" fmla="*/ 0 w 78"/>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 h="70">
                <a:moveTo>
                  <a:pt x="66" y="60"/>
                </a:moveTo>
                <a:lnTo>
                  <a:pt x="66" y="60"/>
                </a:lnTo>
                <a:lnTo>
                  <a:pt x="66" y="62"/>
                </a:lnTo>
                <a:lnTo>
                  <a:pt x="66" y="64"/>
                </a:lnTo>
                <a:lnTo>
                  <a:pt x="66" y="64"/>
                </a:lnTo>
                <a:lnTo>
                  <a:pt x="70" y="66"/>
                </a:lnTo>
                <a:lnTo>
                  <a:pt x="74" y="68"/>
                </a:lnTo>
                <a:lnTo>
                  <a:pt x="78" y="70"/>
                </a:lnTo>
                <a:lnTo>
                  <a:pt x="78" y="68"/>
                </a:lnTo>
                <a:lnTo>
                  <a:pt x="78" y="68"/>
                </a:lnTo>
                <a:lnTo>
                  <a:pt x="76" y="68"/>
                </a:lnTo>
                <a:lnTo>
                  <a:pt x="76" y="68"/>
                </a:lnTo>
                <a:lnTo>
                  <a:pt x="72" y="64"/>
                </a:lnTo>
                <a:lnTo>
                  <a:pt x="66" y="60"/>
                </a:lnTo>
                <a:lnTo>
                  <a:pt x="66" y="60"/>
                </a:lnTo>
                <a:close/>
                <a:moveTo>
                  <a:pt x="42" y="44"/>
                </a:moveTo>
                <a:lnTo>
                  <a:pt x="42" y="44"/>
                </a:lnTo>
                <a:lnTo>
                  <a:pt x="42" y="46"/>
                </a:lnTo>
                <a:lnTo>
                  <a:pt x="42" y="50"/>
                </a:lnTo>
                <a:lnTo>
                  <a:pt x="42" y="50"/>
                </a:lnTo>
                <a:lnTo>
                  <a:pt x="46" y="52"/>
                </a:lnTo>
                <a:lnTo>
                  <a:pt x="50" y="52"/>
                </a:lnTo>
                <a:lnTo>
                  <a:pt x="58" y="52"/>
                </a:lnTo>
                <a:lnTo>
                  <a:pt x="58" y="52"/>
                </a:lnTo>
                <a:lnTo>
                  <a:pt x="56" y="48"/>
                </a:lnTo>
                <a:lnTo>
                  <a:pt x="56" y="48"/>
                </a:lnTo>
                <a:lnTo>
                  <a:pt x="42" y="44"/>
                </a:lnTo>
                <a:lnTo>
                  <a:pt x="42" y="44"/>
                </a:lnTo>
                <a:close/>
                <a:moveTo>
                  <a:pt x="54" y="30"/>
                </a:moveTo>
                <a:lnTo>
                  <a:pt x="54" y="30"/>
                </a:lnTo>
                <a:lnTo>
                  <a:pt x="56" y="36"/>
                </a:lnTo>
                <a:lnTo>
                  <a:pt x="58" y="40"/>
                </a:lnTo>
                <a:lnTo>
                  <a:pt x="58" y="40"/>
                </a:lnTo>
                <a:lnTo>
                  <a:pt x="62" y="44"/>
                </a:lnTo>
                <a:lnTo>
                  <a:pt x="62" y="46"/>
                </a:lnTo>
                <a:lnTo>
                  <a:pt x="62" y="46"/>
                </a:lnTo>
                <a:lnTo>
                  <a:pt x="66" y="46"/>
                </a:lnTo>
                <a:lnTo>
                  <a:pt x="66" y="46"/>
                </a:lnTo>
                <a:lnTo>
                  <a:pt x="62" y="38"/>
                </a:lnTo>
                <a:lnTo>
                  <a:pt x="56" y="30"/>
                </a:lnTo>
                <a:lnTo>
                  <a:pt x="54" y="30"/>
                </a:lnTo>
                <a:close/>
                <a:moveTo>
                  <a:pt x="12" y="20"/>
                </a:moveTo>
                <a:lnTo>
                  <a:pt x="12" y="20"/>
                </a:lnTo>
                <a:lnTo>
                  <a:pt x="10" y="26"/>
                </a:lnTo>
                <a:lnTo>
                  <a:pt x="14" y="30"/>
                </a:lnTo>
                <a:lnTo>
                  <a:pt x="14" y="30"/>
                </a:lnTo>
                <a:lnTo>
                  <a:pt x="14" y="30"/>
                </a:lnTo>
                <a:lnTo>
                  <a:pt x="16" y="30"/>
                </a:lnTo>
                <a:lnTo>
                  <a:pt x="18" y="30"/>
                </a:lnTo>
                <a:lnTo>
                  <a:pt x="18" y="30"/>
                </a:lnTo>
                <a:lnTo>
                  <a:pt x="18" y="26"/>
                </a:lnTo>
                <a:lnTo>
                  <a:pt x="16" y="22"/>
                </a:lnTo>
                <a:lnTo>
                  <a:pt x="16" y="22"/>
                </a:lnTo>
                <a:lnTo>
                  <a:pt x="12" y="20"/>
                </a:lnTo>
                <a:lnTo>
                  <a:pt x="12" y="20"/>
                </a:lnTo>
                <a:close/>
                <a:moveTo>
                  <a:pt x="28" y="12"/>
                </a:moveTo>
                <a:lnTo>
                  <a:pt x="28" y="12"/>
                </a:lnTo>
                <a:lnTo>
                  <a:pt x="26" y="16"/>
                </a:lnTo>
                <a:lnTo>
                  <a:pt x="26" y="16"/>
                </a:lnTo>
                <a:lnTo>
                  <a:pt x="42" y="28"/>
                </a:lnTo>
                <a:lnTo>
                  <a:pt x="42" y="28"/>
                </a:lnTo>
                <a:lnTo>
                  <a:pt x="42" y="26"/>
                </a:lnTo>
                <a:lnTo>
                  <a:pt x="42" y="26"/>
                </a:lnTo>
                <a:lnTo>
                  <a:pt x="38" y="22"/>
                </a:lnTo>
                <a:lnTo>
                  <a:pt x="38" y="22"/>
                </a:lnTo>
                <a:lnTo>
                  <a:pt x="36" y="16"/>
                </a:lnTo>
                <a:lnTo>
                  <a:pt x="36" y="16"/>
                </a:lnTo>
                <a:lnTo>
                  <a:pt x="28" y="12"/>
                </a:lnTo>
                <a:lnTo>
                  <a:pt x="28" y="12"/>
                </a:lnTo>
                <a:close/>
                <a:moveTo>
                  <a:pt x="0" y="0"/>
                </a:moveTo>
                <a:lnTo>
                  <a:pt x="0" y="0"/>
                </a:lnTo>
                <a:lnTo>
                  <a:pt x="2" y="4"/>
                </a:lnTo>
                <a:lnTo>
                  <a:pt x="4" y="8"/>
                </a:lnTo>
                <a:lnTo>
                  <a:pt x="6" y="10"/>
                </a:lnTo>
                <a:lnTo>
                  <a:pt x="12" y="10"/>
                </a:lnTo>
                <a:lnTo>
                  <a:pt x="12" y="10"/>
                </a:lnTo>
                <a:lnTo>
                  <a:pt x="10" y="8"/>
                </a:lnTo>
                <a:lnTo>
                  <a:pt x="10" y="8"/>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3" name="Freeform 47">
            <a:extLst>
              <a:ext uri="{FF2B5EF4-FFF2-40B4-BE49-F238E27FC236}">
                <a16:creationId xmlns:a16="http://schemas.microsoft.com/office/drawing/2014/main" id="{85F7D4A7-6378-4302-B949-66565FC8B828}"/>
              </a:ext>
            </a:extLst>
          </p:cNvPr>
          <p:cNvSpPr>
            <a:spLocks/>
          </p:cNvSpPr>
          <p:nvPr userDrawn="1"/>
        </p:nvSpPr>
        <p:spPr bwMode="auto">
          <a:xfrm>
            <a:off x="6149297" y="2263242"/>
            <a:ext cx="77144" cy="75504"/>
          </a:xfrm>
          <a:custGeom>
            <a:avLst/>
            <a:gdLst>
              <a:gd name="T0" fmla="*/ 6 w 46"/>
              <a:gd name="T1" fmla="*/ 34 h 44"/>
              <a:gd name="T2" fmla="*/ 6 w 46"/>
              <a:gd name="T3" fmla="*/ 38 h 44"/>
              <a:gd name="T4" fmla="*/ 4 w 46"/>
              <a:gd name="T5" fmla="*/ 38 h 44"/>
              <a:gd name="T6" fmla="*/ 2 w 46"/>
              <a:gd name="T7" fmla="*/ 42 h 44"/>
              <a:gd name="T8" fmla="*/ 4 w 46"/>
              <a:gd name="T9" fmla="*/ 44 h 44"/>
              <a:gd name="T10" fmla="*/ 12 w 46"/>
              <a:gd name="T11" fmla="*/ 42 h 44"/>
              <a:gd name="T12" fmla="*/ 20 w 46"/>
              <a:gd name="T13" fmla="*/ 38 h 44"/>
              <a:gd name="T14" fmla="*/ 22 w 46"/>
              <a:gd name="T15" fmla="*/ 34 h 44"/>
              <a:gd name="T16" fmla="*/ 20 w 46"/>
              <a:gd name="T17" fmla="*/ 30 h 44"/>
              <a:gd name="T18" fmla="*/ 22 w 46"/>
              <a:gd name="T19" fmla="*/ 30 h 44"/>
              <a:gd name="T20" fmla="*/ 26 w 46"/>
              <a:gd name="T21" fmla="*/ 32 h 44"/>
              <a:gd name="T22" fmla="*/ 28 w 46"/>
              <a:gd name="T23" fmla="*/ 32 h 44"/>
              <a:gd name="T24" fmla="*/ 32 w 46"/>
              <a:gd name="T25" fmla="*/ 20 h 44"/>
              <a:gd name="T26" fmla="*/ 34 w 46"/>
              <a:gd name="T27" fmla="*/ 18 h 44"/>
              <a:gd name="T28" fmla="*/ 36 w 46"/>
              <a:gd name="T29" fmla="*/ 18 h 44"/>
              <a:gd name="T30" fmla="*/ 42 w 46"/>
              <a:gd name="T31" fmla="*/ 14 h 44"/>
              <a:gd name="T32" fmla="*/ 44 w 46"/>
              <a:gd name="T33" fmla="*/ 12 h 44"/>
              <a:gd name="T34" fmla="*/ 46 w 46"/>
              <a:gd name="T35" fmla="*/ 10 h 44"/>
              <a:gd name="T36" fmla="*/ 46 w 46"/>
              <a:gd name="T37" fmla="*/ 6 h 44"/>
              <a:gd name="T38" fmla="*/ 44 w 46"/>
              <a:gd name="T39" fmla="*/ 2 h 44"/>
              <a:gd name="T40" fmla="*/ 44 w 46"/>
              <a:gd name="T41" fmla="*/ 0 h 44"/>
              <a:gd name="T42" fmla="*/ 38 w 46"/>
              <a:gd name="T43" fmla="*/ 4 h 44"/>
              <a:gd name="T44" fmla="*/ 30 w 46"/>
              <a:gd name="T45" fmla="*/ 2 h 44"/>
              <a:gd name="T46" fmla="*/ 26 w 46"/>
              <a:gd name="T47" fmla="*/ 4 h 44"/>
              <a:gd name="T48" fmla="*/ 22 w 46"/>
              <a:gd name="T49" fmla="*/ 6 h 44"/>
              <a:gd name="T50" fmla="*/ 14 w 46"/>
              <a:gd name="T51" fmla="*/ 8 h 44"/>
              <a:gd name="T52" fmla="*/ 8 w 46"/>
              <a:gd name="T53" fmla="*/ 8 h 44"/>
              <a:gd name="T54" fmla="*/ 8 w 46"/>
              <a:gd name="T55" fmla="*/ 10 h 44"/>
              <a:gd name="T56" fmla="*/ 6 w 46"/>
              <a:gd name="T57" fmla="*/ 12 h 44"/>
              <a:gd name="T58" fmla="*/ 2 w 46"/>
              <a:gd name="T59" fmla="*/ 12 h 44"/>
              <a:gd name="T60" fmla="*/ 0 w 46"/>
              <a:gd name="T61" fmla="*/ 20 h 44"/>
              <a:gd name="T62" fmla="*/ 2 w 46"/>
              <a:gd name="T63" fmla="*/ 22 h 44"/>
              <a:gd name="T64" fmla="*/ 4 w 46"/>
              <a:gd name="T65" fmla="*/ 22 h 44"/>
              <a:gd name="T66" fmla="*/ 6 w 46"/>
              <a:gd name="T67" fmla="*/ 26 h 44"/>
              <a:gd name="T68" fmla="*/ 4 w 46"/>
              <a:gd name="T69" fmla="*/ 32 h 44"/>
              <a:gd name="T70" fmla="*/ 6 w 46"/>
              <a:gd name="T71"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44">
                <a:moveTo>
                  <a:pt x="6" y="34"/>
                </a:moveTo>
                <a:lnTo>
                  <a:pt x="6" y="34"/>
                </a:lnTo>
                <a:lnTo>
                  <a:pt x="6" y="36"/>
                </a:lnTo>
                <a:lnTo>
                  <a:pt x="6" y="38"/>
                </a:lnTo>
                <a:lnTo>
                  <a:pt x="4" y="38"/>
                </a:lnTo>
                <a:lnTo>
                  <a:pt x="4" y="38"/>
                </a:lnTo>
                <a:lnTo>
                  <a:pt x="4" y="42"/>
                </a:lnTo>
                <a:lnTo>
                  <a:pt x="2" y="42"/>
                </a:lnTo>
                <a:lnTo>
                  <a:pt x="2" y="42"/>
                </a:lnTo>
                <a:lnTo>
                  <a:pt x="4" y="44"/>
                </a:lnTo>
                <a:lnTo>
                  <a:pt x="4" y="44"/>
                </a:lnTo>
                <a:lnTo>
                  <a:pt x="12" y="42"/>
                </a:lnTo>
                <a:lnTo>
                  <a:pt x="16" y="40"/>
                </a:lnTo>
                <a:lnTo>
                  <a:pt x="20" y="38"/>
                </a:lnTo>
                <a:lnTo>
                  <a:pt x="20" y="38"/>
                </a:lnTo>
                <a:lnTo>
                  <a:pt x="22" y="34"/>
                </a:lnTo>
                <a:lnTo>
                  <a:pt x="20" y="30"/>
                </a:lnTo>
                <a:lnTo>
                  <a:pt x="20" y="30"/>
                </a:lnTo>
                <a:lnTo>
                  <a:pt x="22" y="28"/>
                </a:lnTo>
                <a:lnTo>
                  <a:pt x="22" y="30"/>
                </a:lnTo>
                <a:lnTo>
                  <a:pt x="24" y="32"/>
                </a:lnTo>
                <a:lnTo>
                  <a:pt x="26" y="32"/>
                </a:lnTo>
                <a:lnTo>
                  <a:pt x="26" y="32"/>
                </a:lnTo>
                <a:lnTo>
                  <a:pt x="28" y="32"/>
                </a:lnTo>
                <a:lnTo>
                  <a:pt x="30" y="28"/>
                </a:lnTo>
                <a:lnTo>
                  <a:pt x="32" y="20"/>
                </a:lnTo>
                <a:lnTo>
                  <a:pt x="32" y="20"/>
                </a:lnTo>
                <a:lnTo>
                  <a:pt x="34" y="18"/>
                </a:lnTo>
                <a:lnTo>
                  <a:pt x="36" y="18"/>
                </a:lnTo>
                <a:lnTo>
                  <a:pt x="36" y="18"/>
                </a:lnTo>
                <a:lnTo>
                  <a:pt x="40" y="18"/>
                </a:lnTo>
                <a:lnTo>
                  <a:pt x="42" y="14"/>
                </a:lnTo>
                <a:lnTo>
                  <a:pt x="42" y="14"/>
                </a:lnTo>
                <a:lnTo>
                  <a:pt x="44" y="12"/>
                </a:lnTo>
                <a:lnTo>
                  <a:pt x="46" y="10"/>
                </a:lnTo>
                <a:lnTo>
                  <a:pt x="46" y="10"/>
                </a:lnTo>
                <a:lnTo>
                  <a:pt x="46" y="10"/>
                </a:lnTo>
                <a:lnTo>
                  <a:pt x="46" y="6"/>
                </a:lnTo>
                <a:lnTo>
                  <a:pt x="46" y="6"/>
                </a:lnTo>
                <a:lnTo>
                  <a:pt x="44" y="2"/>
                </a:lnTo>
                <a:lnTo>
                  <a:pt x="44" y="0"/>
                </a:lnTo>
                <a:lnTo>
                  <a:pt x="44" y="0"/>
                </a:lnTo>
                <a:lnTo>
                  <a:pt x="38" y="4"/>
                </a:lnTo>
                <a:lnTo>
                  <a:pt x="38" y="4"/>
                </a:lnTo>
                <a:lnTo>
                  <a:pt x="34" y="4"/>
                </a:lnTo>
                <a:lnTo>
                  <a:pt x="30" y="2"/>
                </a:lnTo>
                <a:lnTo>
                  <a:pt x="30" y="2"/>
                </a:lnTo>
                <a:lnTo>
                  <a:pt x="26" y="4"/>
                </a:lnTo>
                <a:lnTo>
                  <a:pt x="22" y="6"/>
                </a:lnTo>
                <a:lnTo>
                  <a:pt x="22" y="6"/>
                </a:lnTo>
                <a:lnTo>
                  <a:pt x="20" y="10"/>
                </a:lnTo>
                <a:lnTo>
                  <a:pt x="14" y="8"/>
                </a:lnTo>
                <a:lnTo>
                  <a:pt x="14" y="8"/>
                </a:lnTo>
                <a:lnTo>
                  <a:pt x="8" y="8"/>
                </a:lnTo>
                <a:lnTo>
                  <a:pt x="8" y="10"/>
                </a:lnTo>
                <a:lnTo>
                  <a:pt x="8" y="10"/>
                </a:lnTo>
                <a:lnTo>
                  <a:pt x="6" y="12"/>
                </a:lnTo>
                <a:lnTo>
                  <a:pt x="6" y="12"/>
                </a:lnTo>
                <a:lnTo>
                  <a:pt x="2" y="12"/>
                </a:lnTo>
                <a:lnTo>
                  <a:pt x="2" y="12"/>
                </a:lnTo>
                <a:lnTo>
                  <a:pt x="0" y="16"/>
                </a:lnTo>
                <a:lnTo>
                  <a:pt x="0" y="20"/>
                </a:lnTo>
                <a:lnTo>
                  <a:pt x="2" y="22"/>
                </a:lnTo>
                <a:lnTo>
                  <a:pt x="2" y="22"/>
                </a:lnTo>
                <a:lnTo>
                  <a:pt x="4" y="22"/>
                </a:lnTo>
                <a:lnTo>
                  <a:pt x="4" y="22"/>
                </a:lnTo>
                <a:lnTo>
                  <a:pt x="6" y="26"/>
                </a:lnTo>
                <a:lnTo>
                  <a:pt x="6" y="26"/>
                </a:lnTo>
                <a:lnTo>
                  <a:pt x="4" y="30"/>
                </a:lnTo>
                <a:lnTo>
                  <a:pt x="4" y="32"/>
                </a:lnTo>
                <a:lnTo>
                  <a:pt x="6" y="32"/>
                </a:lnTo>
                <a:lnTo>
                  <a:pt x="6" y="3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4" name="Freeform 48">
            <a:extLst>
              <a:ext uri="{FF2B5EF4-FFF2-40B4-BE49-F238E27FC236}">
                <a16:creationId xmlns:a16="http://schemas.microsoft.com/office/drawing/2014/main" id="{DEB8F15F-E231-4CBE-B2F0-9171D8DD14CF}"/>
              </a:ext>
            </a:extLst>
          </p:cNvPr>
          <p:cNvSpPr>
            <a:spLocks/>
          </p:cNvSpPr>
          <p:nvPr userDrawn="1"/>
        </p:nvSpPr>
        <p:spPr bwMode="auto">
          <a:xfrm>
            <a:off x="6229794" y="2174011"/>
            <a:ext cx="160996" cy="68639"/>
          </a:xfrm>
          <a:custGeom>
            <a:avLst/>
            <a:gdLst>
              <a:gd name="T0" fmla="*/ 92 w 96"/>
              <a:gd name="T1" fmla="*/ 26 h 40"/>
              <a:gd name="T2" fmla="*/ 90 w 96"/>
              <a:gd name="T3" fmla="*/ 32 h 40"/>
              <a:gd name="T4" fmla="*/ 84 w 96"/>
              <a:gd name="T5" fmla="*/ 30 h 40"/>
              <a:gd name="T6" fmla="*/ 82 w 96"/>
              <a:gd name="T7" fmla="*/ 28 h 40"/>
              <a:gd name="T8" fmla="*/ 74 w 96"/>
              <a:gd name="T9" fmla="*/ 30 h 40"/>
              <a:gd name="T10" fmla="*/ 68 w 96"/>
              <a:gd name="T11" fmla="*/ 30 h 40"/>
              <a:gd name="T12" fmla="*/ 62 w 96"/>
              <a:gd name="T13" fmla="*/ 30 h 40"/>
              <a:gd name="T14" fmla="*/ 56 w 96"/>
              <a:gd name="T15" fmla="*/ 34 h 40"/>
              <a:gd name="T16" fmla="*/ 54 w 96"/>
              <a:gd name="T17" fmla="*/ 36 h 40"/>
              <a:gd name="T18" fmla="*/ 50 w 96"/>
              <a:gd name="T19" fmla="*/ 34 h 40"/>
              <a:gd name="T20" fmla="*/ 50 w 96"/>
              <a:gd name="T21" fmla="*/ 32 h 40"/>
              <a:gd name="T22" fmla="*/ 40 w 96"/>
              <a:gd name="T23" fmla="*/ 34 h 40"/>
              <a:gd name="T24" fmla="*/ 34 w 96"/>
              <a:gd name="T25" fmla="*/ 36 h 40"/>
              <a:gd name="T26" fmla="*/ 34 w 96"/>
              <a:gd name="T27" fmla="*/ 40 h 40"/>
              <a:gd name="T28" fmla="*/ 34 w 96"/>
              <a:gd name="T29" fmla="*/ 40 h 40"/>
              <a:gd name="T30" fmla="*/ 28 w 96"/>
              <a:gd name="T31" fmla="*/ 40 h 40"/>
              <a:gd name="T32" fmla="*/ 16 w 96"/>
              <a:gd name="T33" fmla="*/ 38 h 40"/>
              <a:gd name="T34" fmla="*/ 10 w 96"/>
              <a:gd name="T35" fmla="*/ 36 h 40"/>
              <a:gd name="T36" fmla="*/ 4 w 96"/>
              <a:gd name="T37" fmla="*/ 28 h 40"/>
              <a:gd name="T38" fmla="*/ 0 w 96"/>
              <a:gd name="T39" fmla="*/ 26 h 40"/>
              <a:gd name="T40" fmla="*/ 4 w 96"/>
              <a:gd name="T41" fmla="*/ 20 h 40"/>
              <a:gd name="T42" fmla="*/ 4 w 96"/>
              <a:gd name="T43" fmla="*/ 18 h 40"/>
              <a:gd name="T44" fmla="*/ 10 w 96"/>
              <a:gd name="T45" fmla="*/ 14 h 40"/>
              <a:gd name="T46" fmla="*/ 10 w 96"/>
              <a:gd name="T47" fmla="*/ 14 h 40"/>
              <a:gd name="T48" fmla="*/ 12 w 96"/>
              <a:gd name="T49" fmla="*/ 10 h 40"/>
              <a:gd name="T50" fmla="*/ 12 w 96"/>
              <a:gd name="T51" fmla="*/ 8 h 40"/>
              <a:gd name="T52" fmla="*/ 20 w 96"/>
              <a:gd name="T53" fmla="*/ 6 h 40"/>
              <a:gd name="T54" fmla="*/ 26 w 96"/>
              <a:gd name="T55" fmla="*/ 6 h 40"/>
              <a:gd name="T56" fmla="*/ 34 w 96"/>
              <a:gd name="T57" fmla="*/ 6 h 40"/>
              <a:gd name="T58" fmla="*/ 40 w 96"/>
              <a:gd name="T59" fmla="*/ 10 h 40"/>
              <a:gd name="T60" fmla="*/ 46 w 96"/>
              <a:gd name="T61" fmla="*/ 12 h 40"/>
              <a:gd name="T62" fmla="*/ 50 w 96"/>
              <a:gd name="T63" fmla="*/ 10 h 40"/>
              <a:gd name="T64" fmla="*/ 52 w 96"/>
              <a:gd name="T65" fmla="*/ 8 h 40"/>
              <a:gd name="T66" fmla="*/ 58 w 96"/>
              <a:gd name="T67" fmla="*/ 6 h 40"/>
              <a:gd name="T68" fmla="*/ 62 w 96"/>
              <a:gd name="T69" fmla="*/ 4 h 40"/>
              <a:gd name="T70" fmla="*/ 68 w 96"/>
              <a:gd name="T71" fmla="*/ 0 h 40"/>
              <a:gd name="T72" fmla="*/ 72 w 96"/>
              <a:gd name="T73" fmla="*/ 0 h 40"/>
              <a:gd name="T74" fmla="*/ 80 w 96"/>
              <a:gd name="T75" fmla="*/ 6 h 40"/>
              <a:gd name="T76" fmla="*/ 82 w 96"/>
              <a:gd name="T77" fmla="*/ 6 h 40"/>
              <a:gd name="T78" fmla="*/ 88 w 96"/>
              <a:gd name="T79" fmla="*/ 12 h 40"/>
              <a:gd name="T80" fmla="*/ 90 w 96"/>
              <a:gd name="T81" fmla="*/ 14 h 40"/>
              <a:gd name="T82" fmla="*/ 90 w 96"/>
              <a:gd name="T83" fmla="*/ 18 h 40"/>
              <a:gd name="T84" fmla="*/ 96 w 96"/>
              <a:gd name="T85"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40">
                <a:moveTo>
                  <a:pt x="96" y="24"/>
                </a:moveTo>
                <a:lnTo>
                  <a:pt x="92" y="26"/>
                </a:lnTo>
                <a:lnTo>
                  <a:pt x="90" y="32"/>
                </a:lnTo>
                <a:lnTo>
                  <a:pt x="90" y="32"/>
                </a:lnTo>
                <a:lnTo>
                  <a:pt x="88" y="32"/>
                </a:lnTo>
                <a:lnTo>
                  <a:pt x="84" y="30"/>
                </a:lnTo>
                <a:lnTo>
                  <a:pt x="84" y="30"/>
                </a:lnTo>
                <a:lnTo>
                  <a:pt x="82" y="28"/>
                </a:lnTo>
                <a:lnTo>
                  <a:pt x="80" y="28"/>
                </a:lnTo>
                <a:lnTo>
                  <a:pt x="74" y="30"/>
                </a:lnTo>
                <a:lnTo>
                  <a:pt x="74" y="30"/>
                </a:lnTo>
                <a:lnTo>
                  <a:pt x="68" y="30"/>
                </a:lnTo>
                <a:lnTo>
                  <a:pt x="62" y="30"/>
                </a:lnTo>
                <a:lnTo>
                  <a:pt x="62" y="30"/>
                </a:lnTo>
                <a:lnTo>
                  <a:pt x="58" y="34"/>
                </a:lnTo>
                <a:lnTo>
                  <a:pt x="56" y="34"/>
                </a:lnTo>
                <a:lnTo>
                  <a:pt x="56" y="34"/>
                </a:lnTo>
                <a:lnTo>
                  <a:pt x="54" y="36"/>
                </a:lnTo>
                <a:lnTo>
                  <a:pt x="52" y="34"/>
                </a:lnTo>
                <a:lnTo>
                  <a:pt x="50" y="34"/>
                </a:lnTo>
                <a:lnTo>
                  <a:pt x="50" y="34"/>
                </a:lnTo>
                <a:lnTo>
                  <a:pt x="50" y="32"/>
                </a:lnTo>
                <a:lnTo>
                  <a:pt x="48" y="32"/>
                </a:lnTo>
                <a:lnTo>
                  <a:pt x="40" y="34"/>
                </a:lnTo>
                <a:lnTo>
                  <a:pt x="40" y="34"/>
                </a:lnTo>
                <a:lnTo>
                  <a:pt x="34" y="36"/>
                </a:lnTo>
                <a:lnTo>
                  <a:pt x="34" y="36"/>
                </a:lnTo>
                <a:lnTo>
                  <a:pt x="34" y="40"/>
                </a:lnTo>
                <a:lnTo>
                  <a:pt x="34" y="40"/>
                </a:lnTo>
                <a:lnTo>
                  <a:pt x="34" y="40"/>
                </a:lnTo>
                <a:lnTo>
                  <a:pt x="28" y="40"/>
                </a:lnTo>
                <a:lnTo>
                  <a:pt x="28" y="40"/>
                </a:lnTo>
                <a:lnTo>
                  <a:pt x="20" y="38"/>
                </a:lnTo>
                <a:lnTo>
                  <a:pt x="16" y="38"/>
                </a:lnTo>
                <a:lnTo>
                  <a:pt x="16" y="38"/>
                </a:lnTo>
                <a:lnTo>
                  <a:pt x="10" y="36"/>
                </a:lnTo>
                <a:lnTo>
                  <a:pt x="6" y="34"/>
                </a:lnTo>
                <a:lnTo>
                  <a:pt x="4" y="28"/>
                </a:lnTo>
                <a:lnTo>
                  <a:pt x="4" y="28"/>
                </a:lnTo>
                <a:lnTo>
                  <a:pt x="0" y="26"/>
                </a:lnTo>
                <a:lnTo>
                  <a:pt x="0" y="24"/>
                </a:lnTo>
                <a:lnTo>
                  <a:pt x="4" y="20"/>
                </a:lnTo>
                <a:lnTo>
                  <a:pt x="4" y="20"/>
                </a:lnTo>
                <a:lnTo>
                  <a:pt x="4" y="18"/>
                </a:lnTo>
                <a:lnTo>
                  <a:pt x="6" y="16"/>
                </a:lnTo>
                <a:lnTo>
                  <a:pt x="10" y="14"/>
                </a:lnTo>
                <a:lnTo>
                  <a:pt x="10" y="14"/>
                </a:lnTo>
                <a:lnTo>
                  <a:pt x="10" y="14"/>
                </a:lnTo>
                <a:lnTo>
                  <a:pt x="12" y="12"/>
                </a:lnTo>
                <a:lnTo>
                  <a:pt x="12" y="10"/>
                </a:lnTo>
                <a:lnTo>
                  <a:pt x="12" y="8"/>
                </a:lnTo>
                <a:lnTo>
                  <a:pt x="12" y="8"/>
                </a:lnTo>
                <a:lnTo>
                  <a:pt x="20" y="6"/>
                </a:lnTo>
                <a:lnTo>
                  <a:pt x="20" y="6"/>
                </a:lnTo>
                <a:lnTo>
                  <a:pt x="26" y="6"/>
                </a:lnTo>
                <a:lnTo>
                  <a:pt x="26" y="6"/>
                </a:lnTo>
                <a:lnTo>
                  <a:pt x="30" y="4"/>
                </a:lnTo>
                <a:lnTo>
                  <a:pt x="34" y="6"/>
                </a:lnTo>
                <a:lnTo>
                  <a:pt x="34" y="6"/>
                </a:lnTo>
                <a:lnTo>
                  <a:pt x="40" y="10"/>
                </a:lnTo>
                <a:lnTo>
                  <a:pt x="40" y="10"/>
                </a:lnTo>
                <a:lnTo>
                  <a:pt x="46" y="12"/>
                </a:lnTo>
                <a:lnTo>
                  <a:pt x="48" y="12"/>
                </a:lnTo>
                <a:lnTo>
                  <a:pt x="50" y="10"/>
                </a:lnTo>
                <a:lnTo>
                  <a:pt x="50" y="10"/>
                </a:lnTo>
                <a:lnTo>
                  <a:pt x="52" y="8"/>
                </a:lnTo>
                <a:lnTo>
                  <a:pt x="54" y="8"/>
                </a:lnTo>
                <a:lnTo>
                  <a:pt x="58" y="6"/>
                </a:lnTo>
                <a:lnTo>
                  <a:pt x="58" y="6"/>
                </a:lnTo>
                <a:lnTo>
                  <a:pt x="62" y="4"/>
                </a:lnTo>
                <a:lnTo>
                  <a:pt x="66" y="2"/>
                </a:lnTo>
                <a:lnTo>
                  <a:pt x="68" y="0"/>
                </a:lnTo>
                <a:lnTo>
                  <a:pt x="72" y="0"/>
                </a:lnTo>
                <a:lnTo>
                  <a:pt x="72" y="0"/>
                </a:lnTo>
                <a:lnTo>
                  <a:pt x="76" y="4"/>
                </a:lnTo>
                <a:lnTo>
                  <a:pt x="80" y="6"/>
                </a:lnTo>
                <a:lnTo>
                  <a:pt x="80" y="6"/>
                </a:lnTo>
                <a:lnTo>
                  <a:pt x="82" y="6"/>
                </a:lnTo>
                <a:lnTo>
                  <a:pt x="84" y="8"/>
                </a:lnTo>
                <a:lnTo>
                  <a:pt x="88" y="12"/>
                </a:lnTo>
                <a:lnTo>
                  <a:pt x="88" y="12"/>
                </a:lnTo>
                <a:lnTo>
                  <a:pt x="90" y="14"/>
                </a:lnTo>
                <a:lnTo>
                  <a:pt x="90" y="18"/>
                </a:lnTo>
                <a:lnTo>
                  <a:pt x="90" y="18"/>
                </a:lnTo>
                <a:lnTo>
                  <a:pt x="94" y="22"/>
                </a:lnTo>
                <a:lnTo>
                  <a:pt x="96" y="24"/>
                </a:lnTo>
                <a:lnTo>
                  <a:pt x="96" y="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5" name="Freeform 49">
            <a:extLst>
              <a:ext uri="{FF2B5EF4-FFF2-40B4-BE49-F238E27FC236}">
                <a16:creationId xmlns:a16="http://schemas.microsoft.com/office/drawing/2014/main" id="{62CAFBE2-17F3-4ABE-B59A-C2AB7F37D3BF}"/>
              </a:ext>
            </a:extLst>
          </p:cNvPr>
          <p:cNvSpPr>
            <a:spLocks/>
          </p:cNvSpPr>
          <p:nvPr userDrawn="1"/>
        </p:nvSpPr>
        <p:spPr bwMode="auto">
          <a:xfrm>
            <a:off x="5547240" y="3392362"/>
            <a:ext cx="77144" cy="99528"/>
          </a:xfrm>
          <a:custGeom>
            <a:avLst/>
            <a:gdLst>
              <a:gd name="T0" fmla="*/ 2 w 46"/>
              <a:gd name="T1" fmla="*/ 18 h 58"/>
              <a:gd name="T2" fmla="*/ 2 w 46"/>
              <a:gd name="T3" fmla="*/ 26 h 58"/>
              <a:gd name="T4" fmla="*/ 6 w 46"/>
              <a:gd name="T5" fmla="*/ 34 h 58"/>
              <a:gd name="T6" fmla="*/ 2 w 46"/>
              <a:gd name="T7" fmla="*/ 34 h 58"/>
              <a:gd name="T8" fmla="*/ 4 w 46"/>
              <a:gd name="T9" fmla="*/ 36 h 58"/>
              <a:gd name="T10" fmla="*/ 8 w 46"/>
              <a:gd name="T11" fmla="*/ 38 h 58"/>
              <a:gd name="T12" fmla="*/ 8 w 46"/>
              <a:gd name="T13" fmla="*/ 48 h 58"/>
              <a:gd name="T14" fmla="*/ 10 w 46"/>
              <a:gd name="T15" fmla="*/ 48 h 58"/>
              <a:gd name="T16" fmla="*/ 10 w 46"/>
              <a:gd name="T17" fmla="*/ 46 h 58"/>
              <a:gd name="T18" fmla="*/ 12 w 46"/>
              <a:gd name="T19" fmla="*/ 46 h 58"/>
              <a:gd name="T20" fmla="*/ 16 w 46"/>
              <a:gd name="T21" fmla="*/ 54 h 58"/>
              <a:gd name="T22" fmla="*/ 18 w 46"/>
              <a:gd name="T23" fmla="*/ 56 h 58"/>
              <a:gd name="T24" fmla="*/ 26 w 46"/>
              <a:gd name="T25" fmla="*/ 58 h 58"/>
              <a:gd name="T26" fmla="*/ 30 w 46"/>
              <a:gd name="T27" fmla="*/ 48 h 58"/>
              <a:gd name="T28" fmla="*/ 38 w 46"/>
              <a:gd name="T29" fmla="*/ 40 h 58"/>
              <a:gd name="T30" fmla="*/ 38 w 46"/>
              <a:gd name="T31" fmla="*/ 36 h 58"/>
              <a:gd name="T32" fmla="*/ 42 w 46"/>
              <a:gd name="T33" fmla="*/ 34 h 58"/>
              <a:gd name="T34" fmla="*/ 44 w 46"/>
              <a:gd name="T35" fmla="*/ 32 h 58"/>
              <a:gd name="T36" fmla="*/ 40 w 46"/>
              <a:gd name="T37" fmla="*/ 30 h 58"/>
              <a:gd name="T38" fmla="*/ 40 w 46"/>
              <a:gd name="T39" fmla="*/ 26 h 58"/>
              <a:gd name="T40" fmla="*/ 42 w 46"/>
              <a:gd name="T41" fmla="*/ 22 h 58"/>
              <a:gd name="T42" fmla="*/ 38 w 46"/>
              <a:gd name="T43" fmla="*/ 16 h 58"/>
              <a:gd name="T44" fmla="*/ 36 w 46"/>
              <a:gd name="T45" fmla="*/ 12 h 58"/>
              <a:gd name="T46" fmla="*/ 34 w 46"/>
              <a:gd name="T47" fmla="*/ 10 h 58"/>
              <a:gd name="T48" fmla="*/ 34 w 46"/>
              <a:gd name="T49" fmla="*/ 4 h 58"/>
              <a:gd name="T50" fmla="*/ 30 w 46"/>
              <a:gd name="T51" fmla="*/ 2 h 58"/>
              <a:gd name="T52" fmla="*/ 26 w 46"/>
              <a:gd name="T53" fmla="*/ 2 h 58"/>
              <a:gd name="T54" fmla="*/ 22 w 46"/>
              <a:gd name="T55" fmla="*/ 2 h 58"/>
              <a:gd name="T56" fmla="*/ 14 w 46"/>
              <a:gd name="T57" fmla="*/ 0 h 58"/>
              <a:gd name="T58" fmla="*/ 12 w 46"/>
              <a:gd name="T59" fmla="*/ 4 h 58"/>
              <a:gd name="T60" fmla="*/ 10 w 46"/>
              <a:gd name="T61" fmla="*/ 12 h 58"/>
              <a:gd name="T62" fmla="*/ 8 w 46"/>
              <a:gd name="T63" fmla="*/ 14 h 58"/>
              <a:gd name="T64" fmla="*/ 6 w 46"/>
              <a:gd name="T65" fmla="*/ 18 h 58"/>
              <a:gd name="T66" fmla="*/ 4 w 46"/>
              <a:gd name="T67" fmla="*/ 20 h 58"/>
              <a:gd name="T68" fmla="*/ 2 w 46"/>
              <a:gd name="T69" fmla="*/ 1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58">
                <a:moveTo>
                  <a:pt x="2" y="18"/>
                </a:moveTo>
                <a:lnTo>
                  <a:pt x="2" y="18"/>
                </a:lnTo>
                <a:lnTo>
                  <a:pt x="0" y="22"/>
                </a:lnTo>
                <a:lnTo>
                  <a:pt x="2" y="26"/>
                </a:lnTo>
                <a:lnTo>
                  <a:pt x="6" y="34"/>
                </a:lnTo>
                <a:lnTo>
                  <a:pt x="6" y="34"/>
                </a:lnTo>
                <a:lnTo>
                  <a:pt x="4" y="34"/>
                </a:lnTo>
                <a:lnTo>
                  <a:pt x="2" y="34"/>
                </a:lnTo>
                <a:lnTo>
                  <a:pt x="4" y="36"/>
                </a:lnTo>
                <a:lnTo>
                  <a:pt x="4" y="36"/>
                </a:lnTo>
                <a:lnTo>
                  <a:pt x="8" y="38"/>
                </a:lnTo>
                <a:lnTo>
                  <a:pt x="8" y="38"/>
                </a:lnTo>
                <a:lnTo>
                  <a:pt x="8" y="44"/>
                </a:lnTo>
                <a:lnTo>
                  <a:pt x="8" y="48"/>
                </a:lnTo>
                <a:lnTo>
                  <a:pt x="8" y="48"/>
                </a:lnTo>
                <a:lnTo>
                  <a:pt x="10" y="48"/>
                </a:lnTo>
                <a:lnTo>
                  <a:pt x="10" y="48"/>
                </a:lnTo>
                <a:lnTo>
                  <a:pt x="10" y="46"/>
                </a:lnTo>
                <a:lnTo>
                  <a:pt x="12" y="46"/>
                </a:lnTo>
                <a:lnTo>
                  <a:pt x="12" y="46"/>
                </a:lnTo>
                <a:lnTo>
                  <a:pt x="14" y="52"/>
                </a:lnTo>
                <a:lnTo>
                  <a:pt x="16" y="54"/>
                </a:lnTo>
                <a:lnTo>
                  <a:pt x="18" y="56"/>
                </a:lnTo>
                <a:lnTo>
                  <a:pt x="18" y="56"/>
                </a:lnTo>
                <a:lnTo>
                  <a:pt x="26" y="58"/>
                </a:lnTo>
                <a:lnTo>
                  <a:pt x="26" y="58"/>
                </a:lnTo>
                <a:lnTo>
                  <a:pt x="28" y="54"/>
                </a:lnTo>
                <a:lnTo>
                  <a:pt x="30" y="48"/>
                </a:lnTo>
                <a:lnTo>
                  <a:pt x="30" y="48"/>
                </a:lnTo>
                <a:lnTo>
                  <a:pt x="38" y="40"/>
                </a:lnTo>
                <a:lnTo>
                  <a:pt x="38" y="40"/>
                </a:lnTo>
                <a:lnTo>
                  <a:pt x="38" y="36"/>
                </a:lnTo>
                <a:lnTo>
                  <a:pt x="42" y="34"/>
                </a:lnTo>
                <a:lnTo>
                  <a:pt x="42" y="34"/>
                </a:lnTo>
                <a:lnTo>
                  <a:pt x="44" y="34"/>
                </a:lnTo>
                <a:lnTo>
                  <a:pt x="44" y="32"/>
                </a:lnTo>
                <a:lnTo>
                  <a:pt x="46" y="30"/>
                </a:lnTo>
                <a:lnTo>
                  <a:pt x="40" y="30"/>
                </a:lnTo>
                <a:lnTo>
                  <a:pt x="40" y="30"/>
                </a:lnTo>
                <a:lnTo>
                  <a:pt x="40" y="26"/>
                </a:lnTo>
                <a:lnTo>
                  <a:pt x="42" y="22"/>
                </a:lnTo>
                <a:lnTo>
                  <a:pt x="42" y="22"/>
                </a:lnTo>
                <a:lnTo>
                  <a:pt x="38" y="16"/>
                </a:lnTo>
                <a:lnTo>
                  <a:pt x="38" y="16"/>
                </a:lnTo>
                <a:lnTo>
                  <a:pt x="38" y="14"/>
                </a:lnTo>
                <a:lnTo>
                  <a:pt x="36" y="12"/>
                </a:lnTo>
                <a:lnTo>
                  <a:pt x="34" y="12"/>
                </a:lnTo>
                <a:lnTo>
                  <a:pt x="34" y="10"/>
                </a:lnTo>
                <a:lnTo>
                  <a:pt x="34" y="10"/>
                </a:lnTo>
                <a:lnTo>
                  <a:pt x="34" y="4"/>
                </a:lnTo>
                <a:lnTo>
                  <a:pt x="30" y="2"/>
                </a:lnTo>
                <a:lnTo>
                  <a:pt x="30" y="2"/>
                </a:lnTo>
                <a:lnTo>
                  <a:pt x="28" y="2"/>
                </a:lnTo>
                <a:lnTo>
                  <a:pt x="26" y="2"/>
                </a:lnTo>
                <a:lnTo>
                  <a:pt x="22" y="2"/>
                </a:lnTo>
                <a:lnTo>
                  <a:pt x="22" y="2"/>
                </a:lnTo>
                <a:lnTo>
                  <a:pt x="16" y="0"/>
                </a:lnTo>
                <a:lnTo>
                  <a:pt x="14" y="0"/>
                </a:lnTo>
                <a:lnTo>
                  <a:pt x="12" y="4"/>
                </a:lnTo>
                <a:lnTo>
                  <a:pt x="12" y="4"/>
                </a:lnTo>
                <a:lnTo>
                  <a:pt x="12" y="10"/>
                </a:lnTo>
                <a:lnTo>
                  <a:pt x="10" y="12"/>
                </a:lnTo>
                <a:lnTo>
                  <a:pt x="8" y="14"/>
                </a:lnTo>
                <a:lnTo>
                  <a:pt x="8" y="14"/>
                </a:lnTo>
                <a:lnTo>
                  <a:pt x="6" y="16"/>
                </a:lnTo>
                <a:lnTo>
                  <a:pt x="6" y="18"/>
                </a:lnTo>
                <a:lnTo>
                  <a:pt x="4" y="20"/>
                </a:lnTo>
                <a:lnTo>
                  <a:pt x="4" y="20"/>
                </a:lnTo>
                <a:lnTo>
                  <a:pt x="2" y="18"/>
                </a:lnTo>
                <a:lnTo>
                  <a:pt x="2"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6" name="Freeform 50">
            <a:extLst>
              <a:ext uri="{FF2B5EF4-FFF2-40B4-BE49-F238E27FC236}">
                <a16:creationId xmlns:a16="http://schemas.microsoft.com/office/drawing/2014/main" id="{2A94A1DA-C3AA-405D-AC1D-E14D5DE782A9}"/>
              </a:ext>
            </a:extLst>
          </p:cNvPr>
          <p:cNvSpPr>
            <a:spLocks/>
          </p:cNvSpPr>
          <p:nvPr userDrawn="1"/>
        </p:nvSpPr>
        <p:spPr bwMode="auto">
          <a:xfrm>
            <a:off x="5460035" y="3196739"/>
            <a:ext cx="130809" cy="133847"/>
          </a:xfrm>
          <a:custGeom>
            <a:avLst/>
            <a:gdLst>
              <a:gd name="T0" fmla="*/ 14 w 78"/>
              <a:gd name="T1" fmla="*/ 8 h 78"/>
              <a:gd name="T2" fmla="*/ 12 w 78"/>
              <a:gd name="T3" fmla="*/ 16 h 78"/>
              <a:gd name="T4" fmla="*/ 12 w 78"/>
              <a:gd name="T5" fmla="*/ 26 h 78"/>
              <a:gd name="T6" fmla="*/ 8 w 78"/>
              <a:gd name="T7" fmla="*/ 34 h 78"/>
              <a:gd name="T8" fmla="*/ 4 w 78"/>
              <a:gd name="T9" fmla="*/ 34 h 78"/>
              <a:gd name="T10" fmla="*/ 4 w 78"/>
              <a:gd name="T11" fmla="*/ 38 h 78"/>
              <a:gd name="T12" fmla="*/ 4 w 78"/>
              <a:gd name="T13" fmla="*/ 40 h 78"/>
              <a:gd name="T14" fmla="*/ 0 w 78"/>
              <a:gd name="T15" fmla="*/ 40 h 78"/>
              <a:gd name="T16" fmla="*/ 4 w 78"/>
              <a:gd name="T17" fmla="*/ 44 h 78"/>
              <a:gd name="T18" fmla="*/ 6 w 78"/>
              <a:gd name="T19" fmla="*/ 56 h 78"/>
              <a:gd name="T20" fmla="*/ 10 w 78"/>
              <a:gd name="T21" fmla="*/ 58 h 78"/>
              <a:gd name="T22" fmla="*/ 12 w 78"/>
              <a:gd name="T23" fmla="*/ 56 h 78"/>
              <a:gd name="T24" fmla="*/ 16 w 78"/>
              <a:gd name="T25" fmla="*/ 56 h 78"/>
              <a:gd name="T26" fmla="*/ 22 w 78"/>
              <a:gd name="T27" fmla="*/ 56 h 78"/>
              <a:gd name="T28" fmla="*/ 24 w 78"/>
              <a:gd name="T29" fmla="*/ 54 h 78"/>
              <a:gd name="T30" fmla="*/ 26 w 78"/>
              <a:gd name="T31" fmla="*/ 54 h 78"/>
              <a:gd name="T32" fmla="*/ 32 w 78"/>
              <a:gd name="T33" fmla="*/ 56 h 78"/>
              <a:gd name="T34" fmla="*/ 38 w 78"/>
              <a:gd name="T35" fmla="*/ 54 h 78"/>
              <a:gd name="T36" fmla="*/ 48 w 78"/>
              <a:gd name="T37" fmla="*/ 54 h 78"/>
              <a:gd name="T38" fmla="*/ 52 w 78"/>
              <a:gd name="T39" fmla="*/ 54 h 78"/>
              <a:gd name="T40" fmla="*/ 54 w 78"/>
              <a:gd name="T41" fmla="*/ 56 h 78"/>
              <a:gd name="T42" fmla="*/ 48 w 78"/>
              <a:gd name="T43" fmla="*/ 62 h 78"/>
              <a:gd name="T44" fmla="*/ 26 w 78"/>
              <a:gd name="T45" fmla="*/ 64 h 78"/>
              <a:gd name="T46" fmla="*/ 24 w 78"/>
              <a:gd name="T47" fmla="*/ 64 h 78"/>
              <a:gd name="T48" fmla="*/ 22 w 78"/>
              <a:gd name="T49" fmla="*/ 66 h 78"/>
              <a:gd name="T50" fmla="*/ 10 w 78"/>
              <a:gd name="T51" fmla="*/ 68 h 78"/>
              <a:gd name="T52" fmla="*/ 10 w 78"/>
              <a:gd name="T53" fmla="*/ 70 h 78"/>
              <a:gd name="T54" fmla="*/ 12 w 78"/>
              <a:gd name="T55" fmla="*/ 70 h 78"/>
              <a:gd name="T56" fmla="*/ 10 w 78"/>
              <a:gd name="T57" fmla="*/ 74 h 78"/>
              <a:gd name="T58" fmla="*/ 20 w 78"/>
              <a:gd name="T59" fmla="*/ 76 h 78"/>
              <a:gd name="T60" fmla="*/ 26 w 78"/>
              <a:gd name="T61" fmla="*/ 72 h 78"/>
              <a:gd name="T62" fmla="*/ 48 w 78"/>
              <a:gd name="T63" fmla="*/ 72 h 78"/>
              <a:gd name="T64" fmla="*/ 52 w 78"/>
              <a:gd name="T65" fmla="*/ 74 h 78"/>
              <a:gd name="T66" fmla="*/ 58 w 78"/>
              <a:gd name="T67" fmla="*/ 74 h 78"/>
              <a:gd name="T68" fmla="*/ 66 w 78"/>
              <a:gd name="T69" fmla="*/ 76 h 78"/>
              <a:gd name="T70" fmla="*/ 68 w 78"/>
              <a:gd name="T71" fmla="*/ 76 h 78"/>
              <a:gd name="T72" fmla="*/ 78 w 78"/>
              <a:gd name="T73" fmla="*/ 74 h 78"/>
              <a:gd name="T74" fmla="*/ 76 w 78"/>
              <a:gd name="T75" fmla="*/ 64 h 78"/>
              <a:gd name="T76" fmla="*/ 76 w 78"/>
              <a:gd name="T77" fmla="*/ 62 h 78"/>
              <a:gd name="T78" fmla="*/ 72 w 78"/>
              <a:gd name="T79" fmla="*/ 58 h 78"/>
              <a:gd name="T80" fmla="*/ 70 w 78"/>
              <a:gd name="T81" fmla="*/ 54 h 78"/>
              <a:gd name="T82" fmla="*/ 72 w 78"/>
              <a:gd name="T83" fmla="*/ 48 h 78"/>
              <a:gd name="T84" fmla="*/ 72 w 78"/>
              <a:gd name="T85" fmla="*/ 42 h 78"/>
              <a:gd name="T86" fmla="*/ 72 w 78"/>
              <a:gd name="T87" fmla="*/ 40 h 78"/>
              <a:gd name="T88" fmla="*/ 72 w 78"/>
              <a:gd name="T89" fmla="*/ 34 h 78"/>
              <a:gd name="T90" fmla="*/ 68 w 78"/>
              <a:gd name="T91" fmla="*/ 28 h 78"/>
              <a:gd name="T92" fmla="*/ 68 w 78"/>
              <a:gd name="T93" fmla="*/ 28 h 78"/>
              <a:gd name="T94" fmla="*/ 62 w 78"/>
              <a:gd name="T95" fmla="*/ 28 h 78"/>
              <a:gd name="T96" fmla="*/ 60 w 78"/>
              <a:gd name="T97" fmla="*/ 26 h 78"/>
              <a:gd name="T98" fmla="*/ 60 w 78"/>
              <a:gd name="T99" fmla="*/ 18 h 78"/>
              <a:gd name="T100" fmla="*/ 58 w 78"/>
              <a:gd name="T101" fmla="*/ 16 h 78"/>
              <a:gd name="T102" fmla="*/ 52 w 78"/>
              <a:gd name="T103" fmla="*/ 16 h 78"/>
              <a:gd name="T104" fmla="*/ 52 w 78"/>
              <a:gd name="T105" fmla="*/ 14 h 78"/>
              <a:gd name="T106" fmla="*/ 48 w 78"/>
              <a:gd name="T107" fmla="*/ 6 h 78"/>
              <a:gd name="T108" fmla="*/ 44 w 78"/>
              <a:gd name="T109" fmla="*/ 2 h 78"/>
              <a:gd name="T110" fmla="*/ 40 w 78"/>
              <a:gd name="T111" fmla="*/ 2 h 78"/>
              <a:gd name="T112" fmla="*/ 30 w 78"/>
              <a:gd name="T113" fmla="*/ 2 h 78"/>
              <a:gd name="T114" fmla="*/ 26 w 78"/>
              <a:gd name="T115" fmla="*/ 0 h 78"/>
              <a:gd name="T116" fmla="*/ 24 w 78"/>
              <a:gd name="T117" fmla="*/ 2 h 78"/>
              <a:gd name="T118" fmla="*/ 22 w 78"/>
              <a:gd name="T119" fmla="*/ 4 h 78"/>
              <a:gd name="T120" fmla="*/ 18 w 78"/>
              <a:gd name="T121"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78">
                <a:moveTo>
                  <a:pt x="14" y="8"/>
                </a:moveTo>
                <a:lnTo>
                  <a:pt x="14" y="8"/>
                </a:lnTo>
                <a:lnTo>
                  <a:pt x="12" y="16"/>
                </a:lnTo>
                <a:lnTo>
                  <a:pt x="12" y="16"/>
                </a:lnTo>
                <a:lnTo>
                  <a:pt x="12" y="22"/>
                </a:lnTo>
                <a:lnTo>
                  <a:pt x="12" y="26"/>
                </a:lnTo>
                <a:lnTo>
                  <a:pt x="8" y="34"/>
                </a:lnTo>
                <a:lnTo>
                  <a:pt x="8" y="34"/>
                </a:lnTo>
                <a:lnTo>
                  <a:pt x="6" y="34"/>
                </a:lnTo>
                <a:lnTo>
                  <a:pt x="4" y="34"/>
                </a:lnTo>
                <a:lnTo>
                  <a:pt x="4" y="34"/>
                </a:lnTo>
                <a:lnTo>
                  <a:pt x="4" y="38"/>
                </a:lnTo>
                <a:lnTo>
                  <a:pt x="4" y="40"/>
                </a:lnTo>
                <a:lnTo>
                  <a:pt x="4" y="40"/>
                </a:lnTo>
                <a:lnTo>
                  <a:pt x="2" y="40"/>
                </a:lnTo>
                <a:lnTo>
                  <a:pt x="0" y="40"/>
                </a:lnTo>
                <a:lnTo>
                  <a:pt x="4" y="44"/>
                </a:lnTo>
                <a:lnTo>
                  <a:pt x="4" y="44"/>
                </a:lnTo>
                <a:lnTo>
                  <a:pt x="6" y="50"/>
                </a:lnTo>
                <a:lnTo>
                  <a:pt x="6" y="56"/>
                </a:lnTo>
                <a:lnTo>
                  <a:pt x="6" y="56"/>
                </a:lnTo>
                <a:lnTo>
                  <a:pt x="10" y="58"/>
                </a:lnTo>
                <a:lnTo>
                  <a:pt x="10" y="58"/>
                </a:lnTo>
                <a:lnTo>
                  <a:pt x="12" y="56"/>
                </a:lnTo>
                <a:lnTo>
                  <a:pt x="16" y="56"/>
                </a:lnTo>
                <a:lnTo>
                  <a:pt x="16" y="56"/>
                </a:lnTo>
                <a:lnTo>
                  <a:pt x="18" y="56"/>
                </a:lnTo>
                <a:lnTo>
                  <a:pt x="22" y="56"/>
                </a:lnTo>
                <a:lnTo>
                  <a:pt x="22" y="56"/>
                </a:lnTo>
                <a:lnTo>
                  <a:pt x="24" y="54"/>
                </a:lnTo>
                <a:lnTo>
                  <a:pt x="26" y="54"/>
                </a:lnTo>
                <a:lnTo>
                  <a:pt x="26" y="54"/>
                </a:lnTo>
                <a:lnTo>
                  <a:pt x="30" y="56"/>
                </a:lnTo>
                <a:lnTo>
                  <a:pt x="32" y="56"/>
                </a:lnTo>
                <a:lnTo>
                  <a:pt x="38" y="54"/>
                </a:lnTo>
                <a:lnTo>
                  <a:pt x="38" y="54"/>
                </a:lnTo>
                <a:lnTo>
                  <a:pt x="48" y="54"/>
                </a:lnTo>
                <a:lnTo>
                  <a:pt x="48" y="54"/>
                </a:lnTo>
                <a:lnTo>
                  <a:pt x="52" y="54"/>
                </a:lnTo>
                <a:lnTo>
                  <a:pt x="52" y="54"/>
                </a:lnTo>
                <a:lnTo>
                  <a:pt x="54" y="56"/>
                </a:lnTo>
                <a:lnTo>
                  <a:pt x="54" y="56"/>
                </a:lnTo>
                <a:lnTo>
                  <a:pt x="52" y="62"/>
                </a:lnTo>
                <a:lnTo>
                  <a:pt x="48" y="62"/>
                </a:lnTo>
                <a:lnTo>
                  <a:pt x="48" y="62"/>
                </a:lnTo>
                <a:lnTo>
                  <a:pt x="26" y="64"/>
                </a:lnTo>
                <a:lnTo>
                  <a:pt x="26" y="64"/>
                </a:lnTo>
                <a:lnTo>
                  <a:pt x="24" y="64"/>
                </a:lnTo>
                <a:lnTo>
                  <a:pt x="22" y="64"/>
                </a:lnTo>
                <a:lnTo>
                  <a:pt x="22" y="66"/>
                </a:lnTo>
                <a:lnTo>
                  <a:pt x="10" y="68"/>
                </a:lnTo>
                <a:lnTo>
                  <a:pt x="10" y="68"/>
                </a:lnTo>
                <a:lnTo>
                  <a:pt x="10" y="70"/>
                </a:lnTo>
                <a:lnTo>
                  <a:pt x="10" y="70"/>
                </a:lnTo>
                <a:lnTo>
                  <a:pt x="12" y="70"/>
                </a:lnTo>
                <a:lnTo>
                  <a:pt x="12" y="70"/>
                </a:lnTo>
                <a:lnTo>
                  <a:pt x="10" y="72"/>
                </a:lnTo>
                <a:lnTo>
                  <a:pt x="10" y="74"/>
                </a:lnTo>
                <a:lnTo>
                  <a:pt x="14" y="78"/>
                </a:lnTo>
                <a:lnTo>
                  <a:pt x="20" y="76"/>
                </a:lnTo>
                <a:lnTo>
                  <a:pt x="26" y="72"/>
                </a:lnTo>
                <a:lnTo>
                  <a:pt x="26" y="72"/>
                </a:lnTo>
                <a:lnTo>
                  <a:pt x="36" y="72"/>
                </a:lnTo>
                <a:lnTo>
                  <a:pt x="48" y="72"/>
                </a:lnTo>
                <a:lnTo>
                  <a:pt x="48" y="72"/>
                </a:lnTo>
                <a:lnTo>
                  <a:pt x="52" y="74"/>
                </a:lnTo>
                <a:lnTo>
                  <a:pt x="58" y="74"/>
                </a:lnTo>
                <a:lnTo>
                  <a:pt x="58" y="74"/>
                </a:lnTo>
                <a:lnTo>
                  <a:pt x="62" y="74"/>
                </a:lnTo>
                <a:lnTo>
                  <a:pt x="66" y="76"/>
                </a:lnTo>
                <a:lnTo>
                  <a:pt x="66" y="76"/>
                </a:lnTo>
                <a:lnTo>
                  <a:pt x="68" y="76"/>
                </a:lnTo>
                <a:lnTo>
                  <a:pt x="72" y="76"/>
                </a:lnTo>
                <a:lnTo>
                  <a:pt x="78" y="74"/>
                </a:lnTo>
                <a:lnTo>
                  <a:pt x="78" y="74"/>
                </a:lnTo>
                <a:lnTo>
                  <a:pt x="76" y="64"/>
                </a:lnTo>
                <a:lnTo>
                  <a:pt x="76" y="64"/>
                </a:lnTo>
                <a:lnTo>
                  <a:pt x="76" y="62"/>
                </a:lnTo>
                <a:lnTo>
                  <a:pt x="72" y="58"/>
                </a:lnTo>
                <a:lnTo>
                  <a:pt x="72" y="58"/>
                </a:lnTo>
                <a:lnTo>
                  <a:pt x="70" y="56"/>
                </a:lnTo>
                <a:lnTo>
                  <a:pt x="70" y="54"/>
                </a:lnTo>
                <a:lnTo>
                  <a:pt x="70" y="54"/>
                </a:lnTo>
                <a:lnTo>
                  <a:pt x="72" y="48"/>
                </a:lnTo>
                <a:lnTo>
                  <a:pt x="72" y="44"/>
                </a:lnTo>
                <a:lnTo>
                  <a:pt x="72" y="42"/>
                </a:lnTo>
                <a:lnTo>
                  <a:pt x="72" y="42"/>
                </a:lnTo>
                <a:lnTo>
                  <a:pt x="72" y="40"/>
                </a:lnTo>
                <a:lnTo>
                  <a:pt x="70" y="38"/>
                </a:lnTo>
                <a:lnTo>
                  <a:pt x="72" y="34"/>
                </a:lnTo>
                <a:lnTo>
                  <a:pt x="72" y="34"/>
                </a:lnTo>
                <a:lnTo>
                  <a:pt x="68" y="28"/>
                </a:lnTo>
                <a:lnTo>
                  <a:pt x="68" y="28"/>
                </a:lnTo>
                <a:lnTo>
                  <a:pt x="68" y="28"/>
                </a:lnTo>
                <a:lnTo>
                  <a:pt x="64" y="28"/>
                </a:lnTo>
                <a:lnTo>
                  <a:pt x="62" y="28"/>
                </a:lnTo>
                <a:lnTo>
                  <a:pt x="60" y="26"/>
                </a:lnTo>
                <a:lnTo>
                  <a:pt x="60" y="26"/>
                </a:lnTo>
                <a:lnTo>
                  <a:pt x="60" y="20"/>
                </a:lnTo>
                <a:lnTo>
                  <a:pt x="60" y="18"/>
                </a:lnTo>
                <a:lnTo>
                  <a:pt x="58" y="16"/>
                </a:lnTo>
                <a:lnTo>
                  <a:pt x="58" y="16"/>
                </a:lnTo>
                <a:lnTo>
                  <a:pt x="54" y="16"/>
                </a:lnTo>
                <a:lnTo>
                  <a:pt x="52" y="16"/>
                </a:lnTo>
                <a:lnTo>
                  <a:pt x="52" y="14"/>
                </a:lnTo>
                <a:lnTo>
                  <a:pt x="52" y="14"/>
                </a:lnTo>
                <a:lnTo>
                  <a:pt x="50" y="8"/>
                </a:lnTo>
                <a:lnTo>
                  <a:pt x="48" y="6"/>
                </a:lnTo>
                <a:lnTo>
                  <a:pt x="48" y="6"/>
                </a:lnTo>
                <a:lnTo>
                  <a:pt x="44" y="2"/>
                </a:lnTo>
                <a:lnTo>
                  <a:pt x="44" y="2"/>
                </a:lnTo>
                <a:lnTo>
                  <a:pt x="40" y="2"/>
                </a:lnTo>
                <a:lnTo>
                  <a:pt x="40" y="2"/>
                </a:lnTo>
                <a:lnTo>
                  <a:pt x="30" y="2"/>
                </a:lnTo>
                <a:lnTo>
                  <a:pt x="30" y="2"/>
                </a:lnTo>
                <a:lnTo>
                  <a:pt x="26" y="0"/>
                </a:lnTo>
                <a:lnTo>
                  <a:pt x="24" y="0"/>
                </a:lnTo>
                <a:lnTo>
                  <a:pt x="24" y="2"/>
                </a:lnTo>
                <a:lnTo>
                  <a:pt x="24" y="2"/>
                </a:lnTo>
                <a:lnTo>
                  <a:pt x="22" y="4"/>
                </a:lnTo>
                <a:lnTo>
                  <a:pt x="20" y="4"/>
                </a:lnTo>
                <a:lnTo>
                  <a:pt x="18" y="6"/>
                </a:lnTo>
                <a:lnTo>
                  <a:pt x="14"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7" name="Freeform 51">
            <a:extLst>
              <a:ext uri="{FF2B5EF4-FFF2-40B4-BE49-F238E27FC236}">
                <a16:creationId xmlns:a16="http://schemas.microsoft.com/office/drawing/2014/main" id="{35889EC5-AE4A-47EB-80B8-1DEB848AF98C}"/>
              </a:ext>
            </a:extLst>
          </p:cNvPr>
          <p:cNvSpPr>
            <a:spLocks/>
          </p:cNvSpPr>
          <p:nvPr userDrawn="1"/>
        </p:nvSpPr>
        <p:spPr bwMode="auto">
          <a:xfrm>
            <a:off x="6635637" y="2760878"/>
            <a:ext cx="472924" cy="466748"/>
          </a:xfrm>
          <a:custGeom>
            <a:avLst/>
            <a:gdLst>
              <a:gd name="T0" fmla="*/ 108 w 282"/>
              <a:gd name="T1" fmla="*/ 258 h 272"/>
              <a:gd name="T2" fmla="*/ 110 w 282"/>
              <a:gd name="T3" fmla="*/ 254 h 272"/>
              <a:gd name="T4" fmla="*/ 112 w 282"/>
              <a:gd name="T5" fmla="*/ 250 h 272"/>
              <a:gd name="T6" fmla="*/ 114 w 282"/>
              <a:gd name="T7" fmla="*/ 246 h 272"/>
              <a:gd name="T8" fmla="*/ 118 w 282"/>
              <a:gd name="T9" fmla="*/ 244 h 272"/>
              <a:gd name="T10" fmla="*/ 122 w 282"/>
              <a:gd name="T11" fmla="*/ 244 h 272"/>
              <a:gd name="T12" fmla="*/ 122 w 282"/>
              <a:gd name="T13" fmla="*/ 248 h 272"/>
              <a:gd name="T14" fmla="*/ 130 w 282"/>
              <a:gd name="T15" fmla="*/ 248 h 272"/>
              <a:gd name="T16" fmla="*/ 156 w 282"/>
              <a:gd name="T17" fmla="*/ 272 h 272"/>
              <a:gd name="T18" fmla="*/ 182 w 282"/>
              <a:gd name="T19" fmla="*/ 240 h 272"/>
              <a:gd name="T20" fmla="*/ 272 w 282"/>
              <a:gd name="T21" fmla="*/ 204 h 272"/>
              <a:gd name="T22" fmla="*/ 278 w 282"/>
              <a:gd name="T23" fmla="*/ 184 h 272"/>
              <a:gd name="T24" fmla="*/ 272 w 282"/>
              <a:gd name="T25" fmla="*/ 154 h 272"/>
              <a:gd name="T26" fmla="*/ 268 w 282"/>
              <a:gd name="T27" fmla="*/ 154 h 272"/>
              <a:gd name="T28" fmla="*/ 216 w 282"/>
              <a:gd name="T29" fmla="*/ 124 h 272"/>
              <a:gd name="T30" fmla="*/ 210 w 282"/>
              <a:gd name="T31" fmla="*/ 114 h 272"/>
              <a:gd name="T32" fmla="*/ 206 w 282"/>
              <a:gd name="T33" fmla="*/ 112 h 272"/>
              <a:gd name="T34" fmla="*/ 206 w 282"/>
              <a:gd name="T35" fmla="*/ 100 h 272"/>
              <a:gd name="T36" fmla="*/ 206 w 282"/>
              <a:gd name="T37" fmla="*/ 90 h 272"/>
              <a:gd name="T38" fmla="*/ 200 w 282"/>
              <a:gd name="T39" fmla="*/ 88 h 272"/>
              <a:gd name="T40" fmla="*/ 196 w 282"/>
              <a:gd name="T41" fmla="*/ 84 h 272"/>
              <a:gd name="T42" fmla="*/ 194 w 282"/>
              <a:gd name="T43" fmla="*/ 78 h 272"/>
              <a:gd name="T44" fmla="*/ 190 w 282"/>
              <a:gd name="T45" fmla="*/ 74 h 272"/>
              <a:gd name="T46" fmla="*/ 190 w 282"/>
              <a:gd name="T47" fmla="*/ 70 h 272"/>
              <a:gd name="T48" fmla="*/ 186 w 282"/>
              <a:gd name="T49" fmla="*/ 66 h 272"/>
              <a:gd name="T50" fmla="*/ 182 w 282"/>
              <a:gd name="T51" fmla="*/ 56 h 272"/>
              <a:gd name="T52" fmla="*/ 168 w 282"/>
              <a:gd name="T53" fmla="*/ 52 h 272"/>
              <a:gd name="T54" fmla="*/ 124 w 282"/>
              <a:gd name="T55" fmla="*/ 40 h 272"/>
              <a:gd name="T56" fmla="*/ 102 w 282"/>
              <a:gd name="T57" fmla="*/ 26 h 272"/>
              <a:gd name="T58" fmla="*/ 64 w 282"/>
              <a:gd name="T59" fmla="*/ 2 h 272"/>
              <a:gd name="T60" fmla="*/ 46 w 282"/>
              <a:gd name="T61" fmla="*/ 24 h 272"/>
              <a:gd name="T62" fmla="*/ 38 w 282"/>
              <a:gd name="T63" fmla="*/ 30 h 272"/>
              <a:gd name="T64" fmla="*/ 32 w 282"/>
              <a:gd name="T65" fmla="*/ 36 h 272"/>
              <a:gd name="T66" fmla="*/ 28 w 282"/>
              <a:gd name="T67" fmla="*/ 40 h 272"/>
              <a:gd name="T68" fmla="*/ 4 w 282"/>
              <a:gd name="T69" fmla="*/ 48 h 272"/>
              <a:gd name="T70" fmla="*/ 2 w 282"/>
              <a:gd name="T71" fmla="*/ 56 h 272"/>
              <a:gd name="T72" fmla="*/ 0 w 282"/>
              <a:gd name="T73" fmla="*/ 60 h 272"/>
              <a:gd name="T74" fmla="*/ 0 w 282"/>
              <a:gd name="T75" fmla="*/ 64 h 272"/>
              <a:gd name="T76" fmla="*/ 8 w 282"/>
              <a:gd name="T77" fmla="*/ 66 h 272"/>
              <a:gd name="T78" fmla="*/ 12 w 282"/>
              <a:gd name="T79" fmla="*/ 72 h 272"/>
              <a:gd name="T80" fmla="*/ 20 w 282"/>
              <a:gd name="T81" fmla="*/ 86 h 272"/>
              <a:gd name="T82" fmla="*/ 22 w 282"/>
              <a:gd name="T83" fmla="*/ 92 h 272"/>
              <a:gd name="T84" fmla="*/ 26 w 282"/>
              <a:gd name="T85" fmla="*/ 94 h 272"/>
              <a:gd name="T86" fmla="*/ 30 w 282"/>
              <a:gd name="T87" fmla="*/ 100 h 272"/>
              <a:gd name="T88" fmla="*/ 34 w 282"/>
              <a:gd name="T89" fmla="*/ 104 h 272"/>
              <a:gd name="T90" fmla="*/ 36 w 282"/>
              <a:gd name="T91" fmla="*/ 114 h 272"/>
              <a:gd name="T92" fmla="*/ 42 w 282"/>
              <a:gd name="T93" fmla="*/ 124 h 272"/>
              <a:gd name="T94" fmla="*/ 54 w 282"/>
              <a:gd name="T95" fmla="*/ 140 h 272"/>
              <a:gd name="T96" fmla="*/ 58 w 282"/>
              <a:gd name="T97" fmla="*/ 164 h 272"/>
              <a:gd name="T98" fmla="*/ 54 w 282"/>
              <a:gd name="T99" fmla="*/ 168 h 272"/>
              <a:gd name="T100" fmla="*/ 54 w 282"/>
              <a:gd name="T101" fmla="*/ 174 h 272"/>
              <a:gd name="T102" fmla="*/ 58 w 282"/>
              <a:gd name="T103" fmla="*/ 182 h 272"/>
              <a:gd name="T104" fmla="*/ 64 w 282"/>
              <a:gd name="T105" fmla="*/ 196 h 272"/>
              <a:gd name="T106" fmla="*/ 64 w 282"/>
              <a:gd name="T107" fmla="*/ 200 h 272"/>
              <a:gd name="T108" fmla="*/ 68 w 282"/>
              <a:gd name="T109" fmla="*/ 204 h 272"/>
              <a:gd name="T110" fmla="*/ 72 w 282"/>
              <a:gd name="T111" fmla="*/ 208 h 272"/>
              <a:gd name="T112" fmla="*/ 82 w 282"/>
              <a:gd name="T113" fmla="*/ 214 h 272"/>
              <a:gd name="T114" fmla="*/ 86 w 282"/>
              <a:gd name="T115" fmla="*/ 220 h 272"/>
              <a:gd name="T116" fmla="*/ 88 w 282"/>
              <a:gd name="T117" fmla="*/ 228 h 272"/>
              <a:gd name="T118" fmla="*/ 90 w 282"/>
              <a:gd name="T119" fmla="*/ 236 h 272"/>
              <a:gd name="T120" fmla="*/ 98 w 282"/>
              <a:gd name="T121" fmla="*/ 244 h 272"/>
              <a:gd name="T122" fmla="*/ 100 w 282"/>
              <a:gd name="T123" fmla="*/ 25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72">
                <a:moveTo>
                  <a:pt x="106" y="258"/>
                </a:moveTo>
                <a:lnTo>
                  <a:pt x="106" y="258"/>
                </a:lnTo>
                <a:lnTo>
                  <a:pt x="108" y="258"/>
                </a:lnTo>
                <a:lnTo>
                  <a:pt x="110" y="254"/>
                </a:lnTo>
                <a:lnTo>
                  <a:pt x="110" y="254"/>
                </a:lnTo>
                <a:lnTo>
                  <a:pt x="110" y="254"/>
                </a:lnTo>
                <a:lnTo>
                  <a:pt x="112" y="252"/>
                </a:lnTo>
                <a:lnTo>
                  <a:pt x="112" y="252"/>
                </a:lnTo>
                <a:lnTo>
                  <a:pt x="112" y="250"/>
                </a:lnTo>
                <a:lnTo>
                  <a:pt x="112" y="250"/>
                </a:lnTo>
                <a:lnTo>
                  <a:pt x="114" y="248"/>
                </a:lnTo>
                <a:lnTo>
                  <a:pt x="114" y="246"/>
                </a:lnTo>
                <a:lnTo>
                  <a:pt x="114" y="246"/>
                </a:lnTo>
                <a:lnTo>
                  <a:pt x="116" y="244"/>
                </a:lnTo>
                <a:lnTo>
                  <a:pt x="118" y="244"/>
                </a:lnTo>
                <a:lnTo>
                  <a:pt x="118" y="244"/>
                </a:lnTo>
                <a:lnTo>
                  <a:pt x="120" y="244"/>
                </a:lnTo>
                <a:lnTo>
                  <a:pt x="122" y="244"/>
                </a:lnTo>
                <a:lnTo>
                  <a:pt x="122" y="246"/>
                </a:lnTo>
                <a:lnTo>
                  <a:pt x="122" y="248"/>
                </a:lnTo>
                <a:lnTo>
                  <a:pt x="122" y="248"/>
                </a:lnTo>
                <a:lnTo>
                  <a:pt x="126" y="248"/>
                </a:lnTo>
                <a:lnTo>
                  <a:pt x="130" y="248"/>
                </a:lnTo>
                <a:lnTo>
                  <a:pt x="130" y="248"/>
                </a:lnTo>
                <a:lnTo>
                  <a:pt x="144" y="250"/>
                </a:lnTo>
                <a:lnTo>
                  <a:pt x="154" y="254"/>
                </a:lnTo>
                <a:lnTo>
                  <a:pt x="156" y="272"/>
                </a:lnTo>
                <a:lnTo>
                  <a:pt x="156" y="272"/>
                </a:lnTo>
                <a:lnTo>
                  <a:pt x="164" y="262"/>
                </a:lnTo>
                <a:lnTo>
                  <a:pt x="182" y="240"/>
                </a:lnTo>
                <a:lnTo>
                  <a:pt x="228" y="224"/>
                </a:lnTo>
                <a:lnTo>
                  <a:pt x="228" y="224"/>
                </a:lnTo>
                <a:lnTo>
                  <a:pt x="272" y="204"/>
                </a:lnTo>
                <a:lnTo>
                  <a:pt x="272" y="204"/>
                </a:lnTo>
                <a:lnTo>
                  <a:pt x="276" y="198"/>
                </a:lnTo>
                <a:lnTo>
                  <a:pt x="278" y="184"/>
                </a:lnTo>
                <a:lnTo>
                  <a:pt x="282" y="164"/>
                </a:lnTo>
                <a:lnTo>
                  <a:pt x="272" y="154"/>
                </a:lnTo>
                <a:lnTo>
                  <a:pt x="272" y="154"/>
                </a:lnTo>
                <a:lnTo>
                  <a:pt x="272" y="154"/>
                </a:lnTo>
                <a:lnTo>
                  <a:pt x="268" y="154"/>
                </a:lnTo>
                <a:lnTo>
                  <a:pt x="268" y="154"/>
                </a:lnTo>
                <a:lnTo>
                  <a:pt x="224" y="146"/>
                </a:lnTo>
                <a:lnTo>
                  <a:pt x="224" y="132"/>
                </a:lnTo>
                <a:lnTo>
                  <a:pt x="216" y="124"/>
                </a:lnTo>
                <a:lnTo>
                  <a:pt x="216" y="118"/>
                </a:lnTo>
                <a:lnTo>
                  <a:pt x="210" y="114"/>
                </a:lnTo>
                <a:lnTo>
                  <a:pt x="210" y="114"/>
                </a:lnTo>
                <a:lnTo>
                  <a:pt x="208" y="114"/>
                </a:lnTo>
                <a:lnTo>
                  <a:pt x="208" y="114"/>
                </a:lnTo>
                <a:lnTo>
                  <a:pt x="206" y="112"/>
                </a:lnTo>
                <a:lnTo>
                  <a:pt x="206" y="110"/>
                </a:lnTo>
                <a:lnTo>
                  <a:pt x="206" y="110"/>
                </a:lnTo>
                <a:lnTo>
                  <a:pt x="206" y="100"/>
                </a:lnTo>
                <a:lnTo>
                  <a:pt x="206" y="100"/>
                </a:lnTo>
                <a:lnTo>
                  <a:pt x="206" y="96"/>
                </a:lnTo>
                <a:lnTo>
                  <a:pt x="206" y="90"/>
                </a:lnTo>
                <a:lnTo>
                  <a:pt x="204" y="90"/>
                </a:lnTo>
                <a:lnTo>
                  <a:pt x="204" y="90"/>
                </a:lnTo>
                <a:lnTo>
                  <a:pt x="200" y="88"/>
                </a:lnTo>
                <a:lnTo>
                  <a:pt x="198" y="84"/>
                </a:lnTo>
                <a:lnTo>
                  <a:pt x="198" y="84"/>
                </a:lnTo>
                <a:lnTo>
                  <a:pt x="196" y="84"/>
                </a:lnTo>
                <a:lnTo>
                  <a:pt x="194" y="82"/>
                </a:lnTo>
                <a:lnTo>
                  <a:pt x="194" y="82"/>
                </a:lnTo>
                <a:lnTo>
                  <a:pt x="194" y="78"/>
                </a:lnTo>
                <a:lnTo>
                  <a:pt x="194" y="74"/>
                </a:lnTo>
                <a:lnTo>
                  <a:pt x="194" y="74"/>
                </a:lnTo>
                <a:lnTo>
                  <a:pt x="190" y="74"/>
                </a:lnTo>
                <a:lnTo>
                  <a:pt x="190" y="74"/>
                </a:lnTo>
                <a:lnTo>
                  <a:pt x="190" y="70"/>
                </a:lnTo>
                <a:lnTo>
                  <a:pt x="190" y="70"/>
                </a:lnTo>
                <a:lnTo>
                  <a:pt x="186" y="70"/>
                </a:lnTo>
                <a:lnTo>
                  <a:pt x="186" y="70"/>
                </a:lnTo>
                <a:lnTo>
                  <a:pt x="186" y="66"/>
                </a:lnTo>
                <a:lnTo>
                  <a:pt x="186" y="66"/>
                </a:lnTo>
                <a:lnTo>
                  <a:pt x="182" y="56"/>
                </a:lnTo>
                <a:lnTo>
                  <a:pt x="182" y="56"/>
                </a:lnTo>
                <a:lnTo>
                  <a:pt x="182" y="52"/>
                </a:lnTo>
                <a:lnTo>
                  <a:pt x="180" y="52"/>
                </a:lnTo>
                <a:lnTo>
                  <a:pt x="168" y="52"/>
                </a:lnTo>
                <a:lnTo>
                  <a:pt x="166" y="46"/>
                </a:lnTo>
                <a:lnTo>
                  <a:pt x="148" y="42"/>
                </a:lnTo>
                <a:lnTo>
                  <a:pt x="124" y="40"/>
                </a:lnTo>
                <a:lnTo>
                  <a:pt x="114" y="34"/>
                </a:lnTo>
                <a:lnTo>
                  <a:pt x="112" y="26"/>
                </a:lnTo>
                <a:lnTo>
                  <a:pt x="102" y="26"/>
                </a:lnTo>
                <a:lnTo>
                  <a:pt x="102" y="20"/>
                </a:lnTo>
                <a:lnTo>
                  <a:pt x="64" y="0"/>
                </a:lnTo>
                <a:lnTo>
                  <a:pt x="64" y="2"/>
                </a:lnTo>
                <a:lnTo>
                  <a:pt x="36" y="10"/>
                </a:lnTo>
                <a:lnTo>
                  <a:pt x="46" y="24"/>
                </a:lnTo>
                <a:lnTo>
                  <a:pt x="46" y="24"/>
                </a:lnTo>
                <a:lnTo>
                  <a:pt x="42" y="26"/>
                </a:lnTo>
                <a:lnTo>
                  <a:pt x="40" y="28"/>
                </a:lnTo>
                <a:lnTo>
                  <a:pt x="38" y="30"/>
                </a:lnTo>
                <a:lnTo>
                  <a:pt x="38" y="30"/>
                </a:lnTo>
                <a:lnTo>
                  <a:pt x="36" y="32"/>
                </a:lnTo>
                <a:lnTo>
                  <a:pt x="32" y="36"/>
                </a:lnTo>
                <a:lnTo>
                  <a:pt x="32" y="36"/>
                </a:lnTo>
                <a:lnTo>
                  <a:pt x="30" y="40"/>
                </a:lnTo>
                <a:lnTo>
                  <a:pt x="28" y="40"/>
                </a:lnTo>
                <a:lnTo>
                  <a:pt x="18" y="48"/>
                </a:lnTo>
                <a:lnTo>
                  <a:pt x="4" y="48"/>
                </a:lnTo>
                <a:lnTo>
                  <a:pt x="4" y="48"/>
                </a:lnTo>
                <a:lnTo>
                  <a:pt x="0" y="56"/>
                </a:lnTo>
                <a:lnTo>
                  <a:pt x="2" y="56"/>
                </a:lnTo>
                <a:lnTo>
                  <a:pt x="2" y="56"/>
                </a:lnTo>
                <a:lnTo>
                  <a:pt x="2" y="60"/>
                </a:lnTo>
                <a:lnTo>
                  <a:pt x="2" y="60"/>
                </a:lnTo>
                <a:lnTo>
                  <a:pt x="0" y="60"/>
                </a:lnTo>
                <a:lnTo>
                  <a:pt x="0" y="62"/>
                </a:lnTo>
                <a:lnTo>
                  <a:pt x="0" y="64"/>
                </a:lnTo>
                <a:lnTo>
                  <a:pt x="0" y="64"/>
                </a:lnTo>
                <a:lnTo>
                  <a:pt x="6" y="66"/>
                </a:lnTo>
                <a:lnTo>
                  <a:pt x="6" y="66"/>
                </a:lnTo>
                <a:lnTo>
                  <a:pt x="8" y="66"/>
                </a:lnTo>
                <a:lnTo>
                  <a:pt x="10" y="68"/>
                </a:lnTo>
                <a:lnTo>
                  <a:pt x="12" y="72"/>
                </a:lnTo>
                <a:lnTo>
                  <a:pt x="12" y="72"/>
                </a:lnTo>
                <a:lnTo>
                  <a:pt x="16" y="84"/>
                </a:lnTo>
                <a:lnTo>
                  <a:pt x="16" y="84"/>
                </a:lnTo>
                <a:lnTo>
                  <a:pt x="20" y="86"/>
                </a:lnTo>
                <a:lnTo>
                  <a:pt x="22" y="88"/>
                </a:lnTo>
                <a:lnTo>
                  <a:pt x="22" y="88"/>
                </a:lnTo>
                <a:lnTo>
                  <a:pt x="22" y="92"/>
                </a:lnTo>
                <a:lnTo>
                  <a:pt x="22" y="92"/>
                </a:lnTo>
                <a:lnTo>
                  <a:pt x="26" y="94"/>
                </a:lnTo>
                <a:lnTo>
                  <a:pt x="26" y="94"/>
                </a:lnTo>
                <a:lnTo>
                  <a:pt x="26" y="98"/>
                </a:lnTo>
                <a:lnTo>
                  <a:pt x="26" y="98"/>
                </a:lnTo>
                <a:lnTo>
                  <a:pt x="30" y="100"/>
                </a:lnTo>
                <a:lnTo>
                  <a:pt x="32" y="102"/>
                </a:lnTo>
                <a:lnTo>
                  <a:pt x="32" y="104"/>
                </a:lnTo>
                <a:lnTo>
                  <a:pt x="34" y="104"/>
                </a:lnTo>
                <a:lnTo>
                  <a:pt x="34" y="104"/>
                </a:lnTo>
                <a:lnTo>
                  <a:pt x="36" y="108"/>
                </a:lnTo>
                <a:lnTo>
                  <a:pt x="36" y="114"/>
                </a:lnTo>
                <a:lnTo>
                  <a:pt x="38" y="120"/>
                </a:lnTo>
                <a:lnTo>
                  <a:pt x="40" y="124"/>
                </a:lnTo>
                <a:lnTo>
                  <a:pt x="42" y="124"/>
                </a:lnTo>
                <a:lnTo>
                  <a:pt x="42" y="124"/>
                </a:lnTo>
                <a:lnTo>
                  <a:pt x="48" y="132"/>
                </a:lnTo>
                <a:lnTo>
                  <a:pt x="54" y="140"/>
                </a:lnTo>
                <a:lnTo>
                  <a:pt x="54" y="140"/>
                </a:lnTo>
                <a:lnTo>
                  <a:pt x="56" y="152"/>
                </a:lnTo>
                <a:lnTo>
                  <a:pt x="58" y="164"/>
                </a:lnTo>
                <a:lnTo>
                  <a:pt x="58" y="164"/>
                </a:lnTo>
                <a:lnTo>
                  <a:pt x="54" y="168"/>
                </a:lnTo>
                <a:lnTo>
                  <a:pt x="54" y="168"/>
                </a:lnTo>
                <a:lnTo>
                  <a:pt x="54" y="170"/>
                </a:lnTo>
                <a:lnTo>
                  <a:pt x="54" y="174"/>
                </a:lnTo>
                <a:lnTo>
                  <a:pt x="54" y="174"/>
                </a:lnTo>
                <a:lnTo>
                  <a:pt x="58" y="174"/>
                </a:lnTo>
                <a:lnTo>
                  <a:pt x="58" y="174"/>
                </a:lnTo>
                <a:lnTo>
                  <a:pt x="58" y="182"/>
                </a:lnTo>
                <a:lnTo>
                  <a:pt x="60" y="192"/>
                </a:lnTo>
                <a:lnTo>
                  <a:pt x="60" y="192"/>
                </a:lnTo>
                <a:lnTo>
                  <a:pt x="64" y="196"/>
                </a:lnTo>
                <a:lnTo>
                  <a:pt x="64" y="196"/>
                </a:lnTo>
                <a:lnTo>
                  <a:pt x="64" y="200"/>
                </a:lnTo>
                <a:lnTo>
                  <a:pt x="64" y="200"/>
                </a:lnTo>
                <a:lnTo>
                  <a:pt x="66" y="202"/>
                </a:lnTo>
                <a:lnTo>
                  <a:pt x="66" y="202"/>
                </a:lnTo>
                <a:lnTo>
                  <a:pt x="68" y="204"/>
                </a:lnTo>
                <a:lnTo>
                  <a:pt x="70" y="208"/>
                </a:lnTo>
                <a:lnTo>
                  <a:pt x="70" y="208"/>
                </a:lnTo>
                <a:lnTo>
                  <a:pt x="72" y="208"/>
                </a:lnTo>
                <a:lnTo>
                  <a:pt x="74" y="206"/>
                </a:lnTo>
                <a:lnTo>
                  <a:pt x="74" y="206"/>
                </a:lnTo>
                <a:lnTo>
                  <a:pt x="82" y="214"/>
                </a:lnTo>
                <a:lnTo>
                  <a:pt x="82" y="214"/>
                </a:lnTo>
                <a:lnTo>
                  <a:pt x="86" y="220"/>
                </a:lnTo>
                <a:lnTo>
                  <a:pt x="86" y="220"/>
                </a:lnTo>
                <a:lnTo>
                  <a:pt x="86" y="224"/>
                </a:lnTo>
                <a:lnTo>
                  <a:pt x="86" y="224"/>
                </a:lnTo>
                <a:lnTo>
                  <a:pt x="88" y="228"/>
                </a:lnTo>
                <a:lnTo>
                  <a:pt x="90" y="232"/>
                </a:lnTo>
                <a:lnTo>
                  <a:pt x="90" y="232"/>
                </a:lnTo>
                <a:lnTo>
                  <a:pt x="90" y="236"/>
                </a:lnTo>
                <a:lnTo>
                  <a:pt x="90" y="240"/>
                </a:lnTo>
                <a:lnTo>
                  <a:pt x="90" y="240"/>
                </a:lnTo>
                <a:lnTo>
                  <a:pt x="98" y="244"/>
                </a:lnTo>
                <a:lnTo>
                  <a:pt x="98" y="244"/>
                </a:lnTo>
                <a:lnTo>
                  <a:pt x="100" y="252"/>
                </a:lnTo>
                <a:lnTo>
                  <a:pt x="100" y="252"/>
                </a:lnTo>
                <a:lnTo>
                  <a:pt x="106" y="258"/>
                </a:lnTo>
                <a:lnTo>
                  <a:pt x="106" y="2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8" name="Freeform 52">
            <a:extLst>
              <a:ext uri="{FF2B5EF4-FFF2-40B4-BE49-F238E27FC236}">
                <a16:creationId xmlns:a16="http://schemas.microsoft.com/office/drawing/2014/main" id="{C1A22CFF-DA9F-4765-BE9D-2FE26C04A041}"/>
              </a:ext>
            </a:extLst>
          </p:cNvPr>
          <p:cNvSpPr>
            <a:spLocks/>
          </p:cNvSpPr>
          <p:nvPr userDrawn="1"/>
        </p:nvSpPr>
        <p:spPr bwMode="auto">
          <a:xfrm>
            <a:off x="6498120" y="3738991"/>
            <a:ext cx="53665" cy="44615"/>
          </a:xfrm>
          <a:custGeom>
            <a:avLst/>
            <a:gdLst>
              <a:gd name="T0" fmla="*/ 2 w 32"/>
              <a:gd name="T1" fmla="*/ 12 h 26"/>
              <a:gd name="T2" fmla="*/ 2 w 32"/>
              <a:gd name="T3" fmla="*/ 12 h 26"/>
              <a:gd name="T4" fmla="*/ 2 w 32"/>
              <a:gd name="T5" fmla="*/ 12 h 26"/>
              <a:gd name="T6" fmla="*/ 2 w 32"/>
              <a:gd name="T7" fmla="*/ 12 h 26"/>
              <a:gd name="T8" fmla="*/ 0 w 32"/>
              <a:gd name="T9" fmla="*/ 14 h 26"/>
              <a:gd name="T10" fmla="*/ 0 w 32"/>
              <a:gd name="T11" fmla="*/ 16 h 26"/>
              <a:gd name="T12" fmla="*/ 0 w 32"/>
              <a:gd name="T13" fmla="*/ 16 h 26"/>
              <a:gd name="T14" fmla="*/ 0 w 32"/>
              <a:gd name="T15" fmla="*/ 18 h 26"/>
              <a:gd name="T16" fmla="*/ 2 w 32"/>
              <a:gd name="T17" fmla="*/ 20 h 26"/>
              <a:gd name="T18" fmla="*/ 6 w 32"/>
              <a:gd name="T19" fmla="*/ 22 h 26"/>
              <a:gd name="T20" fmla="*/ 6 w 32"/>
              <a:gd name="T21" fmla="*/ 22 h 26"/>
              <a:gd name="T22" fmla="*/ 8 w 32"/>
              <a:gd name="T23" fmla="*/ 20 h 26"/>
              <a:gd name="T24" fmla="*/ 10 w 32"/>
              <a:gd name="T25" fmla="*/ 18 h 26"/>
              <a:gd name="T26" fmla="*/ 12 w 32"/>
              <a:gd name="T27" fmla="*/ 20 h 26"/>
              <a:gd name="T28" fmla="*/ 12 w 32"/>
              <a:gd name="T29" fmla="*/ 20 h 26"/>
              <a:gd name="T30" fmla="*/ 14 w 32"/>
              <a:gd name="T31" fmla="*/ 26 h 26"/>
              <a:gd name="T32" fmla="*/ 14 w 32"/>
              <a:gd name="T33" fmla="*/ 26 h 26"/>
              <a:gd name="T34" fmla="*/ 18 w 32"/>
              <a:gd name="T35" fmla="*/ 24 h 26"/>
              <a:gd name="T36" fmla="*/ 18 w 32"/>
              <a:gd name="T37" fmla="*/ 24 h 26"/>
              <a:gd name="T38" fmla="*/ 20 w 32"/>
              <a:gd name="T39" fmla="*/ 22 h 26"/>
              <a:gd name="T40" fmla="*/ 20 w 32"/>
              <a:gd name="T41" fmla="*/ 20 h 26"/>
              <a:gd name="T42" fmla="*/ 20 w 32"/>
              <a:gd name="T43" fmla="*/ 18 h 26"/>
              <a:gd name="T44" fmla="*/ 22 w 32"/>
              <a:gd name="T45" fmla="*/ 18 h 26"/>
              <a:gd name="T46" fmla="*/ 22 w 32"/>
              <a:gd name="T47" fmla="*/ 18 h 26"/>
              <a:gd name="T48" fmla="*/ 28 w 32"/>
              <a:gd name="T49" fmla="*/ 20 h 26"/>
              <a:gd name="T50" fmla="*/ 30 w 32"/>
              <a:gd name="T51" fmla="*/ 20 h 26"/>
              <a:gd name="T52" fmla="*/ 30 w 32"/>
              <a:gd name="T53" fmla="*/ 20 h 26"/>
              <a:gd name="T54" fmla="*/ 32 w 32"/>
              <a:gd name="T55" fmla="*/ 20 h 26"/>
              <a:gd name="T56" fmla="*/ 32 w 32"/>
              <a:gd name="T57" fmla="*/ 16 h 26"/>
              <a:gd name="T58" fmla="*/ 32 w 32"/>
              <a:gd name="T59" fmla="*/ 16 h 26"/>
              <a:gd name="T60" fmla="*/ 32 w 32"/>
              <a:gd name="T61" fmla="*/ 8 h 26"/>
              <a:gd name="T62" fmla="*/ 28 w 32"/>
              <a:gd name="T63" fmla="*/ 0 h 26"/>
              <a:gd name="T64" fmla="*/ 28 w 32"/>
              <a:gd name="T65" fmla="*/ 0 h 26"/>
              <a:gd name="T66" fmla="*/ 26 w 32"/>
              <a:gd name="T67" fmla="*/ 2 h 26"/>
              <a:gd name="T68" fmla="*/ 22 w 32"/>
              <a:gd name="T69" fmla="*/ 4 h 26"/>
              <a:gd name="T70" fmla="*/ 22 w 32"/>
              <a:gd name="T71" fmla="*/ 4 h 26"/>
              <a:gd name="T72" fmla="*/ 18 w 32"/>
              <a:gd name="T73" fmla="*/ 6 h 26"/>
              <a:gd name="T74" fmla="*/ 14 w 32"/>
              <a:gd name="T75" fmla="*/ 4 h 26"/>
              <a:gd name="T76" fmla="*/ 14 w 32"/>
              <a:gd name="T77" fmla="*/ 4 h 26"/>
              <a:gd name="T78" fmla="*/ 6 w 32"/>
              <a:gd name="T79" fmla="*/ 0 h 26"/>
              <a:gd name="T80" fmla="*/ 6 w 32"/>
              <a:gd name="T81" fmla="*/ 0 h 26"/>
              <a:gd name="T82" fmla="*/ 6 w 32"/>
              <a:gd name="T83" fmla="*/ 2 h 26"/>
              <a:gd name="T84" fmla="*/ 6 w 32"/>
              <a:gd name="T85" fmla="*/ 2 h 26"/>
              <a:gd name="T86" fmla="*/ 8 w 32"/>
              <a:gd name="T87" fmla="*/ 4 h 26"/>
              <a:gd name="T88" fmla="*/ 6 w 32"/>
              <a:gd name="T89" fmla="*/ 12 h 26"/>
              <a:gd name="T90" fmla="*/ 6 w 32"/>
              <a:gd name="T91" fmla="*/ 12 h 26"/>
              <a:gd name="T92" fmla="*/ 2 w 32"/>
              <a:gd name="T93" fmla="*/ 12 h 26"/>
              <a:gd name="T94" fmla="*/ 2 w 32"/>
              <a:gd name="T95"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26">
                <a:moveTo>
                  <a:pt x="2" y="12"/>
                </a:moveTo>
                <a:lnTo>
                  <a:pt x="2" y="12"/>
                </a:lnTo>
                <a:lnTo>
                  <a:pt x="2" y="12"/>
                </a:lnTo>
                <a:lnTo>
                  <a:pt x="2" y="12"/>
                </a:lnTo>
                <a:lnTo>
                  <a:pt x="0" y="14"/>
                </a:lnTo>
                <a:lnTo>
                  <a:pt x="0" y="16"/>
                </a:lnTo>
                <a:lnTo>
                  <a:pt x="0" y="16"/>
                </a:lnTo>
                <a:lnTo>
                  <a:pt x="0" y="18"/>
                </a:lnTo>
                <a:lnTo>
                  <a:pt x="2" y="20"/>
                </a:lnTo>
                <a:lnTo>
                  <a:pt x="6" y="22"/>
                </a:lnTo>
                <a:lnTo>
                  <a:pt x="6" y="22"/>
                </a:lnTo>
                <a:lnTo>
                  <a:pt x="8" y="20"/>
                </a:lnTo>
                <a:lnTo>
                  <a:pt x="10" y="18"/>
                </a:lnTo>
                <a:lnTo>
                  <a:pt x="12" y="20"/>
                </a:lnTo>
                <a:lnTo>
                  <a:pt x="12" y="20"/>
                </a:lnTo>
                <a:lnTo>
                  <a:pt x="14" y="26"/>
                </a:lnTo>
                <a:lnTo>
                  <a:pt x="14" y="26"/>
                </a:lnTo>
                <a:lnTo>
                  <a:pt x="18" y="24"/>
                </a:lnTo>
                <a:lnTo>
                  <a:pt x="18" y="24"/>
                </a:lnTo>
                <a:lnTo>
                  <a:pt x="20" y="22"/>
                </a:lnTo>
                <a:lnTo>
                  <a:pt x="20" y="20"/>
                </a:lnTo>
                <a:lnTo>
                  <a:pt x="20" y="18"/>
                </a:lnTo>
                <a:lnTo>
                  <a:pt x="22" y="18"/>
                </a:lnTo>
                <a:lnTo>
                  <a:pt x="22" y="18"/>
                </a:lnTo>
                <a:lnTo>
                  <a:pt x="28" y="20"/>
                </a:lnTo>
                <a:lnTo>
                  <a:pt x="30" y="20"/>
                </a:lnTo>
                <a:lnTo>
                  <a:pt x="30" y="20"/>
                </a:lnTo>
                <a:lnTo>
                  <a:pt x="32" y="20"/>
                </a:lnTo>
                <a:lnTo>
                  <a:pt x="32" y="16"/>
                </a:lnTo>
                <a:lnTo>
                  <a:pt x="32" y="16"/>
                </a:lnTo>
                <a:lnTo>
                  <a:pt x="32" y="8"/>
                </a:lnTo>
                <a:lnTo>
                  <a:pt x="28" y="0"/>
                </a:lnTo>
                <a:lnTo>
                  <a:pt x="28" y="0"/>
                </a:lnTo>
                <a:lnTo>
                  <a:pt x="26" y="2"/>
                </a:lnTo>
                <a:lnTo>
                  <a:pt x="22" y="4"/>
                </a:lnTo>
                <a:lnTo>
                  <a:pt x="22" y="4"/>
                </a:lnTo>
                <a:lnTo>
                  <a:pt x="18" y="6"/>
                </a:lnTo>
                <a:lnTo>
                  <a:pt x="14" y="4"/>
                </a:lnTo>
                <a:lnTo>
                  <a:pt x="14" y="4"/>
                </a:lnTo>
                <a:lnTo>
                  <a:pt x="6" y="0"/>
                </a:lnTo>
                <a:lnTo>
                  <a:pt x="6" y="0"/>
                </a:lnTo>
                <a:lnTo>
                  <a:pt x="6" y="2"/>
                </a:lnTo>
                <a:lnTo>
                  <a:pt x="6" y="2"/>
                </a:lnTo>
                <a:lnTo>
                  <a:pt x="8" y="4"/>
                </a:lnTo>
                <a:lnTo>
                  <a:pt x="6" y="12"/>
                </a:lnTo>
                <a:lnTo>
                  <a:pt x="6" y="12"/>
                </a:lnTo>
                <a:lnTo>
                  <a:pt x="2" y="12"/>
                </a:lnTo>
                <a:lnTo>
                  <a:pt x="2"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9" name="Line 53">
            <a:extLst>
              <a:ext uri="{FF2B5EF4-FFF2-40B4-BE49-F238E27FC236}">
                <a16:creationId xmlns:a16="http://schemas.microsoft.com/office/drawing/2014/main" id="{FF96DC93-51DF-4872-A07A-B6649DBAC0B4}"/>
              </a:ext>
            </a:extLst>
          </p:cNvPr>
          <p:cNvSpPr>
            <a:spLocks noChangeShapeType="1"/>
          </p:cNvSpPr>
          <p:nvPr userDrawn="1"/>
        </p:nvSpPr>
        <p:spPr bwMode="auto">
          <a:xfrm>
            <a:off x="8718516"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0" name="Line 54">
            <a:extLst>
              <a:ext uri="{FF2B5EF4-FFF2-40B4-BE49-F238E27FC236}">
                <a16:creationId xmlns:a16="http://schemas.microsoft.com/office/drawing/2014/main" id="{292E326F-AB85-42B8-89A2-63DC092A4098}"/>
              </a:ext>
            </a:extLst>
          </p:cNvPr>
          <p:cNvSpPr>
            <a:spLocks noChangeShapeType="1"/>
          </p:cNvSpPr>
          <p:nvPr userDrawn="1"/>
        </p:nvSpPr>
        <p:spPr bwMode="auto">
          <a:xfrm>
            <a:off x="8718516"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1" name="Line 55">
            <a:extLst>
              <a:ext uri="{FF2B5EF4-FFF2-40B4-BE49-F238E27FC236}">
                <a16:creationId xmlns:a16="http://schemas.microsoft.com/office/drawing/2014/main" id="{258B1A02-FF91-436E-B5ED-34865D4DBA85}"/>
              </a:ext>
            </a:extLst>
          </p:cNvPr>
          <p:cNvSpPr>
            <a:spLocks noChangeShapeType="1"/>
          </p:cNvSpPr>
          <p:nvPr userDrawn="1"/>
        </p:nvSpPr>
        <p:spPr bwMode="auto">
          <a:xfrm>
            <a:off x="8728579"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2" name="Line 56">
            <a:extLst>
              <a:ext uri="{FF2B5EF4-FFF2-40B4-BE49-F238E27FC236}">
                <a16:creationId xmlns:a16="http://schemas.microsoft.com/office/drawing/2014/main" id="{03755F4C-6157-4C7F-B618-7A88AF3523C9}"/>
              </a:ext>
            </a:extLst>
          </p:cNvPr>
          <p:cNvSpPr>
            <a:spLocks noChangeShapeType="1"/>
          </p:cNvSpPr>
          <p:nvPr userDrawn="1"/>
        </p:nvSpPr>
        <p:spPr bwMode="auto">
          <a:xfrm>
            <a:off x="8728579"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3" name="Line 57">
            <a:extLst>
              <a:ext uri="{FF2B5EF4-FFF2-40B4-BE49-F238E27FC236}">
                <a16:creationId xmlns:a16="http://schemas.microsoft.com/office/drawing/2014/main" id="{EFBFBEE6-9C64-4887-A62A-C30F80B16850}"/>
              </a:ext>
            </a:extLst>
          </p:cNvPr>
          <p:cNvSpPr>
            <a:spLocks noChangeShapeType="1"/>
          </p:cNvSpPr>
          <p:nvPr userDrawn="1"/>
        </p:nvSpPr>
        <p:spPr bwMode="auto">
          <a:xfrm>
            <a:off x="8721870"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4" name="Line 58">
            <a:extLst>
              <a:ext uri="{FF2B5EF4-FFF2-40B4-BE49-F238E27FC236}">
                <a16:creationId xmlns:a16="http://schemas.microsoft.com/office/drawing/2014/main" id="{6D922B55-84D2-4249-87BA-4D8C372E5989}"/>
              </a:ext>
            </a:extLst>
          </p:cNvPr>
          <p:cNvSpPr>
            <a:spLocks noChangeShapeType="1"/>
          </p:cNvSpPr>
          <p:nvPr userDrawn="1"/>
        </p:nvSpPr>
        <p:spPr bwMode="auto">
          <a:xfrm>
            <a:off x="8721870"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5" name="Line 59">
            <a:extLst>
              <a:ext uri="{FF2B5EF4-FFF2-40B4-BE49-F238E27FC236}">
                <a16:creationId xmlns:a16="http://schemas.microsoft.com/office/drawing/2014/main" id="{65A49789-F52C-4FBF-B21D-0FAAABD619B2}"/>
              </a:ext>
            </a:extLst>
          </p:cNvPr>
          <p:cNvSpPr>
            <a:spLocks noChangeShapeType="1"/>
          </p:cNvSpPr>
          <p:nvPr userDrawn="1"/>
        </p:nvSpPr>
        <p:spPr bwMode="auto">
          <a:xfrm>
            <a:off x="871516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6" name="Line 60">
            <a:extLst>
              <a:ext uri="{FF2B5EF4-FFF2-40B4-BE49-F238E27FC236}">
                <a16:creationId xmlns:a16="http://schemas.microsoft.com/office/drawing/2014/main" id="{06F22D2C-5D6C-4A16-B022-A9D6959EF814}"/>
              </a:ext>
            </a:extLst>
          </p:cNvPr>
          <p:cNvSpPr>
            <a:spLocks noChangeShapeType="1"/>
          </p:cNvSpPr>
          <p:nvPr userDrawn="1"/>
        </p:nvSpPr>
        <p:spPr bwMode="auto">
          <a:xfrm>
            <a:off x="871516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7" name="Line 61">
            <a:extLst>
              <a:ext uri="{FF2B5EF4-FFF2-40B4-BE49-F238E27FC236}">
                <a16:creationId xmlns:a16="http://schemas.microsoft.com/office/drawing/2014/main" id="{A8CD58FB-9786-49A3-9D9C-FCB155A61EA9}"/>
              </a:ext>
            </a:extLst>
          </p:cNvPr>
          <p:cNvSpPr>
            <a:spLocks noChangeShapeType="1"/>
          </p:cNvSpPr>
          <p:nvPr userDrawn="1"/>
        </p:nvSpPr>
        <p:spPr bwMode="auto">
          <a:xfrm>
            <a:off x="8721870"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8" name="Line 62">
            <a:extLst>
              <a:ext uri="{FF2B5EF4-FFF2-40B4-BE49-F238E27FC236}">
                <a16:creationId xmlns:a16="http://schemas.microsoft.com/office/drawing/2014/main" id="{012CBE17-A46B-4016-A26F-BF503192F1C5}"/>
              </a:ext>
            </a:extLst>
          </p:cNvPr>
          <p:cNvSpPr>
            <a:spLocks noChangeShapeType="1"/>
          </p:cNvSpPr>
          <p:nvPr userDrawn="1"/>
        </p:nvSpPr>
        <p:spPr bwMode="auto">
          <a:xfrm>
            <a:off x="8721870"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9" name="Line 63">
            <a:extLst>
              <a:ext uri="{FF2B5EF4-FFF2-40B4-BE49-F238E27FC236}">
                <a16:creationId xmlns:a16="http://schemas.microsoft.com/office/drawing/2014/main" id="{5B34735B-ED31-4B6F-A082-45727650C4D5}"/>
              </a:ext>
            </a:extLst>
          </p:cNvPr>
          <p:cNvSpPr>
            <a:spLocks noChangeShapeType="1"/>
          </p:cNvSpPr>
          <p:nvPr userDrawn="1"/>
        </p:nvSpPr>
        <p:spPr bwMode="auto">
          <a:xfrm>
            <a:off x="8725224" y="129542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0" name="Line 64">
            <a:extLst>
              <a:ext uri="{FF2B5EF4-FFF2-40B4-BE49-F238E27FC236}">
                <a16:creationId xmlns:a16="http://schemas.microsoft.com/office/drawing/2014/main" id="{7845927C-27D4-45A1-847B-4D8F8F08E002}"/>
              </a:ext>
            </a:extLst>
          </p:cNvPr>
          <p:cNvSpPr>
            <a:spLocks noChangeShapeType="1"/>
          </p:cNvSpPr>
          <p:nvPr userDrawn="1"/>
        </p:nvSpPr>
        <p:spPr bwMode="auto">
          <a:xfrm>
            <a:off x="8725224" y="129542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1" name="Line 65">
            <a:extLst>
              <a:ext uri="{FF2B5EF4-FFF2-40B4-BE49-F238E27FC236}">
                <a16:creationId xmlns:a16="http://schemas.microsoft.com/office/drawing/2014/main" id="{0926A5C5-0CA5-4AA1-89CA-B46289E23186}"/>
              </a:ext>
            </a:extLst>
          </p:cNvPr>
          <p:cNvSpPr>
            <a:spLocks noChangeShapeType="1"/>
          </p:cNvSpPr>
          <p:nvPr userDrawn="1"/>
        </p:nvSpPr>
        <p:spPr bwMode="auto">
          <a:xfrm>
            <a:off x="8711808" y="126797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2" name="Line 66">
            <a:extLst>
              <a:ext uri="{FF2B5EF4-FFF2-40B4-BE49-F238E27FC236}">
                <a16:creationId xmlns:a16="http://schemas.microsoft.com/office/drawing/2014/main" id="{C8B4F718-C18C-4635-BF03-7BFD273FA43E}"/>
              </a:ext>
            </a:extLst>
          </p:cNvPr>
          <p:cNvSpPr>
            <a:spLocks noChangeShapeType="1"/>
          </p:cNvSpPr>
          <p:nvPr userDrawn="1"/>
        </p:nvSpPr>
        <p:spPr bwMode="auto">
          <a:xfrm>
            <a:off x="8711808" y="126797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3" name="Line 67">
            <a:extLst>
              <a:ext uri="{FF2B5EF4-FFF2-40B4-BE49-F238E27FC236}">
                <a16:creationId xmlns:a16="http://schemas.microsoft.com/office/drawing/2014/main" id="{D675AED0-DBD4-4F7E-A1B9-9C482FBCD24C}"/>
              </a:ext>
            </a:extLst>
          </p:cNvPr>
          <p:cNvSpPr>
            <a:spLocks noChangeShapeType="1"/>
          </p:cNvSpPr>
          <p:nvPr userDrawn="1"/>
        </p:nvSpPr>
        <p:spPr bwMode="auto">
          <a:xfrm>
            <a:off x="8701745" y="125767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4" name="Line 68">
            <a:extLst>
              <a:ext uri="{FF2B5EF4-FFF2-40B4-BE49-F238E27FC236}">
                <a16:creationId xmlns:a16="http://schemas.microsoft.com/office/drawing/2014/main" id="{50AA9074-B0FB-4B73-8F3E-356676A3F387}"/>
              </a:ext>
            </a:extLst>
          </p:cNvPr>
          <p:cNvSpPr>
            <a:spLocks noChangeShapeType="1"/>
          </p:cNvSpPr>
          <p:nvPr userDrawn="1"/>
        </p:nvSpPr>
        <p:spPr bwMode="auto">
          <a:xfrm>
            <a:off x="8701745" y="125767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5" name="Line 69">
            <a:extLst>
              <a:ext uri="{FF2B5EF4-FFF2-40B4-BE49-F238E27FC236}">
                <a16:creationId xmlns:a16="http://schemas.microsoft.com/office/drawing/2014/main" id="{B570595E-D833-443A-805B-60EF8833DF1C}"/>
              </a:ext>
            </a:extLst>
          </p:cNvPr>
          <p:cNvSpPr>
            <a:spLocks noChangeShapeType="1"/>
          </p:cNvSpPr>
          <p:nvPr userDrawn="1"/>
        </p:nvSpPr>
        <p:spPr bwMode="auto">
          <a:xfrm>
            <a:off x="8708454" y="126453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6" name="Line 70">
            <a:extLst>
              <a:ext uri="{FF2B5EF4-FFF2-40B4-BE49-F238E27FC236}">
                <a16:creationId xmlns:a16="http://schemas.microsoft.com/office/drawing/2014/main" id="{0F80AD2F-C8D5-4C7E-A83F-B5454A511C21}"/>
              </a:ext>
            </a:extLst>
          </p:cNvPr>
          <p:cNvSpPr>
            <a:spLocks noChangeShapeType="1"/>
          </p:cNvSpPr>
          <p:nvPr userDrawn="1"/>
        </p:nvSpPr>
        <p:spPr bwMode="auto">
          <a:xfrm>
            <a:off x="8708454" y="126453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7" name="Line 71">
            <a:extLst>
              <a:ext uri="{FF2B5EF4-FFF2-40B4-BE49-F238E27FC236}">
                <a16:creationId xmlns:a16="http://schemas.microsoft.com/office/drawing/2014/main" id="{5A13FEA0-6048-4B6D-B0C1-9B2AFFCE17A5}"/>
              </a:ext>
            </a:extLst>
          </p:cNvPr>
          <p:cNvSpPr>
            <a:spLocks noChangeShapeType="1"/>
          </p:cNvSpPr>
          <p:nvPr userDrawn="1"/>
        </p:nvSpPr>
        <p:spPr bwMode="auto">
          <a:xfrm>
            <a:off x="8684975" y="130229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8" name="Line 72">
            <a:extLst>
              <a:ext uri="{FF2B5EF4-FFF2-40B4-BE49-F238E27FC236}">
                <a16:creationId xmlns:a16="http://schemas.microsoft.com/office/drawing/2014/main" id="{AB42A4B9-0BFC-437D-B888-B52CED8CB5FF}"/>
              </a:ext>
            </a:extLst>
          </p:cNvPr>
          <p:cNvSpPr>
            <a:spLocks noChangeShapeType="1"/>
          </p:cNvSpPr>
          <p:nvPr userDrawn="1"/>
        </p:nvSpPr>
        <p:spPr bwMode="auto">
          <a:xfrm>
            <a:off x="8684975" y="130229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9" name="Line 73">
            <a:extLst>
              <a:ext uri="{FF2B5EF4-FFF2-40B4-BE49-F238E27FC236}">
                <a16:creationId xmlns:a16="http://schemas.microsoft.com/office/drawing/2014/main" id="{339E3DA9-0BAF-42A5-BF93-72A30C0F23FD}"/>
              </a:ext>
            </a:extLst>
          </p:cNvPr>
          <p:cNvSpPr>
            <a:spLocks noChangeShapeType="1"/>
          </p:cNvSpPr>
          <p:nvPr userDrawn="1"/>
        </p:nvSpPr>
        <p:spPr bwMode="auto">
          <a:xfrm>
            <a:off x="868497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0" name="Line 74">
            <a:extLst>
              <a:ext uri="{FF2B5EF4-FFF2-40B4-BE49-F238E27FC236}">
                <a16:creationId xmlns:a16="http://schemas.microsoft.com/office/drawing/2014/main" id="{DC391C2E-9207-4CBF-AE5E-3884F929666C}"/>
              </a:ext>
            </a:extLst>
          </p:cNvPr>
          <p:cNvSpPr>
            <a:spLocks noChangeShapeType="1"/>
          </p:cNvSpPr>
          <p:nvPr userDrawn="1"/>
        </p:nvSpPr>
        <p:spPr bwMode="auto">
          <a:xfrm>
            <a:off x="868497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1" name="Line 75">
            <a:extLst>
              <a:ext uri="{FF2B5EF4-FFF2-40B4-BE49-F238E27FC236}">
                <a16:creationId xmlns:a16="http://schemas.microsoft.com/office/drawing/2014/main" id="{1A7481FD-FDA3-4269-A72A-45077A764181}"/>
              </a:ext>
            </a:extLst>
          </p:cNvPr>
          <p:cNvSpPr>
            <a:spLocks noChangeShapeType="1"/>
          </p:cNvSpPr>
          <p:nvPr userDrawn="1"/>
        </p:nvSpPr>
        <p:spPr bwMode="auto">
          <a:xfrm>
            <a:off x="8691683"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2" name="Line 76">
            <a:extLst>
              <a:ext uri="{FF2B5EF4-FFF2-40B4-BE49-F238E27FC236}">
                <a16:creationId xmlns:a16="http://schemas.microsoft.com/office/drawing/2014/main" id="{60E78758-4865-440F-BBF7-EBE8031A0851}"/>
              </a:ext>
            </a:extLst>
          </p:cNvPr>
          <p:cNvSpPr>
            <a:spLocks noChangeShapeType="1"/>
          </p:cNvSpPr>
          <p:nvPr userDrawn="1"/>
        </p:nvSpPr>
        <p:spPr bwMode="auto">
          <a:xfrm>
            <a:off x="8691683"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3" name="Line 77">
            <a:extLst>
              <a:ext uri="{FF2B5EF4-FFF2-40B4-BE49-F238E27FC236}">
                <a16:creationId xmlns:a16="http://schemas.microsoft.com/office/drawing/2014/main" id="{370AB2A7-BB97-4E91-8415-BFF9C6693B72}"/>
              </a:ext>
            </a:extLst>
          </p:cNvPr>
          <p:cNvSpPr>
            <a:spLocks noChangeShapeType="1"/>
          </p:cNvSpPr>
          <p:nvPr userDrawn="1"/>
        </p:nvSpPr>
        <p:spPr bwMode="auto">
          <a:xfrm>
            <a:off x="868162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4" name="Line 78">
            <a:extLst>
              <a:ext uri="{FF2B5EF4-FFF2-40B4-BE49-F238E27FC236}">
                <a16:creationId xmlns:a16="http://schemas.microsoft.com/office/drawing/2014/main" id="{204E677C-137D-4891-8B1C-6DC3DF8C13F5}"/>
              </a:ext>
            </a:extLst>
          </p:cNvPr>
          <p:cNvSpPr>
            <a:spLocks noChangeShapeType="1"/>
          </p:cNvSpPr>
          <p:nvPr userDrawn="1"/>
        </p:nvSpPr>
        <p:spPr bwMode="auto">
          <a:xfrm>
            <a:off x="868162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5" name="Line 79">
            <a:extLst>
              <a:ext uri="{FF2B5EF4-FFF2-40B4-BE49-F238E27FC236}">
                <a16:creationId xmlns:a16="http://schemas.microsoft.com/office/drawing/2014/main" id="{0BAAF8B0-4583-41EE-9B14-25F87C815358}"/>
              </a:ext>
            </a:extLst>
          </p:cNvPr>
          <p:cNvSpPr>
            <a:spLocks noChangeShapeType="1"/>
          </p:cNvSpPr>
          <p:nvPr userDrawn="1"/>
        </p:nvSpPr>
        <p:spPr bwMode="auto">
          <a:xfrm>
            <a:off x="870174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6" name="Line 80">
            <a:extLst>
              <a:ext uri="{FF2B5EF4-FFF2-40B4-BE49-F238E27FC236}">
                <a16:creationId xmlns:a16="http://schemas.microsoft.com/office/drawing/2014/main" id="{3131997B-9151-4EB2-BACD-FA9EE7482B5D}"/>
              </a:ext>
            </a:extLst>
          </p:cNvPr>
          <p:cNvSpPr>
            <a:spLocks noChangeShapeType="1"/>
          </p:cNvSpPr>
          <p:nvPr userDrawn="1"/>
        </p:nvSpPr>
        <p:spPr bwMode="auto">
          <a:xfrm>
            <a:off x="870174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7" name="Line 81">
            <a:extLst>
              <a:ext uri="{FF2B5EF4-FFF2-40B4-BE49-F238E27FC236}">
                <a16:creationId xmlns:a16="http://schemas.microsoft.com/office/drawing/2014/main" id="{2A505CD1-1460-4742-A695-EAEC02A26F06}"/>
              </a:ext>
            </a:extLst>
          </p:cNvPr>
          <p:cNvSpPr>
            <a:spLocks noChangeShapeType="1"/>
          </p:cNvSpPr>
          <p:nvPr userDrawn="1"/>
        </p:nvSpPr>
        <p:spPr bwMode="auto">
          <a:xfrm>
            <a:off x="8705100"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8" name="Line 82">
            <a:extLst>
              <a:ext uri="{FF2B5EF4-FFF2-40B4-BE49-F238E27FC236}">
                <a16:creationId xmlns:a16="http://schemas.microsoft.com/office/drawing/2014/main" id="{F75466AC-66C1-46D3-B1C1-B13D9B3F13C8}"/>
              </a:ext>
            </a:extLst>
          </p:cNvPr>
          <p:cNvSpPr>
            <a:spLocks noChangeShapeType="1"/>
          </p:cNvSpPr>
          <p:nvPr userDrawn="1"/>
        </p:nvSpPr>
        <p:spPr bwMode="auto">
          <a:xfrm>
            <a:off x="8705100"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9" name="Line 83">
            <a:extLst>
              <a:ext uri="{FF2B5EF4-FFF2-40B4-BE49-F238E27FC236}">
                <a16:creationId xmlns:a16="http://schemas.microsoft.com/office/drawing/2014/main" id="{6438E8F1-430B-45C9-AA64-376C5A07ABAC}"/>
              </a:ext>
            </a:extLst>
          </p:cNvPr>
          <p:cNvSpPr>
            <a:spLocks noChangeShapeType="1"/>
          </p:cNvSpPr>
          <p:nvPr userDrawn="1"/>
        </p:nvSpPr>
        <p:spPr bwMode="auto">
          <a:xfrm>
            <a:off x="8735287"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0" name="Line 84">
            <a:extLst>
              <a:ext uri="{FF2B5EF4-FFF2-40B4-BE49-F238E27FC236}">
                <a16:creationId xmlns:a16="http://schemas.microsoft.com/office/drawing/2014/main" id="{97DD16AA-C216-4730-AF82-74C84D30394A}"/>
              </a:ext>
            </a:extLst>
          </p:cNvPr>
          <p:cNvSpPr>
            <a:spLocks noChangeShapeType="1"/>
          </p:cNvSpPr>
          <p:nvPr userDrawn="1"/>
        </p:nvSpPr>
        <p:spPr bwMode="auto">
          <a:xfrm>
            <a:off x="8735287"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1" name="Line 85">
            <a:extLst>
              <a:ext uri="{FF2B5EF4-FFF2-40B4-BE49-F238E27FC236}">
                <a16:creationId xmlns:a16="http://schemas.microsoft.com/office/drawing/2014/main" id="{DEC05E80-EF4C-4701-9101-BB490EF7EF8E}"/>
              </a:ext>
            </a:extLst>
          </p:cNvPr>
          <p:cNvSpPr>
            <a:spLocks noChangeShapeType="1"/>
          </p:cNvSpPr>
          <p:nvPr userDrawn="1"/>
        </p:nvSpPr>
        <p:spPr bwMode="auto">
          <a:xfrm>
            <a:off x="8621248"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2" name="Line 86">
            <a:extLst>
              <a:ext uri="{FF2B5EF4-FFF2-40B4-BE49-F238E27FC236}">
                <a16:creationId xmlns:a16="http://schemas.microsoft.com/office/drawing/2014/main" id="{0B1D7B3B-938F-4301-9D2F-8F97E36CED2E}"/>
              </a:ext>
            </a:extLst>
          </p:cNvPr>
          <p:cNvSpPr>
            <a:spLocks noChangeShapeType="1"/>
          </p:cNvSpPr>
          <p:nvPr userDrawn="1"/>
        </p:nvSpPr>
        <p:spPr bwMode="auto">
          <a:xfrm>
            <a:off x="8621248"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3" name="Line 87">
            <a:extLst>
              <a:ext uri="{FF2B5EF4-FFF2-40B4-BE49-F238E27FC236}">
                <a16:creationId xmlns:a16="http://schemas.microsoft.com/office/drawing/2014/main" id="{D9A4309A-E838-47B4-BFAE-BE6EB6BA8AD8}"/>
              </a:ext>
            </a:extLst>
          </p:cNvPr>
          <p:cNvSpPr>
            <a:spLocks noChangeShapeType="1"/>
          </p:cNvSpPr>
          <p:nvPr userDrawn="1"/>
        </p:nvSpPr>
        <p:spPr bwMode="auto">
          <a:xfrm>
            <a:off x="8621248" y="127483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4" name="Line 88">
            <a:extLst>
              <a:ext uri="{FF2B5EF4-FFF2-40B4-BE49-F238E27FC236}">
                <a16:creationId xmlns:a16="http://schemas.microsoft.com/office/drawing/2014/main" id="{C3028358-12CB-4426-8653-56EE441AA33E}"/>
              </a:ext>
            </a:extLst>
          </p:cNvPr>
          <p:cNvSpPr>
            <a:spLocks noChangeShapeType="1"/>
          </p:cNvSpPr>
          <p:nvPr userDrawn="1"/>
        </p:nvSpPr>
        <p:spPr bwMode="auto">
          <a:xfrm>
            <a:off x="8621248" y="127483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5" name="Freeform 89">
            <a:extLst>
              <a:ext uri="{FF2B5EF4-FFF2-40B4-BE49-F238E27FC236}">
                <a16:creationId xmlns:a16="http://schemas.microsoft.com/office/drawing/2014/main" id="{55BF30F7-2E3E-4BE3-87EC-99D6ECD3FCD3}"/>
              </a:ext>
            </a:extLst>
          </p:cNvPr>
          <p:cNvSpPr>
            <a:spLocks/>
          </p:cNvSpPr>
          <p:nvPr userDrawn="1"/>
        </p:nvSpPr>
        <p:spPr bwMode="auto">
          <a:xfrm>
            <a:off x="8255654" y="2064188"/>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6" name="Line 90">
            <a:extLst>
              <a:ext uri="{FF2B5EF4-FFF2-40B4-BE49-F238E27FC236}">
                <a16:creationId xmlns:a16="http://schemas.microsoft.com/office/drawing/2014/main" id="{E006038E-4760-4617-9EDD-6CA97D33B834}"/>
              </a:ext>
            </a:extLst>
          </p:cNvPr>
          <p:cNvSpPr>
            <a:spLocks noChangeShapeType="1"/>
          </p:cNvSpPr>
          <p:nvPr userDrawn="1"/>
        </p:nvSpPr>
        <p:spPr bwMode="auto">
          <a:xfrm>
            <a:off x="8678267" y="128513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7" name="Line 91">
            <a:extLst>
              <a:ext uri="{FF2B5EF4-FFF2-40B4-BE49-F238E27FC236}">
                <a16:creationId xmlns:a16="http://schemas.microsoft.com/office/drawing/2014/main" id="{EAD92DD1-F03B-4B4C-A695-A063CB283B15}"/>
              </a:ext>
            </a:extLst>
          </p:cNvPr>
          <p:cNvSpPr>
            <a:spLocks noChangeShapeType="1"/>
          </p:cNvSpPr>
          <p:nvPr userDrawn="1"/>
        </p:nvSpPr>
        <p:spPr bwMode="auto">
          <a:xfrm>
            <a:off x="8678267" y="128513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8" name="Line 92">
            <a:extLst>
              <a:ext uri="{FF2B5EF4-FFF2-40B4-BE49-F238E27FC236}">
                <a16:creationId xmlns:a16="http://schemas.microsoft.com/office/drawing/2014/main" id="{B32260C5-D744-4E34-9814-B12EC7EB371A}"/>
              </a:ext>
            </a:extLst>
          </p:cNvPr>
          <p:cNvSpPr>
            <a:spLocks noChangeShapeType="1"/>
          </p:cNvSpPr>
          <p:nvPr userDrawn="1"/>
        </p:nvSpPr>
        <p:spPr bwMode="auto">
          <a:xfrm>
            <a:off x="8607832"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9" name="Line 93">
            <a:extLst>
              <a:ext uri="{FF2B5EF4-FFF2-40B4-BE49-F238E27FC236}">
                <a16:creationId xmlns:a16="http://schemas.microsoft.com/office/drawing/2014/main" id="{924C21BA-8A43-4DE6-9A64-C43B57C466C7}"/>
              </a:ext>
            </a:extLst>
          </p:cNvPr>
          <p:cNvSpPr>
            <a:spLocks noChangeShapeType="1"/>
          </p:cNvSpPr>
          <p:nvPr userDrawn="1"/>
        </p:nvSpPr>
        <p:spPr bwMode="auto">
          <a:xfrm>
            <a:off x="8607832"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0" name="Line 94">
            <a:extLst>
              <a:ext uri="{FF2B5EF4-FFF2-40B4-BE49-F238E27FC236}">
                <a16:creationId xmlns:a16="http://schemas.microsoft.com/office/drawing/2014/main" id="{360F84CA-C6BF-445A-8EC9-51B97F04008C}"/>
              </a:ext>
            </a:extLst>
          </p:cNvPr>
          <p:cNvSpPr>
            <a:spLocks noChangeShapeType="1"/>
          </p:cNvSpPr>
          <p:nvPr userDrawn="1"/>
        </p:nvSpPr>
        <p:spPr bwMode="auto">
          <a:xfrm>
            <a:off x="8148324" y="131945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1" name="Line 95">
            <a:extLst>
              <a:ext uri="{FF2B5EF4-FFF2-40B4-BE49-F238E27FC236}">
                <a16:creationId xmlns:a16="http://schemas.microsoft.com/office/drawing/2014/main" id="{1021A0EB-7DB2-48DE-91DE-E2DDB47DF514}"/>
              </a:ext>
            </a:extLst>
          </p:cNvPr>
          <p:cNvSpPr>
            <a:spLocks noChangeShapeType="1"/>
          </p:cNvSpPr>
          <p:nvPr userDrawn="1"/>
        </p:nvSpPr>
        <p:spPr bwMode="auto">
          <a:xfrm>
            <a:off x="8148324" y="131945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2" name="Line 96">
            <a:extLst>
              <a:ext uri="{FF2B5EF4-FFF2-40B4-BE49-F238E27FC236}">
                <a16:creationId xmlns:a16="http://schemas.microsoft.com/office/drawing/2014/main" id="{672B2896-DE68-43E9-A28F-4EA861DA35EE}"/>
              </a:ext>
            </a:extLst>
          </p:cNvPr>
          <p:cNvSpPr>
            <a:spLocks noChangeShapeType="1"/>
          </p:cNvSpPr>
          <p:nvPr userDrawn="1"/>
        </p:nvSpPr>
        <p:spPr bwMode="auto">
          <a:xfrm>
            <a:off x="8148324" y="132288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3" name="Line 97">
            <a:extLst>
              <a:ext uri="{FF2B5EF4-FFF2-40B4-BE49-F238E27FC236}">
                <a16:creationId xmlns:a16="http://schemas.microsoft.com/office/drawing/2014/main" id="{7FF55D24-2388-41C2-B14C-2C54A951ABCC}"/>
              </a:ext>
            </a:extLst>
          </p:cNvPr>
          <p:cNvSpPr>
            <a:spLocks noChangeShapeType="1"/>
          </p:cNvSpPr>
          <p:nvPr userDrawn="1"/>
        </p:nvSpPr>
        <p:spPr bwMode="auto">
          <a:xfrm>
            <a:off x="8148324" y="132288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4" name="Line 98">
            <a:extLst>
              <a:ext uri="{FF2B5EF4-FFF2-40B4-BE49-F238E27FC236}">
                <a16:creationId xmlns:a16="http://schemas.microsoft.com/office/drawing/2014/main" id="{0FF1AB6A-6E82-4855-81AB-676A1CA8DA03}"/>
              </a:ext>
            </a:extLst>
          </p:cNvPr>
          <p:cNvSpPr>
            <a:spLocks noChangeShapeType="1"/>
          </p:cNvSpPr>
          <p:nvPr userDrawn="1"/>
        </p:nvSpPr>
        <p:spPr bwMode="auto">
          <a:xfrm>
            <a:off x="8178511" y="129885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5" name="Line 99">
            <a:extLst>
              <a:ext uri="{FF2B5EF4-FFF2-40B4-BE49-F238E27FC236}">
                <a16:creationId xmlns:a16="http://schemas.microsoft.com/office/drawing/2014/main" id="{EB72EC18-8583-4A09-A597-9C4169415124}"/>
              </a:ext>
            </a:extLst>
          </p:cNvPr>
          <p:cNvSpPr>
            <a:spLocks noChangeShapeType="1"/>
          </p:cNvSpPr>
          <p:nvPr userDrawn="1"/>
        </p:nvSpPr>
        <p:spPr bwMode="auto">
          <a:xfrm>
            <a:off x="8178511" y="129885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6" name="Line 100">
            <a:extLst>
              <a:ext uri="{FF2B5EF4-FFF2-40B4-BE49-F238E27FC236}">
                <a16:creationId xmlns:a16="http://schemas.microsoft.com/office/drawing/2014/main" id="{C9C07AAA-A5BF-459A-9FCC-9F0BE3FA6372}"/>
              </a:ext>
            </a:extLst>
          </p:cNvPr>
          <p:cNvSpPr>
            <a:spLocks noChangeShapeType="1"/>
          </p:cNvSpPr>
          <p:nvPr userDrawn="1"/>
        </p:nvSpPr>
        <p:spPr bwMode="auto">
          <a:xfrm>
            <a:off x="8185219" y="130572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7" name="Line 101">
            <a:extLst>
              <a:ext uri="{FF2B5EF4-FFF2-40B4-BE49-F238E27FC236}">
                <a16:creationId xmlns:a16="http://schemas.microsoft.com/office/drawing/2014/main" id="{76973910-74EE-445A-8AF5-9BA11B1CFF67}"/>
              </a:ext>
            </a:extLst>
          </p:cNvPr>
          <p:cNvSpPr>
            <a:spLocks noChangeShapeType="1"/>
          </p:cNvSpPr>
          <p:nvPr userDrawn="1"/>
        </p:nvSpPr>
        <p:spPr bwMode="auto">
          <a:xfrm>
            <a:off x="8185219" y="130572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8" name="Line 102">
            <a:extLst>
              <a:ext uri="{FF2B5EF4-FFF2-40B4-BE49-F238E27FC236}">
                <a16:creationId xmlns:a16="http://schemas.microsoft.com/office/drawing/2014/main" id="{72B4552B-209A-4BBF-96C7-4DE0E1EEE281}"/>
              </a:ext>
            </a:extLst>
          </p:cNvPr>
          <p:cNvSpPr>
            <a:spLocks noChangeShapeType="1"/>
          </p:cNvSpPr>
          <p:nvPr userDrawn="1"/>
        </p:nvSpPr>
        <p:spPr bwMode="auto">
          <a:xfrm>
            <a:off x="8336152" y="125081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9" name="Line 103">
            <a:extLst>
              <a:ext uri="{FF2B5EF4-FFF2-40B4-BE49-F238E27FC236}">
                <a16:creationId xmlns:a16="http://schemas.microsoft.com/office/drawing/2014/main" id="{14BABBC3-FF14-40D6-8FA4-56D381AD24FB}"/>
              </a:ext>
            </a:extLst>
          </p:cNvPr>
          <p:cNvSpPr>
            <a:spLocks noChangeShapeType="1"/>
          </p:cNvSpPr>
          <p:nvPr userDrawn="1"/>
        </p:nvSpPr>
        <p:spPr bwMode="auto">
          <a:xfrm>
            <a:off x="8336152" y="125081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0" name="Freeform 104">
            <a:extLst>
              <a:ext uri="{FF2B5EF4-FFF2-40B4-BE49-F238E27FC236}">
                <a16:creationId xmlns:a16="http://schemas.microsoft.com/office/drawing/2014/main" id="{691C45BD-C969-41AB-99A0-B530D71D3992}"/>
              </a:ext>
            </a:extLst>
          </p:cNvPr>
          <p:cNvSpPr>
            <a:spLocks noEditPoints="1"/>
          </p:cNvSpPr>
          <p:nvPr userDrawn="1"/>
        </p:nvSpPr>
        <p:spPr bwMode="auto">
          <a:xfrm>
            <a:off x="6296876" y="1051755"/>
            <a:ext cx="3813580" cy="1420837"/>
          </a:xfrm>
          <a:custGeom>
            <a:avLst/>
            <a:gdLst>
              <a:gd name="T0" fmla="*/ 1636 w 2274"/>
              <a:gd name="T1" fmla="*/ 652 h 828"/>
              <a:gd name="T2" fmla="*/ 2270 w 2274"/>
              <a:gd name="T3" fmla="*/ 316 h 828"/>
              <a:gd name="T4" fmla="*/ 2196 w 2274"/>
              <a:gd name="T5" fmla="*/ 336 h 828"/>
              <a:gd name="T6" fmla="*/ 2106 w 2274"/>
              <a:gd name="T7" fmla="*/ 336 h 828"/>
              <a:gd name="T8" fmla="*/ 2054 w 2274"/>
              <a:gd name="T9" fmla="*/ 400 h 828"/>
              <a:gd name="T10" fmla="*/ 1960 w 2274"/>
              <a:gd name="T11" fmla="*/ 426 h 828"/>
              <a:gd name="T12" fmla="*/ 1912 w 2274"/>
              <a:gd name="T13" fmla="*/ 518 h 828"/>
              <a:gd name="T14" fmla="*/ 1830 w 2274"/>
              <a:gd name="T15" fmla="*/ 616 h 828"/>
              <a:gd name="T16" fmla="*/ 1904 w 2274"/>
              <a:gd name="T17" fmla="*/ 426 h 828"/>
              <a:gd name="T18" fmla="*/ 1896 w 2274"/>
              <a:gd name="T19" fmla="*/ 418 h 828"/>
              <a:gd name="T20" fmla="*/ 1820 w 2274"/>
              <a:gd name="T21" fmla="*/ 424 h 828"/>
              <a:gd name="T22" fmla="*/ 1760 w 2274"/>
              <a:gd name="T23" fmla="*/ 450 h 828"/>
              <a:gd name="T24" fmla="*/ 1650 w 2274"/>
              <a:gd name="T25" fmla="*/ 450 h 828"/>
              <a:gd name="T26" fmla="*/ 1556 w 2274"/>
              <a:gd name="T27" fmla="*/ 548 h 828"/>
              <a:gd name="T28" fmla="*/ 1620 w 2274"/>
              <a:gd name="T29" fmla="*/ 616 h 828"/>
              <a:gd name="T30" fmla="*/ 1554 w 2274"/>
              <a:gd name="T31" fmla="*/ 762 h 828"/>
              <a:gd name="T32" fmla="*/ 1498 w 2274"/>
              <a:gd name="T33" fmla="*/ 756 h 828"/>
              <a:gd name="T34" fmla="*/ 1342 w 2274"/>
              <a:gd name="T35" fmla="*/ 608 h 828"/>
              <a:gd name="T36" fmla="*/ 1038 w 2274"/>
              <a:gd name="T37" fmla="*/ 650 h 828"/>
              <a:gd name="T38" fmla="*/ 692 w 2274"/>
              <a:gd name="T39" fmla="*/ 570 h 828"/>
              <a:gd name="T40" fmla="*/ 492 w 2274"/>
              <a:gd name="T41" fmla="*/ 630 h 828"/>
              <a:gd name="T42" fmla="*/ 392 w 2274"/>
              <a:gd name="T43" fmla="*/ 650 h 828"/>
              <a:gd name="T44" fmla="*/ 386 w 2274"/>
              <a:gd name="T45" fmla="*/ 730 h 828"/>
              <a:gd name="T46" fmla="*/ 374 w 2274"/>
              <a:gd name="T47" fmla="*/ 816 h 828"/>
              <a:gd name="T48" fmla="*/ 254 w 2274"/>
              <a:gd name="T49" fmla="*/ 766 h 828"/>
              <a:gd name="T50" fmla="*/ 276 w 2274"/>
              <a:gd name="T51" fmla="*/ 684 h 828"/>
              <a:gd name="T52" fmla="*/ 180 w 2274"/>
              <a:gd name="T53" fmla="*/ 608 h 828"/>
              <a:gd name="T54" fmla="*/ 114 w 2274"/>
              <a:gd name="T55" fmla="*/ 510 h 828"/>
              <a:gd name="T56" fmla="*/ 118 w 2274"/>
              <a:gd name="T57" fmla="*/ 418 h 828"/>
              <a:gd name="T58" fmla="*/ 138 w 2274"/>
              <a:gd name="T59" fmla="*/ 244 h 828"/>
              <a:gd name="T60" fmla="*/ 210 w 2274"/>
              <a:gd name="T61" fmla="*/ 222 h 828"/>
              <a:gd name="T62" fmla="*/ 204 w 2274"/>
              <a:gd name="T63" fmla="*/ 280 h 828"/>
              <a:gd name="T64" fmla="*/ 212 w 2274"/>
              <a:gd name="T65" fmla="*/ 322 h 828"/>
              <a:gd name="T66" fmla="*/ 276 w 2274"/>
              <a:gd name="T67" fmla="*/ 318 h 828"/>
              <a:gd name="T68" fmla="*/ 338 w 2274"/>
              <a:gd name="T69" fmla="*/ 240 h 828"/>
              <a:gd name="T70" fmla="*/ 436 w 2274"/>
              <a:gd name="T71" fmla="*/ 244 h 828"/>
              <a:gd name="T72" fmla="*/ 512 w 2274"/>
              <a:gd name="T73" fmla="*/ 242 h 828"/>
              <a:gd name="T74" fmla="*/ 600 w 2274"/>
              <a:gd name="T75" fmla="*/ 218 h 828"/>
              <a:gd name="T76" fmla="*/ 642 w 2274"/>
              <a:gd name="T77" fmla="*/ 200 h 828"/>
              <a:gd name="T78" fmla="*/ 714 w 2274"/>
              <a:gd name="T79" fmla="*/ 198 h 828"/>
              <a:gd name="T80" fmla="*/ 704 w 2274"/>
              <a:gd name="T81" fmla="*/ 294 h 828"/>
              <a:gd name="T82" fmla="*/ 788 w 2274"/>
              <a:gd name="T83" fmla="*/ 268 h 828"/>
              <a:gd name="T84" fmla="*/ 738 w 2274"/>
              <a:gd name="T85" fmla="*/ 150 h 828"/>
              <a:gd name="T86" fmla="*/ 782 w 2274"/>
              <a:gd name="T87" fmla="*/ 164 h 828"/>
              <a:gd name="T88" fmla="*/ 880 w 2274"/>
              <a:gd name="T89" fmla="*/ 218 h 828"/>
              <a:gd name="T90" fmla="*/ 834 w 2274"/>
              <a:gd name="T91" fmla="*/ 108 h 828"/>
              <a:gd name="T92" fmla="*/ 916 w 2274"/>
              <a:gd name="T93" fmla="*/ 70 h 828"/>
              <a:gd name="T94" fmla="*/ 1036 w 2274"/>
              <a:gd name="T95" fmla="*/ 46 h 828"/>
              <a:gd name="T96" fmla="*/ 1104 w 2274"/>
              <a:gd name="T97" fmla="*/ 8 h 828"/>
              <a:gd name="T98" fmla="*/ 1212 w 2274"/>
              <a:gd name="T99" fmla="*/ 24 h 828"/>
              <a:gd name="T100" fmla="*/ 1188 w 2274"/>
              <a:gd name="T101" fmla="*/ 116 h 828"/>
              <a:gd name="T102" fmla="*/ 1208 w 2274"/>
              <a:gd name="T103" fmla="*/ 108 h 828"/>
              <a:gd name="T104" fmla="*/ 1320 w 2274"/>
              <a:gd name="T105" fmla="*/ 126 h 828"/>
              <a:gd name="T106" fmla="*/ 1406 w 2274"/>
              <a:gd name="T107" fmla="*/ 108 h 828"/>
              <a:gd name="T108" fmla="*/ 1434 w 2274"/>
              <a:gd name="T109" fmla="*/ 164 h 828"/>
              <a:gd name="T110" fmla="*/ 1506 w 2274"/>
              <a:gd name="T111" fmla="*/ 168 h 828"/>
              <a:gd name="T112" fmla="*/ 1604 w 2274"/>
              <a:gd name="T113" fmla="*/ 172 h 828"/>
              <a:gd name="T114" fmla="*/ 1690 w 2274"/>
              <a:gd name="T115" fmla="*/ 156 h 828"/>
              <a:gd name="T116" fmla="*/ 1754 w 2274"/>
              <a:gd name="T117" fmla="*/ 188 h 828"/>
              <a:gd name="T118" fmla="*/ 1890 w 2274"/>
              <a:gd name="T119" fmla="*/ 228 h 828"/>
              <a:gd name="T120" fmla="*/ 2024 w 2274"/>
              <a:gd name="T121" fmla="*/ 226 h 828"/>
              <a:gd name="T122" fmla="*/ 2158 w 2274"/>
              <a:gd name="T123" fmla="*/ 246 h 828"/>
              <a:gd name="T124" fmla="*/ 26 w 2274"/>
              <a:gd name="T125" fmla="*/ 556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4" h="828">
                <a:moveTo>
                  <a:pt x="1666" y="666"/>
                </a:moveTo>
                <a:lnTo>
                  <a:pt x="1666" y="666"/>
                </a:lnTo>
                <a:lnTo>
                  <a:pt x="1668" y="674"/>
                </a:lnTo>
                <a:lnTo>
                  <a:pt x="1668" y="674"/>
                </a:lnTo>
                <a:lnTo>
                  <a:pt x="1664" y="670"/>
                </a:lnTo>
                <a:lnTo>
                  <a:pt x="1658" y="666"/>
                </a:lnTo>
                <a:lnTo>
                  <a:pt x="1656" y="666"/>
                </a:lnTo>
                <a:lnTo>
                  <a:pt x="1652" y="666"/>
                </a:lnTo>
                <a:lnTo>
                  <a:pt x="1650" y="668"/>
                </a:lnTo>
                <a:lnTo>
                  <a:pt x="1648" y="672"/>
                </a:lnTo>
                <a:lnTo>
                  <a:pt x="1648" y="672"/>
                </a:lnTo>
                <a:lnTo>
                  <a:pt x="1648" y="678"/>
                </a:lnTo>
                <a:lnTo>
                  <a:pt x="1648" y="682"/>
                </a:lnTo>
                <a:lnTo>
                  <a:pt x="1648" y="682"/>
                </a:lnTo>
                <a:lnTo>
                  <a:pt x="1644" y="692"/>
                </a:lnTo>
                <a:lnTo>
                  <a:pt x="1642" y="702"/>
                </a:lnTo>
                <a:lnTo>
                  <a:pt x="1642" y="702"/>
                </a:lnTo>
                <a:lnTo>
                  <a:pt x="1644" y="710"/>
                </a:lnTo>
                <a:lnTo>
                  <a:pt x="1648" y="720"/>
                </a:lnTo>
                <a:lnTo>
                  <a:pt x="1652" y="722"/>
                </a:lnTo>
                <a:lnTo>
                  <a:pt x="1652" y="722"/>
                </a:lnTo>
                <a:lnTo>
                  <a:pt x="1652" y="728"/>
                </a:lnTo>
                <a:lnTo>
                  <a:pt x="1654" y="734"/>
                </a:lnTo>
                <a:lnTo>
                  <a:pt x="1650" y="736"/>
                </a:lnTo>
                <a:lnTo>
                  <a:pt x="1650" y="736"/>
                </a:lnTo>
                <a:lnTo>
                  <a:pt x="1650" y="734"/>
                </a:lnTo>
                <a:lnTo>
                  <a:pt x="1648" y="730"/>
                </a:lnTo>
                <a:lnTo>
                  <a:pt x="1648" y="730"/>
                </a:lnTo>
                <a:lnTo>
                  <a:pt x="1646" y="728"/>
                </a:lnTo>
                <a:lnTo>
                  <a:pt x="1646" y="728"/>
                </a:lnTo>
                <a:lnTo>
                  <a:pt x="1644" y="726"/>
                </a:lnTo>
                <a:lnTo>
                  <a:pt x="1644" y="726"/>
                </a:lnTo>
                <a:lnTo>
                  <a:pt x="1642" y="722"/>
                </a:lnTo>
                <a:lnTo>
                  <a:pt x="1642" y="722"/>
                </a:lnTo>
                <a:lnTo>
                  <a:pt x="1640" y="722"/>
                </a:lnTo>
                <a:lnTo>
                  <a:pt x="1640" y="722"/>
                </a:lnTo>
                <a:lnTo>
                  <a:pt x="1638" y="724"/>
                </a:lnTo>
                <a:lnTo>
                  <a:pt x="1636" y="726"/>
                </a:lnTo>
                <a:lnTo>
                  <a:pt x="1634" y="732"/>
                </a:lnTo>
                <a:lnTo>
                  <a:pt x="1634" y="732"/>
                </a:lnTo>
                <a:lnTo>
                  <a:pt x="1634" y="734"/>
                </a:lnTo>
                <a:lnTo>
                  <a:pt x="1634" y="734"/>
                </a:lnTo>
                <a:lnTo>
                  <a:pt x="1630" y="734"/>
                </a:lnTo>
                <a:lnTo>
                  <a:pt x="1630" y="734"/>
                </a:lnTo>
                <a:lnTo>
                  <a:pt x="1632" y="722"/>
                </a:lnTo>
                <a:lnTo>
                  <a:pt x="1634" y="720"/>
                </a:lnTo>
                <a:lnTo>
                  <a:pt x="1634" y="720"/>
                </a:lnTo>
                <a:lnTo>
                  <a:pt x="1634" y="716"/>
                </a:lnTo>
                <a:lnTo>
                  <a:pt x="1634" y="710"/>
                </a:lnTo>
                <a:lnTo>
                  <a:pt x="1636" y="708"/>
                </a:lnTo>
                <a:lnTo>
                  <a:pt x="1636" y="708"/>
                </a:lnTo>
                <a:lnTo>
                  <a:pt x="1636" y="696"/>
                </a:lnTo>
                <a:lnTo>
                  <a:pt x="1636" y="696"/>
                </a:lnTo>
                <a:lnTo>
                  <a:pt x="1634" y="682"/>
                </a:lnTo>
                <a:lnTo>
                  <a:pt x="1634" y="682"/>
                </a:lnTo>
                <a:lnTo>
                  <a:pt x="1636" y="680"/>
                </a:lnTo>
                <a:lnTo>
                  <a:pt x="1636" y="680"/>
                </a:lnTo>
                <a:lnTo>
                  <a:pt x="1634" y="670"/>
                </a:lnTo>
                <a:lnTo>
                  <a:pt x="1634" y="670"/>
                </a:lnTo>
                <a:lnTo>
                  <a:pt x="1636" y="660"/>
                </a:lnTo>
                <a:lnTo>
                  <a:pt x="1636" y="652"/>
                </a:lnTo>
                <a:lnTo>
                  <a:pt x="1636" y="652"/>
                </a:lnTo>
                <a:lnTo>
                  <a:pt x="1634" y="644"/>
                </a:lnTo>
                <a:lnTo>
                  <a:pt x="1634" y="644"/>
                </a:lnTo>
                <a:lnTo>
                  <a:pt x="1636" y="636"/>
                </a:lnTo>
                <a:lnTo>
                  <a:pt x="1634" y="630"/>
                </a:lnTo>
                <a:lnTo>
                  <a:pt x="1634" y="630"/>
                </a:lnTo>
                <a:lnTo>
                  <a:pt x="1632" y="622"/>
                </a:lnTo>
                <a:lnTo>
                  <a:pt x="1632" y="622"/>
                </a:lnTo>
                <a:lnTo>
                  <a:pt x="1632" y="616"/>
                </a:lnTo>
                <a:lnTo>
                  <a:pt x="1634" y="612"/>
                </a:lnTo>
                <a:lnTo>
                  <a:pt x="1634" y="612"/>
                </a:lnTo>
                <a:lnTo>
                  <a:pt x="1634" y="608"/>
                </a:lnTo>
                <a:lnTo>
                  <a:pt x="1632" y="604"/>
                </a:lnTo>
                <a:lnTo>
                  <a:pt x="1632" y="604"/>
                </a:lnTo>
                <a:lnTo>
                  <a:pt x="1636" y="602"/>
                </a:lnTo>
                <a:lnTo>
                  <a:pt x="1636" y="602"/>
                </a:lnTo>
                <a:lnTo>
                  <a:pt x="1636" y="596"/>
                </a:lnTo>
                <a:lnTo>
                  <a:pt x="1636" y="596"/>
                </a:lnTo>
                <a:lnTo>
                  <a:pt x="1644" y="592"/>
                </a:lnTo>
                <a:lnTo>
                  <a:pt x="1644" y="592"/>
                </a:lnTo>
                <a:lnTo>
                  <a:pt x="1642" y="574"/>
                </a:lnTo>
                <a:lnTo>
                  <a:pt x="1642" y="574"/>
                </a:lnTo>
                <a:lnTo>
                  <a:pt x="1646" y="574"/>
                </a:lnTo>
                <a:lnTo>
                  <a:pt x="1646" y="574"/>
                </a:lnTo>
                <a:lnTo>
                  <a:pt x="1648" y="570"/>
                </a:lnTo>
                <a:lnTo>
                  <a:pt x="1648" y="570"/>
                </a:lnTo>
                <a:lnTo>
                  <a:pt x="1652" y="576"/>
                </a:lnTo>
                <a:lnTo>
                  <a:pt x="1652" y="576"/>
                </a:lnTo>
                <a:lnTo>
                  <a:pt x="1652" y="582"/>
                </a:lnTo>
                <a:lnTo>
                  <a:pt x="1650" y="584"/>
                </a:lnTo>
                <a:lnTo>
                  <a:pt x="1650" y="588"/>
                </a:lnTo>
                <a:lnTo>
                  <a:pt x="1650" y="592"/>
                </a:lnTo>
                <a:lnTo>
                  <a:pt x="1650" y="592"/>
                </a:lnTo>
                <a:lnTo>
                  <a:pt x="1650" y="596"/>
                </a:lnTo>
                <a:lnTo>
                  <a:pt x="1654" y="600"/>
                </a:lnTo>
                <a:lnTo>
                  <a:pt x="1656" y="604"/>
                </a:lnTo>
                <a:lnTo>
                  <a:pt x="1656" y="608"/>
                </a:lnTo>
                <a:lnTo>
                  <a:pt x="1656" y="608"/>
                </a:lnTo>
                <a:lnTo>
                  <a:pt x="1652" y="618"/>
                </a:lnTo>
                <a:lnTo>
                  <a:pt x="1652" y="618"/>
                </a:lnTo>
                <a:lnTo>
                  <a:pt x="1652" y="618"/>
                </a:lnTo>
                <a:lnTo>
                  <a:pt x="1652" y="618"/>
                </a:lnTo>
                <a:lnTo>
                  <a:pt x="1654" y="620"/>
                </a:lnTo>
                <a:lnTo>
                  <a:pt x="1654" y="620"/>
                </a:lnTo>
                <a:lnTo>
                  <a:pt x="1652" y="626"/>
                </a:lnTo>
                <a:lnTo>
                  <a:pt x="1652" y="634"/>
                </a:lnTo>
                <a:lnTo>
                  <a:pt x="1652" y="634"/>
                </a:lnTo>
                <a:lnTo>
                  <a:pt x="1654" y="638"/>
                </a:lnTo>
                <a:lnTo>
                  <a:pt x="1656" y="644"/>
                </a:lnTo>
                <a:lnTo>
                  <a:pt x="1656" y="644"/>
                </a:lnTo>
                <a:lnTo>
                  <a:pt x="1654" y="648"/>
                </a:lnTo>
                <a:lnTo>
                  <a:pt x="1654" y="650"/>
                </a:lnTo>
                <a:lnTo>
                  <a:pt x="1654" y="654"/>
                </a:lnTo>
                <a:lnTo>
                  <a:pt x="1658" y="660"/>
                </a:lnTo>
                <a:lnTo>
                  <a:pt x="1658" y="660"/>
                </a:lnTo>
                <a:lnTo>
                  <a:pt x="1662" y="660"/>
                </a:lnTo>
                <a:lnTo>
                  <a:pt x="1662" y="660"/>
                </a:lnTo>
                <a:lnTo>
                  <a:pt x="1662" y="662"/>
                </a:lnTo>
                <a:lnTo>
                  <a:pt x="1664" y="666"/>
                </a:lnTo>
                <a:lnTo>
                  <a:pt x="1666" y="666"/>
                </a:lnTo>
                <a:close/>
                <a:moveTo>
                  <a:pt x="2270" y="316"/>
                </a:moveTo>
                <a:lnTo>
                  <a:pt x="2270" y="316"/>
                </a:lnTo>
                <a:lnTo>
                  <a:pt x="2270" y="316"/>
                </a:lnTo>
                <a:lnTo>
                  <a:pt x="2270" y="318"/>
                </a:lnTo>
                <a:lnTo>
                  <a:pt x="2270" y="322"/>
                </a:lnTo>
                <a:lnTo>
                  <a:pt x="2270" y="322"/>
                </a:lnTo>
                <a:lnTo>
                  <a:pt x="2266" y="322"/>
                </a:lnTo>
                <a:lnTo>
                  <a:pt x="2266" y="322"/>
                </a:lnTo>
                <a:lnTo>
                  <a:pt x="2264" y="328"/>
                </a:lnTo>
                <a:lnTo>
                  <a:pt x="2264" y="328"/>
                </a:lnTo>
                <a:lnTo>
                  <a:pt x="2260" y="328"/>
                </a:lnTo>
                <a:lnTo>
                  <a:pt x="2260" y="326"/>
                </a:lnTo>
                <a:lnTo>
                  <a:pt x="2260" y="326"/>
                </a:lnTo>
                <a:lnTo>
                  <a:pt x="2256" y="324"/>
                </a:lnTo>
                <a:lnTo>
                  <a:pt x="2256" y="324"/>
                </a:lnTo>
                <a:lnTo>
                  <a:pt x="2242" y="324"/>
                </a:lnTo>
                <a:lnTo>
                  <a:pt x="2242" y="330"/>
                </a:lnTo>
                <a:lnTo>
                  <a:pt x="2242" y="330"/>
                </a:lnTo>
                <a:lnTo>
                  <a:pt x="2248" y="328"/>
                </a:lnTo>
                <a:lnTo>
                  <a:pt x="2248" y="328"/>
                </a:lnTo>
                <a:lnTo>
                  <a:pt x="2248" y="336"/>
                </a:lnTo>
                <a:lnTo>
                  <a:pt x="2248" y="336"/>
                </a:lnTo>
                <a:lnTo>
                  <a:pt x="2240" y="338"/>
                </a:lnTo>
                <a:lnTo>
                  <a:pt x="2240" y="338"/>
                </a:lnTo>
                <a:lnTo>
                  <a:pt x="2242" y="340"/>
                </a:lnTo>
                <a:lnTo>
                  <a:pt x="2242" y="340"/>
                </a:lnTo>
                <a:lnTo>
                  <a:pt x="2242" y="342"/>
                </a:lnTo>
                <a:lnTo>
                  <a:pt x="2242" y="344"/>
                </a:lnTo>
                <a:lnTo>
                  <a:pt x="2242" y="344"/>
                </a:lnTo>
                <a:lnTo>
                  <a:pt x="2244" y="348"/>
                </a:lnTo>
                <a:lnTo>
                  <a:pt x="2244" y="348"/>
                </a:lnTo>
                <a:lnTo>
                  <a:pt x="2248" y="352"/>
                </a:lnTo>
                <a:lnTo>
                  <a:pt x="2248" y="352"/>
                </a:lnTo>
                <a:lnTo>
                  <a:pt x="2240" y="350"/>
                </a:lnTo>
                <a:lnTo>
                  <a:pt x="2240" y="352"/>
                </a:lnTo>
                <a:lnTo>
                  <a:pt x="2240" y="352"/>
                </a:lnTo>
                <a:lnTo>
                  <a:pt x="2238" y="352"/>
                </a:lnTo>
                <a:lnTo>
                  <a:pt x="2236" y="350"/>
                </a:lnTo>
                <a:lnTo>
                  <a:pt x="2234" y="350"/>
                </a:lnTo>
                <a:lnTo>
                  <a:pt x="2234" y="350"/>
                </a:lnTo>
                <a:lnTo>
                  <a:pt x="2234" y="346"/>
                </a:lnTo>
                <a:lnTo>
                  <a:pt x="2234" y="346"/>
                </a:lnTo>
                <a:lnTo>
                  <a:pt x="2232" y="346"/>
                </a:lnTo>
                <a:lnTo>
                  <a:pt x="2232" y="346"/>
                </a:lnTo>
                <a:lnTo>
                  <a:pt x="2232" y="348"/>
                </a:lnTo>
                <a:lnTo>
                  <a:pt x="2230" y="348"/>
                </a:lnTo>
                <a:lnTo>
                  <a:pt x="2230" y="348"/>
                </a:lnTo>
                <a:lnTo>
                  <a:pt x="2230" y="350"/>
                </a:lnTo>
                <a:lnTo>
                  <a:pt x="2230" y="350"/>
                </a:lnTo>
                <a:lnTo>
                  <a:pt x="2224" y="352"/>
                </a:lnTo>
                <a:lnTo>
                  <a:pt x="2224" y="352"/>
                </a:lnTo>
                <a:lnTo>
                  <a:pt x="2224" y="348"/>
                </a:lnTo>
                <a:lnTo>
                  <a:pt x="2224" y="348"/>
                </a:lnTo>
                <a:lnTo>
                  <a:pt x="2216" y="342"/>
                </a:lnTo>
                <a:lnTo>
                  <a:pt x="2208" y="340"/>
                </a:lnTo>
                <a:lnTo>
                  <a:pt x="2208" y="340"/>
                </a:lnTo>
                <a:lnTo>
                  <a:pt x="2206" y="342"/>
                </a:lnTo>
                <a:lnTo>
                  <a:pt x="2204" y="342"/>
                </a:lnTo>
                <a:lnTo>
                  <a:pt x="2204" y="342"/>
                </a:lnTo>
                <a:lnTo>
                  <a:pt x="2200" y="340"/>
                </a:lnTo>
                <a:lnTo>
                  <a:pt x="2196" y="336"/>
                </a:lnTo>
                <a:lnTo>
                  <a:pt x="2196" y="336"/>
                </a:lnTo>
                <a:lnTo>
                  <a:pt x="2198" y="332"/>
                </a:lnTo>
                <a:lnTo>
                  <a:pt x="2198" y="332"/>
                </a:lnTo>
                <a:lnTo>
                  <a:pt x="2196" y="330"/>
                </a:lnTo>
                <a:lnTo>
                  <a:pt x="2196" y="326"/>
                </a:lnTo>
                <a:lnTo>
                  <a:pt x="2192" y="320"/>
                </a:lnTo>
                <a:lnTo>
                  <a:pt x="2190" y="320"/>
                </a:lnTo>
                <a:lnTo>
                  <a:pt x="2190" y="320"/>
                </a:lnTo>
                <a:lnTo>
                  <a:pt x="2186" y="320"/>
                </a:lnTo>
                <a:lnTo>
                  <a:pt x="2180" y="320"/>
                </a:lnTo>
                <a:lnTo>
                  <a:pt x="2180" y="320"/>
                </a:lnTo>
                <a:lnTo>
                  <a:pt x="2180" y="318"/>
                </a:lnTo>
                <a:lnTo>
                  <a:pt x="2178" y="318"/>
                </a:lnTo>
                <a:lnTo>
                  <a:pt x="2178" y="318"/>
                </a:lnTo>
                <a:lnTo>
                  <a:pt x="2176" y="320"/>
                </a:lnTo>
                <a:lnTo>
                  <a:pt x="2176" y="322"/>
                </a:lnTo>
                <a:lnTo>
                  <a:pt x="2176" y="322"/>
                </a:lnTo>
                <a:lnTo>
                  <a:pt x="2170" y="324"/>
                </a:lnTo>
                <a:lnTo>
                  <a:pt x="2164" y="326"/>
                </a:lnTo>
                <a:lnTo>
                  <a:pt x="2164" y="326"/>
                </a:lnTo>
                <a:lnTo>
                  <a:pt x="2160" y="322"/>
                </a:lnTo>
                <a:lnTo>
                  <a:pt x="2160" y="322"/>
                </a:lnTo>
                <a:lnTo>
                  <a:pt x="2154" y="320"/>
                </a:lnTo>
                <a:lnTo>
                  <a:pt x="2154" y="320"/>
                </a:lnTo>
                <a:lnTo>
                  <a:pt x="2154" y="316"/>
                </a:lnTo>
                <a:lnTo>
                  <a:pt x="2158" y="312"/>
                </a:lnTo>
                <a:lnTo>
                  <a:pt x="2158" y="310"/>
                </a:lnTo>
                <a:lnTo>
                  <a:pt x="2158" y="310"/>
                </a:lnTo>
                <a:lnTo>
                  <a:pt x="2156" y="308"/>
                </a:lnTo>
                <a:lnTo>
                  <a:pt x="2154" y="306"/>
                </a:lnTo>
                <a:lnTo>
                  <a:pt x="2154" y="304"/>
                </a:lnTo>
                <a:lnTo>
                  <a:pt x="2156" y="302"/>
                </a:lnTo>
                <a:lnTo>
                  <a:pt x="2156" y="302"/>
                </a:lnTo>
                <a:lnTo>
                  <a:pt x="2150" y="300"/>
                </a:lnTo>
                <a:lnTo>
                  <a:pt x="2150" y="300"/>
                </a:lnTo>
                <a:lnTo>
                  <a:pt x="2146" y="304"/>
                </a:lnTo>
                <a:lnTo>
                  <a:pt x="2146" y="306"/>
                </a:lnTo>
                <a:lnTo>
                  <a:pt x="2146" y="306"/>
                </a:lnTo>
                <a:lnTo>
                  <a:pt x="2148" y="308"/>
                </a:lnTo>
                <a:lnTo>
                  <a:pt x="2148" y="312"/>
                </a:lnTo>
                <a:lnTo>
                  <a:pt x="2146" y="312"/>
                </a:lnTo>
                <a:lnTo>
                  <a:pt x="2146" y="312"/>
                </a:lnTo>
                <a:lnTo>
                  <a:pt x="2144" y="316"/>
                </a:lnTo>
                <a:lnTo>
                  <a:pt x="2144" y="316"/>
                </a:lnTo>
                <a:lnTo>
                  <a:pt x="2152" y="320"/>
                </a:lnTo>
                <a:lnTo>
                  <a:pt x="2152" y="320"/>
                </a:lnTo>
                <a:lnTo>
                  <a:pt x="2152" y="322"/>
                </a:lnTo>
                <a:lnTo>
                  <a:pt x="2152" y="322"/>
                </a:lnTo>
                <a:lnTo>
                  <a:pt x="2146" y="328"/>
                </a:lnTo>
                <a:lnTo>
                  <a:pt x="2146" y="328"/>
                </a:lnTo>
                <a:lnTo>
                  <a:pt x="2148" y="330"/>
                </a:lnTo>
                <a:lnTo>
                  <a:pt x="2146" y="334"/>
                </a:lnTo>
                <a:lnTo>
                  <a:pt x="2146" y="334"/>
                </a:lnTo>
                <a:lnTo>
                  <a:pt x="2140" y="338"/>
                </a:lnTo>
                <a:lnTo>
                  <a:pt x="2132" y="340"/>
                </a:lnTo>
                <a:lnTo>
                  <a:pt x="2132" y="340"/>
                </a:lnTo>
                <a:lnTo>
                  <a:pt x="2126" y="340"/>
                </a:lnTo>
                <a:lnTo>
                  <a:pt x="2120" y="338"/>
                </a:lnTo>
                <a:lnTo>
                  <a:pt x="2108" y="334"/>
                </a:lnTo>
                <a:lnTo>
                  <a:pt x="2108" y="334"/>
                </a:lnTo>
                <a:lnTo>
                  <a:pt x="2106" y="336"/>
                </a:lnTo>
                <a:lnTo>
                  <a:pt x="2106" y="336"/>
                </a:lnTo>
                <a:lnTo>
                  <a:pt x="2100" y="336"/>
                </a:lnTo>
                <a:lnTo>
                  <a:pt x="2094" y="336"/>
                </a:lnTo>
                <a:lnTo>
                  <a:pt x="2094" y="336"/>
                </a:lnTo>
                <a:lnTo>
                  <a:pt x="2092" y="338"/>
                </a:lnTo>
                <a:lnTo>
                  <a:pt x="2100" y="338"/>
                </a:lnTo>
                <a:lnTo>
                  <a:pt x="2100" y="338"/>
                </a:lnTo>
                <a:lnTo>
                  <a:pt x="2106" y="342"/>
                </a:lnTo>
                <a:lnTo>
                  <a:pt x="2110" y="338"/>
                </a:lnTo>
                <a:lnTo>
                  <a:pt x="2110" y="338"/>
                </a:lnTo>
                <a:lnTo>
                  <a:pt x="2112" y="344"/>
                </a:lnTo>
                <a:lnTo>
                  <a:pt x="2112" y="344"/>
                </a:lnTo>
                <a:lnTo>
                  <a:pt x="2108" y="344"/>
                </a:lnTo>
                <a:lnTo>
                  <a:pt x="2108" y="344"/>
                </a:lnTo>
                <a:lnTo>
                  <a:pt x="2106" y="350"/>
                </a:lnTo>
                <a:lnTo>
                  <a:pt x="2106" y="350"/>
                </a:lnTo>
                <a:lnTo>
                  <a:pt x="2112" y="348"/>
                </a:lnTo>
                <a:lnTo>
                  <a:pt x="2116" y="348"/>
                </a:lnTo>
                <a:lnTo>
                  <a:pt x="2116" y="348"/>
                </a:lnTo>
                <a:lnTo>
                  <a:pt x="2122" y="360"/>
                </a:lnTo>
                <a:lnTo>
                  <a:pt x="2122" y="360"/>
                </a:lnTo>
                <a:lnTo>
                  <a:pt x="2124" y="360"/>
                </a:lnTo>
                <a:lnTo>
                  <a:pt x="2124" y="360"/>
                </a:lnTo>
                <a:lnTo>
                  <a:pt x="2126" y="366"/>
                </a:lnTo>
                <a:lnTo>
                  <a:pt x="2128" y="368"/>
                </a:lnTo>
                <a:lnTo>
                  <a:pt x="2128" y="368"/>
                </a:lnTo>
                <a:lnTo>
                  <a:pt x="2126" y="370"/>
                </a:lnTo>
                <a:lnTo>
                  <a:pt x="2126" y="372"/>
                </a:lnTo>
                <a:lnTo>
                  <a:pt x="2126" y="372"/>
                </a:lnTo>
                <a:lnTo>
                  <a:pt x="2132" y="374"/>
                </a:lnTo>
                <a:lnTo>
                  <a:pt x="2132" y="374"/>
                </a:lnTo>
                <a:lnTo>
                  <a:pt x="2132" y="376"/>
                </a:lnTo>
                <a:lnTo>
                  <a:pt x="2132" y="376"/>
                </a:lnTo>
                <a:lnTo>
                  <a:pt x="2132" y="378"/>
                </a:lnTo>
                <a:lnTo>
                  <a:pt x="2132" y="382"/>
                </a:lnTo>
                <a:lnTo>
                  <a:pt x="2132" y="382"/>
                </a:lnTo>
                <a:lnTo>
                  <a:pt x="2134" y="384"/>
                </a:lnTo>
                <a:lnTo>
                  <a:pt x="2134" y="384"/>
                </a:lnTo>
                <a:lnTo>
                  <a:pt x="2128" y="388"/>
                </a:lnTo>
                <a:lnTo>
                  <a:pt x="2124" y="390"/>
                </a:lnTo>
                <a:lnTo>
                  <a:pt x="2120" y="388"/>
                </a:lnTo>
                <a:lnTo>
                  <a:pt x="2120" y="388"/>
                </a:lnTo>
                <a:lnTo>
                  <a:pt x="2114" y="384"/>
                </a:lnTo>
                <a:lnTo>
                  <a:pt x="2114" y="384"/>
                </a:lnTo>
                <a:lnTo>
                  <a:pt x="2104" y="386"/>
                </a:lnTo>
                <a:lnTo>
                  <a:pt x="2104" y="386"/>
                </a:lnTo>
                <a:lnTo>
                  <a:pt x="2102" y="386"/>
                </a:lnTo>
                <a:lnTo>
                  <a:pt x="2100" y="384"/>
                </a:lnTo>
                <a:lnTo>
                  <a:pt x="2098" y="386"/>
                </a:lnTo>
                <a:lnTo>
                  <a:pt x="2098" y="386"/>
                </a:lnTo>
                <a:lnTo>
                  <a:pt x="2090" y="388"/>
                </a:lnTo>
                <a:lnTo>
                  <a:pt x="2080" y="392"/>
                </a:lnTo>
                <a:lnTo>
                  <a:pt x="2080" y="392"/>
                </a:lnTo>
                <a:lnTo>
                  <a:pt x="2080" y="394"/>
                </a:lnTo>
                <a:lnTo>
                  <a:pt x="2080" y="394"/>
                </a:lnTo>
                <a:lnTo>
                  <a:pt x="2072" y="396"/>
                </a:lnTo>
                <a:lnTo>
                  <a:pt x="2066" y="398"/>
                </a:lnTo>
                <a:lnTo>
                  <a:pt x="2066" y="398"/>
                </a:lnTo>
                <a:lnTo>
                  <a:pt x="2060" y="404"/>
                </a:lnTo>
                <a:lnTo>
                  <a:pt x="2060" y="404"/>
                </a:lnTo>
                <a:lnTo>
                  <a:pt x="2054" y="400"/>
                </a:lnTo>
                <a:lnTo>
                  <a:pt x="2054" y="400"/>
                </a:lnTo>
                <a:lnTo>
                  <a:pt x="2054" y="406"/>
                </a:lnTo>
                <a:lnTo>
                  <a:pt x="2052" y="410"/>
                </a:lnTo>
                <a:lnTo>
                  <a:pt x="2048" y="410"/>
                </a:lnTo>
                <a:lnTo>
                  <a:pt x="2042" y="406"/>
                </a:lnTo>
                <a:lnTo>
                  <a:pt x="2042" y="406"/>
                </a:lnTo>
                <a:lnTo>
                  <a:pt x="2046" y="412"/>
                </a:lnTo>
                <a:lnTo>
                  <a:pt x="2046" y="412"/>
                </a:lnTo>
                <a:lnTo>
                  <a:pt x="2042" y="416"/>
                </a:lnTo>
                <a:lnTo>
                  <a:pt x="2042" y="416"/>
                </a:lnTo>
                <a:lnTo>
                  <a:pt x="2040" y="416"/>
                </a:lnTo>
                <a:lnTo>
                  <a:pt x="2038" y="416"/>
                </a:lnTo>
                <a:lnTo>
                  <a:pt x="2038" y="416"/>
                </a:lnTo>
                <a:lnTo>
                  <a:pt x="2032" y="418"/>
                </a:lnTo>
                <a:lnTo>
                  <a:pt x="2032" y="420"/>
                </a:lnTo>
                <a:lnTo>
                  <a:pt x="2032" y="420"/>
                </a:lnTo>
                <a:lnTo>
                  <a:pt x="2032" y="420"/>
                </a:lnTo>
                <a:lnTo>
                  <a:pt x="2032" y="424"/>
                </a:lnTo>
                <a:lnTo>
                  <a:pt x="2032" y="424"/>
                </a:lnTo>
                <a:lnTo>
                  <a:pt x="2028" y="424"/>
                </a:lnTo>
                <a:lnTo>
                  <a:pt x="2024" y="426"/>
                </a:lnTo>
                <a:lnTo>
                  <a:pt x="2024" y="428"/>
                </a:lnTo>
                <a:lnTo>
                  <a:pt x="2024" y="428"/>
                </a:lnTo>
                <a:lnTo>
                  <a:pt x="2020" y="432"/>
                </a:lnTo>
                <a:lnTo>
                  <a:pt x="2020" y="432"/>
                </a:lnTo>
                <a:lnTo>
                  <a:pt x="2018" y="438"/>
                </a:lnTo>
                <a:lnTo>
                  <a:pt x="2016" y="442"/>
                </a:lnTo>
                <a:lnTo>
                  <a:pt x="2016" y="442"/>
                </a:lnTo>
                <a:lnTo>
                  <a:pt x="2004" y="436"/>
                </a:lnTo>
                <a:lnTo>
                  <a:pt x="2004" y="436"/>
                </a:lnTo>
                <a:lnTo>
                  <a:pt x="2004" y="434"/>
                </a:lnTo>
                <a:lnTo>
                  <a:pt x="2004" y="430"/>
                </a:lnTo>
                <a:lnTo>
                  <a:pt x="2004" y="430"/>
                </a:lnTo>
                <a:lnTo>
                  <a:pt x="2002" y="430"/>
                </a:lnTo>
                <a:lnTo>
                  <a:pt x="1998" y="430"/>
                </a:lnTo>
                <a:lnTo>
                  <a:pt x="1998" y="430"/>
                </a:lnTo>
                <a:lnTo>
                  <a:pt x="1994" y="426"/>
                </a:lnTo>
                <a:lnTo>
                  <a:pt x="1988" y="422"/>
                </a:lnTo>
                <a:lnTo>
                  <a:pt x="1988" y="422"/>
                </a:lnTo>
                <a:lnTo>
                  <a:pt x="1984" y="422"/>
                </a:lnTo>
                <a:lnTo>
                  <a:pt x="1982" y="424"/>
                </a:lnTo>
                <a:lnTo>
                  <a:pt x="1982" y="426"/>
                </a:lnTo>
                <a:lnTo>
                  <a:pt x="1982" y="426"/>
                </a:lnTo>
                <a:lnTo>
                  <a:pt x="1978" y="426"/>
                </a:lnTo>
                <a:lnTo>
                  <a:pt x="1978" y="426"/>
                </a:lnTo>
                <a:lnTo>
                  <a:pt x="1976" y="428"/>
                </a:lnTo>
                <a:lnTo>
                  <a:pt x="1976" y="428"/>
                </a:lnTo>
                <a:lnTo>
                  <a:pt x="1976" y="428"/>
                </a:lnTo>
                <a:lnTo>
                  <a:pt x="1974" y="428"/>
                </a:lnTo>
                <a:lnTo>
                  <a:pt x="1974" y="428"/>
                </a:lnTo>
                <a:lnTo>
                  <a:pt x="1974" y="432"/>
                </a:lnTo>
                <a:lnTo>
                  <a:pt x="1966" y="442"/>
                </a:lnTo>
                <a:lnTo>
                  <a:pt x="1966" y="442"/>
                </a:lnTo>
                <a:lnTo>
                  <a:pt x="1962" y="444"/>
                </a:lnTo>
                <a:lnTo>
                  <a:pt x="1960" y="444"/>
                </a:lnTo>
                <a:lnTo>
                  <a:pt x="1958" y="442"/>
                </a:lnTo>
                <a:lnTo>
                  <a:pt x="1958" y="436"/>
                </a:lnTo>
                <a:lnTo>
                  <a:pt x="1958" y="436"/>
                </a:lnTo>
                <a:lnTo>
                  <a:pt x="1960" y="430"/>
                </a:lnTo>
                <a:lnTo>
                  <a:pt x="1962" y="426"/>
                </a:lnTo>
                <a:lnTo>
                  <a:pt x="1960" y="426"/>
                </a:lnTo>
                <a:lnTo>
                  <a:pt x="1960" y="426"/>
                </a:lnTo>
                <a:lnTo>
                  <a:pt x="1956" y="432"/>
                </a:lnTo>
                <a:lnTo>
                  <a:pt x="1956" y="432"/>
                </a:lnTo>
                <a:lnTo>
                  <a:pt x="1944" y="438"/>
                </a:lnTo>
                <a:lnTo>
                  <a:pt x="1944" y="438"/>
                </a:lnTo>
                <a:lnTo>
                  <a:pt x="1944" y="442"/>
                </a:lnTo>
                <a:lnTo>
                  <a:pt x="1944" y="442"/>
                </a:lnTo>
                <a:lnTo>
                  <a:pt x="1940" y="442"/>
                </a:lnTo>
                <a:lnTo>
                  <a:pt x="1940" y="442"/>
                </a:lnTo>
                <a:lnTo>
                  <a:pt x="1938" y="440"/>
                </a:lnTo>
                <a:lnTo>
                  <a:pt x="1938" y="440"/>
                </a:lnTo>
                <a:lnTo>
                  <a:pt x="1936" y="440"/>
                </a:lnTo>
                <a:lnTo>
                  <a:pt x="1932" y="440"/>
                </a:lnTo>
                <a:lnTo>
                  <a:pt x="1932" y="440"/>
                </a:lnTo>
                <a:lnTo>
                  <a:pt x="1930" y="438"/>
                </a:lnTo>
                <a:lnTo>
                  <a:pt x="1930" y="438"/>
                </a:lnTo>
                <a:lnTo>
                  <a:pt x="1928" y="438"/>
                </a:lnTo>
                <a:lnTo>
                  <a:pt x="1928" y="438"/>
                </a:lnTo>
                <a:lnTo>
                  <a:pt x="1926" y="444"/>
                </a:lnTo>
                <a:lnTo>
                  <a:pt x="1922" y="448"/>
                </a:lnTo>
                <a:lnTo>
                  <a:pt x="1922" y="448"/>
                </a:lnTo>
                <a:lnTo>
                  <a:pt x="1922" y="448"/>
                </a:lnTo>
                <a:lnTo>
                  <a:pt x="1922" y="450"/>
                </a:lnTo>
                <a:lnTo>
                  <a:pt x="1922" y="454"/>
                </a:lnTo>
                <a:lnTo>
                  <a:pt x="1922" y="454"/>
                </a:lnTo>
                <a:lnTo>
                  <a:pt x="1920" y="454"/>
                </a:lnTo>
                <a:lnTo>
                  <a:pt x="1920" y="454"/>
                </a:lnTo>
                <a:lnTo>
                  <a:pt x="1920" y="458"/>
                </a:lnTo>
                <a:lnTo>
                  <a:pt x="1920" y="458"/>
                </a:lnTo>
                <a:lnTo>
                  <a:pt x="1918" y="458"/>
                </a:lnTo>
                <a:lnTo>
                  <a:pt x="1916" y="458"/>
                </a:lnTo>
                <a:lnTo>
                  <a:pt x="1916" y="458"/>
                </a:lnTo>
                <a:lnTo>
                  <a:pt x="1916" y="462"/>
                </a:lnTo>
                <a:lnTo>
                  <a:pt x="1916" y="462"/>
                </a:lnTo>
                <a:lnTo>
                  <a:pt x="1912" y="464"/>
                </a:lnTo>
                <a:lnTo>
                  <a:pt x="1912" y="464"/>
                </a:lnTo>
                <a:lnTo>
                  <a:pt x="1908" y="468"/>
                </a:lnTo>
                <a:lnTo>
                  <a:pt x="1904" y="474"/>
                </a:lnTo>
                <a:lnTo>
                  <a:pt x="1904" y="478"/>
                </a:lnTo>
                <a:lnTo>
                  <a:pt x="1906" y="486"/>
                </a:lnTo>
                <a:lnTo>
                  <a:pt x="1906" y="486"/>
                </a:lnTo>
                <a:lnTo>
                  <a:pt x="1908" y="488"/>
                </a:lnTo>
                <a:lnTo>
                  <a:pt x="1908" y="486"/>
                </a:lnTo>
                <a:lnTo>
                  <a:pt x="1908" y="486"/>
                </a:lnTo>
                <a:lnTo>
                  <a:pt x="1918" y="488"/>
                </a:lnTo>
                <a:lnTo>
                  <a:pt x="1918" y="488"/>
                </a:lnTo>
                <a:lnTo>
                  <a:pt x="1918" y="492"/>
                </a:lnTo>
                <a:lnTo>
                  <a:pt x="1918" y="492"/>
                </a:lnTo>
                <a:lnTo>
                  <a:pt x="1916" y="498"/>
                </a:lnTo>
                <a:lnTo>
                  <a:pt x="1916" y="498"/>
                </a:lnTo>
                <a:lnTo>
                  <a:pt x="1912" y="500"/>
                </a:lnTo>
                <a:lnTo>
                  <a:pt x="1910" y="500"/>
                </a:lnTo>
                <a:lnTo>
                  <a:pt x="1910" y="500"/>
                </a:lnTo>
                <a:lnTo>
                  <a:pt x="1910" y="504"/>
                </a:lnTo>
                <a:lnTo>
                  <a:pt x="1910" y="508"/>
                </a:lnTo>
                <a:lnTo>
                  <a:pt x="1910" y="508"/>
                </a:lnTo>
                <a:lnTo>
                  <a:pt x="1908" y="510"/>
                </a:lnTo>
                <a:lnTo>
                  <a:pt x="1908" y="514"/>
                </a:lnTo>
                <a:lnTo>
                  <a:pt x="1908" y="514"/>
                </a:lnTo>
                <a:lnTo>
                  <a:pt x="1910" y="516"/>
                </a:lnTo>
                <a:lnTo>
                  <a:pt x="1912" y="518"/>
                </a:lnTo>
                <a:lnTo>
                  <a:pt x="1912" y="518"/>
                </a:lnTo>
                <a:lnTo>
                  <a:pt x="1912" y="522"/>
                </a:lnTo>
                <a:lnTo>
                  <a:pt x="1912" y="522"/>
                </a:lnTo>
                <a:lnTo>
                  <a:pt x="1920" y="522"/>
                </a:lnTo>
                <a:lnTo>
                  <a:pt x="1920" y="522"/>
                </a:lnTo>
                <a:lnTo>
                  <a:pt x="1920" y="528"/>
                </a:lnTo>
                <a:lnTo>
                  <a:pt x="1920" y="528"/>
                </a:lnTo>
                <a:lnTo>
                  <a:pt x="1918" y="532"/>
                </a:lnTo>
                <a:lnTo>
                  <a:pt x="1918" y="532"/>
                </a:lnTo>
                <a:lnTo>
                  <a:pt x="1914" y="530"/>
                </a:lnTo>
                <a:lnTo>
                  <a:pt x="1910" y="528"/>
                </a:lnTo>
                <a:lnTo>
                  <a:pt x="1910" y="528"/>
                </a:lnTo>
                <a:lnTo>
                  <a:pt x="1906" y="532"/>
                </a:lnTo>
                <a:lnTo>
                  <a:pt x="1906" y="532"/>
                </a:lnTo>
                <a:lnTo>
                  <a:pt x="1900" y="534"/>
                </a:lnTo>
                <a:lnTo>
                  <a:pt x="1900" y="534"/>
                </a:lnTo>
                <a:lnTo>
                  <a:pt x="1896" y="552"/>
                </a:lnTo>
                <a:lnTo>
                  <a:pt x="1896" y="552"/>
                </a:lnTo>
                <a:lnTo>
                  <a:pt x="1902" y="554"/>
                </a:lnTo>
                <a:lnTo>
                  <a:pt x="1904" y="558"/>
                </a:lnTo>
                <a:lnTo>
                  <a:pt x="1904" y="558"/>
                </a:lnTo>
                <a:lnTo>
                  <a:pt x="1904" y="562"/>
                </a:lnTo>
                <a:lnTo>
                  <a:pt x="1902" y="562"/>
                </a:lnTo>
                <a:lnTo>
                  <a:pt x="1902" y="562"/>
                </a:lnTo>
                <a:lnTo>
                  <a:pt x="1900" y="566"/>
                </a:lnTo>
                <a:lnTo>
                  <a:pt x="1898" y="568"/>
                </a:lnTo>
                <a:lnTo>
                  <a:pt x="1898" y="568"/>
                </a:lnTo>
                <a:lnTo>
                  <a:pt x="1894" y="568"/>
                </a:lnTo>
                <a:lnTo>
                  <a:pt x="1888" y="568"/>
                </a:lnTo>
                <a:lnTo>
                  <a:pt x="1884" y="568"/>
                </a:lnTo>
                <a:lnTo>
                  <a:pt x="1880" y="572"/>
                </a:lnTo>
                <a:lnTo>
                  <a:pt x="1880" y="572"/>
                </a:lnTo>
                <a:lnTo>
                  <a:pt x="1872" y="584"/>
                </a:lnTo>
                <a:lnTo>
                  <a:pt x="1872" y="584"/>
                </a:lnTo>
                <a:lnTo>
                  <a:pt x="1872" y="592"/>
                </a:lnTo>
                <a:lnTo>
                  <a:pt x="1872" y="598"/>
                </a:lnTo>
                <a:lnTo>
                  <a:pt x="1872" y="600"/>
                </a:lnTo>
                <a:lnTo>
                  <a:pt x="1872" y="600"/>
                </a:lnTo>
                <a:lnTo>
                  <a:pt x="1868" y="600"/>
                </a:lnTo>
                <a:lnTo>
                  <a:pt x="1864" y="600"/>
                </a:lnTo>
                <a:lnTo>
                  <a:pt x="1864" y="600"/>
                </a:lnTo>
                <a:lnTo>
                  <a:pt x="1862" y="602"/>
                </a:lnTo>
                <a:lnTo>
                  <a:pt x="1860" y="604"/>
                </a:lnTo>
                <a:lnTo>
                  <a:pt x="1860" y="604"/>
                </a:lnTo>
                <a:lnTo>
                  <a:pt x="1856" y="604"/>
                </a:lnTo>
                <a:lnTo>
                  <a:pt x="1856" y="604"/>
                </a:lnTo>
                <a:lnTo>
                  <a:pt x="1856" y="608"/>
                </a:lnTo>
                <a:lnTo>
                  <a:pt x="1856" y="612"/>
                </a:lnTo>
                <a:lnTo>
                  <a:pt x="1856" y="618"/>
                </a:lnTo>
                <a:lnTo>
                  <a:pt x="1856" y="622"/>
                </a:lnTo>
                <a:lnTo>
                  <a:pt x="1856" y="622"/>
                </a:lnTo>
                <a:lnTo>
                  <a:pt x="1836" y="638"/>
                </a:lnTo>
                <a:lnTo>
                  <a:pt x="1836" y="638"/>
                </a:lnTo>
                <a:lnTo>
                  <a:pt x="1834" y="638"/>
                </a:lnTo>
                <a:lnTo>
                  <a:pt x="1834" y="638"/>
                </a:lnTo>
                <a:lnTo>
                  <a:pt x="1834" y="634"/>
                </a:lnTo>
                <a:lnTo>
                  <a:pt x="1834" y="634"/>
                </a:lnTo>
                <a:lnTo>
                  <a:pt x="1830" y="630"/>
                </a:lnTo>
                <a:lnTo>
                  <a:pt x="1830" y="630"/>
                </a:lnTo>
                <a:lnTo>
                  <a:pt x="1830" y="624"/>
                </a:lnTo>
                <a:lnTo>
                  <a:pt x="1830" y="616"/>
                </a:lnTo>
                <a:lnTo>
                  <a:pt x="1830" y="616"/>
                </a:lnTo>
                <a:lnTo>
                  <a:pt x="1826" y="608"/>
                </a:lnTo>
                <a:lnTo>
                  <a:pt x="1826" y="608"/>
                </a:lnTo>
                <a:lnTo>
                  <a:pt x="1824" y="598"/>
                </a:lnTo>
                <a:lnTo>
                  <a:pt x="1824" y="598"/>
                </a:lnTo>
                <a:lnTo>
                  <a:pt x="1824" y="584"/>
                </a:lnTo>
                <a:lnTo>
                  <a:pt x="1824" y="572"/>
                </a:lnTo>
                <a:lnTo>
                  <a:pt x="1824" y="572"/>
                </a:lnTo>
                <a:lnTo>
                  <a:pt x="1822" y="566"/>
                </a:lnTo>
                <a:lnTo>
                  <a:pt x="1820" y="558"/>
                </a:lnTo>
                <a:lnTo>
                  <a:pt x="1820" y="558"/>
                </a:lnTo>
                <a:lnTo>
                  <a:pt x="1818" y="548"/>
                </a:lnTo>
                <a:lnTo>
                  <a:pt x="1818" y="536"/>
                </a:lnTo>
                <a:lnTo>
                  <a:pt x="1818" y="536"/>
                </a:lnTo>
                <a:lnTo>
                  <a:pt x="1822" y="528"/>
                </a:lnTo>
                <a:lnTo>
                  <a:pt x="1822" y="528"/>
                </a:lnTo>
                <a:lnTo>
                  <a:pt x="1822" y="522"/>
                </a:lnTo>
                <a:lnTo>
                  <a:pt x="1824" y="518"/>
                </a:lnTo>
                <a:lnTo>
                  <a:pt x="1824" y="518"/>
                </a:lnTo>
                <a:lnTo>
                  <a:pt x="1826" y="516"/>
                </a:lnTo>
                <a:lnTo>
                  <a:pt x="1826" y="516"/>
                </a:lnTo>
                <a:lnTo>
                  <a:pt x="1830" y="512"/>
                </a:lnTo>
                <a:lnTo>
                  <a:pt x="1836" y="512"/>
                </a:lnTo>
                <a:lnTo>
                  <a:pt x="1836" y="512"/>
                </a:lnTo>
                <a:lnTo>
                  <a:pt x="1838" y="494"/>
                </a:lnTo>
                <a:lnTo>
                  <a:pt x="1838" y="494"/>
                </a:lnTo>
                <a:lnTo>
                  <a:pt x="1834" y="492"/>
                </a:lnTo>
                <a:lnTo>
                  <a:pt x="1834" y="490"/>
                </a:lnTo>
                <a:lnTo>
                  <a:pt x="1834" y="490"/>
                </a:lnTo>
                <a:lnTo>
                  <a:pt x="1846" y="490"/>
                </a:lnTo>
                <a:lnTo>
                  <a:pt x="1846" y="490"/>
                </a:lnTo>
                <a:lnTo>
                  <a:pt x="1848" y="488"/>
                </a:lnTo>
                <a:lnTo>
                  <a:pt x="1852" y="484"/>
                </a:lnTo>
                <a:lnTo>
                  <a:pt x="1852" y="484"/>
                </a:lnTo>
                <a:lnTo>
                  <a:pt x="1854" y="484"/>
                </a:lnTo>
                <a:lnTo>
                  <a:pt x="1858" y="486"/>
                </a:lnTo>
                <a:lnTo>
                  <a:pt x="1858" y="486"/>
                </a:lnTo>
                <a:lnTo>
                  <a:pt x="1860" y="482"/>
                </a:lnTo>
                <a:lnTo>
                  <a:pt x="1862" y="480"/>
                </a:lnTo>
                <a:lnTo>
                  <a:pt x="1862" y="480"/>
                </a:lnTo>
                <a:lnTo>
                  <a:pt x="1868" y="474"/>
                </a:lnTo>
                <a:lnTo>
                  <a:pt x="1874" y="468"/>
                </a:lnTo>
                <a:lnTo>
                  <a:pt x="1874" y="468"/>
                </a:lnTo>
                <a:lnTo>
                  <a:pt x="1874" y="466"/>
                </a:lnTo>
                <a:lnTo>
                  <a:pt x="1874" y="466"/>
                </a:lnTo>
                <a:lnTo>
                  <a:pt x="1878" y="460"/>
                </a:lnTo>
                <a:lnTo>
                  <a:pt x="1878" y="460"/>
                </a:lnTo>
                <a:lnTo>
                  <a:pt x="1884" y="458"/>
                </a:lnTo>
                <a:lnTo>
                  <a:pt x="1884" y="458"/>
                </a:lnTo>
                <a:lnTo>
                  <a:pt x="1886" y="454"/>
                </a:lnTo>
                <a:lnTo>
                  <a:pt x="1886" y="452"/>
                </a:lnTo>
                <a:lnTo>
                  <a:pt x="1886" y="452"/>
                </a:lnTo>
                <a:lnTo>
                  <a:pt x="1892" y="450"/>
                </a:lnTo>
                <a:lnTo>
                  <a:pt x="1896" y="442"/>
                </a:lnTo>
                <a:lnTo>
                  <a:pt x="1896" y="442"/>
                </a:lnTo>
                <a:lnTo>
                  <a:pt x="1896" y="438"/>
                </a:lnTo>
                <a:lnTo>
                  <a:pt x="1896" y="438"/>
                </a:lnTo>
                <a:lnTo>
                  <a:pt x="1902" y="436"/>
                </a:lnTo>
                <a:lnTo>
                  <a:pt x="1902" y="428"/>
                </a:lnTo>
                <a:lnTo>
                  <a:pt x="1902" y="428"/>
                </a:lnTo>
                <a:lnTo>
                  <a:pt x="1904" y="426"/>
                </a:lnTo>
                <a:lnTo>
                  <a:pt x="1904" y="426"/>
                </a:lnTo>
                <a:lnTo>
                  <a:pt x="1910" y="426"/>
                </a:lnTo>
                <a:lnTo>
                  <a:pt x="1910" y="426"/>
                </a:lnTo>
                <a:lnTo>
                  <a:pt x="1914" y="422"/>
                </a:lnTo>
                <a:lnTo>
                  <a:pt x="1914" y="422"/>
                </a:lnTo>
                <a:lnTo>
                  <a:pt x="1920" y="422"/>
                </a:lnTo>
                <a:lnTo>
                  <a:pt x="1928" y="422"/>
                </a:lnTo>
                <a:lnTo>
                  <a:pt x="1928" y="422"/>
                </a:lnTo>
                <a:lnTo>
                  <a:pt x="1928" y="418"/>
                </a:lnTo>
                <a:lnTo>
                  <a:pt x="1932" y="418"/>
                </a:lnTo>
                <a:lnTo>
                  <a:pt x="1932" y="418"/>
                </a:lnTo>
                <a:lnTo>
                  <a:pt x="1930" y="412"/>
                </a:lnTo>
                <a:lnTo>
                  <a:pt x="1932" y="406"/>
                </a:lnTo>
                <a:lnTo>
                  <a:pt x="1932" y="406"/>
                </a:lnTo>
                <a:lnTo>
                  <a:pt x="1934" y="402"/>
                </a:lnTo>
                <a:lnTo>
                  <a:pt x="1934" y="402"/>
                </a:lnTo>
                <a:lnTo>
                  <a:pt x="1934" y="398"/>
                </a:lnTo>
                <a:lnTo>
                  <a:pt x="1932" y="394"/>
                </a:lnTo>
                <a:lnTo>
                  <a:pt x="1932" y="392"/>
                </a:lnTo>
                <a:lnTo>
                  <a:pt x="1932" y="392"/>
                </a:lnTo>
                <a:lnTo>
                  <a:pt x="1936" y="390"/>
                </a:lnTo>
                <a:lnTo>
                  <a:pt x="1936" y="390"/>
                </a:lnTo>
                <a:lnTo>
                  <a:pt x="1940" y="386"/>
                </a:lnTo>
                <a:lnTo>
                  <a:pt x="1946" y="388"/>
                </a:lnTo>
                <a:lnTo>
                  <a:pt x="1946" y="388"/>
                </a:lnTo>
                <a:lnTo>
                  <a:pt x="1950" y="386"/>
                </a:lnTo>
                <a:lnTo>
                  <a:pt x="1950" y="386"/>
                </a:lnTo>
                <a:lnTo>
                  <a:pt x="1944" y="382"/>
                </a:lnTo>
                <a:lnTo>
                  <a:pt x="1940" y="380"/>
                </a:lnTo>
                <a:lnTo>
                  <a:pt x="1936" y="380"/>
                </a:lnTo>
                <a:lnTo>
                  <a:pt x="1936" y="380"/>
                </a:lnTo>
                <a:lnTo>
                  <a:pt x="1930" y="382"/>
                </a:lnTo>
                <a:lnTo>
                  <a:pt x="1930" y="382"/>
                </a:lnTo>
                <a:lnTo>
                  <a:pt x="1926" y="384"/>
                </a:lnTo>
                <a:lnTo>
                  <a:pt x="1926" y="384"/>
                </a:lnTo>
                <a:lnTo>
                  <a:pt x="1926" y="388"/>
                </a:lnTo>
                <a:lnTo>
                  <a:pt x="1926" y="388"/>
                </a:lnTo>
                <a:lnTo>
                  <a:pt x="1924" y="390"/>
                </a:lnTo>
                <a:lnTo>
                  <a:pt x="1922" y="390"/>
                </a:lnTo>
                <a:lnTo>
                  <a:pt x="1922" y="390"/>
                </a:lnTo>
                <a:lnTo>
                  <a:pt x="1924" y="400"/>
                </a:lnTo>
                <a:lnTo>
                  <a:pt x="1924" y="400"/>
                </a:lnTo>
                <a:lnTo>
                  <a:pt x="1924" y="400"/>
                </a:lnTo>
                <a:lnTo>
                  <a:pt x="1926" y="400"/>
                </a:lnTo>
                <a:lnTo>
                  <a:pt x="1926" y="402"/>
                </a:lnTo>
                <a:lnTo>
                  <a:pt x="1926" y="402"/>
                </a:lnTo>
                <a:lnTo>
                  <a:pt x="1920" y="404"/>
                </a:lnTo>
                <a:lnTo>
                  <a:pt x="1918" y="404"/>
                </a:lnTo>
                <a:lnTo>
                  <a:pt x="1918" y="402"/>
                </a:lnTo>
                <a:lnTo>
                  <a:pt x="1914" y="400"/>
                </a:lnTo>
                <a:lnTo>
                  <a:pt x="1914" y="400"/>
                </a:lnTo>
                <a:lnTo>
                  <a:pt x="1910" y="402"/>
                </a:lnTo>
                <a:lnTo>
                  <a:pt x="1906" y="404"/>
                </a:lnTo>
                <a:lnTo>
                  <a:pt x="1900" y="408"/>
                </a:lnTo>
                <a:lnTo>
                  <a:pt x="1900" y="408"/>
                </a:lnTo>
                <a:lnTo>
                  <a:pt x="1900" y="412"/>
                </a:lnTo>
                <a:lnTo>
                  <a:pt x="1898" y="414"/>
                </a:lnTo>
                <a:lnTo>
                  <a:pt x="1898" y="414"/>
                </a:lnTo>
                <a:lnTo>
                  <a:pt x="1896" y="414"/>
                </a:lnTo>
                <a:lnTo>
                  <a:pt x="1896" y="414"/>
                </a:lnTo>
                <a:lnTo>
                  <a:pt x="1896" y="414"/>
                </a:lnTo>
                <a:lnTo>
                  <a:pt x="1896" y="418"/>
                </a:lnTo>
                <a:lnTo>
                  <a:pt x="1896" y="418"/>
                </a:lnTo>
                <a:lnTo>
                  <a:pt x="1890" y="420"/>
                </a:lnTo>
                <a:lnTo>
                  <a:pt x="1890" y="420"/>
                </a:lnTo>
                <a:lnTo>
                  <a:pt x="1884" y="428"/>
                </a:lnTo>
                <a:lnTo>
                  <a:pt x="1882" y="426"/>
                </a:lnTo>
                <a:lnTo>
                  <a:pt x="1882" y="426"/>
                </a:lnTo>
                <a:lnTo>
                  <a:pt x="1882" y="422"/>
                </a:lnTo>
                <a:lnTo>
                  <a:pt x="1882" y="422"/>
                </a:lnTo>
                <a:lnTo>
                  <a:pt x="1882" y="422"/>
                </a:lnTo>
                <a:lnTo>
                  <a:pt x="1884" y="422"/>
                </a:lnTo>
                <a:lnTo>
                  <a:pt x="1884" y="422"/>
                </a:lnTo>
                <a:lnTo>
                  <a:pt x="1884" y="418"/>
                </a:lnTo>
                <a:lnTo>
                  <a:pt x="1886" y="418"/>
                </a:lnTo>
                <a:lnTo>
                  <a:pt x="1886" y="418"/>
                </a:lnTo>
                <a:lnTo>
                  <a:pt x="1886" y="416"/>
                </a:lnTo>
                <a:lnTo>
                  <a:pt x="1884" y="416"/>
                </a:lnTo>
                <a:lnTo>
                  <a:pt x="1882" y="420"/>
                </a:lnTo>
                <a:lnTo>
                  <a:pt x="1882" y="420"/>
                </a:lnTo>
                <a:lnTo>
                  <a:pt x="1876" y="420"/>
                </a:lnTo>
                <a:lnTo>
                  <a:pt x="1876" y="420"/>
                </a:lnTo>
                <a:lnTo>
                  <a:pt x="1878" y="414"/>
                </a:lnTo>
                <a:lnTo>
                  <a:pt x="1880" y="408"/>
                </a:lnTo>
                <a:lnTo>
                  <a:pt x="1880" y="408"/>
                </a:lnTo>
                <a:lnTo>
                  <a:pt x="1882" y="408"/>
                </a:lnTo>
                <a:lnTo>
                  <a:pt x="1884" y="408"/>
                </a:lnTo>
                <a:lnTo>
                  <a:pt x="1884" y="408"/>
                </a:lnTo>
                <a:lnTo>
                  <a:pt x="1884" y="398"/>
                </a:lnTo>
                <a:lnTo>
                  <a:pt x="1884" y="398"/>
                </a:lnTo>
                <a:lnTo>
                  <a:pt x="1876" y="404"/>
                </a:lnTo>
                <a:lnTo>
                  <a:pt x="1876" y="404"/>
                </a:lnTo>
                <a:lnTo>
                  <a:pt x="1876" y="404"/>
                </a:lnTo>
                <a:lnTo>
                  <a:pt x="1872" y="404"/>
                </a:lnTo>
                <a:lnTo>
                  <a:pt x="1872" y="404"/>
                </a:lnTo>
                <a:lnTo>
                  <a:pt x="1870" y="402"/>
                </a:lnTo>
                <a:lnTo>
                  <a:pt x="1866" y="398"/>
                </a:lnTo>
                <a:lnTo>
                  <a:pt x="1866" y="398"/>
                </a:lnTo>
                <a:lnTo>
                  <a:pt x="1860" y="398"/>
                </a:lnTo>
                <a:lnTo>
                  <a:pt x="1856" y="400"/>
                </a:lnTo>
                <a:lnTo>
                  <a:pt x="1856" y="400"/>
                </a:lnTo>
                <a:lnTo>
                  <a:pt x="1848" y="400"/>
                </a:lnTo>
                <a:lnTo>
                  <a:pt x="1842" y="402"/>
                </a:lnTo>
                <a:lnTo>
                  <a:pt x="1842" y="402"/>
                </a:lnTo>
                <a:lnTo>
                  <a:pt x="1840" y="404"/>
                </a:lnTo>
                <a:lnTo>
                  <a:pt x="1838" y="406"/>
                </a:lnTo>
                <a:lnTo>
                  <a:pt x="1838" y="406"/>
                </a:lnTo>
                <a:lnTo>
                  <a:pt x="1836" y="404"/>
                </a:lnTo>
                <a:lnTo>
                  <a:pt x="1834" y="404"/>
                </a:lnTo>
                <a:lnTo>
                  <a:pt x="1834" y="404"/>
                </a:lnTo>
                <a:lnTo>
                  <a:pt x="1834" y="408"/>
                </a:lnTo>
                <a:lnTo>
                  <a:pt x="1832" y="412"/>
                </a:lnTo>
                <a:lnTo>
                  <a:pt x="1828" y="414"/>
                </a:lnTo>
                <a:lnTo>
                  <a:pt x="1826" y="414"/>
                </a:lnTo>
                <a:lnTo>
                  <a:pt x="1826" y="414"/>
                </a:lnTo>
                <a:lnTo>
                  <a:pt x="1826" y="414"/>
                </a:lnTo>
                <a:lnTo>
                  <a:pt x="1826" y="416"/>
                </a:lnTo>
                <a:lnTo>
                  <a:pt x="1828" y="420"/>
                </a:lnTo>
                <a:lnTo>
                  <a:pt x="1824" y="420"/>
                </a:lnTo>
                <a:lnTo>
                  <a:pt x="1824" y="420"/>
                </a:lnTo>
                <a:lnTo>
                  <a:pt x="1824" y="424"/>
                </a:lnTo>
                <a:lnTo>
                  <a:pt x="1824" y="424"/>
                </a:lnTo>
                <a:lnTo>
                  <a:pt x="1820" y="424"/>
                </a:lnTo>
                <a:lnTo>
                  <a:pt x="1818" y="424"/>
                </a:lnTo>
                <a:lnTo>
                  <a:pt x="1818" y="424"/>
                </a:lnTo>
                <a:lnTo>
                  <a:pt x="1814" y="428"/>
                </a:lnTo>
                <a:lnTo>
                  <a:pt x="1814" y="428"/>
                </a:lnTo>
                <a:lnTo>
                  <a:pt x="1808" y="430"/>
                </a:lnTo>
                <a:lnTo>
                  <a:pt x="1808" y="430"/>
                </a:lnTo>
                <a:lnTo>
                  <a:pt x="1806" y="432"/>
                </a:lnTo>
                <a:lnTo>
                  <a:pt x="1806" y="434"/>
                </a:lnTo>
                <a:lnTo>
                  <a:pt x="1804" y="440"/>
                </a:lnTo>
                <a:lnTo>
                  <a:pt x="1804" y="440"/>
                </a:lnTo>
                <a:lnTo>
                  <a:pt x="1800" y="440"/>
                </a:lnTo>
                <a:lnTo>
                  <a:pt x="1800" y="440"/>
                </a:lnTo>
                <a:lnTo>
                  <a:pt x="1800" y="442"/>
                </a:lnTo>
                <a:lnTo>
                  <a:pt x="1800" y="446"/>
                </a:lnTo>
                <a:lnTo>
                  <a:pt x="1798" y="452"/>
                </a:lnTo>
                <a:lnTo>
                  <a:pt x="1798" y="452"/>
                </a:lnTo>
                <a:lnTo>
                  <a:pt x="1800" y="452"/>
                </a:lnTo>
                <a:lnTo>
                  <a:pt x="1802" y="454"/>
                </a:lnTo>
                <a:lnTo>
                  <a:pt x="1802" y="454"/>
                </a:lnTo>
                <a:lnTo>
                  <a:pt x="1806" y="450"/>
                </a:lnTo>
                <a:lnTo>
                  <a:pt x="1806" y="450"/>
                </a:lnTo>
                <a:lnTo>
                  <a:pt x="1812" y="452"/>
                </a:lnTo>
                <a:lnTo>
                  <a:pt x="1814" y="452"/>
                </a:lnTo>
                <a:lnTo>
                  <a:pt x="1814" y="452"/>
                </a:lnTo>
                <a:lnTo>
                  <a:pt x="1814" y="458"/>
                </a:lnTo>
                <a:lnTo>
                  <a:pt x="1814" y="458"/>
                </a:lnTo>
                <a:lnTo>
                  <a:pt x="1806" y="460"/>
                </a:lnTo>
                <a:lnTo>
                  <a:pt x="1800" y="462"/>
                </a:lnTo>
                <a:lnTo>
                  <a:pt x="1800" y="462"/>
                </a:lnTo>
                <a:lnTo>
                  <a:pt x="1800" y="460"/>
                </a:lnTo>
                <a:lnTo>
                  <a:pt x="1798" y="458"/>
                </a:lnTo>
                <a:lnTo>
                  <a:pt x="1798" y="458"/>
                </a:lnTo>
                <a:lnTo>
                  <a:pt x="1796" y="458"/>
                </a:lnTo>
                <a:lnTo>
                  <a:pt x="1796" y="458"/>
                </a:lnTo>
                <a:lnTo>
                  <a:pt x="1794" y="460"/>
                </a:lnTo>
                <a:lnTo>
                  <a:pt x="1794" y="460"/>
                </a:lnTo>
                <a:lnTo>
                  <a:pt x="1790" y="462"/>
                </a:lnTo>
                <a:lnTo>
                  <a:pt x="1790" y="462"/>
                </a:lnTo>
                <a:lnTo>
                  <a:pt x="1788" y="466"/>
                </a:lnTo>
                <a:lnTo>
                  <a:pt x="1788" y="466"/>
                </a:lnTo>
                <a:lnTo>
                  <a:pt x="1780" y="462"/>
                </a:lnTo>
                <a:lnTo>
                  <a:pt x="1778" y="468"/>
                </a:lnTo>
                <a:lnTo>
                  <a:pt x="1778" y="468"/>
                </a:lnTo>
                <a:lnTo>
                  <a:pt x="1770" y="468"/>
                </a:lnTo>
                <a:lnTo>
                  <a:pt x="1766" y="468"/>
                </a:lnTo>
                <a:lnTo>
                  <a:pt x="1764" y="464"/>
                </a:lnTo>
                <a:lnTo>
                  <a:pt x="1762" y="458"/>
                </a:lnTo>
                <a:lnTo>
                  <a:pt x="1762" y="458"/>
                </a:lnTo>
                <a:lnTo>
                  <a:pt x="1770" y="458"/>
                </a:lnTo>
                <a:lnTo>
                  <a:pt x="1776" y="458"/>
                </a:lnTo>
                <a:lnTo>
                  <a:pt x="1778" y="454"/>
                </a:lnTo>
                <a:lnTo>
                  <a:pt x="1778" y="454"/>
                </a:lnTo>
                <a:lnTo>
                  <a:pt x="1774" y="452"/>
                </a:lnTo>
                <a:lnTo>
                  <a:pt x="1770" y="448"/>
                </a:lnTo>
                <a:lnTo>
                  <a:pt x="1770" y="448"/>
                </a:lnTo>
                <a:lnTo>
                  <a:pt x="1768" y="444"/>
                </a:lnTo>
                <a:lnTo>
                  <a:pt x="1768" y="444"/>
                </a:lnTo>
                <a:lnTo>
                  <a:pt x="1762" y="446"/>
                </a:lnTo>
                <a:lnTo>
                  <a:pt x="1762" y="446"/>
                </a:lnTo>
                <a:lnTo>
                  <a:pt x="1762" y="448"/>
                </a:lnTo>
                <a:lnTo>
                  <a:pt x="1760" y="450"/>
                </a:lnTo>
                <a:lnTo>
                  <a:pt x="1760" y="450"/>
                </a:lnTo>
                <a:lnTo>
                  <a:pt x="1758" y="448"/>
                </a:lnTo>
                <a:lnTo>
                  <a:pt x="1758" y="448"/>
                </a:lnTo>
                <a:lnTo>
                  <a:pt x="1758" y="448"/>
                </a:lnTo>
                <a:lnTo>
                  <a:pt x="1758" y="448"/>
                </a:lnTo>
                <a:lnTo>
                  <a:pt x="1756" y="448"/>
                </a:lnTo>
                <a:lnTo>
                  <a:pt x="1756" y="446"/>
                </a:lnTo>
                <a:lnTo>
                  <a:pt x="1756" y="446"/>
                </a:lnTo>
                <a:lnTo>
                  <a:pt x="1752" y="446"/>
                </a:lnTo>
                <a:lnTo>
                  <a:pt x="1746" y="448"/>
                </a:lnTo>
                <a:lnTo>
                  <a:pt x="1746" y="448"/>
                </a:lnTo>
                <a:lnTo>
                  <a:pt x="1740" y="444"/>
                </a:lnTo>
                <a:lnTo>
                  <a:pt x="1736" y="444"/>
                </a:lnTo>
                <a:lnTo>
                  <a:pt x="1732" y="446"/>
                </a:lnTo>
                <a:lnTo>
                  <a:pt x="1732" y="446"/>
                </a:lnTo>
                <a:lnTo>
                  <a:pt x="1732" y="448"/>
                </a:lnTo>
                <a:lnTo>
                  <a:pt x="1734" y="452"/>
                </a:lnTo>
                <a:lnTo>
                  <a:pt x="1734" y="452"/>
                </a:lnTo>
                <a:lnTo>
                  <a:pt x="1732" y="452"/>
                </a:lnTo>
                <a:lnTo>
                  <a:pt x="1732" y="454"/>
                </a:lnTo>
                <a:lnTo>
                  <a:pt x="1732" y="454"/>
                </a:lnTo>
                <a:lnTo>
                  <a:pt x="1734" y="454"/>
                </a:lnTo>
                <a:lnTo>
                  <a:pt x="1734" y="456"/>
                </a:lnTo>
                <a:lnTo>
                  <a:pt x="1732" y="458"/>
                </a:lnTo>
                <a:lnTo>
                  <a:pt x="1730" y="458"/>
                </a:lnTo>
                <a:lnTo>
                  <a:pt x="1730" y="458"/>
                </a:lnTo>
                <a:lnTo>
                  <a:pt x="1728" y="458"/>
                </a:lnTo>
                <a:lnTo>
                  <a:pt x="1728" y="456"/>
                </a:lnTo>
                <a:lnTo>
                  <a:pt x="1726" y="454"/>
                </a:lnTo>
                <a:lnTo>
                  <a:pt x="1726" y="454"/>
                </a:lnTo>
                <a:lnTo>
                  <a:pt x="1724" y="454"/>
                </a:lnTo>
                <a:lnTo>
                  <a:pt x="1722" y="454"/>
                </a:lnTo>
                <a:lnTo>
                  <a:pt x="1718" y="456"/>
                </a:lnTo>
                <a:lnTo>
                  <a:pt x="1718" y="456"/>
                </a:lnTo>
                <a:lnTo>
                  <a:pt x="1710" y="456"/>
                </a:lnTo>
                <a:lnTo>
                  <a:pt x="1704" y="452"/>
                </a:lnTo>
                <a:lnTo>
                  <a:pt x="1704" y="450"/>
                </a:lnTo>
                <a:lnTo>
                  <a:pt x="1704" y="450"/>
                </a:lnTo>
                <a:lnTo>
                  <a:pt x="1700" y="450"/>
                </a:lnTo>
                <a:lnTo>
                  <a:pt x="1698" y="456"/>
                </a:lnTo>
                <a:lnTo>
                  <a:pt x="1698" y="456"/>
                </a:lnTo>
                <a:lnTo>
                  <a:pt x="1696" y="458"/>
                </a:lnTo>
                <a:lnTo>
                  <a:pt x="1692" y="458"/>
                </a:lnTo>
                <a:lnTo>
                  <a:pt x="1692" y="456"/>
                </a:lnTo>
                <a:lnTo>
                  <a:pt x="1692" y="456"/>
                </a:lnTo>
                <a:lnTo>
                  <a:pt x="1692" y="450"/>
                </a:lnTo>
                <a:lnTo>
                  <a:pt x="1692" y="450"/>
                </a:lnTo>
                <a:lnTo>
                  <a:pt x="1684" y="448"/>
                </a:lnTo>
                <a:lnTo>
                  <a:pt x="1676" y="446"/>
                </a:lnTo>
                <a:lnTo>
                  <a:pt x="1656" y="450"/>
                </a:lnTo>
                <a:lnTo>
                  <a:pt x="1656" y="450"/>
                </a:lnTo>
                <a:lnTo>
                  <a:pt x="1658" y="446"/>
                </a:lnTo>
                <a:lnTo>
                  <a:pt x="1658" y="446"/>
                </a:lnTo>
                <a:lnTo>
                  <a:pt x="1656" y="444"/>
                </a:lnTo>
                <a:lnTo>
                  <a:pt x="1656" y="446"/>
                </a:lnTo>
                <a:lnTo>
                  <a:pt x="1656" y="446"/>
                </a:lnTo>
                <a:lnTo>
                  <a:pt x="1652" y="444"/>
                </a:lnTo>
                <a:lnTo>
                  <a:pt x="1650" y="444"/>
                </a:lnTo>
                <a:lnTo>
                  <a:pt x="1650" y="444"/>
                </a:lnTo>
                <a:lnTo>
                  <a:pt x="1650" y="450"/>
                </a:lnTo>
                <a:lnTo>
                  <a:pt x="1650" y="450"/>
                </a:lnTo>
                <a:lnTo>
                  <a:pt x="1646" y="450"/>
                </a:lnTo>
                <a:lnTo>
                  <a:pt x="1642" y="452"/>
                </a:lnTo>
                <a:lnTo>
                  <a:pt x="1642" y="452"/>
                </a:lnTo>
                <a:lnTo>
                  <a:pt x="1640" y="454"/>
                </a:lnTo>
                <a:lnTo>
                  <a:pt x="1636" y="458"/>
                </a:lnTo>
                <a:lnTo>
                  <a:pt x="1636" y="458"/>
                </a:lnTo>
                <a:lnTo>
                  <a:pt x="1634" y="456"/>
                </a:lnTo>
                <a:lnTo>
                  <a:pt x="1632" y="456"/>
                </a:lnTo>
                <a:lnTo>
                  <a:pt x="1632" y="456"/>
                </a:lnTo>
                <a:lnTo>
                  <a:pt x="1632" y="458"/>
                </a:lnTo>
                <a:lnTo>
                  <a:pt x="1632" y="462"/>
                </a:lnTo>
                <a:lnTo>
                  <a:pt x="1632" y="462"/>
                </a:lnTo>
                <a:lnTo>
                  <a:pt x="1630" y="464"/>
                </a:lnTo>
                <a:lnTo>
                  <a:pt x="1626" y="466"/>
                </a:lnTo>
                <a:lnTo>
                  <a:pt x="1626" y="466"/>
                </a:lnTo>
                <a:lnTo>
                  <a:pt x="1622" y="476"/>
                </a:lnTo>
                <a:lnTo>
                  <a:pt x="1618" y="488"/>
                </a:lnTo>
                <a:lnTo>
                  <a:pt x="1618" y="488"/>
                </a:lnTo>
                <a:lnTo>
                  <a:pt x="1610" y="490"/>
                </a:lnTo>
                <a:lnTo>
                  <a:pt x="1610" y="490"/>
                </a:lnTo>
                <a:lnTo>
                  <a:pt x="1608" y="494"/>
                </a:lnTo>
                <a:lnTo>
                  <a:pt x="1608" y="496"/>
                </a:lnTo>
                <a:lnTo>
                  <a:pt x="1608" y="496"/>
                </a:lnTo>
                <a:lnTo>
                  <a:pt x="1606" y="496"/>
                </a:lnTo>
                <a:lnTo>
                  <a:pt x="1606" y="496"/>
                </a:lnTo>
                <a:lnTo>
                  <a:pt x="1602" y="500"/>
                </a:lnTo>
                <a:lnTo>
                  <a:pt x="1602" y="500"/>
                </a:lnTo>
                <a:lnTo>
                  <a:pt x="1596" y="502"/>
                </a:lnTo>
                <a:lnTo>
                  <a:pt x="1596" y="502"/>
                </a:lnTo>
                <a:lnTo>
                  <a:pt x="1596" y="504"/>
                </a:lnTo>
                <a:lnTo>
                  <a:pt x="1594" y="504"/>
                </a:lnTo>
                <a:lnTo>
                  <a:pt x="1594" y="504"/>
                </a:lnTo>
                <a:lnTo>
                  <a:pt x="1592" y="508"/>
                </a:lnTo>
                <a:lnTo>
                  <a:pt x="1590" y="510"/>
                </a:lnTo>
                <a:lnTo>
                  <a:pt x="1590" y="510"/>
                </a:lnTo>
                <a:lnTo>
                  <a:pt x="1588" y="510"/>
                </a:lnTo>
                <a:lnTo>
                  <a:pt x="1588" y="508"/>
                </a:lnTo>
                <a:lnTo>
                  <a:pt x="1588" y="508"/>
                </a:lnTo>
                <a:lnTo>
                  <a:pt x="1586" y="510"/>
                </a:lnTo>
                <a:lnTo>
                  <a:pt x="1586" y="510"/>
                </a:lnTo>
                <a:lnTo>
                  <a:pt x="1586" y="512"/>
                </a:lnTo>
                <a:lnTo>
                  <a:pt x="1586" y="514"/>
                </a:lnTo>
                <a:lnTo>
                  <a:pt x="1586" y="514"/>
                </a:lnTo>
                <a:lnTo>
                  <a:pt x="1584" y="518"/>
                </a:lnTo>
                <a:lnTo>
                  <a:pt x="1584" y="518"/>
                </a:lnTo>
                <a:lnTo>
                  <a:pt x="1584" y="524"/>
                </a:lnTo>
                <a:lnTo>
                  <a:pt x="1584" y="524"/>
                </a:lnTo>
                <a:lnTo>
                  <a:pt x="1580" y="526"/>
                </a:lnTo>
                <a:lnTo>
                  <a:pt x="1576" y="528"/>
                </a:lnTo>
                <a:lnTo>
                  <a:pt x="1576" y="528"/>
                </a:lnTo>
                <a:lnTo>
                  <a:pt x="1576" y="530"/>
                </a:lnTo>
                <a:lnTo>
                  <a:pt x="1576" y="532"/>
                </a:lnTo>
                <a:lnTo>
                  <a:pt x="1576" y="532"/>
                </a:lnTo>
                <a:lnTo>
                  <a:pt x="1572" y="534"/>
                </a:lnTo>
                <a:lnTo>
                  <a:pt x="1572" y="534"/>
                </a:lnTo>
                <a:lnTo>
                  <a:pt x="1568" y="538"/>
                </a:lnTo>
                <a:lnTo>
                  <a:pt x="1564" y="542"/>
                </a:lnTo>
                <a:lnTo>
                  <a:pt x="1564" y="542"/>
                </a:lnTo>
                <a:lnTo>
                  <a:pt x="1560" y="544"/>
                </a:lnTo>
                <a:lnTo>
                  <a:pt x="1560" y="544"/>
                </a:lnTo>
                <a:lnTo>
                  <a:pt x="1556" y="548"/>
                </a:lnTo>
                <a:lnTo>
                  <a:pt x="1554" y="552"/>
                </a:lnTo>
                <a:lnTo>
                  <a:pt x="1554" y="552"/>
                </a:lnTo>
                <a:lnTo>
                  <a:pt x="1550" y="554"/>
                </a:lnTo>
                <a:lnTo>
                  <a:pt x="1550" y="554"/>
                </a:lnTo>
                <a:lnTo>
                  <a:pt x="1546" y="558"/>
                </a:lnTo>
                <a:lnTo>
                  <a:pt x="1544" y="566"/>
                </a:lnTo>
                <a:lnTo>
                  <a:pt x="1544" y="566"/>
                </a:lnTo>
                <a:lnTo>
                  <a:pt x="1554" y="566"/>
                </a:lnTo>
                <a:lnTo>
                  <a:pt x="1564" y="566"/>
                </a:lnTo>
                <a:lnTo>
                  <a:pt x="1564" y="566"/>
                </a:lnTo>
                <a:lnTo>
                  <a:pt x="1564" y="586"/>
                </a:lnTo>
                <a:lnTo>
                  <a:pt x="1564" y="586"/>
                </a:lnTo>
                <a:lnTo>
                  <a:pt x="1568" y="586"/>
                </a:lnTo>
                <a:lnTo>
                  <a:pt x="1568" y="586"/>
                </a:lnTo>
                <a:lnTo>
                  <a:pt x="1570" y="578"/>
                </a:lnTo>
                <a:lnTo>
                  <a:pt x="1570" y="578"/>
                </a:lnTo>
                <a:lnTo>
                  <a:pt x="1574" y="582"/>
                </a:lnTo>
                <a:lnTo>
                  <a:pt x="1576" y="584"/>
                </a:lnTo>
                <a:lnTo>
                  <a:pt x="1572" y="592"/>
                </a:lnTo>
                <a:lnTo>
                  <a:pt x="1572" y="592"/>
                </a:lnTo>
                <a:lnTo>
                  <a:pt x="1576" y="592"/>
                </a:lnTo>
                <a:lnTo>
                  <a:pt x="1576" y="592"/>
                </a:lnTo>
                <a:lnTo>
                  <a:pt x="1580" y="588"/>
                </a:lnTo>
                <a:lnTo>
                  <a:pt x="1582" y="584"/>
                </a:lnTo>
                <a:lnTo>
                  <a:pt x="1582" y="584"/>
                </a:lnTo>
                <a:lnTo>
                  <a:pt x="1588" y="586"/>
                </a:lnTo>
                <a:lnTo>
                  <a:pt x="1588" y="586"/>
                </a:lnTo>
                <a:lnTo>
                  <a:pt x="1588" y="576"/>
                </a:lnTo>
                <a:lnTo>
                  <a:pt x="1588" y="576"/>
                </a:lnTo>
                <a:lnTo>
                  <a:pt x="1594" y="578"/>
                </a:lnTo>
                <a:lnTo>
                  <a:pt x="1600" y="578"/>
                </a:lnTo>
                <a:lnTo>
                  <a:pt x="1600" y="578"/>
                </a:lnTo>
                <a:lnTo>
                  <a:pt x="1602" y="582"/>
                </a:lnTo>
                <a:lnTo>
                  <a:pt x="1602" y="582"/>
                </a:lnTo>
                <a:lnTo>
                  <a:pt x="1610" y="584"/>
                </a:lnTo>
                <a:lnTo>
                  <a:pt x="1610" y="584"/>
                </a:lnTo>
                <a:lnTo>
                  <a:pt x="1610" y="586"/>
                </a:lnTo>
                <a:lnTo>
                  <a:pt x="1610" y="590"/>
                </a:lnTo>
                <a:lnTo>
                  <a:pt x="1618" y="596"/>
                </a:lnTo>
                <a:lnTo>
                  <a:pt x="1618" y="596"/>
                </a:lnTo>
                <a:lnTo>
                  <a:pt x="1620" y="594"/>
                </a:lnTo>
                <a:lnTo>
                  <a:pt x="1620" y="594"/>
                </a:lnTo>
                <a:lnTo>
                  <a:pt x="1620" y="598"/>
                </a:lnTo>
                <a:lnTo>
                  <a:pt x="1620" y="598"/>
                </a:lnTo>
                <a:lnTo>
                  <a:pt x="1628" y="600"/>
                </a:lnTo>
                <a:lnTo>
                  <a:pt x="1628" y="600"/>
                </a:lnTo>
                <a:lnTo>
                  <a:pt x="1630" y="598"/>
                </a:lnTo>
                <a:lnTo>
                  <a:pt x="1630" y="604"/>
                </a:lnTo>
                <a:lnTo>
                  <a:pt x="1630" y="604"/>
                </a:lnTo>
                <a:lnTo>
                  <a:pt x="1624" y="602"/>
                </a:lnTo>
                <a:lnTo>
                  <a:pt x="1622" y="602"/>
                </a:lnTo>
                <a:lnTo>
                  <a:pt x="1620" y="602"/>
                </a:lnTo>
                <a:lnTo>
                  <a:pt x="1620" y="602"/>
                </a:lnTo>
                <a:lnTo>
                  <a:pt x="1618" y="610"/>
                </a:lnTo>
                <a:lnTo>
                  <a:pt x="1618" y="610"/>
                </a:lnTo>
                <a:lnTo>
                  <a:pt x="1620" y="612"/>
                </a:lnTo>
                <a:lnTo>
                  <a:pt x="1620" y="612"/>
                </a:lnTo>
                <a:lnTo>
                  <a:pt x="1620" y="616"/>
                </a:lnTo>
                <a:lnTo>
                  <a:pt x="1620" y="616"/>
                </a:lnTo>
                <a:lnTo>
                  <a:pt x="1620" y="614"/>
                </a:lnTo>
                <a:lnTo>
                  <a:pt x="1620" y="616"/>
                </a:lnTo>
                <a:lnTo>
                  <a:pt x="1620" y="618"/>
                </a:lnTo>
                <a:lnTo>
                  <a:pt x="1620" y="618"/>
                </a:lnTo>
                <a:lnTo>
                  <a:pt x="1622" y="618"/>
                </a:lnTo>
                <a:lnTo>
                  <a:pt x="1622" y="620"/>
                </a:lnTo>
                <a:lnTo>
                  <a:pt x="1622" y="620"/>
                </a:lnTo>
                <a:lnTo>
                  <a:pt x="1620" y="622"/>
                </a:lnTo>
                <a:lnTo>
                  <a:pt x="1620" y="622"/>
                </a:lnTo>
                <a:lnTo>
                  <a:pt x="1620" y="626"/>
                </a:lnTo>
                <a:lnTo>
                  <a:pt x="1620" y="626"/>
                </a:lnTo>
                <a:lnTo>
                  <a:pt x="1616" y="630"/>
                </a:lnTo>
                <a:lnTo>
                  <a:pt x="1612" y="634"/>
                </a:lnTo>
                <a:lnTo>
                  <a:pt x="1612" y="634"/>
                </a:lnTo>
                <a:lnTo>
                  <a:pt x="1614" y="640"/>
                </a:lnTo>
                <a:lnTo>
                  <a:pt x="1612" y="644"/>
                </a:lnTo>
                <a:lnTo>
                  <a:pt x="1612" y="644"/>
                </a:lnTo>
                <a:lnTo>
                  <a:pt x="1612" y="648"/>
                </a:lnTo>
                <a:lnTo>
                  <a:pt x="1614" y="648"/>
                </a:lnTo>
                <a:lnTo>
                  <a:pt x="1614" y="648"/>
                </a:lnTo>
                <a:lnTo>
                  <a:pt x="1612" y="656"/>
                </a:lnTo>
                <a:lnTo>
                  <a:pt x="1612" y="656"/>
                </a:lnTo>
                <a:lnTo>
                  <a:pt x="1614" y="658"/>
                </a:lnTo>
                <a:lnTo>
                  <a:pt x="1614" y="664"/>
                </a:lnTo>
                <a:lnTo>
                  <a:pt x="1614" y="664"/>
                </a:lnTo>
                <a:lnTo>
                  <a:pt x="1612" y="668"/>
                </a:lnTo>
                <a:lnTo>
                  <a:pt x="1610" y="672"/>
                </a:lnTo>
                <a:lnTo>
                  <a:pt x="1610" y="672"/>
                </a:lnTo>
                <a:lnTo>
                  <a:pt x="1610" y="674"/>
                </a:lnTo>
                <a:lnTo>
                  <a:pt x="1612" y="676"/>
                </a:lnTo>
                <a:lnTo>
                  <a:pt x="1612" y="676"/>
                </a:lnTo>
                <a:lnTo>
                  <a:pt x="1610" y="678"/>
                </a:lnTo>
                <a:lnTo>
                  <a:pt x="1610" y="678"/>
                </a:lnTo>
                <a:lnTo>
                  <a:pt x="1608" y="682"/>
                </a:lnTo>
                <a:lnTo>
                  <a:pt x="1608" y="686"/>
                </a:lnTo>
                <a:lnTo>
                  <a:pt x="1608" y="686"/>
                </a:lnTo>
                <a:lnTo>
                  <a:pt x="1606" y="688"/>
                </a:lnTo>
                <a:lnTo>
                  <a:pt x="1602" y="692"/>
                </a:lnTo>
                <a:lnTo>
                  <a:pt x="1596" y="696"/>
                </a:lnTo>
                <a:lnTo>
                  <a:pt x="1596" y="696"/>
                </a:lnTo>
                <a:lnTo>
                  <a:pt x="1596" y="700"/>
                </a:lnTo>
                <a:lnTo>
                  <a:pt x="1594" y="704"/>
                </a:lnTo>
                <a:lnTo>
                  <a:pt x="1594" y="704"/>
                </a:lnTo>
                <a:lnTo>
                  <a:pt x="1594" y="706"/>
                </a:lnTo>
                <a:lnTo>
                  <a:pt x="1592" y="706"/>
                </a:lnTo>
                <a:lnTo>
                  <a:pt x="1592" y="706"/>
                </a:lnTo>
                <a:lnTo>
                  <a:pt x="1588" y="712"/>
                </a:lnTo>
                <a:lnTo>
                  <a:pt x="1584" y="718"/>
                </a:lnTo>
                <a:lnTo>
                  <a:pt x="1584" y="718"/>
                </a:lnTo>
                <a:lnTo>
                  <a:pt x="1584" y="720"/>
                </a:lnTo>
                <a:lnTo>
                  <a:pt x="1586" y="722"/>
                </a:lnTo>
                <a:lnTo>
                  <a:pt x="1580" y="734"/>
                </a:lnTo>
                <a:lnTo>
                  <a:pt x="1580" y="734"/>
                </a:lnTo>
                <a:lnTo>
                  <a:pt x="1574" y="738"/>
                </a:lnTo>
                <a:lnTo>
                  <a:pt x="1574" y="738"/>
                </a:lnTo>
                <a:lnTo>
                  <a:pt x="1572" y="744"/>
                </a:lnTo>
                <a:lnTo>
                  <a:pt x="1572" y="744"/>
                </a:lnTo>
                <a:lnTo>
                  <a:pt x="1566" y="744"/>
                </a:lnTo>
                <a:lnTo>
                  <a:pt x="1558" y="754"/>
                </a:lnTo>
                <a:lnTo>
                  <a:pt x="1558" y="754"/>
                </a:lnTo>
                <a:lnTo>
                  <a:pt x="1556" y="760"/>
                </a:lnTo>
                <a:lnTo>
                  <a:pt x="1556" y="760"/>
                </a:lnTo>
                <a:lnTo>
                  <a:pt x="1554" y="762"/>
                </a:lnTo>
                <a:lnTo>
                  <a:pt x="1552" y="762"/>
                </a:lnTo>
                <a:lnTo>
                  <a:pt x="1552" y="762"/>
                </a:lnTo>
                <a:lnTo>
                  <a:pt x="1552" y="766"/>
                </a:lnTo>
                <a:lnTo>
                  <a:pt x="1552" y="766"/>
                </a:lnTo>
                <a:lnTo>
                  <a:pt x="1548" y="768"/>
                </a:lnTo>
                <a:lnTo>
                  <a:pt x="1548" y="768"/>
                </a:lnTo>
                <a:lnTo>
                  <a:pt x="1548" y="772"/>
                </a:lnTo>
                <a:lnTo>
                  <a:pt x="1546" y="778"/>
                </a:lnTo>
                <a:lnTo>
                  <a:pt x="1546" y="778"/>
                </a:lnTo>
                <a:lnTo>
                  <a:pt x="1542" y="778"/>
                </a:lnTo>
                <a:lnTo>
                  <a:pt x="1542" y="778"/>
                </a:lnTo>
                <a:lnTo>
                  <a:pt x="1540" y="782"/>
                </a:lnTo>
                <a:lnTo>
                  <a:pt x="1540" y="782"/>
                </a:lnTo>
                <a:lnTo>
                  <a:pt x="1540" y="782"/>
                </a:lnTo>
                <a:lnTo>
                  <a:pt x="1532" y="790"/>
                </a:lnTo>
                <a:lnTo>
                  <a:pt x="1526" y="798"/>
                </a:lnTo>
                <a:lnTo>
                  <a:pt x="1526" y="798"/>
                </a:lnTo>
                <a:lnTo>
                  <a:pt x="1524" y="800"/>
                </a:lnTo>
                <a:lnTo>
                  <a:pt x="1522" y="798"/>
                </a:lnTo>
                <a:lnTo>
                  <a:pt x="1518" y="796"/>
                </a:lnTo>
                <a:lnTo>
                  <a:pt x="1514" y="796"/>
                </a:lnTo>
                <a:lnTo>
                  <a:pt x="1514" y="796"/>
                </a:lnTo>
                <a:lnTo>
                  <a:pt x="1512" y="792"/>
                </a:lnTo>
                <a:lnTo>
                  <a:pt x="1510" y="792"/>
                </a:lnTo>
                <a:lnTo>
                  <a:pt x="1510" y="792"/>
                </a:lnTo>
                <a:lnTo>
                  <a:pt x="1508" y="788"/>
                </a:lnTo>
                <a:lnTo>
                  <a:pt x="1510" y="782"/>
                </a:lnTo>
                <a:lnTo>
                  <a:pt x="1510" y="782"/>
                </a:lnTo>
                <a:lnTo>
                  <a:pt x="1506" y="784"/>
                </a:lnTo>
                <a:lnTo>
                  <a:pt x="1506" y="784"/>
                </a:lnTo>
                <a:lnTo>
                  <a:pt x="1504" y="784"/>
                </a:lnTo>
                <a:lnTo>
                  <a:pt x="1502" y="784"/>
                </a:lnTo>
                <a:lnTo>
                  <a:pt x="1502" y="782"/>
                </a:lnTo>
                <a:lnTo>
                  <a:pt x="1502" y="780"/>
                </a:lnTo>
                <a:lnTo>
                  <a:pt x="1502" y="780"/>
                </a:lnTo>
                <a:lnTo>
                  <a:pt x="1498" y="780"/>
                </a:lnTo>
                <a:lnTo>
                  <a:pt x="1498" y="780"/>
                </a:lnTo>
                <a:lnTo>
                  <a:pt x="1496" y="786"/>
                </a:lnTo>
                <a:lnTo>
                  <a:pt x="1492" y="790"/>
                </a:lnTo>
                <a:lnTo>
                  <a:pt x="1492" y="790"/>
                </a:lnTo>
                <a:lnTo>
                  <a:pt x="1490" y="790"/>
                </a:lnTo>
                <a:lnTo>
                  <a:pt x="1490" y="790"/>
                </a:lnTo>
                <a:lnTo>
                  <a:pt x="1488" y="796"/>
                </a:lnTo>
                <a:lnTo>
                  <a:pt x="1488" y="796"/>
                </a:lnTo>
                <a:lnTo>
                  <a:pt x="1484" y="796"/>
                </a:lnTo>
                <a:lnTo>
                  <a:pt x="1484" y="794"/>
                </a:lnTo>
                <a:lnTo>
                  <a:pt x="1486" y="790"/>
                </a:lnTo>
                <a:lnTo>
                  <a:pt x="1486" y="784"/>
                </a:lnTo>
                <a:lnTo>
                  <a:pt x="1488" y="782"/>
                </a:lnTo>
                <a:lnTo>
                  <a:pt x="1490" y="776"/>
                </a:lnTo>
                <a:lnTo>
                  <a:pt x="1488" y="766"/>
                </a:lnTo>
                <a:lnTo>
                  <a:pt x="1490" y="760"/>
                </a:lnTo>
                <a:lnTo>
                  <a:pt x="1490" y="754"/>
                </a:lnTo>
                <a:lnTo>
                  <a:pt x="1494" y="750"/>
                </a:lnTo>
                <a:lnTo>
                  <a:pt x="1498" y="748"/>
                </a:lnTo>
                <a:lnTo>
                  <a:pt x="1498" y="748"/>
                </a:lnTo>
                <a:lnTo>
                  <a:pt x="1502" y="750"/>
                </a:lnTo>
                <a:lnTo>
                  <a:pt x="1502" y="750"/>
                </a:lnTo>
                <a:lnTo>
                  <a:pt x="1500" y="754"/>
                </a:lnTo>
                <a:lnTo>
                  <a:pt x="1498" y="756"/>
                </a:lnTo>
                <a:lnTo>
                  <a:pt x="1498" y="756"/>
                </a:lnTo>
                <a:lnTo>
                  <a:pt x="1500" y="760"/>
                </a:lnTo>
                <a:lnTo>
                  <a:pt x="1502" y="762"/>
                </a:lnTo>
                <a:lnTo>
                  <a:pt x="1502" y="762"/>
                </a:lnTo>
                <a:lnTo>
                  <a:pt x="1506" y="762"/>
                </a:lnTo>
                <a:lnTo>
                  <a:pt x="1506" y="762"/>
                </a:lnTo>
                <a:lnTo>
                  <a:pt x="1506" y="750"/>
                </a:lnTo>
                <a:lnTo>
                  <a:pt x="1506" y="750"/>
                </a:lnTo>
                <a:lnTo>
                  <a:pt x="1510" y="746"/>
                </a:lnTo>
                <a:lnTo>
                  <a:pt x="1516" y="742"/>
                </a:lnTo>
                <a:lnTo>
                  <a:pt x="1518" y="738"/>
                </a:lnTo>
                <a:lnTo>
                  <a:pt x="1522" y="736"/>
                </a:lnTo>
                <a:lnTo>
                  <a:pt x="1526" y="730"/>
                </a:lnTo>
                <a:lnTo>
                  <a:pt x="1530" y="724"/>
                </a:lnTo>
                <a:lnTo>
                  <a:pt x="1532" y="714"/>
                </a:lnTo>
                <a:lnTo>
                  <a:pt x="1532" y="708"/>
                </a:lnTo>
                <a:lnTo>
                  <a:pt x="1536" y="706"/>
                </a:lnTo>
                <a:lnTo>
                  <a:pt x="1536" y="698"/>
                </a:lnTo>
                <a:lnTo>
                  <a:pt x="1532" y="694"/>
                </a:lnTo>
                <a:lnTo>
                  <a:pt x="1532" y="690"/>
                </a:lnTo>
                <a:lnTo>
                  <a:pt x="1536" y="682"/>
                </a:lnTo>
                <a:lnTo>
                  <a:pt x="1528" y="684"/>
                </a:lnTo>
                <a:lnTo>
                  <a:pt x="1526" y="688"/>
                </a:lnTo>
                <a:lnTo>
                  <a:pt x="1520" y="690"/>
                </a:lnTo>
                <a:lnTo>
                  <a:pt x="1516" y="690"/>
                </a:lnTo>
                <a:lnTo>
                  <a:pt x="1510" y="694"/>
                </a:lnTo>
                <a:lnTo>
                  <a:pt x="1506" y="698"/>
                </a:lnTo>
                <a:lnTo>
                  <a:pt x="1500" y="700"/>
                </a:lnTo>
                <a:lnTo>
                  <a:pt x="1496" y="702"/>
                </a:lnTo>
                <a:lnTo>
                  <a:pt x="1490" y="698"/>
                </a:lnTo>
                <a:lnTo>
                  <a:pt x="1484" y="696"/>
                </a:lnTo>
                <a:lnTo>
                  <a:pt x="1482" y="690"/>
                </a:lnTo>
                <a:lnTo>
                  <a:pt x="1482" y="684"/>
                </a:lnTo>
                <a:lnTo>
                  <a:pt x="1480" y="678"/>
                </a:lnTo>
                <a:lnTo>
                  <a:pt x="1474" y="672"/>
                </a:lnTo>
                <a:lnTo>
                  <a:pt x="1472" y="666"/>
                </a:lnTo>
                <a:lnTo>
                  <a:pt x="1470" y="660"/>
                </a:lnTo>
                <a:lnTo>
                  <a:pt x="1466" y="656"/>
                </a:lnTo>
                <a:lnTo>
                  <a:pt x="1458" y="654"/>
                </a:lnTo>
                <a:lnTo>
                  <a:pt x="1452" y="652"/>
                </a:lnTo>
                <a:lnTo>
                  <a:pt x="1446" y="652"/>
                </a:lnTo>
                <a:lnTo>
                  <a:pt x="1442" y="648"/>
                </a:lnTo>
                <a:lnTo>
                  <a:pt x="1438" y="640"/>
                </a:lnTo>
                <a:lnTo>
                  <a:pt x="1432" y="630"/>
                </a:lnTo>
                <a:lnTo>
                  <a:pt x="1430" y="622"/>
                </a:lnTo>
                <a:lnTo>
                  <a:pt x="1430" y="616"/>
                </a:lnTo>
                <a:lnTo>
                  <a:pt x="1424" y="610"/>
                </a:lnTo>
                <a:lnTo>
                  <a:pt x="1422" y="604"/>
                </a:lnTo>
                <a:lnTo>
                  <a:pt x="1414" y="598"/>
                </a:lnTo>
                <a:lnTo>
                  <a:pt x="1404" y="598"/>
                </a:lnTo>
                <a:lnTo>
                  <a:pt x="1400" y="592"/>
                </a:lnTo>
                <a:lnTo>
                  <a:pt x="1394" y="588"/>
                </a:lnTo>
                <a:lnTo>
                  <a:pt x="1388" y="584"/>
                </a:lnTo>
                <a:lnTo>
                  <a:pt x="1380" y="582"/>
                </a:lnTo>
                <a:lnTo>
                  <a:pt x="1376" y="584"/>
                </a:lnTo>
                <a:lnTo>
                  <a:pt x="1370" y="586"/>
                </a:lnTo>
                <a:lnTo>
                  <a:pt x="1362" y="586"/>
                </a:lnTo>
                <a:lnTo>
                  <a:pt x="1356" y="590"/>
                </a:lnTo>
                <a:lnTo>
                  <a:pt x="1350" y="596"/>
                </a:lnTo>
                <a:lnTo>
                  <a:pt x="1346" y="602"/>
                </a:lnTo>
                <a:lnTo>
                  <a:pt x="1344" y="604"/>
                </a:lnTo>
                <a:lnTo>
                  <a:pt x="1342" y="608"/>
                </a:lnTo>
                <a:lnTo>
                  <a:pt x="1348" y="606"/>
                </a:lnTo>
                <a:lnTo>
                  <a:pt x="1348" y="614"/>
                </a:lnTo>
                <a:lnTo>
                  <a:pt x="1348" y="620"/>
                </a:lnTo>
                <a:lnTo>
                  <a:pt x="1344" y="624"/>
                </a:lnTo>
                <a:lnTo>
                  <a:pt x="1346" y="630"/>
                </a:lnTo>
                <a:lnTo>
                  <a:pt x="1340" y="638"/>
                </a:lnTo>
                <a:lnTo>
                  <a:pt x="1336" y="644"/>
                </a:lnTo>
                <a:lnTo>
                  <a:pt x="1336" y="644"/>
                </a:lnTo>
                <a:lnTo>
                  <a:pt x="1332" y="648"/>
                </a:lnTo>
                <a:lnTo>
                  <a:pt x="1330" y="650"/>
                </a:lnTo>
                <a:lnTo>
                  <a:pt x="1330" y="652"/>
                </a:lnTo>
                <a:lnTo>
                  <a:pt x="1332" y="654"/>
                </a:lnTo>
                <a:lnTo>
                  <a:pt x="1332" y="654"/>
                </a:lnTo>
                <a:lnTo>
                  <a:pt x="1330" y="656"/>
                </a:lnTo>
                <a:lnTo>
                  <a:pt x="1326" y="658"/>
                </a:lnTo>
                <a:lnTo>
                  <a:pt x="1322" y="660"/>
                </a:lnTo>
                <a:lnTo>
                  <a:pt x="1312" y="666"/>
                </a:lnTo>
                <a:lnTo>
                  <a:pt x="1306" y="662"/>
                </a:lnTo>
                <a:lnTo>
                  <a:pt x="1298" y="658"/>
                </a:lnTo>
                <a:lnTo>
                  <a:pt x="1292" y="660"/>
                </a:lnTo>
                <a:lnTo>
                  <a:pt x="1282" y="658"/>
                </a:lnTo>
                <a:lnTo>
                  <a:pt x="1276" y="658"/>
                </a:lnTo>
                <a:lnTo>
                  <a:pt x="1266" y="652"/>
                </a:lnTo>
                <a:lnTo>
                  <a:pt x="1262" y="654"/>
                </a:lnTo>
                <a:lnTo>
                  <a:pt x="1250" y="662"/>
                </a:lnTo>
                <a:lnTo>
                  <a:pt x="1238" y="664"/>
                </a:lnTo>
                <a:lnTo>
                  <a:pt x="1232" y="668"/>
                </a:lnTo>
                <a:lnTo>
                  <a:pt x="1222" y="670"/>
                </a:lnTo>
                <a:lnTo>
                  <a:pt x="1212" y="668"/>
                </a:lnTo>
                <a:lnTo>
                  <a:pt x="1206" y="666"/>
                </a:lnTo>
                <a:lnTo>
                  <a:pt x="1200" y="668"/>
                </a:lnTo>
                <a:lnTo>
                  <a:pt x="1194" y="668"/>
                </a:lnTo>
                <a:lnTo>
                  <a:pt x="1188" y="664"/>
                </a:lnTo>
                <a:lnTo>
                  <a:pt x="1182" y="664"/>
                </a:lnTo>
                <a:lnTo>
                  <a:pt x="1176" y="660"/>
                </a:lnTo>
                <a:lnTo>
                  <a:pt x="1176" y="654"/>
                </a:lnTo>
                <a:lnTo>
                  <a:pt x="1170" y="654"/>
                </a:lnTo>
                <a:lnTo>
                  <a:pt x="1158" y="650"/>
                </a:lnTo>
                <a:lnTo>
                  <a:pt x="1150" y="648"/>
                </a:lnTo>
                <a:lnTo>
                  <a:pt x="1144" y="652"/>
                </a:lnTo>
                <a:lnTo>
                  <a:pt x="1138" y="654"/>
                </a:lnTo>
                <a:lnTo>
                  <a:pt x="1132" y="654"/>
                </a:lnTo>
                <a:lnTo>
                  <a:pt x="1126" y="654"/>
                </a:lnTo>
                <a:lnTo>
                  <a:pt x="1116" y="648"/>
                </a:lnTo>
                <a:lnTo>
                  <a:pt x="1112" y="646"/>
                </a:lnTo>
                <a:lnTo>
                  <a:pt x="1108" y="636"/>
                </a:lnTo>
                <a:lnTo>
                  <a:pt x="1100" y="630"/>
                </a:lnTo>
                <a:lnTo>
                  <a:pt x="1088" y="620"/>
                </a:lnTo>
                <a:lnTo>
                  <a:pt x="1078" y="618"/>
                </a:lnTo>
                <a:lnTo>
                  <a:pt x="1074" y="614"/>
                </a:lnTo>
                <a:lnTo>
                  <a:pt x="1064" y="614"/>
                </a:lnTo>
                <a:lnTo>
                  <a:pt x="1058" y="612"/>
                </a:lnTo>
                <a:lnTo>
                  <a:pt x="1048" y="612"/>
                </a:lnTo>
                <a:lnTo>
                  <a:pt x="1046" y="616"/>
                </a:lnTo>
                <a:lnTo>
                  <a:pt x="1042" y="622"/>
                </a:lnTo>
                <a:lnTo>
                  <a:pt x="1040" y="628"/>
                </a:lnTo>
                <a:lnTo>
                  <a:pt x="1046" y="632"/>
                </a:lnTo>
                <a:lnTo>
                  <a:pt x="1050" y="638"/>
                </a:lnTo>
                <a:lnTo>
                  <a:pt x="1052" y="646"/>
                </a:lnTo>
                <a:lnTo>
                  <a:pt x="1048" y="650"/>
                </a:lnTo>
                <a:lnTo>
                  <a:pt x="1038" y="650"/>
                </a:lnTo>
                <a:lnTo>
                  <a:pt x="1026" y="650"/>
                </a:lnTo>
                <a:lnTo>
                  <a:pt x="1016" y="650"/>
                </a:lnTo>
                <a:lnTo>
                  <a:pt x="1008" y="648"/>
                </a:lnTo>
                <a:lnTo>
                  <a:pt x="1000" y="644"/>
                </a:lnTo>
                <a:lnTo>
                  <a:pt x="990" y="640"/>
                </a:lnTo>
                <a:lnTo>
                  <a:pt x="982" y="642"/>
                </a:lnTo>
                <a:lnTo>
                  <a:pt x="980" y="638"/>
                </a:lnTo>
                <a:lnTo>
                  <a:pt x="972" y="638"/>
                </a:lnTo>
                <a:lnTo>
                  <a:pt x="962" y="638"/>
                </a:lnTo>
                <a:lnTo>
                  <a:pt x="958" y="642"/>
                </a:lnTo>
                <a:lnTo>
                  <a:pt x="950" y="646"/>
                </a:lnTo>
                <a:lnTo>
                  <a:pt x="942" y="648"/>
                </a:lnTo>
                <a:lnTo>
                  <a:pt x="938" y="652"/>
                </a:lnTo>
                <a:lnTo>
                  <a:pt x="934" y="656"/>
                </a:lnTo>
                <a:lnTo>
                  <a:pt x="934" y="660"/>
                </a:lnTo>
                <a:lnTo>
                  <a:pt x="932" y="664"/>
                </a:lnTo>
                <a:lnTo>
                  <a:pt x="926" y="666"/>
                </a:lnTo>
                <a:lnTo>
                  <a:pt x="920" y="668"/>
                </a:lnTo>
                <a:lnTo>
                  <a:pt x="914" y="672"/>
                </a:lnTo>
                <a:lnTo>
                  <a:pt x="904" y="670"/>
                </a:lnTo>
                <a:lnTo>
                  <a:pt x="902" y="666"/>
                </a:lnTo>
                <a:lnTo>
                  <a:pt x="896" y="662"/>
                </a:lnTo>
                <a:lnTo>
                  <a:pt x="894" y="654"/>
                </a:lnTo>
                <a:lnTo>
                  <a:pt x="886" y="654"/>
                </a:lnTo>
                <a:lnTo>
                  <a:pt x="876" y="656"/>
                </a:lnTo>
                <a:lnTo>
                  <a:pt x="860" y="664"/>
                </a:lnTo>
                <a:lnTo>
                  <a:pt x="850" y="666"/>
                </a:lnTo>
                <a:lnTo>
                  <a:pt x="844" y="662"/>
                </a:lnTo>
                <a:lnTo>
                  <a:pt x="840" y="658"/>
                </a:lnTo>
                <a:lnTo>
                  <a:pt x="838" y="648"/>
                </a:lnTo>
                <a:lnTo>
                  <a:pt x="836" y="640"/>
                </a:lnTo>
                <a:lnTo>
                  <a:pt x="836" y="640"/>
                </a:lnTo>
                <a:lnTo>
                  <a:pt x="830" y="634"/>
                </a:lnTo>
                <a:lnTo>
                  <a:pt x="826" y="630"/>
                </a:lnTo>
                <a:lnTo>
                  <a:pt x="822" y="628"/>
                </a:lnTo>
                <a:lnTo>
                  <a:pt x="808" y="628"/>
                </a:lnTo>
                <a:lnTo>
                  <a:pt x="808" y="628"/>
                </a:lnTo>
                <a:lnTo>
                  <a:pt x="804" y="630"/>
                </a:lnTo>
                <a:lnTo>
                  <a:pt x="796" y="632"/>
                </a:lnTo>
                <a:lnTo>
                  <a:pt x="796" y="632"/>
                </a:lnTo>
                <a:lnTo>
                  <a:pt x="792" y="630"/>
                </a:lnTo>
                <a:lnTo>
                  <a:pt x="790" y="626"/>
                </a:lnTo>
                <a:lnTo>
                  <a:pt x="786" y="622"/>
                </a:lnTo>
                <a:lnTo>
                  <a:pt x="780" y="606"/>
                </a:lnTo>
                <a:lnTo>
                  <a:pt x="770" y="584"/>
                </a:lnTo>
                <a:lnTo>
                  <a:pt x="760" y="568"/>
                </a:lnTo>
                <a:lnTo>
                  <a:pt x="762" y="562"/>
                </a:lnTo>
                <a:lnTo>
                  <a:pt x="760" y="560"/>
                </a:lnTo>
                <a:lnTo>
                  <a:pt x="748" y="562"/>
                </a:lnTo>
                <a:lnTo>
                  <a:pt x="738" y="566"/>
                </a:lnTo>
                <a:lnTo>
                  <a:pt x="724" y="572"/>
                </a:lnTo>
                <a:lnTo>
                  <a:pt x="714" y="576"/>
                </a:lnTo>
                <a:lnTo>
                  <a:pt x="702" y="576"/>
                </a:lnTo>
                <a:lnTo>
                  <a:pt x="702" y="576"/>
                </a:lnTo>
                <a:lnTo>
                  <a:pt x="702" y="574"/>
                </a:lnTo>
                <a:lnTo>
                  <a:pt x="702" y="570"/>
                </a:lnTo>
                <a:lnTo>
                  <a:pt x="702" y="570"/>
                </a:lnTo>
                <a:lnTo>
                  <a:pt x="700" y="568"/>
                </a:lnTo>
                <a:lnTo>
                  <a:pt x="698" y="568"/>
                </a:lnTo>
                <a:lnTo>
                  <a:pt x="698" y="568"/>
                </a:lnTo>
                <a:lnTo>
                  <a:pt x="692" y="570"/>
                </a:lnTo>
                <a:lnTo>
                  <a:pt x="690" y="568"/>
                </a:lnTo>
                <a:lnTo>
                  <a:pt x="682" y="562"/>
                </a:lnTo>
                <a:lnTo>
                  <a:pt x="676" y="570"/>
                </a:lnTo>
                <a:lnTo>
                  <a:pt x="670" y="572"/>
                </a:lnTo>
                <a:lnTo>
                  <a:pt x="664" y="566"/>
                </a:lnTo>
                <a:lnTo>
                  <a:pt x="660" y="564"/>
                </a:lnTo>
                <a:lnTo>
                  <a:pt x="662" y="558"/>
                </a:lnTo>
                <a:lnTo>
                  <a:pt x="662" y="554"/>
                </a:lnTo>
                <a:lnTo>
                  <a:pt x="656" y="552"/>
                </a:lnTo>
                <a:lnTo>
                  <a:pt x="654" y="548"/>
                </a:lnTo>
                <a:lnTo>
                  <a:pt x="648" y="550"/>
                </a:lnTo>
                <a:lnTo>
                  <a:pt x="638" y="552"/>
                </a:lnTo>
                <a:lnTo>
                  <a:pt x="626" y="560"/>
                </a:lnTo>
                <a:lnTo>
                  <a:pt x="622" y="560"/>
                </a:lnTo>
                <a:lnTo>
                  <a:pt x="608" y="564"/>
                </a:lnTo>
                <a:lnTo>
                  <a:pt x="596" y="562"/>
                </a:lnTo>
                <a:lnTo>
                  <a:pt x="586" y="566"/>
                </a:lnTo>
                <a:lnTo>
                  <a:pt x="574" y="568"/>
                </a:lnTo>
                <a:lnTo>
                  <a:pt x="568" y="566"/>
                </a:lnTo>
                <a:lnTo>
                  <a:pt x="560" y="564"/>
                </a:lnTo>
                <a:lnTo>
                  <a:pt x="552" y="560"/>
                </a:lnTo>
                <a:lnTo>
                  <a:pt x="546" y="564"/>
                </a:lnTo>
                <a:lnTo>
                  <a:pt x="548" y="568"/>
                </a:lnTo>
                <a:lnTo>
                  <a:pt x="548" y="576"/>
                </a:lnTo>
                <a:lnTo>
                  <a:pt x="542" y="582"/>
                </a:lnTo>
                <a:lnTo>
                  <a:pt x="542" y="590"/>
                </a:lnTo>
                <a:lnTo>
                  <a:pt x="538" y="596"/>
                </a:lnTo>
                <a:lnTo>
                  <a:pt x="538" y="602"/>
                </a:lnTo>
                <a:lnTo>
                  <a:pt x="544" y="610"/>
                </a:lnTo>
                <a:lnTo>
                  <a:pt x="546" y="614"/>
                </a:lnTo>
                <a:lnTo>
                  <a:pt x="540" y="624"/>
                </a:lnTo>
                <a:lnTo>
                  <a:pt x="546" y="628"/>
                </a:lnTo>
                <a:lnTo>
                  <a:pt x="546" y="628"/>
                </a:lnTo>
                <a:lnTo>
                  <a:pt x="548" y="628"/>
                </a:lnTo>
                <a:lnTo>
                  <a:pt x="554" y="634"/>
                </a:lnTo>
                <a:lnTo>
                  <a:pt x="554" y="634"/>
                </a:lnTo>
                <a:lnTo>
                  <a:pt x="554" y="638"/>
                </a:lnTo>
                <a:lnTo>
                  <a:pt x="552" y="640"/>
                </a:lnTo>
                <a:lnTo>
                  <a:pt x="548" y="642"/>
                </a:lnTo>
                <a:lnTo>
                  <a:pt x="542" y="642"/>
                </a:lnTo>
                <a:lnTo>
                  <a:pt x="534" y="640"/>
                </a:lnTo>
                <a:lnTo>
                  <a:pt x="534" y="640"/>
                </a:lnTo>
                <a:lnTo>
                  <a:pt x="532" y="636"/>
                </a:lnTo>
                <a:lnTo>
                  <a:pt x="528" y="628"/>
                </a:lnTo>
                <a:lnTo>
                  <a:pt x="528" y="628"/>
                </a:lnTo>
                <a:lnTo>
                  <a:pt x="526" y="628"/>
                </a:lnTo>
                <a:lnTo>
                  <a:pt x="524" y="628"/>
                </a:lnTo>
                <a:lnTo>
                  <a:pt x="522" y="630"/>
                </a:lnTo>
                <a:lnTo>
                  <a:pt x="522" y="630"/>
                </a:lnTo>
                <a:lnTo>
                  <a:pt x="520" y="630"/>
                </a:lnTo>
                <a:lnTo>
                  <a:pt x="518" y="628"/>
                </a:lnTo>
                <a:lnTo>
                  <a:pt x="518" y="626"/>
                </a:lnTo>
                <a:lnTo>
                  <a:pt x="514" y="626"/>
                </a:lnTo>
                <a:lnTo>
                  <a:pt x="514" y="626"/>
                </a:lnTo>
                <a:lnTo>
                  <a:pt x="508" y="630"/>
                </a:lnTo>
                <a:lnTo>
                  <a:pt x="504" y="634"/>
                </a:lnTo>
                <a:lnTo>
                  <a:pt x="504" y="634"/>
                </a:lnTo>
                <a:lnTo>
                  <a:pt x="502" y="634"/>
                </a:lnTo>
                <a:lnTo>
                  <a:pt x="498" y="634"/>
                </a:lnTo>
                <a:lnTo>
                  <a:pt x="492" y="630"/>
                </a:lnTo>
                <a:lnTo>
                  <a:pt x="492" y="630"/>
                </a:lnTo>
                <a:lnTo>
                  <a:pt x="488" y="630"/>
                </a:lnTo>
                <a:lnTo>
                  <a:pt x="486" y="630"/>
                </a:lnTo>
                <a:lnTo>
                  <a:pt x="484" y="632"/>
                </a:lnTo>
                <a:lnTo>
                  <a:pt x="484" y="632"/>
                </a:lnTo>
                <a:lnTo>
                  <a:pt x="484" y="634"/>
                </a:lnTo>
                <a:lnTo>
                  <a:pt x="484" y="636"/>
                </a:lnTo>
                <a:lnTo>
                  <a:pt x="484" y="640"/>
                </a:lnTo>
                <a:lnTo>
                  <a:pt x="476" y="638"/>
                </a:lnTo>
                <a:lnTo>
                  <a:pt x="476" y="638"/>
                </a:lnTo>
                <a:lnTo>
                  <a:pt x="478" y="636"/>
                </a:lnTo>
                <a:lnTo>
                  <a:pt x="480" y="634"/>
                </a:lnTo>
                <a:lnTo>
                  <a:pt x="478" y="630"/>
                </a:lnTo>
                <a:lnTo>
                  <a:pt x="478" y="630"/>
                </a:lnTo>
                <a:lnTo>
                  <a:pt x="478" y="628"/>
                </a:lnTo>
                <a:lnTo>
                  <a:pt x="476" y="628"/>
                </a:lnTo>
                <a:lnTo>
                  <a:pt x="470" y="628"/>
                </a:lnTo>
                <a:lnTo>
                  <a:pt x="470" y="628"/>
                </a:lnTo>
                <a:lnTo>
                  <a:pt x="468" y="628"/>
                </a:lnTo>
                <a:lnTo>
                  <a:pt x="466" y="624"/>
                </a:lnTo>
                <a:lnTo>
                  <a:pt x="466" y="624"/>
                </a:lnTo>
                <a:lnTo>
                  <a:pt x="462" y="620"/>
                </a:lnTo>
                <a:lnTo>
                  <a:pt x="458" y="618"/>
                </a:lnTo>
                <a:lnTo>
                  <a:pt x="458" y="618"/>
                </a:lnTo>
                <a:lnTo>
                  <a:pt x="454" y="616"/>
                </a:lnTo>
                <a:lnTo>
                  <a:pt x="450" y="616"/>
                </a:lnTo>
                <a:lnTo>
                  <a:pt x="450" y="616"/>
                </a:lnTo>
                <a:lnTo>
                  <a:pt x="450" y="614"/>
                </a:lnTo>
                <a:lnTo>
                  <a:pt x="450" y="610"/>
                </a:lnTo>
                <a:lnTo>
                  <a:pt x="450" y="610"/>
                </a:lnTo>
                <a:lnTo>
                  <a:pt x="446" y="608"/>
                </a:lnTo>
                <a:lnTo>
                  <a:pt x="442" y="606"/>
                </a:lnTo>
                <a:lnTo>
                  <a:pt x="442" y="606"/>
                </a:lnTo>
                <a:lnTo>
                  <a:pt x="442" y="606"/>
                </a:lnTo>
                <a:lnTo>
                  <a:pt x="442" y="608"/>
                </a:lnTo>
                <a:lnTo>
                  <a:pt x="442" y="610"/>
                </a:lnTo>
                <a:lnTo>
                  <a:pt x="436" y="610"/>
                </a:lnTo>
                <a:lnTo>
                  <a:pt x="436" y="606"/>
                </a:lnTo>
                <a:lnTo>
                  <a:pt x="424" y="608"/>
                </a:lnTo>
                <a:lnTo>
                  <a:pt x="424" y="608"/>
                </a:lnTo>
                <a:lnTo>
                  <a:pt x="426" y="610"/>
                </a:lnTo>
                <a:lnTo>
                  <a:pt x="426" y="610"/>
                </a:lnTo>
                <a:lnTo>
                  <a:pt x="426" y="612"/>
                </a:lnTo>
                <a:lnTo>
                  <a:pt x="426" y="612"/>
                </a:lnTo>
                <a:lnTo>
                  <a:pt x="416" y="624"/>
                </a:lnTo>
                <a:lnTo>
                  <a:pt x="416" y="624"/>
                </a:lnTo>
                <a:lnTo>
                  <a:pt x="412" y="624"/>
                </a:lnTo>
                <a:lnTo>
                  <a:pt x="406" y="624"/>
                </a:lnTo>
                <a:lnTo>
                  <a:pt x="406" y="624"/>
                </a:lnTo>
                <a:lnTo>
                  <a:pt x="404" y="624"/>
                </a:lnTo>
                <a:lnTo>
                  <a:pt x="402" y="624"/>
                </a:lnTo>
                <a:lnTo>
                  <a:pt x="402" y="626"/>
                </a:lnTo>
                <a:lnTo>
                  <a:pt x="400" y="628"/>
                </a:lnTo>
                <a:lnTo>
                  <a:pt x="400" y="628"/>
                </a:lnTo>
                <a:lnTo>
                  <a:pt x="398" y="628"/>
                </a:lnTo>
                <a:lnTo>
                  <a:pt x="396" y="632"/>
                </a:lnTo>
                <a:lnTo>
                  <a:pt x="396" y="638"/>
                </a:lnTo>
                <a:lnTo>
                  <a:pt x="396" y="638"/>
                </a:lnTo>
                <a:lnTo>
                  <a:pt x="396" y="640"/>
                </a:lnTo>
                <a:lnTo>
                  <a:pt x="398" y="642"/>
                </a:lnTo>
                <a:lnTo>
                  <a:pt x="402" y="646"/>
                </a:lnTo>
                <a:lnTo>
                  <a:pt x="392" y="650"/>
                </a:lnTo>
                <a:lnTo>
                  <a:pt x="392" y="650"/>
                </a:lnTo>
                <a:lnTo>
                  <a:pt x="388" y="640"/>
                </a:lnTo>
                <a:lnTo>
                  <a:pt x="388" y="640"/>
                </a:lnTo>
                <a:lnTo>
                  <a:pt x="388" y="640"/>
                </a:lnTo>
                <a:lnTo>
                  <a:pt x="384" y="640"/>
                </a:lnTo>
                <a:lnTo>
                  <a:pt x="382" y="646"/>
                </a:lnTo>
                <a:lnTo>
                  <a:pt x="382" y="646"/>
                </a:lnTo>
                <a:lnTo>
                  <a:pt x="380" y="646"/>
                </a:lnTo>
                <a:lnTo>
                  <a:pt x="378" y="648"/>
                </a:lnTo>
                <a:lnTo>
                  <a:pt x="376" y="648"/>
                </a:lnTo>
                <a:lnTo>
                  <a:pt x="376" y="648"/>
                </a:lnTo>
                <a:lnTo>
                  <a:pt x="376" y="648"/>
                </a:lnTo>
                <a:lnTo>
                  <a:pt x="376" y="654"/>
                </a:lnTo>
                <a:lnTo>
                  <a:pt x="374" y="658"/>
                </a:lnTo>
                <a:lnTo>
                  <a:pt x="372" y="662"/>
                </a:lnTo>
                <a:lnTo>
                  <a:pt x="372" y="662"/>
                </a:lnTo>
                <a:lnTo>
                  <a:pt x="374" y="662"/>
                </a:lnTo>
                <a:lnTo>
                  <a:pt x="376" y="664"/>
                </a:lnTo>
                <a:lnTo>
                  <a:pt x="376" y="664"/>
                </a:lnTo>
                <a:lnTo>
                  <a:pt x="376" y="666"/>
                </a:lnTo>
                <a:lnTo>
                  <a:pt x="374" y="668"/>
                </a:lnTo>
                <a:lnTo>
                  <a:pt x="374" y="670"/>
                </a:lnTo>
                <a:lnTo>
                  <a:pt x="374" y="670"/>
                </a:lnTo>
                <a:lnTo>
                  <a:pt x="368" y="678"/>
                </a:lnTo>
                <a:lnTo>
                  <a:pt x="368" y="678"/>
                </a:lnTo>
                <a:lnTo>
                  <a:pt x="366" y="680"/>
                </a:lnTo>
                <a:lnTo>
                  <a:pt x="368" y="682"/>
                </a:lnTo>
                <a:lnTo>
                  <a:pt x="372" y="686"/>
                </a:lnTo>
                <a:lnTo>
                  <a:pt x="372" y="686"/>
                </a:lnTo>
                <a:lnTo>
                  <a:pt x="374" y="688"/>
                </a:lnTo>
                <a:lnTo>
                  <a:pt x="374" y="690"/>
                </a:lnTo>
                <a:lnTo>
                  <a:pt x="374" y="696"/>
                </a:lnTo>
                <a:lnTo>
                  <a:pt x="374" y="696"/>
                </a:lnTo>
                <a:lnTo>
                  <a:pt x="376" y="698"/>
                </a:lnTo>
                <a:lnTo>
                  <a:pt x="378" y="698"/>
                </a:lnTo>
                <a:lnTo>
                  <a:pt x="382" y="696"/>
                </a:lnTo>
                <a:lnTo>
                  <a:pt x="386" y="708"/>
                </a:lnTo>
                <a:lnTo>
                  <a:pt x="386" y="708"/>
                </a:lnTo>
                <a:lnTo>
                  <a:pt x="388" y="710"/>
                </a:lnTo>
                <a:lnTo>
                  <a:pt x="386" y="714"/>
                </a:lnTo>
                <a:lnTo>
                  <a:pt x="386" y="714"/>
                </a:lnTo>
                <a:lnTo>
                  <a:pt x="386" y="716"/>
                </a:lnTo>
                <a:lnTo>
                  <a:pt x="388" y="720"/>
                </a:lnTo>
                <a:lnTo>
                  <a:pt x="388" y="722"/>
                </a:lnTo>
                <a:lnTo>
                  <a:pt x="388" y="722"/>
                </a:lnTo>
                <a:lnTo>
                  <a:pt x="388" y="726"/>
                </a:lnTo>
                <a:lnTo>
                  <a:pt x="388" y="726"/>
                </a:lnTo>
                <a:lnTo>
                  <a:pt x="384" y="726"/>
                </a:lnTo>
                <a:lnTo>
                  <a:pt x="384" y="726"/>
                </a:lnTo>
                <a:lnTo>
                  <a:pt x="384" y="724"/>
                </a:lnTo>
                <a:lnTo>
                  <a:pt x="382" y="722"/>
                </a:lnTo>
                <a:lnTo>
                  <a:pt x="382" y="722"/>
                </a:lnTo>
                <a:lnTo>
                  <a:pt x="382" y="724"/>
                </a:lnTo>
                <a:lnTo>
                  <a:pt x="382" y="724"/>
                </a:lnTo>
                <a:lnTo>
                  <a:pt x="382" y="724"/>
                </a:lnTo>
                <a:lnTo>
                  <a:pt x="382" y="726"/>
                </a:lnTo>
                <a:lnTo>
                  <a:pt x="382" y="726"/>
                </a:lnTo>
                <a:lnTo>
                  <a:pt x="386" y="726"/>
                </a:lnTo>
                <a:lnTo>
                  <a:pt x="386" y="726"/>
                </a:lnTo>
                <a:lnTo>
                  <a:pt x="386" y="730"/>
                </a:lnTo>
                <a:lnTo>
                  <a:pt x="386" y="730"/>
                </a:lnTo>
                <a:lnTo>
                  <a:pt x="382" y="734"/>
                </a:lnTo>
                <a:lnTo>
                  <a:pt x="382" y="734"/>
                </a:lnTo>
                <a:lnTo>
                  <a:pt x="380" y="732"/>
                </a:lnTo>
                <a:lnTo>
                  <a:pt x="382" y="730"/>
                </a:lnTo>
                <a:lnTo>
                  <a:pt x="382" y="730"/>
                </a:lnTo>
                <a:lnTo>
                  <a:pt x="378" y="730"/>
                </a:lnTo>
                <a:lnTo>
                  <a:pt x="378" y="730"/>
                </a:lnTo>
                <a:lnTo>
                  <a:pt x="378" y="726"/>
                </a:lnTo>
                <a:lnTo>
                  <a:pt x="376" y="726"/>
                </a:lnTo>
                <a:lnTo>
                  <a:pt x="376" y="726"/>
                </a:lnTo>
                <a:lnTo>
                  <a:pt x="376" y="728"/>
                </a:lnTo>
                <a:lnTo>
                  <a:pt x="376" y="728"/>
                </a:lnTo>
                <a:lnTo>
                  <a:pt x="372" y="730"/>
                </a:lnTo>
                <a:lnTo>
                  <a:pt x="372" y="730"/>
                </a:lnTo>
                <a:lnTo>
                  <a:pt x="370" y="730"/>
                </a:lnTo>
                <a:lnTo>
                  <a:pt x="370" y="730"/>
                </a:lnTo>
                <a:lnTo>
                  <a:pt x="368" y="730"/>
                </a:lnTo>
                <a:lnTo>
                  <a:pt x="368" y="732"/>
                </a:lnTo>
                <a:lnTo>
                  <a:pt x="370" y="732"/>
                </a:lnTo>
                <a:lnTo>
                  <a:pt x="368" y="732"/>
                </a:lnTo>
                <a:lnTo>
                  <a:pt x="368" y="734"/>
                </a:lnTo>
                <a:lnTo>
                  <a:pt x="368" y="734"/>
                </a:lnTo>
                <a:lnTo>
                  <a:pt x="370" y="736"/>
                </a:lnTo>
                <a:lnTo>
                  <a:pt x="370" y="736"/>
                </a:lnTo>
                <a:lnTo>
                  <a:pt x="366" y="740"/>
                </a:lnTo>
                <a:lnTo>
                  <a:pt x="366" y="740"/>
                </a:lnTo>
                <a:lnTo>
                  <a:pt x="362" y="750"/>
                </a:lnTo>
                <a:lnTo>
                  <a:pt x="362" y="750"/>
                </a:lnTo>
                <a:lnTo>
                  <a:pt x="362" y="756"/>
                </a:lnTo>
                <a:lnTo>
                  <a:pt x="362" y="756"/>
                </a:lnTo>
                <a:lnTo>
                  <a:pt x="360" y="758"/>
                </a:lnTo>
                <a:lnTo>
                  <a:pt x="360" y="758"/>
                </a:lnTo>
                <a:lnTo>
                  <a:pt x="360" y="762"/>
                </a:lnTo>
                <a:lnTo>
                  <a:pt x="360" y="764"/>
                </a:lnTo>
                <a:lnTo>
                  <a:pt x="358" y="766"/>
                </a:lnTo>
                <a:lnTo>
                  <a:pt x="358" y="766"/>
                </a:lnTo>
                <a:lnTo>
                  <a:pt x="370" y="766"/>
                </a:lnTo>
                <a:lnTo>
                  <a:pt x="370" y="766"/>
                </a:lnTo>
                <a:lnTo>
                  <a:pt x="370" y="776"/>
                </a:lnTo>
                <a:lnTo>
                  <a:pt x="372" y="778"/>
                </a:lnTo>
                <a:lnTo>
                  <a:pt x="372" y="778"/>
                </a:lnTo>
                <a:lnTo>
                  <a:pt x="372" y="792"/>
                </a:lnTo>
                <a:lnTo>
                  <a:pt x="372" y="792"/>
                </a:lnTo>
                <a:lnTo>
                  <a:pt x="376" y="796"/>
                </a:lnTo>
                <a:lnTo>
                  <a:pt x="380" y="800"/>
                </a:lnTo>
                <a:lnTo>
                  <a:pt x="380" y="800"/>
                </a:lnTo>
                <a:lnTo>
                  <a:pt x="380" y="804"/>
                </a:lnTo>
                <a:lnTo>
                  <a:pt x="382" y="808"/>
                </a:lnTo>
                <a:lnTo>
                  <a:pt x="382" y="808"/>
                </a:lnTo>
                <a:lnTo>
                  <a:pt x="390" y="814"/>
                </a:lnTo>
                <a:lnTo>
                  <a:pt x="390" y="814"/>
                </a:lnTo>
                <a:lnTo>
                  <a:pt x="392" y="818"/>
                </a:lnTo>
                <a:lnTo>
                  <a:pt x="392" y="818"/>
                </a:lnTo>
                <a:lnTo>
                  <a:pt x="390" y="824"/>
                </a:lnTo>
                <a:lnTo>
                  <a:pt x="384" y="828"/>
                </a:lnTo>
                <a:lnTo>
                  <a:pt x="384" y="828"/>
                </a:lnTo>
                <a:lnTo>
                  <a:pt x="382" y="826"/>
                </a:lnTo>
                <a:lnTo>
                  <a:pt x="380" y="822"/>
                </a:lnTo>
                <a:lnTo>
                  <a:pt x="380" y="822"/>
                </a:lnTo>
                <a:lnTo>
                  <a:pt x="378" y="818"/>
                </a:lnTo>
                <a:lnTo>
                  <a:pt x="374" y="816"/>
                </a:lnTo>
                <a:lnTo>
                  <a:pt x="374" y="816"/>
                </a:lnTo>
                <a:lnTo>
                  <a:pt x="368" y="810"/>
                </a:lnTo>
                <a:lnTo>
                  <a:pt x="368" y="810"/>
                </a:lnTo>
                <a:lnTo>
                  <a:pt x="364" y="806"/>
                </a:lnTo>
                <a:lnTo>
                  <a:pt x="364" y="806"/>
                </a:lnTo>
                <a:lnTo>
                  <a:pt x="362" y="804"/>
                </a:lnTo>
                <a:lnTo>
                  <a:pt x="360" y="804"/>
                </a:lnTo>
                <a:lnTo>
                  <a:pt x="356" y="804"/>
                </a:lnTo>
                <a:lnTo>
                  <a:pt x="356" y="804"/>
                </a:lnTo>
                <a:lnTo>
                  <a:pt x="356" y="804"/>
                </a:lnTo>
                <a:lnTo>
                  <a:pt x="356" y="802"/>
                </a:lnTo>
                <a:lnTo>
                  <a:pt x="356" y="800"/>
                </a:lnTo>
                <a:lnTo>
                  <a:pt x="356" y="798"/>
                </a:lnTo>
                <a:lnTo>
                  <a:pt x="356" y="798"/>
                </a:lnTo>
                <a:lnTo>
                  <a:pt x="352" y="796"/>
                </a:lnTo>
                <a:lnTo>
                  <a:pt x="350" y="794"/>
                </a:lnTo>
                <a:lnTo>
                  <a:pt x="350" y="794"/>
                </a:lnTo>
                <a:lnTo>
                  <a:pt x="348" y="792"/>
                </a:lnTo>
                <a:lnTo>
                  <a:pt x="346" y="788"/>
                </a:lnTo>
                <a:lnTo>
                  <a:pt x="346" y="788"/>
                </a:lnTo>
                <a:lnTo>
                  <a:pt x="342" y="786"/>
                </a:lnTo>
                <a:lnTo>
                  <a:pt x="338" y="788"/>
                </a:lnTo>
                <a:lnTo>
                  <a:pt x="338" y="788"/>
                </a:lnTo>
                <a:lnTo>
                  <a:pt x="334" y="790"/>
                </a:lnTo>
                <a:lnTo>
                  <a:pt x="334" y="790"/>
                </a:lnTo>
                <a:lnTo>
                  <a:pt x="332" y="790"/>
                </a:lnTo>
                <a:lnTo>
                  <a:pt x="332" y="790"/>
                </a:lnTo>
                <a:lnTo>
                  <a:pt x="330" y="788"/>
                </a:lnTo>
                <a:lnTo>
                  <a:pt x="328" y="788"/>
                </a:lnTo>
                <a:lnTo>
                  <a:pt x="322" y="790"/>
                </a:lnTo>
                <a:lnTo>
                  <a:pt x="322" y="790"/>
                </a:lnTo>
                <a:lnTo>
                  <a:pt x="318" y="790"/>
                </a:lnTo>
                <a:lnTo>
                  <a:pt x="316" y="788"/>
                </a:lnTo>
                <a:lnTo>
                  <a:pt x="312" y="782"/>
                </a:lnTo>
                <a:lnTo>
                  <a:pt x="312" y="782"/>
                </a:lnTo>
                <a:lnTo>
                  <a:pt x="308" y="780"/>
                </a:lnTo>
                <a:lnTo>
                  <a:pt x="304" y="778"/>
                </a:lnTo>
                <a:lnTo>
                  <a:pt x="304" y="778"/>
                </a:lnTo>
                <a:lnTo>
                  <a:pt x="300" y="778"/>
                </a:lnTo>
                <a:lnTo>
                  <a:pt x="294" y="778"/>
                </a:lnTo>
                <a:lnTo>
                  <a:pt x="294" y="778"/>
                </a:lnTo>
                <a:lnTo>
                  <a:pt x="288" y="778"/>
                </a:lnTo>
                <a:lnTo>
                  <a:pt x="286" y="774"/>
                </a:lnTo>
                <a:lnTo>
                  <a:pt x="286" y="774"/>
                </a:lnTo>
                <a:lnTo>
                  <a:pt x="284" y="774"/>
                </a:lnTo>
                <a:lnTo>
                  <a:pt x="280" y="774"/>
                </a:lnTo>
                <a:lnTo>
                  <a:pt x="276" y="776"/>
                </a:lnTo>
                <a:lnTo>
                  <a:pt x="276" y="776"/>
                </a:lnTo>
                <a:lnTo>
                  <a:pt x="272" y="780"/>
                </a:lnTo>
                <a:lnTo>
                  <a:pt x="272" y="784"/>
                </a:lnTo>
                <a:lnTo>
                  <a:pt x="272" y="784"/>
                </a:lnTo>
                <a:lnTo>
                  <a:pt x="270" y="782"/>
                </a:lnTo>
                <a:lnTo>
                  <a:pt x="270" y="782"/>
                </a:lnTo>
                <a:lnTo>
                  <a:pt x="266" y="778"/>
                </a:lnTo>
                <a:lnTo>
                  <a:pt x="262" y="774"/>
                </a:lnTo>
                <a:lnTo>
                  <a:pt x="262" y="774"/>
                </a:lnTo>
                <a:lnTo>
                  <a:pt x="260" y="772"/>
                </a:lnTo>
                <a:lnTo>
                  <a:pt x="256" y="772"/>
                </a:lnTo>
                <a:lnTo>
                  <a:pt x="256" y="772"/>
                </a:lnTo>
                <a:lnTo>
                  <a:pt x="254" y="766"/>
                </a:lnTo>
                <a:lnTo>
                  <a:pt x="254" y="766"/>
                </a:lnTo>
                <a:lnTo>
                  <a:pt x="250" y="764"/>
                </a:lnTo>
                <a:lnTo>
                  <a:pt x="250" y="764"/>
                </a:lnTo>
                <a:lnTo>
                  <a:pt x="248" y="760"/>
                </a:lnTo>
                <a:lnTo>
                  <a:pt x="248" y="760"/>
                </a:lnTo>
                <a:lnTo>
                  <a:pt x="246" y="760"/>
                </a:lnTo>
                <a:lnTo>
                  <a:pt x="244" y="760"/>
                </a:lnTo>
                <a:lnTo>
                  <a:pt x="244" y="760"/>
                </a:lnTo>
                <a:lnTo>
                  <a:pt x="240" y="754"/>
                </a:lnTo>
                <a:lnTo>
                  <a:pt x="240" y="754"/>
                </a:lnTo>
                <a:lnTo>
                  <a:pt x="240" y="750"/>
                </a:lnTo>
                <a:lnTo>
                  <a:pt x="240" y="750"/>
                </a:lnTo>
                <a:lnTo>
                  <a:pt x="230" y="754"/>
                </a:lnTo>
                <a:lnTo>
                  <a:pt x="230" y="754"/>
                </a:lnTo>
                <a:lnTo>
                  <a:pt x="230" y="750"/>
                </a:lnTo>
                <a:lnTo>
                  <a:pt x="230" y="750"/>
                </a:lnTo>
                <a:lnTo>
                  <a:pt x="236" y="748"/>
                </a:lnTo>
                <a:lnTo>
                  <a:pt x="236" y="748"/>
                </a:lnTo>
                <a:lnTo>
                  <a:pt x="236" y="744"/>
                </a:lnTo>
                <a:lnTo>
                  <a:pt x="236" y="744"/>
                </a:lnTo>
                <a:lnTo>
                  <a:pt x="244" y="744"/>
                </a:lnTo>
                <a:lnTo>
                  <a:pt x="244" y="744"/>
                </a:lnTo>
                <a:lnTo>
                  <a:pt x="244" y="740"/>
                </a:lnTo>
                <a:lnTo>
                  <a:pt x="244" y="740"/>
                </a:lnTo>
                <a:lnTo>
                  <a:pt x="248" y="738"/>
                </a:lnTo>
                <a:lnTo>
                  <a:pt x="248" y="738"/>
                </a:lnTo>
                <a:lnTo>
                  <a:pt x="250" y="734"/>
                </a:lnTo>
                <a:lnTo>
                  <a:pt x="250" y="732"/>
                </a:lnTo>
                <a:lnTo>
                  <a:pt x="250" y="732"/>
                </a:lnTo>
                <a:lnTo>
                  <a:pt x="244" y="730"/>
                </a:lnTo>
                <a:lnTo>
                  <a:pt x="244" y="730"/>
                </a:lnTo>
                <a:lnTo>
                  <a:pt x="242" y="726"/>
                </a:lnTo>
                <a:lnTo>
                  <a:pt x="242" y="726"/>
                </a:lnTo>
                <a:lnTo>
                  <a:pt x="252" y="726"/>
                </a:lnTo>
                <a:lnTo>
                  <a:pt x="252" y="726"/>
                </a:lnTo>
                <a:lnTo>
                  <a:pt x="252" y="720"/>
                </a:lnTo>
                <a:lnTo>
                  <a:pt x="252" y="720"/>
                </a:lnTo>
                <a:lnTo>
                  <a:pt x="254" y="720"/>
                </a:lnTo>
                <a:lnTo>
                  <a:pt x="256" y="720"/>
                </a:lnTo>
                <a:lnTo>
                  <a:pt x="256" y="720"/>
                </a:lnTo>
                <a:lnTo>
                  <a:pt x="258" y="718"/>
                </a:lnTo>
                <a:lnTo>
                  <a:pt x="260" y="716"/>
                </a:lnTo>
                <a:lnTo>
                  <a:pt x="260" y="716"/>
                </a:lnTo>
                <a:lnTo>
                  <a:pt x="268" y="712"/>
                </a:lnTo>
                <a:lnTo>
                  <a:pt x="268" y="710"/>
                </a:lnTo>
                <a:lnTo>
                  <a:pt x="268" y="710"/>
                </a:lnTo>
                <a:lnTo>
                  <a:pt x="266" y="710"/>
                </a:lnTo>
                <a:lnTo>
                  <a:pt x="266" y="710"/>
                </a:lnTo>
                <a:lnTo>
                  <a:pt x="264" y="712"/>
                </a:lnTo>
                <a:lnTo>
                  <a:pt x="264" y="712"/>
                </a:lnTo>
                <a:lnTo>
                  <a:pt x="260" y="712"/>
                </a:lnTo>
                <a:lnTo>
                  <a:pt x="262" y="708"/>
                </a:lnTo>
                <a:lnTo>
                  <a:pt x="264" y="704"/>
                </a:lnTo>
                <a:lnTo>
                  <a:pt x="264" y="704"/>
                </a:lnTo>
                <a:lnTo>
                  <a:pt x="270" y="702"/>
                </a:lnTo>
                <a:lnTo>
                  <a:pt x="274" y="702"/>
                </a:lnTo>
                <a:lnTo>
                  <a:pt x="276" y="700"/>
                </a:lnTo>
                <a:lnTo>
                  <a:pt x="276" y="700"/>
                </a:lnTo>
                <a:lnTo>
                  <a:pt x="278" y="690"/>
                </a:lnTo>
                <a:lnTo>
                  <a:pt x="278" y="690"/>
                </a:lnTo>
                <a:lnTo>
                  <a:pt x="278" y="686"/>
                </a:lnTo>
                <a:lnTo>
                  <a:pt x="276" y="684"/>
                </a:lnTo>
                <a:lnTo>
                  <a:pt x="276" y="684"/>
                </a:lnTo>
                <a:lnTo>
                  <a:pt x="276" y="680"/>
                </a:lnTo>
                <a:lnTo>
                  <a:pt x="276" y="678"/>
                </a:lnTo>
                <a:lnTo>
                  <a:pt x="276" y="676"/>
                </a:lnTo>
                <a:lnTo>
                  <a:pt x="274" y="674"/>
                </a:lnTo>
                <a:lnTo>
                  <a:pt x="274" y="674"/>
                </a:lnTo>
                <a:lnTo>
                  <a:pt x="272" y="672"/>
                </a:lnTo>
                <a:lnTo>
                  <a:pt x="274" y="672"/>
                </a:lnTo>
                <a:lnTo>
                  <a:pt x="276" y="668"/>
                </a:lnTo>
                <a:lnTo>
                  <a:pt x="276" y="668"/>
                </a:lnTo>
                <a:lnTo>
                  <a:pt x="276" y="666"/>
                </a:lnTo>
                <a:lnTo>
                  <a:pt x="274" y="666"/>
                </a:lnTo>
                <a:lnTo>
                  <a:pt x="270" y="664"/>
                </a:lnTo>
                <a:lnTo>
                  <a:pt x="270" y="664"/>
                </a:lnTo>
                <a:lnTo>
                  <a:pt x="270" y="662"/>
                </a:lnTo>
                <a:lnTo>
                  <a:pt x="270" y="662"/>
                </a:lnTo>
                <a:lnTo>
                  <a:pt x="272" y="660"/>
                </a:lnTo>
                <a:lnTo>
                  <a:pt x="270" y="656"/>
                </a:lnTo>
                <a:lnTo>
                  <a:pt x="270" y="656"/>
                </a:lnTo>
                <a:lnTo>
                  <a:pt x="252" y="650"/>
                </a:lnTo>
                <a:lnTo>
                  <a:pt x="252" y="650"/>
                </a:lnTo>
                <a:lnTo>
                  <a:pt x="248" y="648"/>
                </a:lnTo>
                <a:lnTo>
                  <a:pt x="244" y="646"/>
                </a:lnTo>
                <a:lnTo>
                  <a:pt x="244" y="646"/>
                </a:lnTo>
                <a:lnTo>
                  <a:pt x="242" y="644"/>
                </a:lnTo>
                <a:lnTo>
                  <a:pt x="242" y="642"/>
                </a:lnTo>
                <a:lnTo>
                  <a:pt x="242" y="642"/>
                </a:lnTo>
                <a:lnTo>
                  <a:pt x="238" y="640"/>
                </a:lnTo>
                <a:lnTo>
                  <a:pt x="234" y="640"/>
                </a:lnTo>
                <a:lnTo>
                  <a:pt x="234" y="640"/>
                </a:lnTo>
                <a:lnTo>
                  <a:pt x="230" y="642"/>
                </a:lnTo>
                <a:lnTo>
                  <a:pt x="230" y="642"/>
                </a:lnTo>
                <a:lnTo>
                  <a:pt x="222" y="646"/>
                </a:lnTo>
                <a:lnTo>
                  <a:pt x="222" y="646"/>
                </a:lnTo>
                <a:lnTo>
                  <a:pt x="220" y="642"/>
                </a:lnTo>
                <a:lnTo>
                  <a:pt x="220" y="638"/>
                </a:lnTo>
                <a:lnTo>
                  <a:pt x="218" y="636"/>
                </a:lnTo>
                <a:lnTo>
                  <a:pt x="218" y="636"/>
                </a:lnTo>
                <a:lnTo>
                  <a:pt x="212" y="634"/>
                </a:lnTo>
                <a:lnTo>
                  <a:pt x="212" y="634"/>
                </a:lnTo>
                <a:lnTo>
                  <a:pt x="210" y="630"/>
                </a:lnTo>
                <a:lnTo>
                  <a:pt x="210" y="628"/>
                </a:lnTo>
                <a:lnTo>
                  <a:pt x="208" y="628"/>
                </a:lnTo>
                <a:lnTo>
                  <a:pt x="208" y="628"/>
                </a:lnTo>
                <a:lnTo>
                  <a:pt x="204" y="630"/>
                </a:lnTo>
                <a:lnTo>
                  <a:pt x="198" y="626"/>
                </a:lnTo>
                <a:lnTo>
                  <a:pt x="198" y="626"/>
                </a:lnTo>
                <a:lnTo>
                  <a:pt x="194" y="626"/>
                </a:lnTo>
                <a:lnTo>
                  <a:pt x="190" y="626"/>
                </a:lnTo>
                <a:lnTo>
                  <a:pt x="190" y="626"/>
                </a:lnTo>
                <a:lnTo>
                  <a:pt x="188" y="626"/>
                </a:lnTo>
                <a:lnTo>
                  <a:pt x="186" y="624"/>
                </a:lnTo>
                <a:lnTo>
                  <a:pt x="186" y="622"/>
                </a:lnTo>
                <a:lnTo>
                  <a:pt x="186" y="620"/>
                </a:lnTo>
                <a:lnTo>
                  <a:pt x="186" y="620"/>
                </a:lnTo>
                <a:lnTo>
                  <a:pt x="184" y="620"/>
                </a:lnTo>
                <a:lnTo>
                  <a:pt x="184" y="618"/>
                </a:lnTo>
                <a:lnTo>
                  <a:pt x="182" y="614"/>
                </a:lnTo>
                <a:lnTo>
                  <a:pt x="182" y="614"/>
                </a:lnTo>
                <a:lnTo>
                  <a:pt x="182" y="612"/>
                </a:lnTo>
                <a:lnTo>
                  <a:pt x="180" y="608"/>
                </a:lnTo>
                <a:lnTo>
                  <a:pt x="180" y="608"/>
                </a:lnTo>
                <a:lnTo>
                  <a:pt x="180" y="606"/>
                </a:lnTo>
                <a:lnTo>
                  <a:pt x="178" y="606"/>
                </a:lnTo>
                <a:lnTo>
                  <a:pt x="174" y="606"/>
                </a:lnTo>
                <a:lnTo>
                  <a:pt x="174" y="606"/>
                </a:lnTo>
                <a:lnTo>
                  <a:pt x="170" y="604"/>
                </a:lnTo>
                <a:lnTo>
                  <a:pt x="170" y="604"/>
                </a:lnTo>
                <a:lnTo>
                  <a:pt x="168" y="606"/>
                </a:lnTo>
                <a:lnTo>
                  <a:pt x="168" y="606"/>
                </a:lnTo>
                <a:lnTo>
                  <a:pt x="166" y="608"/>
                </a:lnTo>
                <a:lnTo>
                  <a:pt x="162" y="608"/>
                </a:lnTo>
                <a:lnTo>
                  <a:pt x="160" y="604"/>
                </a:lnTo>
                <a:lnTo>
                  <a:pt x="160" y="588"/>
                </a:lnTo>
                <a:lnTo>
                  <a:pt x="160" y="588"/>
                </a:lnTo>
                <a:lnTo>
                  <a:pt x="158" y="586"/>
                </a:lnTo>
                <a:lnTo>
                  <a:pt x="156" y="584"/>
                </a:lnTo>
                <a:lnTo>
                  <a:pt x="154" y="584"/>
                </a:lnTo>
                <a:lnTo>
                  <a:pt x="154" y="580"/>
                </a:lnTo>
                <a:lnTo>
                  <a:pt x="154" y="580"/>
                </a:lnTo>
                <a:lnTo>
                  <a:pt x="156" y="578"/>
                </a:lnTo>
                <a:lnTo>
                  <a:pt x="158" y="578"/>
                </a:lnTo>
                <a:lnTo>
                  <a:pt x="162" y="580"/>
                </a:lnTo>
                <a:lnTo>
                  <a:pt x="164" y="580"/>
                </a:lnTo>
                <a:lnTo>
                  <a:pt x="164" y="580"/>
                </a:lnTo>
                <a:lnTo>
                  <a:pt x="166" y="578"/>
                </a:lnTo>
                <a:lnTo>
                  <a:pt x="166" y="576"/>
                </a:lnTo>
                <a:lnTo>
                  <a:pt x="164" y="570"/>
                </a:lnTo>
                <a:lnTo>
                  <a:pt x="164" y="570"/>
                </a:lnTo>
                <a:lnTo>
                  <a:pt x="160" y="566"/>
                </a:lnTo>
                <a:lnTo>
                  <a:pt x="156" y="562"/>
                </a:lnTo>
                <a:lnTo>
                  <a:pt x="156" y="562"/>
                </a:lnTo>
                <a:lnTo>
                  <a:pt x="154" y="560"/>
                </a:lnTo>
                <a:lnTo>
                  <a:pt x="154" y="558"/>
                </a:lnTo>
                <a:lnTo>
                  <a:pt x="154" y="550"/>
                </a:lnTo>
                <a:lnTo>
                  <a:pt x="154" y="550"/>
                </a:lnTo>
                <a:lnTo>
                  <a:pt x="152" y="544"/>
                </a:lnTo>
                <a:lnTo>
                  <a:pt x="150" y="540"/>
                </a:lnTo>
                <a:lnTo>
                  <a:pt x="150" y="540"/>
                </a:lnTo>
                <a:lnTo>
                  <a:pt x="150" y="536"/>
                </a:lnTo>
                <a:lnTo>
                  <a:pt x="148" y="536"/>
                </a:lnTo>
                <a:lnTo>
                  <a:pt x="146" y="534"/>
                </a:lnTo>
                <a:lnTo>
                  <a:pt x="146" y="532"/>
                </a:lnTo>
                <a:lnTo>
                  <a:pt x="146" y="532"/>
                </a:lnTo>
                <a:lnTo>
                  <a:pt x="144" y="530"/>
                </a:lnTo>
                <a:lnTo>
                  <a:pt x="142" y="530"/>
                </a:lnTo>
                <a:lnTo>
                  <a:pt x="138" y="528"/>
                </a:lnTo>
                <a:lnTo>
                  <a:pt x="138" y="528"/>
                </a:lnTo>
                <a:lnTo>
                  <a:pt x="132" y="526"/>
                </a:lnTo>
                <a:lnTo>
                  <a:pt x="132" y="526"/>
                </a:lnTo>
                <a:lnTo>
                  <a:pt x="130" y="526"/>
                </a:lnTo>
                <a:lnTo>
                  <a:pt x="126" y="528"/>
                </a:lnTo>
                <a:lnTo>
                  <a:pt x="126" y="528"/>
                </a:lnTo>
                <a:lnTo>
                  <a:pt x="124" y="528"/>
                </a:lnTo>
                <a:lnTo>
                  <a:pt x="124" y="526"/>
                </a:lnTo>
                <a:lnTo>
                  <a:pt x="122" y="524"/>
                </a:lnTo>
                <a:lnTo>
                  <a:pt x="122" y="524"/>
                </a:lnTo>
                <a:lnTo>
                  <a:pt x="120" y="518"/>
                </a:lnTo>
                <a:lnTo>
                  <a:pt x="120" y="518"/>
                </a:lnTo>
                <a:lnTo>
                  <a:pt x="116" y="512"/>
                </a:lnTo>
                <a:lnTo>
                  <a:pt x="116" y="512"/>
                </a:lnTo>
                <a:lnTo>
                  <a:pt x="114" y="510"/>
                </a:lnTo>
                <a:lnTo>
                  <a:pt x="112" y="510"/>
                </a:lnTo>
                <a:lnTo>
                  <a:pt x="112" y="510"/>
                </a:lnTo>
                <a:lnTo>
                  <a:pt x="110" y="508"/>
                </a:lnTo>
                <a:lnTo>
                  <a:pt x="110" y="508"/>
                </a:lnTo>
                <a:lnTo>
                  <a:pt x="110" y="498"/>
                </a:lnTo>
                <a:lnTo>
                  <a:pt x="110" y="498"/>
                </a:lnTo>
                <a:lnTo>
                  <a:pt x="106" y="500"/>
                </a:lnTo>
                <a:lnTo>
                  <a:pt x="104" y="500"/>
                </a:lnTo>
                <a:lnTo>
                  <a:pt x="102" y="498"/>
                </a:lnTo>
                <a:lnTo>
                  <a:pt x="102" y="498"/>
                </a:lnTo>
                <a:lnTo>
                  <a:pt x="102" y="494"/>
                </a:lnTo>
                <a:lnTo>
                  <a:pt x="100" y="494"/>
                </a:lnTo>
                <a:lnTo>
                  <a:pt x="100" y="494"/>
                </a:lnTo>
                <a:lnTo>
                  <a:pt x="102" y="490"/>
                </a:lnTo>
                <a:lnTo>
                  <a:pt x="102" y="486"/>
                </a:lnTo>
                <a:lnTo>
                  <a:pt x="104" y="486"/>
                </a:lnTo>
                <a:lnTo>
                  <a:pt x="104" y="486"/>
                </a:lnTo>
                <a:lnTo>
                  <a:pt x="108" y="482"/>
                </a:lnTo>
                <a:lnTo>
                  <a:pt x="110" y="480"/>
                </a:lnTo>
                <a:lnTo>
                  <a:pt x="110" y="480"/>
                </a:lnTo>
                <a:lnTo>
                  <a:pt x="112" y="480"/>
                </a:lnTo>
                <a:lnTo>
                  <a:pt x="112" y="480"/>
                </a:lnTo>
                <a:lnTo>
                  <a:pt x="114" y="470"/>
                </a:lnTo>
                <a:lnTo>
                  <a:pt x="112" y="462"/>
                </a:lnTo>
                <a:lnTo>
                  <a:pt x="116" y="460"/>
                </a:lnTo>
                <a:lnTo>
                  <a:pt x="116" y="460"/>
                </a:lnTo>
                <a:lnTo>
                  <a:pt x="116" y="458"/>
                </a:lnTo>
                <a:lnTo>
                  <a:pt x="118" y="456"/>
                </a:lnTo>
                <a:lnTo>
                  <a:pt x="118" y="456"/>
                </a:lnTo>
                <a:lnTo>
                  <a:pt x="116" y="452"/>
                </a:lnTo>
                <a:lnTo>
                  <a:pt x="114" y="450"/>
                </a:lnTo>
                <a:lnTo>
                  <a:pt x="114" y="450"/>
                </a:lnTo>
                <a:lnTo>
                  <a:pt x="118" y="440"/>
                </a:lnTo>
                <a:lnTo>
                  <a:pt x="118" y="440"/>
                </a:lnTo>
                <a:lnTo>
                  <a:pt x="120" y="442"/>
                </a:lnTo>
                <a:lnTo>
                  <a:pt x="120" y="442"/>
                </a:lnTo>
                <a:lnTo>
                  <a:pt x="120" y="442"/>
                </a:lnTo>
                <a:lnTo>
                  <a:pt x="122" y="440"/>
                </a:lnTo>
                <a:lnTo>
                  <a:pt x="122" y="440"/>
                </a:lnTo>
                <a:lnTo>
                  <a:pt x="126" y="442"/>
                </a:lnTo>
                <a:lnTo>
                  <a:pt x="130" y="442"/>
                </a:lnTo>
                <a:lnTo>
                  <a:pt x="130" y="442"/>
                </a:lnTo>
                <a:lnTo>
                  <a:pt x="132" y="440"/>
                </a:lnTo>
                <a:lnTo>
                  <a:pt x="136" y="436"/>
                </a:lnTo>
                <a:lnTo>
                  <a:pt x="136" y="436"/>
                </a:lnTo>
                <a:lnTo>
                  <a:pt x="140" y="438"/>
                </a:lnTo>
                <a:lnTo>
                  <a:pt x="142" y="438"/>
                </a:lnTo>
                <a:lnTo>
                  <a:pt x="142" y="438"/>
                </a:lnTo>
                <a:lnTo>
                  <a:pt x="146" y="438"/>
                </a:lnTo>
                <a:lnTo>
                  <a:pt x="148" y="436"/>
                </a:lnTo>
                <a:lnTo>
                  <a:pt x="148" y="436"/>
                </a:lnTo>
                <a:lnTo>
                  <a:pt x="144" y="436"/>
                </a:lnTo>
                <a:lnTo>
                  <a:pt x="144" y="436"/>
                </a:lnTo>
                <a:lnTo>
                  <a:pt x="142" y="432"/>
                </a:lnTo>
                <a:lnTo>
                  <a:pt x="138" y="428"/>
                </a:lnTo>
                <a:lnTo>
                  <a:pt x="138" y="428"/>
                </a:lnTo>
                <a:lnTo>
                  <a:pt x="128" y="430"/>
                </a:lnTo>
                <a:lnTo>
                  <a:pt x="128" y="430"/>
                </a:lnTo>
                <a:lnTo>
                  <a:pt x="116" y="420"/>
                </a:lnTo>
                <a:lnTo>
                  <a:pt x="116" y="420"/>
                </a:lnTo>
                <a:lnTo>
                  <a:pt x="118" y="418"/>
                </a:lnTo>
                <a:lnTo>
                  <a:pt x="118" y="418"/>
                </a:lnTo>
                <a:lnTo>
                  <a:pt x="118" y="418"/>
                </a:lnTo>
                <a:lnTo>
                  <a:pt x="118" y="416"/>
                </a:lnTo>
                <a:lnTo>
                  <a:pt x="118" y="416"/>
                </a:lnTo>
                <a:lnTo>
                  <a:pt x="110" y="420"/>
                </a:lnTo>
                <a:lnTo>
                  <a:pt x="110" y="420"/>
                </a:lnTo>
                <a:lnTo>
                  <a:pt x="110" y="420"/>
                </a:lnTo>
                <a:lnTo>
                  <a:pt x="108" y="420"/>
                </a:lnTo>
                <a:lnTo>
                  <a:pt x="108" y="420"/>
                </a:lnTo>
                <a:lnTo>
                  <a:pt x="116" y="414"/>
                </a:lnTo>
                <a:lnTo>
                  <a:pt x="116" y="414"/>
                </a:lnTo>
                <a:lnTo>
                  <a:pt x="140" y="398"/>
                </a:lnTo>
                <a:lnTo>
                  <a:pt x="156" y="388"/>
                </a:lnTo>
                <a:lnTo>
                  <a:pt x="162" y="382"/>
                </a:lnTo>
                <a:lnTo>
                  <a:pt x="162" y="382"/>
                </a:lnTo>
                <a:lnTo>
                  <a:pt x="162" y="378"/>
                </a:lnTo>
                <a:lnTo>
                  <a:pt x="160" y="372"/>
                </a:lnTo>
                <a:lnTo>
                  <a:pt x="160" y="372"/>
                </a:lnTo>
                <a:lnTo>
                  <a:pt x="160" y="370"/>
                </a:lnTo>
                <a:lnTo>
                  <a:pt x="158" y="370"/>
                </a:lnTo>
                <a:lnTo>
                  <a:pt x="152" y="368"/>
                </a:lnTo>
                <a:lnTo>
                  <a:pt x="152" y="368"/>
                </a:lnTo>
                <a:lnTo>
                  <a:pt x="150" y="366"/>
                </a:lnTo>
                <a:lnTo>
                  <a:pt x="150" y="364"/>
                </a:lnTo>
                <a:lnTo>
                  <a:pt x="150" y="358"/>
                </a:lnTo>
                <a:lnTo>
                  <a:pt x="150" y="358"/>
                </a:lnTo>
                <a:lnTo>
                  <a:pt x="150" y="354"/>
                </a:lnTo>
                <a:lnTo>
                  <a:pt x="154" y="350"/>
                </a:lnTo>
                <a:lnTo>
                  <a:pt x="154" y="350"/>
                </a:lnTo>
                <a:lnTo>
                  <a:pt x="154" y="348"/>
                </a:lnTo>
                <a:lnTo>
                  <a:pt x="154" y="346"/>
                </a:lnTo>
                <a:lnTo>
                  <a:pt x="152" y="340"/>
                </a:lnTo>
                <a:lnTo>
                  <a:pt x="152" y="340"/>
                </a:lnTo>
                <a:lnTo>
                  <a:pt x="150" y="336"/>
                </a:lnTo>
                <a:lnTo>
                  <a:pt x="148" y="334"/>
                </a:lnTo>
                <a:lnTo>
                  <a:pt x="148" y="334"/>
                </a:lnTo>
                <a:lnTo>
                  <a:pt x="144" y="330"/>
                </a:lnTo>
                <a:lnTo>
                  <a:pt x="144" y="326"/>
                </a:lnTo>
                <a:lnTo>
                  <a:pt x="144" y="326"/>
                </a:lnTo>
                <a:lnTo>
                  <a:pt x="142" y="318"/>
                </a:lnTo>
                <a:lnTo>
                  <a:pt x="142" y="318"/>
                </a:lnTo>
                <a:lnTo>
                  <a:pt x="142" y="314"/>
                </a:lnTo>
                <a:lnTo>
                  <a:pt x="142" y="310"/>
                </a:lnTo>
                <a:lnTo>
                  <a:pt x="142" y="310"/>
                </a:lnTo>
                <a:lnTo>
                  <a:pt x="144" y="308"/>
                </a:lnTo>
                <a:lnTo>
                  <a:pt x="142" y="306"/>
                </a:lnTo>
                <a:lnTo>
                  <a:pt x="142" y="302"/>
                </a:lnTo>
                <a:lnTo>
                  <a:pt x="142" y="302"/>
                </a:lnTo>
                <a:lnTo>
                  <a:pt x="142" y="298"/>
                </a:lnTo>
                <a:lnTo>
                  <a:pt x="140" y="294"/>
                </a:lnTo>
                <a:lnTo>
                  <a:pt x="140" y="294"/>
                </a:lnTo>
                <a:lnTo>
                  <a:pt x="134" y="268"/>
                </a:lnTo>
                <a:lnTo>
                  <a:pt x="134" y="268"/>
                </a:lnTo>
                <a:lnTo>
                  <a:pt x="134" y="266"/>
                </a:lnTo>
                <a:lnTo>
                  <a:pt x="136" y="262"/>
                </a:lnTo>
                <a:lnTo>
                  <a:pt x="142" y="256"/>
                </a:lnTo>
                <a:lnTo>
                  <a:pt x="142" y="256"/>
                </a:lnTo>
                <a:lnTo>
                  <a:pt x="142" y="252"/>
                </a:lnTo>
                <a:lnTo>
                  <a:pt x="140" y="248"/>
                </a:lnTo>
                <a:lnTo>
                  <a:pt x="138" y="244"/>
                </a:lnTo>
                <a:lnTo>
                  <a:pt x="138" y="244"/>
                </a:lnTo>
                <a:lnTo>
                  <a:pt x="136" y="246"/>
                </a:lnTo>
                <a:lnTo>
                  <a:pt x="134" y="244"/>
                </a:lnTo>
                <a:lnTo>
                  <a:pt x="134" y="244"/>
                </a:lnTo>
                <a:lnTo>
                  <a:pt x="132" y="240"/>
                </a:lnTo>
                <a:lnTo>
                  <a:pt x="132" y="234"/>
                </a:lnTo>
                <a:lnTo>
                  <a:pt x="134" y="226"/>
                </a:lnTo>
                <a:lnTo>
                  <a:pt x="138" y="222"/>
                </a:lnTo>
                <a:lnTo>
                  <a:pt x="138" y="224"/>
                </a:lnTo>
                <a:lnTo>
                  <a:pt x="138" y="224"/>
                </a:lnTo>
                <a:lnTo>
                  <a:pt x="140" y="226"/>
                </a:lnTo>
                <a:lnTo>
                  <a:pt x="140" y="226"/>
                </a:lnTo>
                <a:lnTo>
                  <a:pt x="142" y="226"/>
                </a:lnTo>
                <a:lnTo>
                  <a:pt x="142" y="226"/>
                </a:lnTo>
                <a:lnTo>
                  <a:pt x="144" y="220"/>
                </a:lnTo>
                <a:lnTo>
                  <a:pt x="144" y="216"/>
                </a:lnTo>
                <a:lnTo>
                  <a:pt x="144" y="216"/>
                </a:lnTo>
                <a:lnTo>
                  <a:pt x="144" y="210"/>
                </a:lnTo>
                <a:lnTo>
                  <a:pt x="142" y="208"/>
                </a:lnTo>
                <a:lnTo>
                  <a:pt x="142" y="208"/>
                </a:lnTo>
                <a:lnTo>
                  <a:pt x="144" y="208"/>
                </a:lnTo>
                <a:lnTo>
                  <a:pt x="146" y="208"/>
                </a:lnTo>
                <a:lnTo>
                  <a:pt x="146" y="208"/>
                </a:lnTo>
                <a:lnTo>
                  <a:pt x="146" y="208"/>
                </a:lnTo>
                <a:lnTo>
                  <a:pt x="148" y="206"/>
                </a:lnTo>
                <a:lnTo>
                  <a:pt x="152" y="204"/>
                </a:lnTo>
                <a:lnTo>
                  <a:pt x="156" y="202"/>
                </a:lnTo>
                <a:lnTo>
                  <a:pt x="156" y="202"/>
                </a:lnTo>
                <a:lnTo>
                  <a:pt x="160" y="202"/>
                </a:lnTo>
                <a:lnTo>
                  <a:pt x="160" y="202"/>
                </a:lnTo>
                <a:lnTo>
                  <a:pt x="162" y="204"/>
                </a:lnTo>
                <a:lnTo>
                  <a:pt x="164" y="206"/>
                </a:lnTo>
                <a:lnTo>
                  <a:pt x="164" y="202"/>
                </a:lnTo>
                <a:lnTo>
                  <a:pt x="164" y="202"/>
                </a:lnTo>
                <a:lnTo>
                  <a:pt x="168" y="202"/>
                </a:lnTo>
                <a:lnTo>
                  <a:pt x="168" y="202"/>
                </a:lnTo>
                <a:lnTo>
                  <a:pt x="168" y="200"/>
                </a:lnTo>
                <a:lnTo>
                  <a:pt x="168" y="200"/>
                </a:lnTo>
                <a:lnTo>
                  <a:pt x="170" y="200"/>
                </a:lnTo>
                <a:lnTo>
                  <a:pt x="170" y="200"/>
                </a:lnTo>
                <a:lnTo>
                  <a:pt x="180" y="206"/>
                </a:lnTo>
                <a:lnTo>
                  <a:pt x="180" y="206"/>
                </a:lnTo>
                <a:lnTo>
                  <a:pt x="172" y="210"/>
                </a:lnTo>
                <a:lnTo>
                  <a:pt x="172" y="210"/>
                </a:lnTo>
                <a:lnTo>
                  <a:pt x="172" y="212"/>
                </a:lnTo>
                <a:lnTo>
                  <a:pt x="172" y="212"/>
                </a:lnTo>
                <a:lnTo>
                  <a:pt x="178" y="214"/>
                </a:lnTo>
                <a:lnTo>
                  <a:pt x="182" y="214"/>
                </a:lnTo>
                <a:lnTo>
                  <a:pt x="182" y="214"/>
                </a:lnTo>
                <a:lnTo>
                  <a:pt x="186" y="214"/>
                </a:lnTo>
                <a:lnTo>
                  <a:pt x="186" y="214"/>
                </a:lnTo>
                <a:lnTo>
                  <a:pt x="188" y="214"/>
                </a:lnTo>
                <a:lnTo>
                  <a:pt x="190" y="214"/>
                </a:lnTo>
                <a:lnTo>
                  <a:pt x="190" y="214"/>
                </a:lnTo>
                <a:lnTo>
                  <a:pt x="190" y="216"/>
                </a:lnTo>
                <a:lnTo>
                  <a:pt x="190" y="216"/>
                </a:lnTo>
                <a:lnTo>
                  <a:pt x="196" y="216"/>
                </a:lnTo>
                <a:lnTo>
                  <a:pt x="204" y="218"/>
                </a:lnTo>
                <a:lnTo>
                  <a:pt x="204" y="218"/>
                </a:lnTo>
                <a:lnTo>
                  <a:pt x="208" y="222"/>
                </a:lnTo>
                <a:lnTo>
                  <a:pt x="208" y="222"/>
                </a:lnTo>
                <a:lnTo>
                  <a:pt x="210" y="222"/>
                </a:lnTo>
                <a:lnTo>
                  <a:pt x="214" y="222"/>
                </a:lnTo>
                <a:lnTo>
                  <a:pt x="214" y="222"/>
                </a:lnTo>
                <a:lnTo>
                  <a:pt x="216" y="224"/>
                </a:lnTo>
                <a:lnTo>
                  <a:pt x="218" y="226"/>
                </a:lnTo>
                <a:lnTo>
                  <a:pt x="218" y="226"/>
                </a:lnTo>
                <a:lnTo>
                  <a:pt x="220" y="226"/>
                </a:lnTo>
                <a:lnTo>
                  <a:pt x="222" y="226"/>
                </a:lnTo>
                <a:lnTo>
                  <a:pt x="222" y="226"/>
                </a:lnTo>
                <a:lnTo>
                  <a:pt x="226" y="228"/>
                </a:lnTo>
                <a:lnTo>
                  <a:pt x="232" y="230"/>
                </a:lnTo>
                <a:lnTo>
                  <a:pt x="232" y="230"/>
                </a:lnTo>
                <a:lnTo>
                  <a:pt x="238" y="232"/>
                </a:lnTo>
                <a:lnTo>
                  <a:pt x="238" y="232"/>
                </a:lnTo>
                <a:lnTo>
                  <a:pt x="242" y="236"/>
                </a:lnTo>
                <a:lnTo>
                  <a:pt x="242" y="236"/>
                </a:lnTo>
                <a:lnTo>
                  <a:pt x="248" y="236"/>
                </a:lnTo>
                <a:lnTo>
                  <a:pt x="248" y="236"/>
                </a:lnTo>
                <a:lnTo>
                  <a:pt x="256" y="242"/>
                </a:lnTo>
                <a:lnTo>
                  <a:pt x="262" y="250"/>
                </a:lnTo>
                <a:lnTo>
                  <a:pt x="262" y="250"/>
                </a:lnTo>
                <a:lnTo>
                  <a:pt x="266" y="248"/>
                </a:lnTo>
                <a:lnTo>
                  <a:pt x="266" y="248"/>
                </a:lnTo>
                <a:lnTo>
                  <a:pt x="268" y="250"/>
                </a:lnTo>
                <a:lnTo>
                  <a:pt x="270" y="254"/>
                </a:lnTo>
                <a:lnTo>
                  <a:pt x="270" y="254"/>
                </a:lnTo>
                <a:lnTo>
                  <a:pt x="276" y="254"/>
                </a:lnTo>
                <a:lnTo>
                  <a:pt x="286" y="264"/>
                </a:lnTo>
                <a:lnTo>
                  <a:pt x="286" y="264"/>
                </a:lnTo>
                <a:lnTo>
                  <a:pt x="288" y="270"/>
                </a:lnTo>
                <a:lnTo>
                  <a:pt x="288" y="274"/>
                </a:lnTo>
                <a:lnTo>
                  <a:pt x="286" y="280"/>
                </a:lnTo>
                <a:lnTo>
                  <a:pt x="284" y="282"/>
                </a:lnTo>
                <a:lnTo>
                  <a:pt x="284" y="282"/>
                </a:lnTo>
                <a:lnTo>
                  <a:pt x="282" y="284"/>
                </a:lnTo>
                <a:lnTo>
                  <a:pt x="280" y="286"/>
                </a:lnTo>
                <a:lnTo>
                  <a:pt x="280" y="286"/>
                </a:lnTo>
                <a:lnTo>
                  <a:pt x="280" y="288"/>
                </a:lnTo>
                <a:lnTo>
                  <a:pt x="278" y="288"/>
                </a:lnTo>
                <a:lnTo>
                  <a:pt x="276" y="288"/>
                </a:lnTo>
                <a:lnTo>
                  <a:pt x="276" y="288"/>
                </a:lnTo>
                <a:lnTo>
                  <a:pt x="272" y="294"/>
                </a:lnTo>
                <a:lnTo>
                  <a:pt x="272" y="294"/>
                </a:lnTo>
                <a:lnTo>
                  <a:pt x="266" y="296"/>
                </a:lnTo>
                <a:lnTo>
                  <a:pt x="266" y="296"/>
                </a:lnTo>
                <a:lnTo>
                  <a:pt x="262" y="298"/>
                </a:lnTo>
                <a:lnTo>
                  <a:pt x="262" y="298"/>
                </a:lnTo>
                <a:lnTo>
                  <a:pt x="258" y="298"/>
                </a:lnTo>
                <a:lnTo>
                  <a:pt x="256" y="298"/>
                </a:lnTo>
                <a:lnTo>
                  <a:pt x="256" y="298"/>
                </a:lnTo>
                <a:lnTo>
                  <a:pt x="244" y="296"/>
                </a:lnTo>
                <a:lnTo>
                  <a:pt x="232" y="296"/>
                </a:lnTo>
                <a:lnTo>
                  <a:pt x="232" y="296"/>
                </a:lnTo>
                <a:lnTo>
                  <a:pt x="226" y="292"/>
                </a:lnTo>
                <a:lnTo>
                  <a:pt x="226" y="292"/>
                </a:lnTo>
                <a:lnTo>
                  <a:pt x="218" y="292"/>
                </a:lnTo>
                <a:lnTo>
                  <a:pt x="216" y="290"/>
                </a:lnTo>
                <a:lnTo>
                  <a:pt x="216" y="290"/>
                </a:lnTo>
                <a:lnTo>
                  <a:pt x="212" y="288"/>
                </a:lnTo>
                <a:lnTo>
                  <a:pt x="208" y="288"/>
                </a:lnTo>
                <a:lnTo>
                  <a:pt x="208" y="288"/>
                </a:lnTo>
                <a:lnTo>
                  <a:pt x="204" y="280"/>
                </a:lnTo>
                <a:lnTo>
                  <a:pt x="202" y="282"/>
                </a:lnTo>
                <a:lnTo>
                  <a:pt x="202" y="282"/>
                </a:lnTo>
                <a:lnTo>
                  <a:pt x="202" y="286"/>
                </a:lnTo>
                <a:lnTo>
                  <a:pt x="200" y="286"/>
                </a:lnTo>
                <a:lnTo>
                  <a:pt x="200" y="286"/>
                </a:lnTo>
                <a:lnTo>
                  <a:pt x="200" y="284"/>
                </a:lnTo>
                <a:lnTo>
                  <a:pt x="200" y="284"/>
                </a:lnTo>
                <a:lnTo>
                  <a:pt x="194" y="282"/>
                </a:lnTo>
                <a:lnTo>
                  <a:pt x="194" y="282"/>
                </a:lnTo>
                <a:lnTo>
                  <a:pt x="192" y="278"/>
                </a:lnTo>
                <a:lnTo>
                  <a:pt x="192" y="278"/>
                </a:lnTo>
                <a:lnTo>
                  <a:pt x="188" y="278"/>
                </a:lnTo>
                <a:lnTo>
                  <a:pt x="182" y="278"/>
                </a:lnTo>
                <a:lnTo>
                  <a:pt x="182" y="278"/>
                </a:lnTo>
                <a:lnTo>
                  <a:pt x="180" y="274"/>
                </a:lnTo>
                <a:lnTo>
                  <a:pt x="178" y="270"/>
                </a:lnTo>
                <a:lnTo>
                  <a:pt x="178" y="270"/>
                </a:lnTo>
                <a:lnTo>
                  <a:pt x="172" y="268"/>
                </a:lnTo>
                <a:lnTo>
                  <a:pt x="172" y="268"/>
                </a:lnTo>
                <a:lnTo>
                  <a:pt x="170" y="270"/>
                </a:lnTo>
                <a:lnTo>
                  <a:pt x="172" y="270"/>
                </a:lnTo>
                <a:lnTo>
                  <a:pt x="172" y="270"/>
                </a:lnTo>
                <a:lnTo>
                  <a:pt x="176" y="278"/>
                </a:lnTo>
                <a:lnTo>
                  <a:pt x="178" y="280"/>
                </a:lnTo>
                <a:lnTo>
                  <a:pt x="176" y="282"/>
                </a:lnTo>
                <a:lnTo>
                  <a:pt x="176" y="282"/>
                </a:lnTo>
                <a:lnTo>
                  <a:pt x="182" y="282"/>
                </a:lnTo>
                <a:lnTo>
                  <a:pt x="184" y="284"/>
                </a:lnTo>
                <a:lnTo>
                  <a:pt x="180" y="286"/>
                </a:lnTo>
                <a:lnTo>
                  <a:pt x="180" y="288"/>
                </a:lnTo>
                <a:lnTo>
                  <a:pt x="180" y="288"/>
                </a:lnTo>
                <a:lnTo>
                  <a:pt x="182" y="290"/>
                </a:lnTo>
                <a:lnTo>
                  <a:pt x="182" y="292"/>
                </a:lnTo>
                <a:lnTo>
                  <a:pt x="182" y="292"/>
                </a:lnTo>
                <a:lnTo>
                  <a:pt x="186" y="292"/>
                </a:lnTo>
                <a:lnTo>
                  <a:pt x="188" y="290"/>
                </a:lnTo>
                <a:lnTo>
                  <a:pt x="188" y="294"/>
                </a:lnTo>
                <a:lnTo>
                  <a:pt x="188" y="294"/>
                </a:lnTo>
                <a:lnTo>
                  <a:pt x="182" y="294"/>
                </a:lnTo>
                <a:lnTo>
                  <a:pt x="182" y="294"/>
                </a:lnTo>
                <a:lnTo>
                  <a:pt x="186" y="296"/>
                </a:lnTo>
                <a:lnTo>
                  <a:pt x="186" y="296"/>
                </a:lnTo>
                <a:lnTo>
                  <a:pt x="196" y="298"/>
                </a:lnTo>
                <a:lnTo>
                  <a:pt x="198" y="300"/>
                </a:lnTo>
                <a:lnTo>
                  <a:pt x="198" y="300"/>
                </a:lnTo>
                <a:lnTo>
                  <a:pt x="202" y="300"/>
                </a:lnTo>
                <a:lnTo>
                  <a:pt x="206" y="300"/>
                </a:lnTo>
                <a:lnTo>
                  <a:pt x="206" y="300"/>
                </a:lnTo>
                <a:lnTo>
                  <a:pt x="206" y="304"/>
                </a:lnTo>
                <a:lnTo>
                  <a:pt x="208" y="306"/>
                </a:lnTo>
                <a:lnTo>
                  <a:pt x="208" y="306"/>
                </a:lnTo>
                <a:lnTo>
                  <a:pt x="212" y="306"/>
                </a:lnTo>
                <a:lnTo>
                  <a:pt x="212" y="306"/>
                </a:lnTo>
                <a:lnTo>
                  <a:pt x="212" y="308"/>
                </a:lnTo>
                <a:lnTo>
                  <a:pt x="212" y="310"/>
                </a:lnTo>
                <a:lnTo>
                  <a:pt x="212" y="310"/>
                </a:lnTo>
                <a:lnTo>
                  <a:pt x="210" y="312"/>
                </a:lnTo>
                <a:lnTo>
                  <a:pt x="210" y="318"/>
                </a:lnTo>
                <a:lnTo>
                  <a:pt x="210" y="318"/>
                </a:lnTo>
                <a:lnTo>
                  <a:pt x="212" y="322"/>
                </a:lnTo>
                <a:lnTo>
                  <a:pt x="212" y="322"/>
                </a:lnTo>
                <a:lnTo>
                  <a:pt x="214" y="342"/>
                </a:lnTo>
                <a:lnTo>
                  <a:pt x="214" y="342"/>
                </a:lnTo>
                <a:lnTo>
                  <a:pt x="216" y="342"/>
                </a:lnTo>
                <a:lnTo>
                  <a:pt x="218" y="344"/>
                </a:lnTo>
                <a:lnTo>
                  <a:pt x="220" y="342"/>
                </a:lnTo>
                <a:lnTo>
                  <a:pt x="220" y="342"/>
                </a:lnTo>
                <a:lnTo>
                  <a:pt x="220" y="342"/>
                </a:lnTo>
                <a:lnTo>
                  <a:pt x="220" y="342"/>
                </a:lnTo>
                <a:lnTo>
                  <a:pt x="222" y="340"/>
                </a:lnTo>
                <a:lnTo>
                  <a:pt x="222" y="340"/>
                </a:lnTo>
                <a:lnTo>
                  <a:pt x="226" y="344"/>
                </a:lnTo>
                <a:lnTo>
                  <a:pt x="226" y="344"/>
                </a:lnTo>
                <a:lnTo>
                  <a:pt x="226" y="352"/>
                </a:lnTo>
                <a:lnTo>
                  <a:pt x="226" y="352"/>
                </a:lnTo>
                <a:lnTo>
                  <a:pt x="234" y="350"/>
                </a:lnTo>
                <a:lnTo>
                  <a:pt x="240" y="352"/>
                </a:lnTo>
                <a:lnTo>
                  <a:pt x="240" y="352"/>
                </a:lnTo>
                <a:lnTo>
                  <a:pt x="244" y="354"/>
                </a:lnTo>
                <a:lnTo>
                  <a:pt x="244" y="356"/>
                </a:lnTo>
                <a:lnTo>
                  <a:pt x="244" y="356"/>
                </a:lnTo>
                <a:lnTo>
                  <a:pt x="246" y="356"/>
                </a:lnTo>
                <a:lnTo>
                  <a:pt x="248" y="354"/>
                </a:lnTo>
                <a:lnTo>
                  <a:pt x="248" y="352"/>
                </a:lnTo>
                <a:lnTo>
                  <a:pt x="248" y="352"/>
                </a:lnTo>
                <a:lnTo>
                  <a:pt x="252" y="352"/>
                </a:lnTo>
                <a:lnTo>
                  <a:pt x="252" y="352"/>
                </a:lnTo>
                <a:lnTo>
                  <a:pt x="252" y="350"/>
                </a:lnTo>
                <a:lnTo>
                  <a:pt x="252" y="338"/>
                </a:lnTo>
                <a:lnTo>
                  <a:pt x="252" y="338"/>
                </a:lnTo>
                <a:lnTo>
                  <a:pt x="246" y="336"/>
                </a:lnTo>
                <a:lnTo>
                  <a:pt x="246" y="336"/>
                </a:lnTo>
                <a:lnTo>
                  <a:pt x="242" y="330"/>
                </a:lnTo>
                <a:lnTo>
                  <a:pt x="240" y="324"/>
                </a:lnTo>
                <a:lnTo>
                  <a:pt x="240" y="324"/>
                </a:lnTo>
                <a:lnTo>
                  <a:pt x="244" y="324"/>
                </a:lnTo>
                <a:lnTo>
                  <a:pt x="244" y="324"/>
                </a:lnTo>
                <a:lnTo>
                  <a:pt x="244" y="318"/>
                </a:lnTo>
                <a:lnTo>
                  <a:pt x="244" y="318"/>
                </a:lnTo>
                <a:lnTo>
                  <a:pt x="242" y="318"/>
                </a:lnTo>
                <a:lnTo>
                  <a:pt x="242" y="316"/>
                </a:lnTo>
                <a:lnTo>
                  <a:pt x="244" y="316"/>
                </a:lnTo>
                <a:lnTo>
                  <a:pt x="248" y="316"/>
                </a:lnTo>
                <a:lnTo>
                  <a:pt x="248" y="316"/>
                </a:lnTo>
                <a:lnTo>
                  <a:pt x="250" y="318"/>
                </a:lnTo>
                <a:lnTo>
                  <a:pt x="252" y="320"/>
                </a:lnTo>
                <a:lnTo>
                  <a:pt x="252" y="320"/>
                </a:lnTo>
                <a:lnTo>
                  <a:pt x="260" y="324"/>
                </a:lnTo>
                <a:lnTo>
                  <a:pt x="260" y="324"/>
                </a:lnTo>
                <a:lnTo>
                  <a:pt x="260" y="326"/>
                </a:lnTo>
                <a:lnTo>
                  <a:pt x="260" y="326"/>
                </a:lnTo>
                <a:lnTo>
                  <a:pt x="264" y="328"/>
                </a:lnTo>
                <a:lnTo>
                  <a:pt x="268" y="328"/>
                </a:lnTo>
                <a:lnTo>
                  <a:pt x="268" y="328"/>
                </a:lnTo>
                <a:lnTo>
                  <a:pt x="272" y="330"/>
                </a:lnTo>
                <a:lnTo>
                  <a:pt x="272" y="330"/>
                </a:lnTo>
                <a:lnTo>
                  <a:pt x="284" y="332"/>
                </a:lnTo>
                <a:lnTo>
                  <a:pt x="284" y="332"/>
                </a:lnTo>
                <a:lnTo>
                  <a:pt x="282" y="328"/>
                </a:lnTo>
                <a:lnTo>
                  <a:pt x="280" y="322"/>
                </a:lnTo>
                <a:lnTo>
                  <a:pt x="280" y="322"/>
                </a:lnTo>
                <a:lnTo>
                  <a:pt x="276" y="318"/>
                </a:lnTo>
                <a:lnTo>
                  <a:pt x="274" y="316"/>
                </a:lnTo>
                <a:lnTo>
                  <a:pt x="272" y="314"/>
                </a:lnTo>
                <a:lnTo>
                  <a:pt x="272" y="314"/>
                </a:lnTo>
                <a:lnTo>
                  <a:pt x="272" y="310"/>
                </a:lnTo>
                <a:lnTo>
                  <a:pt x="272" y="310"/>
                </a:lnTo>
                <a:lnTo>
                  <a:pt x="278" y="306"/>
                </a:lnTo>
                <a:lnTo>
                  <a:pt x="284" y="302"/>
                </a:lnTo>
                <a:lnTo>
                  <a:pt x="284" y="302"/>
                </a:lnTo>
                <a:lnTo>
                  <a:pt x="286" y="296"/>
                </a:lnTo>
                <a:lnTo>
                  <a:pt x="286" y="296"/>
                </a:lnTo>
                <a:lnTo>
                  <a:pt x="288" y="296"/>
                </a:lnTo>
                <a:lnTo>
                  <a:pt x="292" y="296"/>
                </a:lnTo>
                <a:lnTo>
                  <a:pt x="292" y="296"/>
                </a:lnTo>
                <a:lnTo>
                  <a:pt x="296" y="292"/>
                </a:lnTo>
                <a:lnTo>
                  <a:pt x="298" y="290"/>
                </a:lnTo>
                <a:lnTo>
                  <a:pt x="302" y="290"/>
                </a:lnTo>
                <a:lnTo>
                  <a:pt x="302" y="290"/>
                </a:lnTo>
                <a:lnTo>
                  <a:pt x="306" y="294"/>
                </a:lnTo>
                <a:lnTo>
                  <a:pt x="306" y="294"/>
                </a:lnTo>
                <a:lnTo>
                  <a:pt x="310" y="294"/>
                </a:lnTo>
                <a:lnTo>
                  <a:pt x="310" y="294"/>
                </a:lnTo>
                <a:lnTo>
                  <a:pt x="314" y="300"/>
                </a:lnTo>
                <a:lnTo>
                  <a:pt x="314" y="302"/>
                </a:lnTo>
                <a:lnTo>
                  <a:pt x="314" y="302"/>
                </a:lnTo>
                <a:lnTo>
                  <a:pt x="320" y="302"/>
                </a:lnTo>
                <a:lnTo>
                  <a:pt x="320" y="302"/>
                </a:lnTo>
                <a:lnTo>
                  <a:pt x="320" y="294"/>
                </a:lnTo>
                <a:lnTo>
                  <a:pt x="324" y="286"/>
                </a:lnTo>
                <a:lnTo>
                  <a:pt x="324" y="286"/>
                </a:lnTo>
                <a:lnTo>
                  <a:pt x="328" y="282"/>
                </a:lnTo>
                <a:lnTo>
                  <a:pt x="328" y="282"/>
                </a:lnTo>
                <a:lnTo>
                  <a:pt x="328" y="280"/>
                </a:lnTo>
                <a:lnTo>
                  <a:pt x="328" y="280"/>
                </a:lnTo>
                <a:lnTo>
                  <a:pt x="328" y="280"/>
                </a:lnTo>
                <a:lnTo>
                  <a:pt x="328" y="276"/>
                </a:lnTo>
                <a:lnTo>
                  <a:pt x="328" y="276"/>
                </a:lnTo>
                <a:lnTo>
                  <a:pt x="324" y="272"/>
                </a:lnTo>
                <a:lnTo>
                  <a:pt x="322" y="270"/>
                </a:lnTo>
                <a:lnTo>
                  <a:pt x="322" y="266"/>
                </a:lnTo>
                <a:lnTo>
                  <a:pt x="322" y="266"/>
                </a:lnTo>
                <a:lnTo>
                  <a:pt x="324" y="264"/>
                </a:lnTo>
                <a:lnTo>
                  <a:pt x="326" y="260"/>
                </a:lnTo>
                <a:lnTo>
                  <a:pt x="326" y="260"/>
                </a:lnTo>
                <a:lnTo>
                  <a:pt x="328" y="260"/>
                </a:lnTo>
                <a:lnTo>
                  <a:pt x="328" y="260"/>
                </a:lnTo>
                <a:lnTo>
                  <a:pt x="328" y="256"/>
                </a:lnTo>
                <a:lnTo>
                  <a:pt x="328" y="256"/>
                </a:lnTo>
                <a:lnTo>
                  <a:pt x="330" y="256"/>
                </a:lnTo>
                <a:lnTo>
                  <a:pt x="330" y="256"/>
                </a:lnTo>
                <a:lnTo>
                  <a:pt x="332" y="250"/>
                </a:lnTo>
                <a:lnTo>
                  <a:pt x="332" y="246"/>
                </a:lnTo>
                <a:lnTo>
                  <a:pt x="332" y="246"/>
                </a:lnTo>
                <a:lnTo>
                  <a:pt x="328" y="242"/>
                </a:lnTo>
                <a:lnTo>
                  <a:pt x="322" y="236"/>
                </a:lnTo>
                <a:lnTo>
                  <a:pt x="322" y="236"/>
                </a:lnTo>
                <a:lnTo>
                  <a:pt x="322" y="232"/>
                </a:lnTo>
                <a:lnTo>
                  <a:pt x="322" y="232"/>
                </a:lnTo>
                <a:lnTo>
                  <a:pt x="328" y="236"/>
                </a:lnTo>
                <a:lnTo>
                  <a:pt x="336" y="238"/>
                </a:lnTo>
                <a:lnTo>
                  <a:pt x="338" y="240"/>
                </a:lnTo>
                <a:lnTo>
                  <a:pt x="338" y="240"/>
                </a:lnTo>
                <a:lnTo>
                  <a:pt x="344" y="240"/>
                </a:lnTo>
                <a:lnTo>
                  <a:pt x="350" y="242"/>
                </a:lnTo>
                <a:lnTo>
                  <a:pt x="350" y="242"/>
                </a:lnTo>
                <a:lnTo>
                  <a:pt x="354" y="244"/>
                </a:lnTo>
                <a:lnTo>
                  <a:pt x="356" y="248"/>
                </a:lnTo>
                <a:lnTo>
                  <a:pt x="360" y="254"/>
                </a:lnTo>
                <a:lnTo>
                  <a:pt x="360" y="254"/>
                </a:lnTo>
                <a:lnTo>
                  <a:pt x="362" y="256"/>
                </a:lnTo>
                <a:lnTo>
                  <a:pt x="362" y="256"/>
                </a:lnTo>
                <a:lnTo>
                  <a:pt x="362" y="260"/>
                </a:lnTo>
                <a:lnTo>
                  <a:pt x="362" y="260"/>
                </a:lnTo>
                <a:lnTo>
                  <a:pt x="366" y="262"/>
                </a:lnTo>
                <a:lnTo>
                  <a:pt x="364" y="266"/>
                </a:lnTo>
                <a:lnTo>
                  <a:pt x="364" y="266"/>
                </a:lnTo>
                <a:lnTo>
                  <a:pt x="350" y="266"/>
                </a:lnTo>
                <a:lnTo>
                  <a:pt x="350" y="266"/>
                </a:lnTo>
                <a:lnTo>
                  <a:pt x="348" y="272"/>
                </a:lnTo>
                <a:lnTo>
                  <a:pt x="348" y="272"/>
                </a:lnTo>
                <a:lnTo>
                  <a:pt x="346" y="274"/>
                </a:lnTo>
                <a:lnTo>
                  <a:pt x="346" y="274"/>
                </a:lnTo>
                <a:lnTo>
                  <a:pt x="346" y="278"/>
                </a:lnTo>
                <a:lnTo>
                  <a:pt x="346" y="278"/>
                </a:lnTo>
                <a:lnTo>
                  <a:pt x="348" y="282"/>
                </a:lnTo>
                <a:lnTo>
                  <a:pt x="348" y="282"/>
                </a:lnTo>
                <a:lnTo>
                  <a:pt x="350" y="292"/>
                </a:lnTo>
                <a:lnTo>
                  <a:pt x="350" y="292"/>
                </a:lnTo>
                <a:lnTo>
                  <a:pt x="356" y="292"/>
                </a:lnTo>
                <a:lnTo>
                  <a:pt x="362" y="290"/>
                </a:lnTo>
                <a:lnTo>
                  <a:pt x="362" y="290"/>
                </a:lnTo>
                <a:lnTo>
                  <a:pt x="370" y="288"/>
                </a:lnTo>
                <a:lnTo>
                  <a:pt x="370" y="288"/>
                </a:lnTo>
                <a:lnTo>
                  <a:pt x="370" y="286"/>
                </a:lnTo>
                <a:lnTo>
                  <a:pt x="370" y="286"/>
                </a:lnTo>
                <a:lnTo>
                  <a:pt x="376" y="286"/>
                </a:lnTo>
                <a:lnTo>
                  <a:pt x="376" y="286"/>
                </a:lnTo>
                <a:lnTo>
                  <a:pt x="376" y="274"/>
                </a:lnTo>
                <a:lnTo>
                  <a:pt x="378" y="264"/>
                </a:lnTo>
                <a:lnTo>
                  <a:pt x="378" y="264"/>
                </a:lnTo>
                <a:lnTo>
                  <a:pt x="380" y="266"/>
                </a:lnTo>
                <a:lnTo>
                  <a:pt x="382" y="266"/>
                </a:lnTo>
                <a:lnTo>
                  <a:pt x="382" y="266"/>
                </a:lnTo>
                <a:lnTo>
                  <a:pt x="388" y="262"/>
                </a:lnTo>
                <a:lnTo>
                  <a:pt x="388" y="262"/>
                </a:lnTo>
                <a:lnTo>
                  <a:pt x="388" y="258"/>
                </a:lnTo>
                <a:lnTo>
                  <a:pt x="388" y="258"/>
                </a:lnTo>
                <a:lnTo>
                  <a:pt x="398" y="258"/>
                </a:lnTo>
                <a:lnTo>
                  <a:pt x="406" y="256"/>
                </a:lnTo>
                <a:lnTo>
                  <a:pt x="406" y="256"/>
                </a:lnTo>
                <a:lnTo>
                  <a:pt x="408" y="252"/>
                </a:lnTo>
                <a:lnTo>
                  <a:pt x="408" y="252"/>
                </a:lnTo>
                <a:lnTo>
                  <a:pt x="414" y="252"/>
                </a:lnTo>
                <a:lnTo>
                  <a:pt x="414" y="252"/>
                </a:lnTo>
                <a:lnTo>
                  <a:pt x="418" y="248"/>
                </a:lnTo>
                <a:lnTo>
                  <a:pt x="418" y="248"/>
                </a:lnTo>
                <a:lnTo>
                  <a:pt x="424" y="248"/>
                </a:lnTo>
                <a:lnTo>
                  <a:pt x="424" y="248"/>
                </a:lnTo>
                <a:lnTo>
                  <a:pt x="426" y="244"/>
                </a:lnTo>
                <a:lnTo>
                  <a:pt x="426" y="244"/>
                </a:lnTo>
                <a:lnTo>
                  <a:pt x="432" y="244"/>
                </a:lnTo>
                <a:lnTo>
                  <a:pt x="436" y="244"/>
                </a:lnTo>
                <a:lnTo>
                  <a:pt x="436" y="244"/>
                </a:lnTo>
                <a:lnTo>
                  <a:pt x="436" y="246"/>
                </a:lnTo>
                <a:lnTo>
                  <a:pt x="438" y="248"/>
                </a:lnTo>
                <a:lnTo>
                  <a:pt x="438" y="246"/>
                </a:lnTo>
                <a:lnTo>
                  <a:pt x="438" y="246"/>
                </a:lnTo>
                <a:lnTo>
                  <a:pt x="438" y="244"/>
                </a:lnTo>
                <a:lnTo>
                  <a:pt x="438" y="244"/>
                </a:lnTo>
                <a:lnTo>
                  <a:pt x="438" y="242"/>
                </a:lnTo>
                <a:lnTo>
                  <a:pt x="438" y="240"/>
                </a:lnTo>
                <a:lnTo>
                  <a:pt x="438" y="240"/>
                </a:lnTo>
                <a:lnTo>
                  <a:pt x="446" y="236"/>
                </a:lnTo>
                <a:lnTo>
                  <a:pt x="446" y="236"/>
                </a:lnTo>
                <a:lnTo>
                  <a:pt x="448" y="234"/>
                </a:lnTo>
                <a:lnTo>
                  <a:pt x="450" y="232"/>
                </a:lnTo>
                <a:lnTo>
                  <a:pt x="450" y="232"/>
                </a:lnTo>
                <a:lnTo>
                  <a:pt x="452" y="232"/>
                </a:lnTo>
                <a:lnTo>
                  <a:pt x="452" y="232"/>
                </a:lnTo>
                <a:lnTo>
                  <a:pt x="452" y="234"/>
                </a:lnTo>
                <a:lnTo>
                  <a:pt x="452" y="234"/>
                </a:lnTo>
                <a:lnTo>
                  <a:pt x="452" y="234"/>
                </a:lnTo>
                <a:lnTo>
                  <a:pt x="452" y="236"/>
                </a:lnTo>
                <a:lnTo>
                  <a:pt x="452" y="236"/>
                </a:lnTo>
                <a:lnTo>
                  <a:pt x="450" y="238"/>
                </a:lnTo>
                <a:lnTo>
                  <a:pt x="452" y="238"/>
                </a:lnTo>
                <a:lnTo>
                  <a:pt x="456" y="238"/>
                </a:lnTo>
                <a:lnTo>
                  <a:pt x="456" y="238"/>
                </a:lnTo>
                <a:lnTo>
                  <a:pt x="456" y="242"/>
                </a:lnTo>
                <a:lnTo>
                  <a:pt x="456" y="242"/>
                </a:lnTo>
                <a:lnTo>
                  <a:pt x="460" y="244"/>
                </a:lnTo>
                <a:lnTo>
                  <a:pt x="460" y="244"/>
                </a:lnTo>
                <a:lnTo>
                  <a:pt x="460" y="248"/>
                </a:lnTo>
                <a:lnTo>
                  <a:pt x="460" y="248"/>
                </a:lnTo>
                <a:lnTo>
                  <a:pt x="452" y="248"/>
                </a:lnTo>
                <a:lnTo>
                  <a:pt x="452" y="248"/>
                </a:lnTo>
                <a:lnTo>
                  <a:pt x="450" y="250"/>
                </a:lnTo>
                <a:lnTo>
                  <a:pt x="450" y="250"/>
                </a:lnTo>
                <a:lnTo>
                  <a:pt x="450" y="252"/>
                </a:lnTo>
                <a:lnTo>
                  <a:pt x="450" y="252"/>
                </a:lnTo>
                <a:lnTo>
                  <a:pt x="462" y="252"/>
                </a:lnTo>
                <a:lnTo>
                  <a:pt x="462" y="252"/>
                </a:lnTo>
                <a:lnTo>
                  <a:pt x="468" y="248"/>
                </a:lnTo>
                <a:lnTo>
                  <a:pt x="468" y="248"/>
                </a:lnTo>
                <a:lnTo>
                  <a:pt x="470" y="248"/>
                </a:lnTo>
                <a:lnTo>
                  <a:pt x="470" y="250"/>
                </a:lnTo>
                <a:lnTo>
                  <a:pt x="470" y="250"/>
                </a:lnTo>
                <a:lnTo>
                  <a:pt x="474" y="252"/>
                </a:lnTo>
                <a:lnTo>
                  <a:pt x="474" y="252"/>
                </a:lnTo>
                <a:lnTo>
                  <a:pt x="474" y="252"/>
                </a:lnTo>
                <a:lnTo>
                  <a:pt x="476" y="250"/>
                </a:lnTo>
                <a:lnTo>
                  <a:pt x="476" y="250"/>
                </a:lnTo>
                <a:lnTo>
                  <a:pt x="474" y="246"/>
                </a:lnTo>
                <a:lnTo>
                  <a:pt x="474" y="246"/>
                </a:lnTo>
                <a:lnTo>
                  <a:pt x="482" y="242"/>
                </a:lnTo>
                <a:lnTo>
                  <a:pt x="490" y="240"/>
                </a:lnTo>
                <a:lnTo>
                  <a:pt x="490" y="240"/>
                </a:lnTo>
                <a:lnTo>
                  <a:pt x="494" y="240"/>
                </a:lnTo>
                <a:lnTo>
                  <a:pt x="498" y="240"/>
                </a:lnTo>
                <a:lnTo>
                  <a:pt x="506" y="246"/>
                </a:lnTo>
                <a:lnTo>
                  <a:pt x="506" y="246"/>
                </a:lnTo>
                <a:lnTo>
                  <a:pt x="510" y="246"/>
                </a:lnTo>
                <a:lnTo>
                  <a:pt x="510" y="246"/>
                </a:lnTo>
                <a:lnTo>
                  <a:pt x="512" y="242"/>
                </a:lnTo>
                <a:lnTo>
                  <a:pt x="512" y="242"/>
                </a:lnTo>
                <a:lnTo>
                  <a:pt x="510" y="240"/>
                </a:lnTo>
                <a:lnTo>
                  <a:pt x="510" y="240"/>
                </a:lnTo>
                <a:lnTo>
                  <a:pt x="510" y="240"/>
                </a:lnTo>
                <a:lnTo>
                  <a:pt x="510" y="238"/>
                </a:lnTo>
                <a:lnTo>
                  <a:pt x="510" y="238"/>
                </a:lnTo>
                <a:lnTo>
                  <a:pt x="512" y="238"/>
                </a:lnTo>
                <a:lnTo>
                  <a:pt x="512" y="238"/>
                </a:lnTo>
                <a:lnTo>
                  <a:pt x="512" y="240"/>
                </a:lnTo>
                <a:lnTo>
                  <a:pt x="512" y="240"/>
                </a:lnTo>
                <a:lnTo>
                  <a:pt x="514" y="240"/>
                </a:lnTo>
                <a:lnTo>
                  <a:pt x="518" y="238"/>
                </a:lnTo>
                <a:lnTo>
                  <a:pt x="524" y="234"/>
                </a:lnTo>
                <a:lnTo>
                  <a:pt x="524" y="234"/>
                </a:lnTo>
                <a:lnTo>
                  <a:pt x="530" y="234"/>
                </a:lnTo>
                <a:lnTo>
                  <a:pt x="530" y="234"/>
                </a:lnTo>
                <a:lnTo>
                  <a:pt x="528" y="248"/>
                </a:lnTo>
                <a:lnTo>
                  <a:pt x="528" y="248"/>
                </a:lnTo>
                <a:lnTo>
                  <a:pt x="536" y="254"/>
                </a:lnTo>
                <a:lnTo>
                  <a:pt x="536" y="254"/>
                </a:lnTo>
                <a:lnTo>
                  <a:pt x="538" y="244"/>
                </a:lnTo>
                <a:lnTo>
                  <a:pt x="538" y="244"/>
                </a:lnTo>
                <a:lnTo>
                  <a:pt x="542" y="242"/>
                </a:lnTo>
                <a:lnTo>
                  <a:pt x="542" y="242"/>
                </a:lnTo>
                <a:lnTo>
                  <a:pt x="544" y="244"/>
                </a:lnTo>
                <a:lnTo>
                  <a:pt x="546" y="244"/>
                </a:lnTo>
                <a:lnTo>
                  <a:pt x="550" y="244"/>
                </a:lnTo>
                <a:lnTo>
                  <a:pt x="550" y="244"/>
                </a:lnTo>
                <a:lnTo>
                  <a:pt x="552" y="242"/>
                </a:lnTo>
                <a:lnTo>
                  <a:pt x="552" y="242"/>
                </a:lnTo>
                <a:lnTo>
                  <a:pt x="552" y="232"/>
                </a:lnTo>
                <a:lnTo>
                  <a:pt x="552" y="226"/>
                </a:lnTo>
                <a:lnTo>
                  <a:pt x="550" y="222"/>
                </a:lnTo>
                <a:lnTo>
                  <a:pt x="550" y="222"/>
                </a:lnTo>
                <a:lnTo>
                  <a:pt x="548" y="220"/>
                </a:lnTo>
                <a:lnTo>
                  <a:pt x="548" y="220"/>
                </a:lnTo>
                <a:lnTo>
                  <a:pt x="548" y="218"/>
                </a:lnTo>
                <a:lnTo>
                  <a:pt x="548" y="218"/>
                </a:lnTo>
                <a:lnTo>
                  <a:pt x="554" y="216"/>
                </a:lnTo>
                <a:lnTo>
                  <a:pt x="554" y="216"/>
                </a:lnTo>
                <a:lnTo>
                  <a:pt x="556" y="212"/>
                </a:lnTo>
                <a:lnTo>
                  <a:pt x="556" y="212"/>
                </a:lnTo>
                <a:lnTo>
                  <a:pt x="562" y="212"/>
                </a:lnTo>
                <a:lnTo>
                  <a:pt x="566" y="214"/>
                </a:lnTo>
                <a:lnTo>
                  <a:pt x="566" y="214"/>
                </a:lnTo>
                <a:lnTo>
                  <a:pt x="572" y="214"/>
                </a:lnTo>
                <a:lnTo>
                  <a:pt x="576" y="212"/>
                </a:lnTo>
                <a:lnTo>
                  <a:pt x="576" y="210"/>
                </a:lnTo>
                <a:lnTo>
                  <a:pt x="578" y="210"/>
                </a:lnTo>
                <a:lnTo>
                  <a:pt x="578" y="210"/>
                </a:lnTo>
                <a:lnTo>
                  <a:pt x="582" y="210"/>
                </a:lnTo>
                <a:lnTo>
                  <a:pt x="584" y="210"/>
                </a:lnTo>
                <a:lnTo>
                  <a:pt x="586" y="214"/>
                </a:lnTo>
                <a:lnTo>
                  <a:pt x="586" y="214"/>
                </a:lnTo>
                <a:lnTo>
                  <a:pt x="588" y="214"/>
                </a:lnTo>
                <a:lnTo>
                  <a:pt x="590" y="214"/>
                </a:lnTo>
                <a:lnTo>
                  <a:pt x="590" y="214"/>
                </a:lnTo>
                <a:lnTo>
                  <a:pt x="590" y="216"/>
                </a:lnTo>
                <a:lnTo>
                  <a:pt x="592" y="218"/>
                </a:lnTo>
                <a:lnTo>
                  <a:pt x="592" y="218"/>
                </a:lnTo>
                <a:lnTo>
                  <a:pt x="600" y="218"/>
                </a:lnTo>
                <a:lnTo>
                  <a:pt x="606" y="220"/>
                </a:lnTo>
                <a:lnTo>
                  <a:pt x="606" y="220"/>
                </a:lnTo>
                <a:lnTo>
                  <a:pt x="604" y="232"/>
                </a:lnTo>
                <a:lnTo>
                  <a:pt x="606" y="232"/>
                </a:lnTo>
                <a:lnTo>
                  <a:pt x="610" y="224"/>
                </a:lnTo>
                <a:lnTo>
                  <a:pt x="610" y="224"/>
                </a:lnTo>
                <a:lnTo>
                  <a:pt x="622" y="228"/>
                </a:lnTo>
                <a:lnTo>
                  <a:pt x="622" y="228"/>
                </a:lnTo>
                <a:lnTo>
                  <a:pt x="620" y="230"/>
                </a:lnTo>
                <a:lnTo>
                  <a:pt x="620" y="230"/>
                </a:lnTo>
                <a:lnTo>
                  <a:pt x="620" y="232"/>
                </a:lnTo>
                <a:lnTo>
                  <a:pt x="620" y="232"/>
                </a:lnTo>
                <a:lnTo>
                  <a:pt x="626" y="234"/>
                </a:lnTo>
                <a:lnTo>
                  <a:pt x="632" y="236"/>
                </a:lnTo>
                <a:lnTo>
                  <a:pt x="638" y="244"/>
                </a:lnTo>
                <a:lnTo>
                  <a:pt x="638" y="244"/>
                </a:lnTo>
                <a:lnTo>
                  <a:pt x="640" y="248"/>
                </a:lnTo>
                <a:lnTo>
                  <a:pt x="640" y="248"/>
                </a:lnTo>
                <a:lnTo>
                  <a:pt x="642" y="248"/>
                </a:lnTo>
                <a:lnTo>
                  <a:pt x="644" y="248"/>
                </a:lnTo>
                <a:lnTo>
                  <a:pt x="644" y="248"/>
                </a:lnTo>
                <a:lnTo>
                  <a:pt x="646" y="254"/>
                </a:lnTo>
                <a:lnTo>
                  <a:pt x="646" y="254"/>
                </a:lnTo>
                <a:lnTo>
                  <a:pt x="648" y="254"/>
                </a:lnTo>
                <a:lnTo>
                  <a:pt x="652" y="252"/>
                </a:lnTo>
                <a:lnTo>
                  <a:pt x="652" y="252"/>
                </a:lnTo>
                <a:lnTo>
                  <a:pt x="654" y="244"/>
                </a:lnTo>
                <a:lnTo>
                  <a:pt x="656" y="236"/>
                </a:lnTo>
                <a:lnTo>
                  <a:pt x="654" y="236"/>
                </a:lnTo>
                <a:lnTo>
                  <a:pt x="654" y="236"/>
                </a:lnTo>
                <a:lnTo>
                  <a:pt x="652" y="238"/>
                </a:lnTo>
                <a:lnTo>
                  <a:pt x="652" y="238"/>
                </a:lnTo>
                <a:lnTo>
                  <a:pt x="652" y="238"/>
                </a:lnTo>
                <a:lnTo>
                  <a:pt x="648" y="230"/>
                </a:lnTo>
                <a:lnTo>
                  <a:pt x="648" y="230"/>
                </a:lnTo>
                <a:lnTo>
                  <a:pt x="648" y="230"/>
                </a:lnTo>
                <a:lnTo>
                  <a:pt x="648" y="228"/>
                </a:lnTo>
                <a:lnTo>
                  <a:pt x="648" y="228"/>
                </a:lnTo>
                <a:lnTo>
                  <a:pt x="648" y="226"/>
                </a:lnTo>
                <a:lnTo>
                  <a:pt x="648" y="224"/>
                </a:lnTo>
                <a:lnTo>
                  <a:pt x="652" y="222"/>
                </a:lnTo>
                <a:lnTo>
                  <a:pt x="652" y="222"/>
                </a:lnTo>
                <a:lnTo>
                  <a:pt x="652" y="218"/>
                </a:lnTo>
                <a:lnTo>
                  <a:pt x="652" y="218"/>
                </a:lnTo>
                <a:lnTo>
                  <a:pt x="648" y="218"/>
                </a:lnTo>
                <a:lnTo>
                  <a:pt x="648" y="218"/>
                </a:lnTo>
                <a:lnTo>
                  <a:pt x="648" y="218"/>
                </a:lnTo>
                <a:lnTo>
                  <a:pt x="648" y="218"/>
                </a:lnTo>
                <a:lnTo>
                  <a:pt x="648" y="218"/>
                </a:lnTo>
                <a:lnTo>
                  <a:pt x="646" y="220"/>
                </a:lnTo>
                <a:lnTo>
                  <a:pt x="646" y="220"/>
                </a:lnTo>
                <a:lnTo>
                  <a:pt x="642" y="216"/>
                </a:lnTo>
                <a:lnTo>
                  <a:pt x="638" y="214"/>
                </a:lnTo>
                <a:lnTo>
                  <a:pt x="638" y="214"/>
                </a:lnTo>
                <a:lnTo>
                  <a:pt x="636" y="214"/>
                </a:lnTo>
                <a:lnTo>
                  <a:pt x="634" y="216"/>
                </a:lnTo>
                <a:lnTo>
                  <a:pt x="634" y="216"/>
                </a:lnTo>
                <a:lnTo>
                  <a:pt x="636" y="206"/>
                </a:lnTo>
                <a:lnTo>
                  <a:pt x="638" y="204"/>
                </a:lnTo>
                <a:lnTo>
                  <a:pt x="642" y="200"/>
                </a:lnTo>
                <a:lnTo>
                  <a:pt x="642" y="200"/>
                </a:lnTo>
                <a:lnTo>
                  <a:pt x="642" y="196"/>
                </a:lnTo>
                <a:lnTo>
                  <a:pt x="640" y="190"/>
                </a:lnTo>
                <a:lnTo>
                  <a:pt x="640" y="190"/>
                </a:lnTo>
                <a:lnTo>
                  <a:pt x="636" y="182"/>
                </a:lnTo>
                <a:lnTo>
                  <a:pt x="636" y="182"/>
                </a:lnTo>
                <a:lnTo>
                  <a:pt x="636" y="176"/>
                </a:lnTo>
                <a:lnTo>
                  <a:pt x="636" y="172"/>
                </a:lnTo>
                <a:lnTo>
                  <a:pt x="636" y="172"/>
                </a:lnTo>
                <a:lnTo>
                  <a:pt x="646" y="166"/>
                </a:lnTo>
                <a:lnTo>
                  <a:pt x="646" y="166"/>
                </a:lnTo>
                <a:lnTo>
                  <a:pt x="648" y="164"/>
                </a:lnTo>
                <a:lnTo>
                  <a:pt x="650" y="158"/>
                </a:lnTo>
                <a:lnTo>
                  <a:pt x="650" y="158"/>
                </a:lnTo>
                <a:lnTo>
                  <a:pt x="656" y="152"/>
                </a:lnTo>
                <a:lnTo>
                  <a:pt x="662" y="146"/>
                </a:lnTo>
                <a:lnTo>
                  <a:pt x="662" y="146"/>
                </a:lnTo>
                <a:lnTo>
                  <a:pt x="664" y="138"/>
                </a:lnTo>
                <a:lnTo>
                  <a:pt x="668" y="132"/>
                </a:lnTo>
                <a:lnTo>
                  <a:pt x="668" y="132"/>
                </a:lnTo>
                <a:lnTo>
                  <a:pt x="672" y="130"/>
                </a:lnTo>
                <a:lnTo>
                  <a:pt x="674" y="128"/>
                </a:lnTo>
                <a:lnTo>
                  <a:pt x="676" y="124"/>
                </a:lnTo>
                <a:lnTo>
                  <a:pt x="676" y="124"/>
                </a:lnTo>
                <a:lnTo>
                  <a:pt x="678" y="126"/>
                </a:lnTo>
                <a:lnTo>
                  <a:pt x="678" y="126"/>
                </a:lnTo>
                <a:lnTo>
                  <a:pt x="678" y="126"/>
                </a:lnTo>
                <a:lnTo>
                  <a:pt x="694" y="126"/>
                </a:lnTo>
                <a:lnTo>
                  <a:pt x="694" y="126"/>
                </a:lnTo>
                <a:lnTo>
                  <a:pt x="700" y="124"/>
                </a:lnTo>
                <a:lnTo>
                  <a:pt x="700" y="124"/>
                </a:lnTo>
                <a:lnTo>
                  <a:pt x="706" y="128"/>
                </a:lnTo>
                <a:lnTo>
                  <a:pt x="706" y="128"/>
                </a:lnTo>
                <a:lnTo>
                  <a:pt x="710" y="128"/>
                </a:lnTo>
                <a:lnTo>
                  <a:pt x="710" y="128"/>
                </a:lnTo>
                <a:lnTo>
                  <a:pt x="710" y="134"/>
                </a:lnTo>
                <a:lnTo>
                  <a:pt x="710" y="134"/>
                </a:lnTo>
                <a:lnTo>
                  <a:pt x="714" y="138"/>
                </a:lnTo>
                <a:lnTo>
                  <a:pt x="714" y="138"/>
                </a:lnTo>
                <a:lnTo>
                  <a:pt x="714" y="140"/>
                </a:lnTo>
                <a:lnTo>
                  <a:pt x="712" y="140"/>
                </a:lnTo>
                <a:lnTo>
                  <a:pt x="712" y="140"/>
                </a:lnTo>
                <a:lnTo>
                  <a:pt x="712" y="144"/>
                </a:lnTo>
                <a:lnTo>
                  <a:pt x="714" y="146"/>
                </a:lnTo>
                <a:lnTo>
                  <a:pt x="714" y="146"/>
                </a:lnTo>
                <a:lnTo>
                  <a:pt x="710" y="150"/>
                </a:lnTo>
                <a:lnTo>
                  <a:pt x="710" y="150"/>
                </a:lnTo>
                <a:lnTo>
                  <a:pt x="710" y="158"/>
                </a:lnTo>
                <a:lnTo>
                  <a:pt x="710" y="162"/>
                </a:lnTo>
                <a:lnTo>
                  <a:pt x="708" y="166"/>
                </a:lnTo>
                <a:lnTo>
                  <a:pt x="708" y="166"/>
                </a:lnTo>
                <a:lnTo>
                  <a:pt x="704" y="172"/>
                </a:lnTo>
                <a:lnTo>
                  <a:pt x="702" y="174"/>
                </a:lnTo>
                <a:lnTo>
                  <a:pt x="702" y="180"/>
                </a:lnTo>
                <a:lnTo>
                  <a:pt x="702" y="180"/>
                </a:lnTo>
                <a:lnTo>
                  <a:pt x="702" y="182"/>
                </a:lnTo>
                <a:lnTo>
                  <a:pt x="704" y="186"/>
                </a:lnTo>
                <a:lnTo>
                  <a:pt x="712" y="188"/>
                </a:lnTo>
                <a:lnTo>
                  <a:pt x="712" y="188"/>
                </a:lnTo>
                <a:lnTo>
                  <a:pt x="710" y="196"/>
                </a:lnTo>
                <a:lnTo>
                  <a:pt x="710" y="196"/>
                </a:lnTo>
                <a:lnTo>
                  <a:pt x="714" y="198"/>
                </a:lnTo>
                <a:lnTo>
                  <a:pt x="714" y="198"/>
                </a:lnTo>
                <a:lnTo>
                  <a:pt x="714" y="206"/>
                </a:lnTo>
                <a:lnTo>
                  <a:pt x="714" y="206"/>
                </a:lnTo>
                <a:lnTo>
                  <a:pt x="708" y="214"/>
                </a:lnTo>
                <a:lnTo>
                  <a:pt x="708" y="214"/>
                </a:lnTo>
                <a:lnTo>
                  <a:pt x="708" y="216"/>
                </a:lnTo>
                <a:lnTo>
                  <a:pt x="710" y="218"/>
                </a:lnTo>
                <a:lnTo>
                  <a:pt x="708" y="222"/>
                </a:lnTo>
                <a:lnTo>
                  <a:pt x="708" y="222"/>
                </a:lnTo>
                <a:lnTo>
                  <a:pt x="708" y="226"/>
                </a:lnTo>
                <a:lnTo>
                  <a:pt x="712" y="228"/>
                </a:lnTo>
                <a:lnTo>
                  <a:pt x="712" y="228"/>
                </a:lnTo>
                <a:lnTo>
                  <a:pt x="716" y="236"/>
                </a:lnTo>
                <a:lnTo>
                  <a:pt x="722" y="242"/>
                </a:lnTo>
                <a:lnTo>
                  <a:pt x="722" y="242"/>
                </a:lnTo>
                <a:lnTo>
                  <a:pt x="718" y="254"/>
                </a:lnTo>
                <a:lnTo>
                  <a:pt x="718" y="260"/>
                </a:lnTo>
                <a:lnTo>
                  <a:pt x="722" y="266"/>
                </a:lnTo>
                <a:lnTo>
                  <a:pt x="722" y="266"/>
                </a:lnTo>
                <a:lnTo>
                  <a:pt x="716" y="268"/>
                </a:lnTo>
                <a:lnTo>
                  <a:pt x="716" y="268"/>
                </a:lnTo>
                <a:lnTo>
                  <a:pt x="716" y="274"/>
                </a:lnTo>
                <a:lnTo>
                  <a:pt x="716" y="274"/>
                </a:lnTo>
                <a:lnTo>
                  <a:pt x="712" y="276"/>
                </a:lnTo>
                <a:lnTo>
                  <a:pt x="712" y="280"/>
                </a:lnTo>
                <a:lnTo>
                  <a:pt x="712" y="280"/>
                </a:lnTo>
                <a:lnTo>
                  <a:pt x="708" y="284"/>
                </a:lnTo>
                <a:lnTo>
                  <a:pt x="708" y="284"/>
                </a:lnTo>
                <a:lnTo>
                  <a:pt x="700" y="280"/>
                </a:lnTo>
                <a:lnTo>
                  <a:pt x="700" y="280"/>
                </a:lnTo>
                <a:lnTo>
                  <a:pt x="696" y="286"/>
                </a:lnTo>
                <a:lnTo>
                  <a:pt x="696" y="286"/>
                </a:lnTo>
                <a:lnTo>
                  <a:pt x="692" y="288"/>
                </a:lnTo>
                <a:lnTo>
                  <a:pt x="684" y="288"/>
                </a:lnTo>
                <a:lnTo>
                  <a:pt x="670" y="288"/>
                </a:lnTo>
                <a:lnTo>
                  <a:pt x="670" y="288"/>
                </a:lnTo>
                <a:lnTo>
                  <a:pt x="670" y="292"/>
                </a:lnTo>
                <a:lnTo>
                  <a:pt x="670" y="292"/>
                </a:lnTo>
                <a:lnTo>
                  <a:pt x="678" y="296"/>
                </a:lnTo>
                <a:lnTo>
                  <a:pt x="682" y="300"/>
                </a:lnTo>
                <a:lnTo>
                  <a:pt x="688" y="300"/>
                </a:lnTo>
                <a:lnTo>
                  <a:pt x="690" y="298"/>
                </a:lnTo>
                <a:lnTo>
                  <a:pt x="690" y="298"/>
                </a:lnTo>
                <a:lnTo>
                  <a:pt x="696" y="298"/>
                </a:lnTo>
                <a:lnTo>
                  <a:pt x="702" y="298"/>
                </a:lnTo>
                <a:lnTo>
                  <a:pt x="702" y="298"/>
                </a:lnTo>
                <a:lnTo>
                  <a:pt x="702" y="302"/>
                </a:lnTo>
                <a:lnTo>
                  <a:pt x="702" y="302"/>
                </a:lnTo>
                <a:lnTo>
                  <a:pt x="706" y="304"/>
                </a:lnTo>
                <a:lnTo>
                  <a:pt x="706" y="304"/>
                </a:lnTo>
                <a:lnTo>
                  <a:pt x="708" y="312"/>
                </a:lnTo>
                <a:lnTo>
                  <a:pt x="708" y="312"/>
                </a:lnTo>
                <a:lnTo>
                  <a:pt x="710" y="312"/>
                </a:lnTo>
                <a:lnTo>
                  <a:pt x="714" y="312"/>
                </a:lnTo>
                <a:lnTo>
                  <a:pt x="714" y="312"/>
                </a:lnTo>
                <a:lnTo>
                  <a:pt x="714" y="312"/>
                </a:lnTo>
                <a:lnTo>
                  <a:pt x="716" y="314"/>
                </a:lnTo>
                <a:lnTo>
                  <a:pt x="716" y="314"/>
                </a:lnTo>
                <a:lnTo>
                  <a:pt x="712" y="296"/>
                </a:lnTo>
                <a:lnTo>
                  <a:pt x="712" y="296"/>
                </a:lnTo>
                <a:lnTo>
                  <a:pt x="704" y="294"/>
                </a:lnTo>
                <a:lnTo>
                  <a:pt x="704" y="294"/>
                </a:lnTo>
                <a:lnTo>
                  <a:pt x="706" y="290"/>
                </a:lnTo>
                <a:lnTo>
                  <a:pt x="706" y="290"/>
                </a:lnTo>
                <a:lnTo>
                  <a:pt x="716" y="288"/>
                </a:lnTo>
                <a:lnTo>
                  <a:pt x="716" y="288"/>
                </a:lnTo>
                <a:lnTo>
                  <a:pt x="722" y="286"/>
                </a:lnTo>
                <a:lnTo>
                  <a:pt x="726" y="286"/>
                </a:lnTo>
                <a:lnTo>
                  <a:pt x="734" y="274"/>
                </a:lnTo>
                <a:lnTo>
                  <a:pt x="734" y="274"/>
                </a:lnTo>
                <a:lnTo>
                  <a:pt x="734" y="270"/>
                </a:lnTo>
                <a:lnTo>
                  <a:pt x="734" y="270"/>
                </a:lnTo>
                <a:lnTo>
                  <a:pt x="734" y="268"/>
                </a:lnTo>
                <a:lnTo>
                  <a:pt x="734" y="268"/>
                </a:lnTo>
                <a:lnTo>
                  <a:pt x="736" y="262"/>
                </a:lnTo>
                <a:lnTo>
                  <a:pt x="736" y="262"/>
                </a:lnTo>
                <a:lnTo>
                  <a:pt x="738" y="258"/>
                </a:lnTo>
                <a:lnTo>
                  <a:pt x="738" y="252"/>
                </a:lnTo>
                <a:lnTo>
                  <a:pt x="738" y="252"/>
                </a:lnTo>
                <a:lnTo>
                  <a:pt x="734" y="248"/>
                </a:lnTo>
                <a:lnTo>
                  <a:pt x="734" y="248"/>
                </a:lnTo>
                <a:lnTo>
                  <a:pt x="736" y="244"/>
                </a:lnTo>
                <a:lnTo>
                  <a:pt x="736" y="244"/>
                </a:lnTo>
                <a:lnTo>
                  <a:pt x="738" y="240"/>
                </a:lnTo>
                <a:lnTo>
                  <a:pt x="738" y="236"/>
                </a:lnTo>
                <a:lnTo>
                  <a:pt x="738" y="236"/>
                </a:lnTo>
                <a:lnTo>
                  <a:pt x="742" y="236"/>
                </a:lnTo>
                <a:lnTo>
                  <a:pt x="746" y="234"/>
                </a:lnTo>
                <a:lnTo>
                  <a:pt x="756" y="232"/>
                </a:lnTo>
                <a:lnTo>
                  <a:pt x="756" y="232"/>
                </a:lnTo>
                <a:lnTo>
                  <a:pt x="758" y="228"/>
                </a:lnTo>
                <a:lnTo>
                  <a:pt x="758" y="228"/>
                </a:lnTo>
                <a:lnTo>
                  <a:pt x="766" y="228"/>
                </a:lnTo>
                <a:lnTo>
                  <a:pt x="766" y="228"/>
                </a:lnTo>
                <a:lnTo>
                  <a:pt x="770" y="240"/>
                </a:lnTo>
                <a:lnTo>
                  <a:pt x="770" y="240"/>
                </a:lnTo>
                <a:lnTo>
                  <a:pt x="772" y="244"/>
                </a:lnTo>
                <a:lnTo>
                  <a:pt x="772" y="244"/>
                </a:lnTo>
                <a:lnTo>
                  <a:pt x="774" y="250"/>
                </a:lnTo>
                <a:lnTo>
                  <a:pt x="774" y="256"/>
                </a:lnTo>
                <a:lnTo>
                  <a:pt x="770" y="270"/>
                </a:lnTo>
                <a:lnTo>
                  <a:pt x="770" y="270"/>
                </a:lnTo>
                <a:lnTo>
                  <a:pt x="776" y="276"/>
                </a:lnTo>
                <a:lnTo>
                  <a:pt x="776" y="276"/>
                </a:lnTo>
                <a:lnTo>
                  <a:pt x="782" y="280"/>
                </a:lnTo>
                <a:lnTo>
                  <a:pt x="782" y="280"/>
                </a:lnTo>
                <a:lnTo>
                  <a:pt x="784" y="278"/>
                </a:lnTo>
                <a:lnTo>
                  <a:pt x="782" y="278"/>
                </a:lnTo>
                <a:lnTo>
                  <a:pt x="782" y="278"/>
                </a:lnTo>
                <a:lnTo>
                  <a:pt x="782" y="272"/>
                </a:lnTo>
                <a:lnTo>
                  <a:pt x="782" y="272"/>
                </a:lnTo>
                <a:lnTo>
                  <a:pt x="788" y="270"/>
                </a:lnTo>
                <a:lnTo>
                  <a:pt x="788" y="270"/>
                </a:lnTo>
                <a:lnTo>
                  <a:pt x="790" y="274"/>
                </a:lnTo>
                <a:lnTo>
                  <a:pt x="790" y="274"/>
                </a:lnTo>
                <a:lnTo>
                  <a:pt x="798" y="276"/>
                </a:lnTo>
                <a:lnTo>
                  <a:pt x="806" y="276"/>
                </a:lnTo>
                <a:lnTo>
                  <a:pt x="806" y="276"/>
                </a:lnTo>
                <a:lnTo>
                  <a:pt x="804" y="272"/>
                </a:lnTo>
                <a:lnTo>
                  <a:pt x="804" y="272"/>
                </a:lnTo>
                <a:lnTo>
                  <a:pt x="796" y="270"/>
                </a:lnTo>
                <a:lnTo>
                  <a:pt x="788" y="268"/>
                </a:lnTo>
                <a:lnTo>
                  <a:pt x="788" y="268"/>
                </a:lnTo>
                <a:lnTo>
                  <a:pt x="784" y="264"/>
                </a:lnTo>
                <a:lnTo>
                  <a:pt x="784" y="264"/>
                </a:lnTo>
                <a:lnTo>
                  <a:pt x="780" y="264"/>
                </a:lnTo>
                <a:lnTo>
                  <a:pt x="780" y="264"/>
                </a:lnTo>
                <a:lnTo>
                  <a:pt x="780" y="258"/>
                </a:lnTo>
                <a:lnTo>
                  <a:pt x="780" y="256"/>
                </a:lnTo>
                <a:lnTo>
                  <a:pt x="788" y="252"/>
                </a:lnTo>
                <a:lnTo>
                  <a:pt x="788" y="252"/>
                </a:lnTo>
                <a:lnTo>
                  <a:pt x="786" y="248"/>
                </a:lnTo>
                <a:lnTo>
                  <a:pt x="786" y="248"/>
                </a:lnTo>
                <a:lnTo>
                  <a:pt x="784" y="244"/>
                </a:lnTo>
                <a:lnTo>
                  <a:pt x="784" y="242"/>
                </a:lnTo>
                <a:lnTo>
                  <a:pt x="784" y="242"/>
                </a:lnTo>
                <a:lnTo>
                  <a:pt x="780" y="240"/>
                </a:lnTo>
                <a:lnTo>
                  <a:pt x="780" y="240"/>
                </a:lnTo>
                <a:lnTo>
                  <a:pt x="778" y="234"/>
                </a:lnTo>
                <a:lnTo>
                  <a:pt x="776" y="228"/>
                </a:lnTo>
                <a:lnTo>
                  <a:pt x="776" y="228"/>
                </a:lnTo>
                <a:lnTo>
                  <a:pt x="766" y="224"/>
                </a:lnTo>
                <a:lnTo>
                  <a:pt x="752" y="222"/>
                </a:lnTo>
                <a:lnTo>
                  <a:pt x="752" y="222"/>
                </a:lnTo>
                <a:lnTo>
                  <a:pt x="748" y="224"/>
                </a:lnTo>
                <a:lnTo>
                  <a:pt x="744" y="226"/>
                </a:lnTo>
                <a:lnTo>
                  <a:pt x="744" y="226"/>
                </a:lnTo>
                <a:lnTo>
                  <a:pt x="736" y="226"/>
                </a:lnTo>
                <a:lnTo>
                  <a:pt x="736" y="226"/>
                </a:lnTo>
                <a:lnTo>
                  <a:pt x="734" y="226"/>
                </a:lnTo>
                <a:lnTo>
                  <a:pt x="734" y="228"/>
                </a:lnTo>
                <a:lnTo>
                  <a:pt x="734" y="228"/>
                </a:lnTo>
                <a:lnTo>
                  <a:pt x="732" y="228"/>
                </a:lnTo>
                <a:lnTo>
                  <a:pt x="730" y="228"/>
                </a:lnTo>
                <a:lnTo>
                  <a:pt x="730" y="228"/>
                </a:lnTo>
                <a:lnTo>
                  <a:pt x="730" y="220"/>
                </a:lnTo>
                <a:lnTo>
                  <a:pt x="728" y="218"/>
                </a:lnTo>
                <a:lnTo>
                  <a:pt x="728" y="218"/>
                </a:lnTo>
                <a:lnTo>
                  <a:pt x="726" y="210"/>
                </a:lnTo>
                <a:lnTo>
                  <a:pt x="726" y="210"/>
                </a:lnTo>
                <a:lnTo>
                  <a:pt x="728" y="206"/>
                </a:lnTo>
                <a:lnTo>
                  <a:pt x="730" y="202"/>
                </a:lnTo>
                <a:lnTo>
                  <a:pt x="730" y="202"/>
                </a:lnTo>
                <a:lnTo>
                  <a:pt x="730" y="196"/>
                </a:lnTo>
                <a:lnTo>
                  <a:pt x="726" y="190"/>
                </a:lnTo>
                <a:lnTo>
                  <a:pt x="726" y="190"/>
                </a:lnTo>
                <a:lnTo>
                  <a:pt x="722" y="186"/>
                </a:lnTo>
                <a:lnTo>
                  <a:pt x="722" y="186"/>
                </a:lnTo>
                <a:lnTo>
                  <a:pt x="722" y="182"/>
                </a:lnTo>
                <a:lnTo>
                  <a:pt x="722" y="182"/>
                </a:lnTo>
                <a:lnTo>
                  <a:pt x="724" y="180"/>
                </a:lnTo>
                <a:lnTo>
                  <a:pt x="726" y="176"/>
                </a:lnTo>
                <a:lnTo>
                  <a:pt x="726" y="176"/>
                </a:lnTo>
                <a:lnTo>
                  <a:pt x="726" y="174"/>
                </a:lnTo>
                <a:lnTo>
                  <a:pt x="726" y="170"/>
                </a:lnTo>
                <a:lnTo>
                  <a:pt x="726" y="170"/>
                </a:lnTo>
                <a:lnTo>
                  <a:pt x="728" y="168"/>
                </a:lnTo>
                <a:lnTo>
                  <a:pt x="730" y="168"/>
                </a:lnTo>
                <a:lnTo>
                  <a:pt x="730" y="168"/>
                </a:lnTo>
                <a:lnTo>
                  <a:pt x="734" y="164"/>
                </a:lnTo>
                <a:lnTo>
                  <a:pt x="736" y="158"/>
                </a:lnTo>
                <a:lnTo>
                  <a:pt x="736" y="158"/>
                </a:lnTo>
                <a:lnTo>
                  <a:pt x="738" y="150"/>
                </a:lnTo>
                <a:lnTo>
                  <a:pt x="738" y="144"/>
                </a:lnTo>
                <a:lnTo>
                  <a:pt x="734" y="132"/>
                </a:lnTo>
                <a:lnTo>
                  <a:pt x="734" y="132"/>
                </a:lnTo>
                <a:lnTo>
                  <a:pt x="738" y="130"/>
                </a:lnTo>
                <a:lnTo>
                  <a:pt x="738" y="130"/>
                </a:lnTo>
                <a:lnTo>
                  <a:pt x="742" y="138"/>
                </a:lnTo>
                <a:lnTo>
                  <a:pt x="742" y="138"/>
                </a:lnTo>
                <a:lnTo>
                  <a:pt x="742" y="140"/>
                </a:lnTo>
                <a:lnTo>
                  <a:pt x="740" y="142"/>
                </a:lnTo>
                <a:lnTo>
                  <a:pt x="740" y="142"/>
                </a:lnTo>
                <a:lnTo>
                  <a:pt x="740" y="144"/>
                </a:lnTo>
                <a:lnTo>
                  <a:pt x="742" y="146"/>
                </a:lnTo>
                <a:lnTo>
                  <a:pt x="744" y="150"/>
                </a:lnTo>
                <a:lnTo>
                  <a:pt x="744" y="150"/>
                </a:lnTo>
                <a:lnTo>
                  <a:pt x="742" y="154"/>
                </a:lnTo>
                <a:lnTo>
                  <a:pt x="742" y="154"/>
                </a:lnTo>
                <a:lnTo>
                  <a:pt x="740" y="158"/>
                </a:lnTo>
                <a:lnTo>
                  <a:pt x="740" y="160"/>
                </a:lnTo>
                <a:lnTo>
                  <a:pt x="742" y="160"/>
                </a:lnTo>
                <a:lnTo>
                  <a:pt x="742" y="160"/>
                </a:lnTo>
                <a:lnTo>
                  <a:pt x="742" y="166"/>
                </a:lnTo>
                <a:lnTo>
                  <a:pt x="742" y="166"/>
                </a:lnTo>
                <a:lnTo>
                  <a:pt x="746" y="172"/>
                </a:lnTo>
                <a:lnTo>
                  <a:pt x="748" y="176"/>
                </a:lnTo>
                <a:lnTo>
                  <a:pt x="744" y="180"/>
                </a:lnTo>
                <a:lnTo>
                  <a:pt x="744" y="180"/>
                </a:lnTo>
                <a:lnTo>
                  <a:pt x="744" y="180"/>
                </a:lnTo>
                <a:lnTo>
                  <a:pt x="748" y="184"/>
                </a:lnTo>
                <a:lnTo>
                  <a:pt x="752" y="186"/>
                </a:lnTo>
                <a:lnTo>
                  <a:pt x="752" y="186"/>
                </a:lnTo>
                <a:lnTo>
                  <a:pt x="754" y="186"/>
                </a:lnTo>
                <a:lnTo>
                  <a:pt x="756" y="184"/>
                </a:lnTo>
                <a:lnTo>
                  <a:pt x="758" y="182"/>
                </a:lnTo>
                <a:lnTo>
                  <a:pt x="758" y="182"/>
                </a:lnTo>
                <a:lnTo>
                  <a:pt x="764" y="182"/>
                </a:lnTo>
                <a:lnTo>
                  <a:pt x="766" y="184"/>
                </a:lnTo>
                <a:lnTo>
                  <a:pt x="766" y="184"/>
                </a:lnTo>
                <a:lnTo>
                  <a:pt x="778" y="182"/>
                </a:lnTo>
                <a:lnTo>
                  <a:pt x="780" y="184"/>
                </a:lnTo>
                <a:lnTo>
                  <a:pt x="780" y="184"/>
                </a:lnTo>
                <a:lnTo>
                  <a:pt x="782" y="182"/>
                </a:lnTo>
                <a:lnTo>
                  <a:pt x="782" y="182"/>
                </a:lnTo>
                <a:lnTo>
                  <a:pt x="780" y="178"/>
                </a:lnTo>
                <a:lnTo>
                  <a:pt x="780" y="178"/>
                </a:lnTo>
                <a:lnTo>
                  <a:pt x="776" y="178"/>
                </a:lnTo>
                <a:lnTo>
                  <a:pt x="776" y="178"/>
                </a:lnTo>
                <a:lnTo>
                  <a:pt x="774" y="174"/>
                </a:lnTo>
                <a:lnTo>
                  <a:pt x="774" y="174"/>
                </a:lnTo>
                <a:lnTo>
                  <a:pt x="768" y="174"/>
                </a:lnTo>
                <a:lnTo>
                  <a:pt x="768" y="174"/>
                </a:lnTo>
                <a:lnTo>
                  <a:pt x="766" y="170"/>
                </a:lnTo>
                <a:lnTo>
                  <a:pt x="766" y="170"/>
                </a:lnTo>
                <a:lnTo>
                  <a:pt x="764" y="170"/>
                </a:lnTo>
                <a:lnTo>
                  <a:pt x="760" y="168"/>
                </a:lnTo>
                <a:lnTo>
                  <a:pt x="760" y="168"/>
                </a:lnTo>
                <a:lnTo>
                  <a:pt x="764" y="158"/>
                </a:lnTo>
                <a:lnTo>
                  <a:pt x="764" y="158"/>
                </a:lnTo>
                <a:lnTo>
                  <a:pt x="774" y="160"/>
                </a:lnTo>
                <a:lnTo>
                  <a:pt x="782" y="164"/>
                </a:lnTo>
                <a:lnTo>
                  <a:pt x="782" y="164"/>
                </a:lnTo>
                <a:lnTo>
                  <a:pt x="782" y="164"/>
                </a:lnTo>
                <a:lnTo>
                  <a:pt x="784" y="164"/>
                </a:lnTo>
                <a:lnTo>
                  <a:pt x="784" y="164"/>
                </a:lnTo>
                <a:lnTo>
                  <a:pt x="788" y="162"/>
                </a:lnTo>
                <a:lnTo>
                  <a:pt x="790" y="156"/>
                </a:lnTo>
                <a:lnTo>
                  <a:pt x="790" y="156"/>
                </a:lnTo>
                <a:lnTo>
                  <a:pt x="786" y="154"/>
                </a:lnTo>
                <a:lnTo>
                  <a:pt x="786" y="154"/>
                </a:lnTo>
                <a:lnTo>
                  <a:pt x="780" y="154"/>
                </a:lnTo>
                <a:lnTo>
                  <a:pt x="780" y="154"/>
                </a:lnTo>
                <a:lnTo>
                  <a:pt x="790" y="148"/>
                </a:lnTo>
                <a:lnTo>
                  <a:pt x="794" y="146"/>
                </a:lnTo>
                <a:lnTo>
                  <a:pt x="802" y="146"/>
                </a:lnTo>
                <a:lnTo>
                  <a:pt x="802" y="146"/>
                </a:lnTo>
                <a:lnTo>
                  <a:pt x="812" y="150"/>
                </a:lnTo>
                <a:lnTo>
                  <a:pt x="812" y="150"/>
                </a:lnTo>
                <a:lnTo>
                  <a:pt x="816" y="154"/>
                </a:lnTo>
                <a:lnTo>
                  <a:pt x="816" y="154"/>
                </a:lnTo>
                <a:lnTo>
                  <a:pt x="820" y="154"/>
                </a:lnTo>
                <a:lnTo>
                  <a:pt x="820" y="154"/>
                </a:lnTo>
                <a:lnTo>
                  <a:pt x="822" y="158"/>
                </a:lnTo>
                <a:lnTo>
                  <a:pt x="826" y="162"/>
                </a:lnTo>
                <a:lnTo>
                  <a:pt x="826" y="162"/>
                </a:lnTo>
                <a:lnTo>
                  <a:pt x="832" y="162"/>
                </a:lnTo>
                <a:lnTo>
                  <a:pt x="836" y="162"/>
                </a:lnTo>
                <a:lnTo>
                  <a:pt x="842" y="162"/>
                </a:lnTo>
                <a:lnTo>
                  <a:pt x="848" y="162"/>
                </a:lnTo>
                <a:lnTo>
                  <a:pt x="848" y="162"/>
                </a:lnTo>
                <a:lnTo>
                  <a:pt x="850" y="164"/>
                </a:lnTo>
                <a:lnTo>
                  <a:pt x="850" y="166"/>
                </a:lnTo>
                <a:lnTo>
                  <a:pt x="848" y="168"/>
                </a:lnTo>
                <a:lnTo>
                  <a:pt x="844" y="174"/>
                </a:lnTo>
                <a:lnTo>
                  <a:pt x="844" y="174"/>
                </a:lnTo>
                <a:lnTo>
                  <a:pt x="840" y="178"/>
                </a:lnTo>
                <a:lnTo>
                  <a:pt x="840" y="182"/>
                </a:lnTo>
                <a:lnTo>
                  <a:pt x="840" y="192"/>
                </a:lnTo>
                <a:lnTo>
                  <a:pt x="838" y="194"/>
                </a:lnTo>
                <a:lnTo>
                  <a:pt x="838" y="194"/>
                </a:lnTo>
                <a:lnTo>
                  <a:pt x="834" y="202"/>
                </a:lnTo>
                <a:lnTo>
                  <a:pt x="830" y="210"/>
                </a:lnTo>
                <a:lnTo>
                  <a:pt x="830" y="210"/>
                </a:lnTo>
                <a:lnTo>
                  <a:pt x="834" y="208"/>
                </a:lnTo>
                <a:lnTo>
                  <a:pt x="834" y="208"/>
                </a:lnTo>
                <a:lnTo>
                  <a:pt x="840" y="202"/>
                </a:lnTo>
                <a:lnTo>
                  <a:pt x="840" y="202"/>
                </a:lnTo>
                <a:lnTo>
                  <a:pt x="842" y="202"/>
                </a:lnTo>
                <a:lnTo>
                  <a:pt x="842" y="202"/>
                </a:lnTo>
                <a:lnTo>
                  <a:pt x="842" y="206"/>
                </a:lnTo>
                <a:lnTo>
                  <a:pt x="848" y="210"/>
                </a:lnTo>
                <a:lnTo>
                  <a:pt x="848" y="210"/>
                </a:lnTo>
                <a:lnTo>
                  <a:pt x="848" y="214"/>
                </a:lnTo>
                <a:lnTo>
                  <a:pt x="848" y="214"/>
                </a:lnTo>
                <a:lnTo>
                  <a:pt x="858" y="216"/>
                </a:lnTo>
                <a:lnTo>
                  <a:pt x="868" y="218"/>
                </a:lnTo>
                <a:lnTo>
                  <a:pt x="868" y="218"/>
                </a:lnTo>
                <a:lnTo>
                  <a:pt x="870" y="216"/>
                </a:lnTo>
                <a:lnTo>
                  <a:pt x="872" y="214"/>
                </a:lnTo>
                <a:lnTo>
                  <a:pt x="874" y="214"/>
                </a:lnTo>
                <a:lnTo>
                  <a:pt x="874" y="214"/>
                </a:lnTo>
                <a:lnTo>
                  <a:pt x="876" y="216"/>
                </a:lnTo>
                <a:lnTo>
                  <a:pt x="876" y="216"/>
                </a:lnTo>
                <a:lnTo>
                  <a:pt x="880" y="218"/>
                </a:lnTo>
                <a:lnTo>
                  <a:pt x="880" y="218"/>
                </a:lnTo>
                <a:lnTo>
                  <a:pt x="880" y="224"/>
                </a:lnTo>
                <a:lnTo>
                  <a:pt x="880" y="224"/>
                </a:lnTo>
                <a:lnTo>
                  <a:pt x="884" y="224"/>
                </a:lnTo>
                <a:lnTo>
                  <a:pt x="886" y="226"/>
                </a:lnTo>
                <a:lnTo>
                  <a:pt x="886" y="226"/>
                </a:lnTo>
                <a:lnTo>
                  <a:pt x="884" y="218"/>
                </a:lnTo>
                <a:lnTo>
                  <a:pt x="884" y="216"/>
                </a:lnTo>
                <a:lnTo>
                  <a:pt x="880" y="214"/>
                </a:lnTo>
                <a:lnTo>
                  <a:pt x="880" y="214"/>
                </a:lnTo>
                <a:lnTo>
                  <a:pt x="878" y="214"/>
                </a:lnTo>
                <a:lnTo>
                  <a:pt x="876" y="214"/>
                </a:lnTo>
                <a:lnTo>
                  <a:pt x="876" y="214"/>
                </a:lnTo>
                <a:lnTo>
                  <a:pt x="874" y="210"/>
                </a:lnTo>
                <a:lnTo>
                  <a:pt x="874" y="210"/>
                </a:lnTo>
                <a:lnTo>
                  <a:pt x="872" y="210"/>
                </a:lnTo>
                <a:lnTo>
                  <a:pt x="872" y="210"/>
                </a:lnTo>
                <a:lnTo>
                  <a:pt x="868" y="212"/>
                </a:lnTo>
                <a:lnTo>
                  <a:pt x="862" y="214"/>
                </a:lnTo>
                <a:lnTo>
                  <a:pt x="862" y="214"/>
                </a:lnTo>
                <a:lnTo>
                  <a:pt x="850" y="206"/>
                </a:lnTo>
                <a:lnTo>
                  <a:pt x="848" y="200"/>
                </a:lnTo>
                <a:lnTo>
                  <a:pt x="848" y="200"/>
                </a:lnTo>
                <a:lnTo>
                  <a:pt x="858" y="198"/>
                </a:lnTo>
                <a:lnTo>
                  <a:pt x="858" y="198"/>
                </a:lnTo>
                <a:lnTo>
                  <a:pt x="858" y="190"/>
                </a:lnTo>
                <a:lnTo>
                  <a:pt x="858" y="190"/>
                </a:lnTo>
                <a:lnTo>
                  <a:pt x="854" y="184"/>
                </a:lnTo>
                <a:lnTo>
                  <a:pt x="854" y="180"/>
                </a:lnTo>
                <a:lnTo>
                  <a:pt x="854" y="178"/>
                </a:lnTo>
                <a:lnTo>
                  <a:pt x="854" y="178"/>
                </a:lnTo>
                <a:lnTo>
                  <a:pt x="856" y="172"/>
                </a:lnTo>
                <a:lnTo>
                  <a:pt x="858" y="168"/>
                </a:lnTo>
                <a:lnTo>
                  <a:pt x="858" y="168"/>
                </a:lnTo>
                <a:lnTo>
                  <a:pt x="858" y="166"/>
                </a:lnTo>
                <a:lnTo>
                  <a:pt x="858" y="162"/>
                </a:lnTo>
                <a:lnTo>
                  <a:pt x="858" y="162"/>
                </a:lnTo>
                <a:lnTo>
                  <a:pt x="846" y="158"/>
                </a:lnTo>
                <a:lnTo>
                  <a:pt x="846" y="158"/>
                </a:lnTo>
                <a:lnTo>
                  <a:pt x="846" y="154"/>
                </a:lnTo>
                <a:lnTo>
                  <a:pt x="842" y="152"/>
                </a:lnTo>
                <a:lnTo>
                  <a:pt x="842" y="152"/>
                </a:lnTo>
                <a:lnTo>
                  <a:pt x="838" y="152"/>
                </a:lnTo>
                <a:lnTo>
                  <a:pt x="834" y="152"/>
                </a:lnTo>
                <a:lnTo>
                  <a:pt x="832" y="150"/>
                </a:lnTo>
                <a:lnTo>
                  <a:pt x="832" y="150"/>
                </a:lnTo>
                <a:lnTo>
                  <a:pt x="826" y="146"/>
                </a:lnTo>
                <a:lnTo>
                  <a:pt x="822" y="144"/>
                </a:lnTo>
                <a:lnTo>
                  <a:pt x="820" y="138"/>
                </a:lnTo>
                <a:lnTo>
                  <a:pt x="822" y="130"/>
                </a:lnTo>
                <a:lnTo>
                  <a:pt x="822" y="130"/>
                </a:lnTo>
                <a:lnTo>
                  <a:pt x="824" y="122"/>
                </a:lnTo>
                <a:lnTo>
                  <a:pt x="824" y="122"/>
                </a:lnTo>
                <a:lnTo>
                  <a:pt x="824" y="120"/>
                </a:lnTo>
                <a:lnTo>
                  <a:pt x="824" y="118"/>
                </a:lnTo>
                <a:lnTo>
                  <a:pt x="824" y="118"/>
                </a:lnTo>
                <a:lnTo>
                  <a:pt x="828" y="110"/>
                </a:lnTo>
                <a:lnTo>
                  <a:pt x="828" y="110"/>
                </a:lnTo>
                <a:lnTo>
                  <a:pt x="830" y="110"/>
                </a:lnTo>
                <a:lnTo>
                  <a:pt x="832" y="110"/>
                </a:lnTo>
                <a:lnTo>
                  <a:pt x="834" y="108"/>
                </a:lnTo>
                <a:lnTo>
                  <a:pt x="834" y="108"/>
                </a:lnTo>
                <a:lnTo>
                  <a:pt x="840" y="108"/>
                </a:lnTo>
                <a:lnTo>
                  <a:pt x="844" y="108"/>
                </a:lnTo>
                <a:lnTo>
                  <a:pt x="848" y="106"/>
                </a:lnTo>
                <a:lnTo>
                  <a:pt x="848" y="106"/>
                </a:lnTo>
                <a:lnTo>
                  <a:pt x="852" y="106"/>
                </a:lnTo>
                <a:lnTo>
                  <a:pt x="858" y="108"/>
                </a:lnTo>
                <a:lnTo>
                  <a:pt x="858" y="108"/>
                </a:lnTo>
                <a:lnTo>
                  <a:pt x="862" y="104"/>
                </a:lnTo>
                <a:lnTo>
                  <a:pt x="866" y="104"/>
                </a:lnTo>
                <a:lnTo>
                  <a:pt x="870" y="104"/>
                </a:lnTo>
                <a:lnTo>
                  <a:pt x="870" y="104"/>
                </a:lnTo>
                <a:lnTo>
                  <a:pt x="874" y="106"/>
                </a:lnTo>
                <a:lnTo>
                  <a:pt x="876" y="108"/>
                </a:lnTo>
                <a:lnTo>
                  <a:pt x="878" y="108"/>
                </a:lnTo>
                <a:lnTo>
                  <a:pt x="880" y="106"/>
                </a:lnTo>
                <a:lnTo>
                  <a:pt x="880" y="106"/>
                </a:lnTo>
                <a:lnTo>
                  <a:pt x="882" y="106"/>
                </a:lnTo>
                <a:lnTo>
                  <a:pt x="886" y="106"/>
                </a:lnTo>
                <a:lnTo>
                  <a:pt x="886" y="106"/>
                </a:lnTo>
                <a:lnTo>
                  <a:pt x="890" y="104"/>
                </a:lnTo>
                <a:lnTo>
                  <a:pt x="896" y="104"/>
                </a:lnTo>
                <a:lnTo>
                  <a:pt x="896" y="104"/>
                </a:lnTo>
                <a:lnTo>
                  <a:pt x="900" y="104"/>
                </a:lnTo>
                <a:lnTo>
                  <a:pt x="902" y="106"/>
                </a:lnTo>
                <a:lnTo>
                  <a:pt x="902" y="108"/>
                </a:lnTo>
                <a:lnTo>
                  <a:pt x="900" y="112"/>
                </a:lnTo>
                <a:lnTo>
                  <a:pt x="900" y="112"/>
                </a:lnTo>
                <a:lnTo>
                  <a:pt x="900" y="112"/>
                </a:lnTo>
                <a:lnTo>
                  <a:pt x="902" y="114"/>
                </a:lnTo>
                <a:lnTo>
                  <a:pt x="908" y="114"/>
                </a:lnTo>
                <a:lnTo>
                  <a:pt x="908" y="114"/>
                </a:lnTo>
                <a:lnTo>
                  <a:pt x="908" y="114"/>
                </a:lnTo>
                <a:lnTo>
                  <a:pt x="908" y="110"/>
                </a:lnTo>
                <a:lnTo>
                  <a:pt x="906" y="104"/>
                </a:lnTo>
                <a:lnTo>
                  <a:pt x="902" y="96"/>
                </a:lnTo>
                <a:lnTo>
                  <a:pt x="902" y="96"/>
                </a:lnTo>
                <a:lnTo>
                  <a:pt x="898" y="94"/>
                </a:lnTo>
                <a:lnTo>
                  <a:pt x="894" y="92"/>
                </a:lnTo>
                <a:lnTo>
                  <a:pt x="894" y="92"/>
                </a:lnTo>
                <a:lnTo>
                  <a:pt x="894" y="88"/>
                </a:lnTo>
                <a:lnTo>
                  <a:pt x="894" y="88"/>
                </a:lnTo>
                <a:lnTo>
                  <a:pt x="900" y="88"/>
                </a:lnTo>
                <a:lnTo>
                  <a:pt x="906" y="88"/>
                </a:lnTo>
                <a:lnTo>
                  <a:pt x="906" y="86"/>
                </a:lnTo>
                <a:lnTo>
                  <a:pt x="906" y="86"/>
                </a:lnTo>
                <a:lnTo>
                  <a:pt x="904" y="84"/>
                </a:lnTo>
                <a:lnTo>
                  <a:pt x="902" y="82"/>
                </a:lnTo>
                <a:lnTo>
                  <a:pt x="902" y="82"/>
                </a:lnTo>
                <a:lnTo>
                  <a:pt x="900" y="80"/>
                </a:lnTo>
                <a:lnTo>
                  <a:pt x="896" y="80"/>
                </a:lnTo>
                <a:lnTo>
                  <a:pt x="896" y="80"/>
                </a:lnTo>
                <a:lnTo>
                  <a:pt x="898" y="76"/>
                </a:lnTo>
                <a:lnTo>
                  <a:pt x="898" y="76"/>
                </a:lnTo>
                <a:lnTo>
                  <a:pt x="908" y="82"/>
                </a:lnTo>
                <a:lnTo>
                  <a:pt x="908" y="82"/>
                </a:lnTo>
                <a:lnTo>
                  <a:pt x="910" y="74"/>
                </a:lnTo>
                <a:lnTo>
                  <a:pt x="912" y="70"/>
                </a:lnTo>
                <a:lnTo>
                  <a:pt x="912" y="70"/>
                </a:lnTo>
                <a:lnTo>
                  <a:pt x="916" y="70"/>
                </a:lnTo>
                <a:lnTo>
                  <a:pt x="916" y="70"/>
                </a:lnTo>
                <a:lnTo>
                  <a:pt x="918" y="66"/>
                </a:lnTo>
                <a:lnTo>
                  <a:pt x="918" y="66"/>
                </a:lnTo>
                <a:lnTo>
                  <a:pt x="914" y="64"/>
                </a:lnTo>
                <a:lnTo>
                  <a:pt x="914" y="64"/>
                </a:lnTo>
                <a:lnTo>
                  <a:pt x="910" y="64"/>
                </a:lnTo>
                <a:lnTo>
                  <a:pt x="910" y="64"/>
                </a:lnTo>
                <a:lnTo>
                  <a:pt x="910" y="62"/>
                </a:lnTo>
                <a:lnTo>
                  <a:pt x="910" y="62"/>
                </a:lnTo>
                <a:lnTo>
                  <a:pt x="916" y="62"/>
                </a:lnTo>
                <a:lnTo>
                  <a:pt x="922" y="62"/>
                </a:lnTo>
                <a:lnTo>
                  <a:pt x="924" y="60"/>
                </a:lnTo>
                <a:lnTo>
                  <a:pt x="924" y="60"/>
                </a:lnTo>
                <a:lnTo>
                  <a:pt x="932" y="60"/>
                </a:lnTo>
                <a:lnTo>
                  <a:pt x="932" y="58"/>
                </a:lnTo>
                <a:lnTo>
                  <a:pt x="932" y="58"/>
                </a:lnTo>
                <a:lnTo>
                  <a:pt x="938" y="58"/>
                </a:lnTo>
                <a:lnTo>
                  <a:pt x="938" y="58"/>
                </a:lnTo>
                <a:lnTo>
                  <a:pt x="942" y="54"/>
                </a:lnTo>
                <a:lnTo>
                  <a:pt x="946" y="52"/>
                </a:lnTo>
                <a:lnTo>
                  <a:pt x="946" y="52"/>
                </a:lnTo>
                <a:lnTo>
                  <a:pt x="950" y="54"/>
                </a:lnTo>
                <a:lnTo>
                  <a:pt x="952" y="54"/>
                </a:lnTo>
                <a:lnTo>
                  <a:pt x="952" y="54"/>
                </a:lnTo>
                <a:lnTo>
                  <a:pt x="960" y="52"/>
                </a:lnTo>
                <a:lnTo>
                  <a:pt x="960" y="52"/>
                </a:lnTo>
                <a:lnTo>
                  <a:pt x="964" y="52"/>
                </a:lnTo>
                <a:lnTo>
                  <a:pt x="970" y="52"/>
                </a:lnTo>
                <a:lnTo>
                  <a:pt x="970" y="52"/>
                </a:lnTo>
                <a:lnTo>
                  <a:pt x="976" y="48"/>
                </a:lnTo>
                <a:lnTo>
                  <a:pt x="976" y="48"/>
                </a:lnTo>
                <a:lnTo>
                  <a:pt x="982" y="48"/>
                </a:lnTo>
                <a:lnTo>
                  <a:pt x="988" y="48"/>
                </a:lnTo>
                <a:lnTo>
                  <a:pt x="988" y="48"/>
                </a:lnTo>
                <a:lnTo>
                  <a:pt x="992" y="46"/>
                </a:lnTo>
                <a:lnTo>
                  <a:pt x="992" y="44"/>
                </a:lnTo>
                <a:lnTo>
                  <a:pt x="992" y="42"/>
                </a:lnTo>
                <a:lnTo>
                  <a:pt x="996" y="42"/>
                </a:lnTo>
                <a:lnTo>
                  <a:pt x="996" y="42"/>
                </a:lnTo>
                <a:lnTo>
                  <a:pt x="998" y="42"/>
                </a:lnTo>
                <a:lnTo>
                  <a:pt x="1000" y="44"/>
                </a:lnTo>
                <a:lnTo>
                  <a:pt x="1000" y="44"/>
                </a:lnTo>
                <a:lnTo>
                  <a:pt x="1002" y="42"/>
                </a:lnTo>
                <a:lnTo>
                  <a:pt x="1002" y="42"/>
                </a:lnTo>
                <a:lnTo>
                  <a:pt x="1004" y="42"/>
                </a:lnTo>
                <a:lnTo>
                  <a:pt x="1004" y="42"/>
                </a:lnTo>
                <a:lnTo>
                  <a:pt x="1010" y="42"/>
                </a:lnTo>
                <a:lnTo>
                  <a:pt x="1010" y="42"/>
                </a:lnTo>
                <a:lnTo>
                  <a:pt x="1012" y="44"/>
                </a:lnTo>
                <a:lnTo>
                  <a:pt x="1014" y="44"/>
                </a:lnTo>
                <a:lnTo>
                  <a:pt x="1014" y="44"/>
                </a:lnTo>
                <a:lnTo>
                  <a:pt x="1016" y="40"/>
                </a:lnTo>
                <a:lnTo>
                  <a:pt x="1016" y="40"/>
                </a:lnTo>
                <a:lnTo>
                  <a:pt x="1024" y="44"/>
                </a:lnTo>
                <a:lnTo>
                  <a:pt x="1024" y="44"/>
                </a:lnTo>
                <a:lnTo>
                  <a:pt x="1028" y="42"/>
                </a:lnTo>
                <a:lnTo>
                  <a:pt x="1030" y="42"/>
                </a:lnTo>
                <a:lnTo>
                  <a:pt x="1034" y="42"/>
                </a:lnTo>
                <a:lnTo>
                  <a:pt x="1034" y="42"/>
                </a:lnTo>
                <a:lnTo>
                  <a:pt x="1036" y="46"/>
                </a:lnTo>
                <a:lnTo>
                  <a:pt x="1036" y="46"/>
                </a:lnTo>
                <a:lnTo>
                  <a:pt x="1036" y="46"/>
                </a:lnTo>
                <a:lnTo>
                  <a:pt x="1036" y="46"/>
                </a:lnTo>
                <a:lnTo>
                  <a:pt x="1032" y="50"/>
                </a:lnTo>
                <a:lnTo>
                  <a:pt x="1028" y="54"/>
                </a:lnTo>
                <a:lnTo>
                  <a:pt x="1028" y="56"/>
                </a:lnTo>
                <a:lnTo>
                  <a:pt x="1028" y="56"/>
                </a:lnTo>
                <a:lnTo>
                  <a:pt x="1036" y="54"/>
                </a:lnTo>
                <a:lnTo>
                  <a:pt x="1036" y="54"/>
                </a:lnTo>
                <a:lnTo>
                  <a:pt x="1038" y="50"/>
                </a:lnTo>
                <a:lnTo>
                  <a:pt x="1040" y="50"/>
                </a:lnTo>
                <a:lnTo>
                  <a:pt x="1040" y="50"/>
                </a:lnTo>
                <a:lnTo>
                  <a:pt x="1040" y="54"/>
                </a:lnTo>
                <a:lnTo>
                  <a:pt x="1042" y="54"/>
                </a:lnTo>
                <a:lnTo>
                  <a:pt x="1042" y="54"/>
                </a:lnTo>
                <a:lnTo>
                  <a:pt x="1044" y="50"/>
                </a:lnTo>
                <a:lnTo>
                  <a:pt x="1044" y="50"/>
                </a:lnTo>
                <a:lnTo>
                  <a:pt x="1048" y="50"/>
                </a:lnTo>
                <a:lnTo>
                  <a:pt x="1048" y="52"/>
                </a:lnTo>
                <a:lnTo>
                  <a:pt x="1048" y="52"/>
                </a:lnTo>
                <a:lnTo>
                  <a:pt x="1056" y="46"/>
                </a:lnTo>
                <a:lnTo>
                  <a:pt x="1056" y="46"/>
                </a:lnTo>
                <a:lnTo>
                  <a:pt x="1062" y="42"/>
                </a:lnTo>
                <a:lnTo>
                  <a:pt x="1064" y="40"/>
                </a:lnTo>
                <a:lnTo>
                  <a:pt x="1068" y="44"/>
                </a:lnTo>
                <a:lnTo>
                  <a:pt x="1068" y="44"/>
                </a:lnTo>
                <a:lnTo>
                  <a:pt x="1070" y="46"/>
                </a:lnTo>
                <a:lnTo>
                  <a:pt x="1068" y="50"/>
                </a:lnTo>
                <a:lnTo>
                  <a:pt x="1068" y="54"/>
                </a:lnTo>
                <a:lnTo>
                  <a:pt x="1070" y="56"/>
                </a:lnTo>
                <a:lnTo>
                  <a:pt x="1070" y="52"/>
                </a:lnTo>
                <a:lnTo>
                  <a:pt x="1070" y="52"/>
                </a:lnTo>
                <a:lnTo>
                  <a:pt x="1074" y="52"/>
                </a:lnTo>
                <a:lnTo>
                  <a:pt x="1074" y="52"/>
                </a:lnTo>
                <a:lnTo>
                  <a:pt x="1072" y="44"/>
                </a:lnTo>
                <a:lnTo>
                  <a:pt x="1072" y="42"/>
                </a:lnTo>
                <a:lnTo>
                  <a:pt x="1070" y="40"/>
                </a:lnTo>
                <a:lnTo>
                  <a:pt x="1070" y="40"/>
                </a:lnTo>
                <a:lnTo>
                  <a:pt x="1066" y="38"/>
                </a:lnTo>
                <a:lnTo>
                  <a:pt x="1066" y="38"/>
                </a:lnTo>
                <a:lnTo>
                  <a:pt x="1064" y="36"/>
                </a:lnTo>
                <a:lnTo>
                  <a:pt x="1064" y="36"/>
                </a:lnTo>
                <a:lnTo>
                  <a:pt x="1084" y="36"/>
                </a:lnTo>
                <a:lnTo>
                  <a:pt x="1084" y="36"/>
                </a:lnTo>
                <a:lnTo>
                  <a:pt x="1086" y="34"/>
                </a:lnTo>
                <a:lnTo>
                  <a:pt x="1090" y="32"/>
                </a:lnTo>
                <a:lnTo>
                  <a:pt x="1090" y="32"/>
                </a:lnTo>
                <a:lnTo>
                  <a:pt x="1094" y="38"/>
                </a:lnTo>
                <a:lnTo>
                  <a:pt x="1094" y="38"/>
                </a:lnTo>
                <a:lnTo>
                  <a:pt x="1098" y="38"/>
                </a:lnTo>
                <a:lnTo>
                  <a:pt x="1098" y="38"/>
                </a:lnTo>
                <a:lnTo>
                  <a:pt x="1094" y="32"/>
                </a:lnTo>
                <a:lnTo>
                  <a:pt x="1090" y="28"/>
                </a:lnTo>
                <a:lnTo>
                  <a:pt x="1090" y="28"/>
                </a:lnTo>
                <a:lnTo>
                  <a:pt x="1090" y="22"/>
                </a:lnTo>
                <a:lnTo>
                  <a:pt x="1092" y="22"/>
                </a:lnTo>
                <a:lnTo>
                  <a:pt x="1092" y="22"/>
                </a:lnTo>
                <a:lnTo>
                  <a:pt x="1102" y="14"/>
                </a:lnTo>
                <a:lnTo>
                  <a:pt x="1102" y="14"/>
                </a:lnTo>
                <a:lnTo>
                  <a:pt x="1104" y="12"/>
                </a:lnTo>
                <a:lnTo>
                  <a:pt x="1104" y="12"/>
                </a:lnTo>
                <a:lnTo>
                  <a:pt x="1104" y="10"/>
                </a:lnTo>
                <a:lnTo>
                  <a:pt x="1104" y="8"/>
                </a:lnTo>
                <a:lnTo>
                  <a:pt x="1104" y="8"/>
                </a:lnTo>
                <a:lnTo>
                  <a:pt x="1108" y="6"/>
                </a:lnTo>
                <a:lnTo>
                  <a:pt x="1112" y="6"/>
                </a:lnTo>
                <a:lnTo>
                  <a:pt x="1114" y="4"/>
                </a:lnTo>
                <a:lnTo>
                  <a:pt x="1114" y="4"/>
                </a:lnTo>
                <a:lnTo>
                  <a:pt x="1118" y="4"/>
                </a:lnTo>
                <a:lnTo>
                  <a:pt x="1120" y="6"/>
                </a:lnTo>
                <a:lnTo>
                  <a:pt x="1122" y="6"/>
                </a:lnTo>
                <a:lnTo>
                  <a:pt x="1124" y="8"/>
                </a:lnTo>
                <a:lnTo>
                  <a:pt x="1124" y="8"/>
                </a:lnTo>
                <a:lnTo>
                  <a:pt x="1126" y="6"/>
                </a:lnTo>
                <a:lnTo>
                  <a:pt x="1128" y="4"/>
                </a:lnTo>
                <a:lnTo>
                  <a:pt x="1130" y="2"/>
                </a:lnTo>
                <a:lnTo>
                  <a:pt x="1130" y="2"/>
                </a:lnTo>
                <a:lnTo>
                  <a:pt x="1132" y="0"/>
                </a:lnTo>
                <a:lnTo>
                  <a:pt x="1134" y="2"/>
                </a:lnTo>
                <a:lnTo>
                  <a:pt x="1138" y="4"/>
                </a:lnTo>
                <a:lnTo>
                  <a:pt x="1138" y="4"/>
                </a:lnTo>
                <a:lnTo>
                  <a:pt x="1142" y="2"/>
                </a:lnTo>
                <a:lnTo>
                  <a:pt x="1146" y="2"/>
                </a:lnTo>
                <a:lnTo>
                  <a:pt x="1146" y="2"/>
                </a:lnTo>
                <a:lnTo>
                  <a:pt x="1146" y="6"/>
                </a:lnTo>
                <a:lnTo>
                  <a:pt x="1146" y="8"/>
                </a:lnTo>
                <a:lnTo>
                  <a:pt x="1146" y="8"/>
                </a:lnTo>
                <a:lnTo>
                  <a:pt x="1150" y="8"/>
                </a:lnTo>
                <a:lnTo>
                  <a:pt x="1154" y="8"/>
                </a:lnTo>
                <a:lnTo>
                  <a:pt x="1154" y="8"/>
                </a:lnTo>
                <a:lnTo>
                  <a:pt x="1156" y="10"/>
                </a:lnTo>
                <a:lnTo>
                  <a:pt x="1156" y="12"/>
                </a:lnTo>
                <a:lnTo>
                  <a:pt x="1156" y="12"/>
                </a:lnTo>
                <a:lnTo>
                  <a:pt x="1152" y="12"/>
                </a:lnTo>
                <a:lnTo>
                  <a:pt x="1152" y="12"/>
                </a:lnTo>
                <a:lnTo>
                  <a:pt x="1150" y="16"/>
                </a:lnTo>
                <a:lnTo>
                  <a:pt x="1148" y="20"/>
                </a:lnTo>
                <a:lnTo>
                  <a:pt x="1148" y="20"/>
                </a:lnTo>
                <a:lnTo>
                  <a:pt x="1152" y="18"/>
                </a:lnTo>
                <a:lnTo>
                  <a:pt x="1154" y="18"/>
                </a:lnTo>
                <a:lnTo>
                  <a:pt x="1154" y="20"/>
                </a:lnTo>
                <a:lnTo>
                  <a:pt x="1154" y="20"/>
                </a:lnTo>
                <a:lnTo>
                  <a:pt x="1154" y="20"/>
                </a:lnTo>
                <a:lnTo>
                  <a:pt x="1154" y="22"/>
                </a:lnTo>
                <a:lnTo>
                  <a:pt x="1154" y="22"/>
                </a:lnTo>
                <a:lnTo>
                  <a:pt x="1154" y="22"/>
                </a:lnTo>
                <a:lnTo>
                  <a:pt x="1158" y="22"/>
                </a:lnTo>
                <a:lnTo>
                  <a:pt x="1160" y="20"/>
                </a:lnTo>
                <a:lnTo>
                  <a:pt x="1162" y="20"/>
                </a:lnTo>
                <a:lnTo>
                  <a:pt x="1166" y="20"/>
                </a:lnTo>
                <a:lnTo>
                  <a:pt x="1168" y="22"/>
                </a:lnTo>
                <a:lnTo>
                  <a:pt x="1168" y="22"/>
                </a:lnTo>
                <a:lnTo>
                  <a:pt x="1176" y="24"/>
                </a:lnTo>
                <a:lnTo>
                  <a:pt x="1176" y="24"/>
                </a:lnTo>
                <a:lnTo>
                  <a:pt x="1172" y="38"/>
                </a:lnTo>
                <a:lnTo>
                  <a:pt x="1172" y="38"/>
                </a:lnTo>
                <a:lnTo>
                  <a:pt x="1178" y="36"/>
                </a:lnTo>
                <a:lnTo>
                  <a:pt x="1184" y="32"/>
                </a:lnTo>
                <a:lnTo>
                  <a:pt x="1184" y="32"/>
                </a:lnTo>
                <a:lnTo>
                  <a:pt x="1186" y="30"/>
                </a:lnTo>
                <a:lnTo>
                  <a:pt x="1188" y="28"/>
                </a:lnTo>
                <a:lnTo>
                  <a:pt x="1188" y="28"/>
                </a:lnTo>
                <a:lnTo>
                  <a:pt x="1200" y="26"/>
                </a:lnTo>
                <a:lnTo>
                  <a:pt x="1212" y="24"/>
                </a:lnTo>
                <a:lnTo>
                  <a:pt x="1212" y="24"/>
                </a:lnTo>
                <a:lnTo>
                  <a:pt x="1214" y="26"/>
                </a:lnTo>
                <a:lnTo>
                  <a:pt x="1216" y="26"/>
                </a:lnTo>
                <a:lnTo>
                  <a:pt x="1216" y="26"/>
                </a:lnTo>
                <a:lnTo>
                  <a:pt x="1220" y="24"/>
                </a:lnTo>
                <a:lnTo>
                  <a:pt x="1220" y="24"/>
                </a:lnTo>
                <a:lnTo>
                  <a:pt x="1228" y="24"/>
                </a:lnTo>
                <a:lnTo>
                  <a:pt x="1228" y="24"/>
                </a:lnTo>
                <a:lnTo>
                  <a:pt x="1230" y="22"/>
                </a:lnTo>
                <a:lnTo>
                  <a:pt x="1232" y="22"/>
                </a:lnTo>
                <a:lnTo>
                  <a:pt x="1232" y="22"/>
                </a:lnTo>
                <a:lnTo>
                  <a:pt x="1234" y="26"/>
                </a:lnTo>
                <a:lnTo>
                  <a:pt x="1236" y="28"/>
                </a:lnTo>
                <a:lnTo>
                  <a:pt x="1236" y="34"/>
                </a:lnTo>
                <a:lnTo>
                  <a:pt x="1236" y="34"/>
                </a:lnTo>
                <a:lnTo>
                  <a:pt x="1238" y="36"/>
                </a:lnTo>
                <a:lnTo>
                  <a:pt x="1244" y="38"/>
                </a:lnTo>
                <a:lnTo>
                  <a:pt x="1252" y="40"/>
                </a:lnTo>
                <a:lnTo>
                  <a:pt x="1252" y="40"/>
                </a:lnTo>
                <a:lnTo>
                  <a:pt x="1254" y="50"/>
                </a:lnTo>
                <a:lnTo>
                  <a:pt x="1254" y="50"/>
                </a:lnTo>
                <a:lnTo>
                  <a:pt x="1258" y="50"/>
                </a:lnTo>
                <a:lnTo>
                  <a:pt x="1258" y="50"/>
                </a:lnTo>
                <a:lnTo>
                  <a:pt x="1260" y="54"/>
                </a:lnTo>
                <a:lnTo>
                  <a:pt x="1260" y="56"/>
                </a:lnTo>
                <a:lnTo>
                  <a:pt x="1258" y="64"/>
                </a:lnTo>
                <a:lnTo>
                  <a:pt x="1258" y="64"/>
                </a:lnTo>
                <a:lnTo>
                  <a:pt x="1252" y="62"/>
                </a:lnTo>
                <a:lnTo>
                  <a:pt x="1252" y="62"/>
                </a:lnTo>
                <a:lnTo>
                  <a:pt x="1252" y="60"/>
                </a:lnTo>
                <a:lnTo>
                  <a:pt x="1252" y="60"/>
                </a:lnTo>
                <a:lnTo>
                  <a:pt x="1250" y="62"/>
                </a:lnTo>
                <a:lnTo>
                  <a:pt x="1250" y="62"/>
                </a:lnTo>
                <a:lnTo>
                  <a:pt x="1250" y="64"/>
                </a:lnTo>
                <a:lnTo>
                  <a:pt x="1250" y="64"/>
                </a:lnTo>
                <a:lnTo>
                  <a:pt x="1258" y="70"/>
                </a:lnTo>
                <a:lnTo>
                  <a:pt x="1262" y="76"/>
                </a:lnTo>
                <a:lnTo>
                  <a:pt x="1260" y="78"/>
                </a:lnTo>
                <a:lnTo>
                  <a:pt x="1258" y="80"/>
                </a:lnTo>
                <a:lnTo>
                  <a:pt x="1258" y="80"/>
                </a:lnTo>
                <a:lnTo>
                  <a:pt x="1246" y="84"/>
                </a:lnTo>
                <a:lnTo>
                  <a:pt x="1232" y="88"/>
                </a:lnTo>
                <a:lnTo>
                  <a:pt x="1232" y="88"/>
                </a:lnTo>
                <a:lnTo>
                  <a:pt x="1224" y="88"/>
                </a:lnTo>
                <a:lnTo>
                  <a:pt x="1224" y="88"/>
                </a:lnTo>
                <a:lnTo>
                  <a:pt x="1220" y="92"/>
                </a:lnTo>
                <a:lnTo>
                  <a:pt x="1220" y="92"/>
                </a:lnTo>
                <a:lnTo>
                  <a:pt x="1208" y="94"/>
                </a:lnTo>
                <a:lnTo>
                  <a:pt x="1208" y="94"/>
                </a:lnTo>
                <a:lnTo>
                  <a:pt x="1204" y="94"/>
                </a:lnTo>
                <a:lnTo>
                  <a:pt x="1202" y="94"/>
                </a:lnTo>
                <a:lnTo>
                  <a:pt x="1202" y="94"/>
                </a:lnTo>
                <a:lnTo>
                  <a:pt x="1200" y="98"/>
                </a:lnTo>
                <a:lnTo>
                  <a:pt x="1200" y="98"/>
                </a:lnTo>
                <a:lnTo>
                  <a:pt x="1196" y="102"/>
                </a:lnTo>
                <a:lnTo>
                  <a:pt x="1196" y="102"/>
                </a:lnTo>
                <a:lnTo>
                  <a:pt x="1198" y="112"/>
                </a:lnTo>
                <a:lnTo>
                  <a:pt x="1198" y="112"/>
                </a:lnTo>
                <a:lnTo>
                  <a:pt x="1192" y="112"/>
                </a:lnTo>
                <a:lnTo>
                  <a:pt x="1192" y="112"/>
                </a:lnTo>
                <a:lnTo>
                  <a:pt x="1188" y="116"/>
                </a:lnTo>
                <a:lnTo>
                  <a:pt x="1186" y="122"/>
                </a:lnTo>
                <a:lnTo>
                  <a:pt x="1186" y="122"/>
                </a:lnTo>
                <a:lnTo>
                  <a:pt x="1182" y="122"/>
                </a:lnTo>
                <a:lnTo>
                  <a:pt x="1178" y="124"/>
                </a:lnTo>
                <a:lnTo>
                  <a:pt x="1178" y="124"/>
                </a:lnTo>
                <a:lnTo>
                  <a:pt x="1174" y="126"/>
                </a:lnTo>
                <a:lnTo>
                  <a:pt x="1174" y="126"/>
                </a:lnTo>
                <a:lnTo>
                  <a:pt x="1170" y="128"/>
                </a:lnTo>
                <a:lnTo>
                  <a:pt x="1166" y="128"/>
                </a:lnTo>
                <a:lnTo>
                  <a:pt x="1166" y="128"/>
                </a:lnTo>
                <a:lnTo>
                  <a:pt x="1164" y="130"/>
                </a:lnTo>
                <a:lnTo>
                  <a:pt x="1164" y="132"/>
                </a:lnTo>
                <a:lnTo>
                  <a:pt x="1162" y="136"/>
                </a:lnTo>
                <a:lnTo>
                  <a:pt x="1162" y="136"/>
                </a:lnTo>
                <a:lnTo>
                  <a:pt x="1156" y="138"/>
                </a:lnTo>
                <a:lnTo>
                  <a:pt x="1150" y="140"/>
                </a:lnTo>
                <a:lnTo>
                  <a:pt x="1138" y="142"/>
                </a:lnTo>
                <a:lnTo>
                  <a:pt x="1136" y="144"/>
                </a:lnTo>
                <a:lnTo>
                  <a:pt x="1136" y="144"/>
                </a:lnTo>
                <a:lnTo>
                  <a:pt x="1148" y="142"/>
                </a:lnTo>
                <a:lnTo>
                  <a:pt x="1162" y="142"/>
                </a:lnTo>
                <a:lnTo>
                  <a:pt x="1166" y="138"/>
                </a:lnTo>
                <a:lnTo>
                  <a:pt x="1166" y="138"/>
                </a:lnTo>
                <a:lnTo>
                  <a:pt x="1166" y="136"/>
                </a:lnTo>
                <a:lnTo>
                  <a:pt x="1168" y="134"/>
                </a:lnTo>
                <a:lnTo>
                  <a:pt x="1168" y="134"/>
                </a:lnTo>
                <a:lnTo>
                  <a:pt x="1168" y="134"/>
                </a:lnTo>
                <a:lnTo>
                  <a:pt x="1172" y="132"/>
                </a:lnTo>
                <a:lnTo>
                  <a:pt x="1176" y="134"/>
                </a:lnTo>
                <a:lnTo>
                  <a:pt x="1184" y="134"/>
                </a:lnTo>
                <a:lnTo>
                  <a:pt x="1184" y="134"/>
                </a:lnTo>
                <a:lnTo>
                  <a:pt x="1186" y="134"/>
                </a:lnTo>
                <a:lnTo>
                  <a:pt x="1186" y="132"/>
                </a:lnTo>
                <a:lnTo>
                  <a:pt x="1186" y="132"/>
                </a:lnTo>
                <a:lnTo>
                  <a:pt x="1190" y="132"/>
                </a:lnTo>
                <a:lnTo>
                  <a:pt x="1194" y="130"/>
                </a:lnTo>
                <a:lnTo>
                  <a:pt x="1194" y="130"/>
                </a:lnTo>
                <a:lnTo>
                  <a:pt x="1200" y="126"/>
                </a:lnTo>
                <a:lnTo>
                  <a:pt x="1200" y="126"/>
                </a:lnTo>
                <a:lnTo>
                  <a:pt x="1198" y="124"/>
                </a:lnTo>
                <a:lnTo>
                  <a:pt x="1198" y="122"/>
                </a:lnTo>
                <a:lnTo>
                  <a:pt x="1198" y="122"/>
                </a:lnTo>
                <a:lnTo>
                  <a:pt x="1202" y="126"/>
                </a:lnTo>
                <a:lnTo>
                  <a:pt x="1204" y="126"/>
                </a:lnTo>
                <a:lnTo>
                  <a:pt x="1208" y="126"/>
                </a:lnTo>
                <a:lnTo>
                  <a:pt x="1208" y="126"/>
                </a:lnTo>
                <a:lnTo>
                  <a:pt x="1210" y="122"/>
                </a:lnTo>
                <a:lnTo>
                  <a:pt x="1210" y="122"/>
                </a:lnTo>
                <a:lnTo>
                  <a:pt x="1204" y="122"/>
                </a:lnTo>
                <a:lnTo>
                  <a:pt x="1204" y="122"/>
                </a:lnTo>
                <a:lnTo>
                  <a:pt x="1202" y="118"/>
                </a:lnTo>
                <a:lnTo>
                  <a:pt x="1202" y="118"/>
                </a:lnTo>
                <a:lnTo>
                  <a:pt x="1202" y="116"/>
                </a:lnTo>
                <a:lnTo>
                  <a:pt x="1202" y="116"/>
                </a:lnTo>
                <a:lnTo>
                  <a:pt x="1204" y="116"/>
                </a:lnTo>
                <a:lnTo>
                  <a:pt x="1204" y="114"/>
                </a:lnTo>
                <a:lnTo>
                  <a:pt x="1204" y="114"/>
                </a:lnTo>
                <a:lnTo>
                  <a:pt x="1206" y="112"/>
                </a:lnTo>
                <a:lnTo>
                  <a:pt x="1208" y="112"/>
                </a:lnTo>
                <a:lnTo>
                  <a:pt x="1208" y="112"/>
                </a:lnTo>
                <a:lnTo>
                  <a:pt x="1208" y="108"/>
                </a:lnTo>
                <a:lnTo>
                  <a:pt x="1208" y="108"/>
                </a:lnTo>
                <a:lnTo>
                  <a:pt x="1212" y="106"/>
                </a:lnTo>
                <a:lnTo>
                  <a:pt x="1214" y="106"/>
                </a:lnTo>
                <a:lnTo>
                  <a:pt x="1214" y="108"/>
                </a:lnTo>
                <a:lnTo>
                  <a:pt x="1216" y="110"/>
                </a:lnTo>
                <a:lnTo>
                  <a:pt x="1216" y="110"/>
                </a:lnTo>
                <a:lnTo>
                  <a:pt x="1218" y="110"/>
                </a:lnTo>
                <a:lnTo>
                  <a:pt x="1218" y="108"/>
                </a:lnTo>
                <a:lnTo>
                  <a:pt x="1218" y="108"/>
                </a:lnTo>
                <a:lnTo>
                  <a:pt x="1218" y="108"/>
                </a:lnTo>
                <a:lnTo>
                  <a:pt x="1218" y="108"/>
                </a:lnTo>
                <a:lnTo>
                  <a:pt x="1220" y="104"/>
                </a:lnTo>
                <a:lnTo>
                  <a:pt x="1222" y="104"/>
                </a:lnTo>
                <a:lnTo>
                  <a:pt x="1222" y="104"/>
                </a:lnTo>
                <a:lnTo>
                  <a:pt x="1226" y="112"/>
                </a:lnTo>
                <a:lnTo>
                  <a:pt x="1228" y="116"/>
                </a:lnTo>
                <a:lnTo>
                  <a:pt x="1232" y="116"/>
                </a:lnTo>
                <a:lnTo>
                  <a:pt x="1244" y="116"/>
                </a:lnTo>
                <a:lnTo>
                  <a:pt x="1244" y="116"/>
                </a:lnTo>
                <a:lnTo>
                  <a:pt x="1244" y="108"/>
                </a:lnTo>
                <a:lnTo>
                  <a:pt x="1244" y="108"/>
                </a:lnTo>
                <a:lnTo>
                  <a:pt x="1246" y="110"/>
                </a:lnTo>
                <a:lnTo>
                  <a:pt x="1246" y="110"/>
                </a:lnTo>
                <a:lnTo>
                  <a:pt x="1250" y="112"/>
                </a:lnTo>
                <a:lnTo>
                  <a:pt x="1250" y="112"/>
                </a:lnTo>
                <a:lnTo>
                  <a:pt x="1250" y="118"/>
                </a:lnTo>
                <a:lnTo>
                  <a:pt x="1248" y="120"/>
                </a:lnTo>
                <a:lnTo>
                  <a:pt x="1248" y="120"/>
                </a:lnTo>
                <a:lnTo>
                  <a:pt x="1248" y="124"/>
                </a:lnTo>
                <a:lnTo>
                  <a:pt x="1248" y="124"/>
                </a:lnTo>
                <a:lnTo>
                  <a:pt x="1250" y="126"/>
                </a:lnTo>
                <a:lnTo>
                  <a:pt x="1250" y="126"/>
                </a:lnTo>
                <a:lnTo>
                  <a:pt x="1250" y="122"/>
                </a:lnTo>
                <a:lnTo>
                  <a:pt x="1250" y="122"/>
                </a:lnTo>
                <a:lnTo>
                  <a:pt x="1254" y="116"/>
                </a:lnTo>
                <a:lnTo>
                  <a:pt x="1258" y="114"/>
                </a:lnTo>
                <a:lnTo>
                  <a:pt x="1268" y="108"/>
                </a:lnTo>
                <a:lnTo>
                  <a:pt x="1268" y="108"/>
                </a:lnTo>
                <a:lnTo>
                  <a:pt x="1270" y="104"/>
                </a:lnTo>
                <a:lnTo>
                  <a:pt x="1272" y="104"/>
                </a:lnTo>
                <a:lnTo>
                  <a:pt x="1272" y="104"/>
                </a:lnTo>
                <a:lnTo>
                  <a:pt x="1276" y="104"/>
                </a:lnTo>
                <a:lnTo>
                  <a:pt x="1278" y="104"/>
                </a:lnTo>
                <a:lnTo>
                  <a:pt x="1284" y="108"/>
                </a:lnTo>
                <a:lnTo>
                  <a:pt x="1284" y="108"/>
                </a:lnTo>
                <a:lnTo>
                  <a:pt x="1288" y="106"/>
                </a:lnTo>
                <a:lnTo>
                  <a:pt x="1292" y="106"/>
                </a:lnTo>
                <a:lnTo>
                  <a:pt x="1294" y="110"/>
                </a:lnTo>
                <a:lnTo>
                  <a:pt x="1294" y="110"/>
                </a:lnTo>
                <a:lnTo>
                  <a:pt x="1300" y="108"/>
                </a:lnTo>
                <a:lnTo>
                  <a:pt x="1300" y="108"/>
                </a:lnTo>
                <a:lnTo>
                  <a:pt x="1310" y="108"/>
                </a:lnTo>
                <a:lnTo>
                  <a:pt x="1316" y="110"/>
                </a:lnTo>
                <a:lnTo>
                  <a:pt x="1316" y="110"/>
                </a:lnTo>
                <a:lnTo>
                  <a:pt x="1316" y="120"/>
                </a:lnTo>
                <a:lnTo>
                  <a:pt x="1314" y="120"/>
                </a:lnTo>
                <a:lnTo>
                  <a:pt x="1314" y="120"/>
                </a:lnTo>
                <a:lnTo>
                  <a:pt x="1314" y="122"/>
                </a:lnTo>
                <a:lnTo>
                  <a:pt x="1314" y="122"/>
                </a:lnTo>
                <a:lnTo>
                  <a:pt x="1320" y="126"/>
                </a:lnTo>
                <a:lnTo>
                  <a:pt x="1320" y="126"/>
                </a:lnTo>
                <a:lnTo>
                  <a:pt x="1324" y="128"/>
                </a:lnTo>
                <a:lnTo>
                  <a:pt x="1326" y="128"/>
                </a:lnTo>
                <a:lnTo>
                  <a:pt x="1328" y="130"/>
                </a:lnTo>
                <a:lnTo>
                  <a:pt x="1328" y="130"/>
                </a:lnTo>
                <a:lnTo>
                  <a:pt x="1332" y="130"/>
                </a:lnTo>
                <a:lnTo>
                  <a:pt x="1332" y="130"/>
                </a:lnTo>
                <a:lnTo>
                  <a:pt x="1338" y="134"/>
                </a:lnTo>
                <a:lnTo>
                  <a:pt x="1338" y="134"/>
                </a:lnTo>
                <a:lnTo>
                  <a:pt x="1340" y="134"/>
                </a:lnTo>
                <a:lnTo>
                  <a:pt x="1340" y="134"/>
                </a:lnTo>
                <a:lnTo>
                  <a:pt x="1340" y="132"/>
                </a:lnTo>
                <a:lnTo>
                  <a:pt x="1340" y="132"/>
                </a:lnTo>
                <a:lnTo>
                  <a:pt x="1344" y="132"/>
                </a:lnTo>
                <a:lnTo>
                  <a:pt x="1346" y="132"/>
                </a:lnTo>
                <a:lnTo>
                  <a:pt x="1350" y="134"/>
                </a:lnTo>
                <a:lnTo>
                  <a:pt x="1352" y="134"/>
                </a:lnTo>
                <a:lnTo>
                  <a:pt x="1352" y="134"/>
                </a:lnTo>
                <a:lnTo>
                  <a:pt x="1356" y="132"/>
                </a:lnTo>
                <a:lnTo>
                  <a:pt x="1356" y="132"/>
                </a:lnTo>
                <a:lnTo>
                  <a:pt x="1362" y="136"/>
                </a:lnTo>
                <a:lnTo>
                  <a:pt x="1362" y="136"/>
                </a:lnTo>
                <a:lnTo>
                  <a:pt x="1366" y="136"/>
                </a:lnTo>
                <a:lnTo>
                  <a:pt x="1368" y="134"/>
                </a:lnTo>
                <a:lnTo>
                  <a:pt x="1368" y="134"/>
                </a:lnTo>
                <a:lnTo>
                  <a:pt x="1370" y="138"/>
                </a:lnTo>
                <a:lnTo>
                  <a:pt x="1374" y="140"/>
                </a:lnTo>
                <a:lnTo>
                  <a:pt x="1374" y="140"/>
                </a:lnTo>
                <a:lnTo>
                  <a:pt x="1380" y="142"/>
                </a:lnTo>
                <a:lnTo>
                  <a:pt x="1388" y="142"/>
                </a:lnTo>
                <a:lnTo>
                  <a:pt x="1388" y="142"/>
                </a:lnTo>
                <a:lnTo>
                  <a:pt x="1386" y="140"/>
                </a:lnTo>
                <a:lnTo>
                  <a:pt x="1388" y="138"/>
                </a:lnTo>
                <a:lnTo>
                  <a:pt x="1396" y="136"/>
                </a:lnTo>
                <a:lnTo>
                  <a:pt x="1396" y="136"/>
                </a:lnTo>
                <a:lnTo>
                  <a:pt x="1394" y="134"/>
                </a:lnTo>
                <a:lnTo>
                  <a:pt x="1394" y="132"/>
                </a:lnTo>
                <a:lnTo>
                  <a:pt x="1394" y="132"/>
                </a:lnTo>
                <a:lnTo>
                  <a:pt x="1398" y="130"/>
                </a:lnTo>
                <a:lnTo>
                  <a:pt x="1398" y="130"/>
                </a:lnTo>
                <a:lnTo>
                  <a:pt x="1396" y="128"/>
                </a:lnTo>
                <a:lnTo>
                  <a:pt x="1396" y="128"/>
                </a:lnTo>
                <a:lnTo>
                  <a:pt x="1392" y="126"/>
                </a:lnTo>
                <a:lnTo>
                  <a:pt x="1392" y="126"/>
                </a:lnTo>
                <a:lnTo>
                  <a:pt x="1388" y="126"/>
                </a:lnTo>
                <a:lnTo>
                  <a:pt x="1382" y="126"/>
                </a:lnTo>
                <a:lnTo>
                  <a:pt x="1382" y="126"/>
                </a:lnTo>
                <a:lnTo>
                  <a:pt x="1382" y="122"/>
                </a:lnTo>
                <a:lnTo>
                  <a:pt x="1382" y="122"/>
                </a:lnTo>
                <a:lnTo>
                  <a:pt x="1378" y="120"/>
                </a:lnTo>
                <a:lnTo>
                  <a:pt x="1378" y="120"/>
                </a:lnTo>
                <a:lnTo>
                  <a:pt x="1378" y="114"/>
                </a:lnTo>
                <a:lnTo>
                  <a:pt x="1378" y="110"/>
                </a:lnTo>
                <a:lnTo>
                  <a:pt x="1382" y="106"/>
                </a:lnTo>
                <a:lnTo>
                  <a:pt x="1390" y="104"/>
                </a:lnTo>
                <a:lnTo>
                  <a:pt x="1390" y="104"/>
                </a:lnTo>
                <a:lnTo>
                  <a:pt x="1398" y="104"/>
                </a:lnTo>
                <a:lnTo>
                  <a:pt x="1402" y="104"/>
                </a:lnTo>
                <a:lnTo>
                  <a:pt x="1406" y="106"/>
                </a:lnTo>
                <a:lnTo>
                  <a:pt x="1406" y="106"/>
                </a:lnTo>
                <a:lnTo>
                  <a:pt x="1406" y="106"/>
                </a:lnTo>
                <a:lnTo>
                  <a:pt x="1406" y="108"/>
                </a:lnTo>
                <a:lnTo>
                  <a:pt x="1406" y="108"/>
                </a:lnTo>
                <a:lnTo>
                  <a:pt x="1412" y="108"/>
                </a:lnTo>
                <a:lnTo>
                  <a:pt x="1412" y="108"/>
                </a:lnTo>
                <a:lnTo>
                  <a:pt x="1414" y="112"/>
                </a:lnTo>
                <a:lnTo>
                  <a:pt x="1416" y="114"/>
                </a:lnTo>
                <a:lnTo>
                  <a:pt x="1416" y="114"/>
                </a:lnTo>
                <a:lnTo>
                  <a:pt x="1424" y="114"/>
                </a:lnTo>
                <a:lnTo>
                  <a:pt x="1424" y="114"/>
                </a:lnTo>
                <a:lnTo>
                  <a:pt x="1424" y="120"/>
                </a:lnTo>
                <a:lnTo>
                  <a:pt x="1424" y="120"/>
                </a:lnTo>
                <a:lnTo>
                  <a:pt x="1424" y="120"/>
                </a:lnTo>
                <a:lnTo>
                  <a:pt x="1420" y="124"/>
                </a:lnTo>
                <a:lnTo>
                  <a:pt x="1418" y="126"/>
                </a:lnTo>
                <a:lnTo>
                  <a:pt x="1416" y="128"/>
                </a:lnTo>
                <a:lnTo>
                  <a:pt x="1416" y="128"/>
                </a:lnTo>
                <a:lnTo>
                  <a:pt x="1412" y="128"/>
                </a:lnTo>
                <a:lnTo>
                  <a:pt x="1412" y="128"/>
                </a:lnTo>
                <a:lnTo>
                  <a:pt x="1408" y="130"/>
                </a:lnTo>
                <a:lnTo>
                  <a:pt x="1408" y="130"/>
                </a:lnTo>
                <a:lnTo>
                  <a:pt x="1402" y="130"/>
                </a:lnTo>
                <a:lnTo>
                  <a:pt x="1402" y="130"/>
                </a:lnTo>
                <a:lnTo>
                  <a:pt x="1402" y="134"/>
                </a:lnTo>
                <a:lnTo>
                  <a:pt x="1402" y="136"/>
                </a:lnTo>
                <a:lnTo>
                  <a:pt x="1402" y="136"/>
                </a:lnTo>
                <a:lnTo>
                  <a:pt x="1398" y="138"/>
                </a:lnTo>
                <a:lnTo>
                  <a:pt x="1396" y="138"/>
                </a:lnTo>
                <a:lnTo>
                  <a:pt x="1400" y="138"/>
                </a:lnTo>
                <a:lnTo>
                  <a:pt x="1400" y="138"/>
                </a:lnTo>
                <a:lnTo>
                  <a:pt x="1404" y="138"/>
                </a:lnTo>
                <a:lnTo>
                  <a:pt x="1404" y="138"/>
                </a:lnTo>
                <a:lnTo>
                  <a:pt x="1406" y="140"/>
                </a:lnTo>
                <a:lnTo>
                  <a:pt x="1406" y="140"/>
                </a:lnTo>
                <a:lnTo>
                  <a:pt x="1404" y="144"/>
                </a:lnTo>
                <a:lnTo>
                  <a:pt x="1404" y="144"/>
                </a:lnTo>
                <a:lnTo>
                  <a:pt x="1402" y="144"/>
                </a:lnTo>
                <a:lnTo>
                  <a:pt x="1402" y="144"/>
                </a:lnTo>
                <a:lnTo>
                  <a:pt x="1406" y="144"/>
                </a:lnTo>
                <a:lnTo>
                  <a:pt x="1406" y="144"/>
                </a:lnTo>
                <a:lnTo>
                  <a:pt x="1410" y="148"/>
                </a:lnTo>
                <a:lnTo>
                  <a:pt x="1412" y="148"/>
                </a:lnTo>
                <a:lnTo>
                  <a:pt x="1412" y="144"/>
                </a:lnTo>
                <a:lnTo>
                  <a:pt x="1412" y="144"/>
                </a:lnTo>
                <a:lnTo>
                  <a:pt x="1420" y="142"/>
                </a:lnTo>
                <a:lnTo>
                  <a:pt x="1420" y="142"/>
                </a:lnTo>
                <a:lnTo>
                  <a:pt x="1422" y="150"/>
                </a:lnTo>
                <a:lnTo>
                  <a:pt x="1422" y="150"/>
                </a:lnTo>
                <a:lnTo>
                  <a:pt x="1414" y="148"/>
                </a:lnTo>
                <a:lnTo>
                  <a:pt x="1414" y="148"/>
                </a:lnTo>
                <a:lnTo>
                  <a:pt x="1412" y="148"/>
                </a:lnTo>
                <a:lnTo>
                  <a:pt x="1414" y="150"/>
                </a:lnTo>
                <a:lnTo>
                  <a:pt x="1420" y="152"/>
                </a:lnTo>
                <a:lnTo>
                  <a:pt x="1420" y="152"/>
                </a:lnTo>
                <a:lnTo>
                  <a:pt x="1426" y="152"/>
                </a:lnTo>
                <a:lnTo>
                  <a:pt x="1426" y="152"/>
                </a:lnTo>
                <a:lnTo>
                  <a:pt x="1428" y="156"/>
                </a:lnTo>
                <a:lnTo>
                  <a:pt x="1430" y="160"/>
                </a:lnTo>
                <a:lnTo>
                  <a:pt x="1432" y="164"/>
                </a:lnTo>
                <a:lnTo>
                  <a:pt x="1434" y="166"/>
                </a:lnTo>
                <a:lnTo>
                  <a:pt x="1434" y="166"/>
                </a:lnTo>
                <a:lnTo>
                  <a:pt x="1434" y="166"/>
                </a:lnTo>
                <a:lnTo>
                  <a:pt x="1434" y="164"/>
                </a:lnTo>
                <a:lnTo>
                  <a:pt x="1434" y="164"/>
                </a:lnTo>
                <a:lnTo>
                  <a:pt x="1434" y="166"/>
                </a:lnTo>
                <a:lnTo>
                  <a:pt x="1434" y="164"/>
                </a:lnTo>
                <a:lnTo>
                  <a:pt x="1436" y="162"/>
                </a:lnTo>
                <a:lnTo>
                  <a:pt x="1436" y="162"/>
                </a:lnTo>
                <a:lnTo>
                  <a:pt x="1432" y="158"/>
                </a:lnTo>
                <a:lnTo>
                  <a:pt x="1432" y="154"/>
                </a:lnTo>
                <a:lnTo>
                  <a:pt x="1434" y="152"/>
                </a:lnTo>
                <a:lnTo>
                  <a:pt x="1434" y="152"/>
                </a:lnTo>
                <a:lnTo>
                  <a:pt x="1436" y="150"/>
                </a:lnTo>
                <a:lnTo>
                  <a:pt x="1438" y="150"/>
                </a:lnTo>
                <a:lnTo>
                  <a:pt x="1438" y="150"/>
                </a:lnTo>
                <a:lnTo>
                  <a:pt x="1446" y="158"/>
                </a:lnTo>
                <a:lnTo>
                  <a:pt x="1450" y="162"/>
                </a:lnTo>
                <a:lnTo>
                  <a:pt x="1454" y="166"/>
                </a:lnTo>
                <a:lnTo>
                  <a:pt x="1454" y="166"/>
                </a:lnTo>
                <a:lnTo>
                  <a:pt x="1458" y="166"/>
                </a:lnTo>
                <a:lnTo>
                  <a:pt x="1458" y="166"/>
                </a:lnTo>
                <a:lnTo>
                  <a:pt x="1460" y="164"/>
                </a:lnTo>
                <a:lnTo>
                  <a:pt x="1460" y="164"/>
                </a:lnTo>
                <a:lnTo>
                  <a:pt x="1458" y="164"/>
                </a:lnTo>
                <a:lnTo>
                  <a:pt x="1458" y="162"/>
                </a:lnTo>
                <a:lnTo>
                  <a:pt x="1460" y="162"/>
                </a:lnTo>
                <a:lnTo>
                  <a:pt x="1460" y="162"/>
                </a:lnTo>
                <a:lnTo>
                  <a:pt x="1464" y="168"/>
                </a:lnTo>
                <a:lnTo>
                  <a:pt x="1462" y="168"/>
                </a:lnTo>
                <a:lnTo>
                  <a:pt x="1458" y="168"/>
                </a:lnTo>
                <a:lnTo>
                  <a:pt x="1458" y="168"/>
                </a:lnTo>
                <a:lnTo>
                  <a:pt x="1456" y="174"/>
                </a:lnTo>
                <a:lnTo>
                  <a:pt x="1456" y="174"/>
                </a:lnTo>
                <a:lnTo>
                  <a:pt x="1456" y="174"/>
                </a:lnTo>
                <a:lnTo>
                  <a:pt x="1456" y="176"/>
                </a:lnTo>
                <a:lnTo>
                  <a:pt x="1456" y="176"/>
                </a:lnTo>
                <a:lnTo>
                  <a:pt x="1462" y="174"/>
                </a:lnTo>
                <a:lnTo>
                  <a:pt x="1462" y="174"/>
                </a:lnTo>
                <a:lnTo>
                  <a:pt x="1468" y="182"/>
                </a:lnTo>
                <a:lnTo>
                  <a:pt x="1468" y="182"/>
                </a:lnTo>
                <a:lnTo>
                  <a:pt x="1478" y="180"/>
                </a:lnTo>
                <a:lnTo>
                  <a:pt x="1478" y="180"/>
                </a:lnTo>
                <a:lnTo>
                  <a:pt x="1482" y="186"/>
                </a:lnTo>
                <a:lnTo>
                  <a:pt x="1486" y="188"/>
                </a:lnTo>
                <a:lnTo>
                  <a:pt x="1488" y="188"/>
                </a:lnTo>
                <a:lnTo>
                  <a:pt x="1488" y="186"/>
                </a:lnTo>
                <a:lnTo>
                  <a:pt x="1488" y="186"/>
                </a:lnTo>
                <a:lnTo>
                  <a:pt x="1492" y="186"/>
                </a:lnTo>
                <a:lnTo>
                  <a:pt x="1492" y="186"/>
                </a:lnTo>
                <a:lnTo>
                  <a:pt x="1488" y="196"/>
                </a:lnTo>
                <a:lnTo>
                  <a:pt x="1488" y="196"/>
                </a:lnTo>
                <a:lnTo>
                  <a:pt x="1490" y="196"/>
                </a:lnTo>
                <a:lnTo>
                  <a:pt x="1490" y="198"/>
                </a:lnTo>
                <a:lnTo>
                  <a:pt x="1490" y="198"/>
                </a:lnTo>
                <a:lnTo>
                  <a:pt x="1494" y="196"/>
                </a:lnTo>
                <a:lnTo>
                  <a:pt x="1494" y="196"/>
                </a:lnTo>
                <a:lnTo>
                  <a:pt x="1496" y="192"/>
                </a:lnTo>
                <a:lnTo>
                  <a:pt x="1496" y="192"/>
                </a:lnTo>
                <a:lnTo>
                  <a:pt x="1502" y="184"/>
                </a:lnTo>
                <a:lnTo>
                  <a:pt x="1504" y="174"/>
                </a:lnTo>
                <a:lnTo>
                  <a:pt x="1504" y="174"/>
                </a:lnTo>
                <a:lnTo>
                  <a:pt x="1508" y="172"/>
                </a:lnTo>
                <a:lnTo>
                  <a:pt x="1508" y="172"/>
                </a:lnTo>
                <a:lnTo>
                  <a:pt x="1506" y="168"/>
                </a:lnTo>
                <a:lnTo>
                  <a:pt x="1506" y="162"/>
                </a:lnTo>
                <a:lnTo>
                  <a:pt x="1512" y="154"/>
                </a:lnTo>
                <a:lnTo>
                  <a:pt x="1512" y="154"/>
                </a:lnTo>
                <a:lnTo>
                  <a:pt x="1514" y="156"/>
                </a:lnTo>
                <a:lnTo>
                  <a:pt x="1514" y="156"/>
                </a:lnTo>
                <a:lnTo>
                  <a:pt x="1514" y="160"/>
                </a:lnTo>
                <a:lnTo>
                  <a:pt x="1514" y="160"/>
                </a:lnTo>
                <a:lnTo>
                  <a:pt x="1514" y="162"/>
                </a:lnTo>
                <a:lnTo>
                  <a:pt x="1516" y="162"/>
                </a:lnTo>
                <a:lnTo>
                  <a:pt x="1516" y="162"/>
                </a:lnTo>
                <a:lnTo>
                  <a:pt x="1518" y="164"/>
                </a:lnTo>
                <a:lnTo>
                  <a:pt x="1518" y="164"/>
                </a:lnTo>
                <a:lnTo>
                  <a:pt x="1518" y="168"/>
                </a:lnTo>
                <a:lnTo>
                  <a:pt x="1518" y="174"/>
                </a:lnTo>
                <a:lnTo>
                  <a:pt x="1518" y="174"/>
                </a:lnTo>
                <a:lnTo>
                  <a:pt x="1522" y="170"/>
                </a:lnTo>
                <a:lnTo>
                  <a:pt x="1522" y="170"/>
                </a:lnTo>
                <a:lnTo>
                  <a:pt x="1528" y="170"/>
                </a:lnTo>
                <a:lnTo>
                  <a:pt x="1528" y="170"/>
                </a:lnTo>
                <a:lnTo>
                  <a:pt x="1536" y="164"/>
                </a:lnTo>
                <a:lnTo>
                  <a:pt x="1540" y="162"/>
                </a:lnTo>
                <a:lnTo>
                  <a:pt x="1544" y="160"/>
                </a:lnTo>
                <a:lnTo>
                  <a:pt x="1544" y="160"/>
                </a:lnTo>
                <a:lnTo>
                  <a:pt x="1548" y="164"/>
                </a:lnTo>
                <a:lnTo>
                  <a:pt x="1548" y="164"/>
                </a:lnTo>
                <a:lnTo>
                  <a:pt x="1552" y="164"/>
                </a:lnTo>
                <a:lnTo>
                  <a:pt x="1552" y="164"/>
                </a:lnTo>
                <a:lnTo>
                  <a:pt x="1552" y="164"/>
                </a:lnTo>
                <a:lnTo>
                  <a:pt x="1566" y="174"/>
                </a:lnTo>
                <a:lnTo>
                  <a:pt x="1566" y="174"/>
                </a:lnTo>
                <a:lnTo>
                  <a:pt x="1566" y="176"/>
                </a:lnTo>
                <a:lnTo>
                  <a:pt x="1566" y="176"/>
                </a:lnTo>
                <a:lnTo>
                  <a:pt x="1572" y="176"/>
                </a:lnTo>
                <a:lnTo>
                  <a:pt x="1574" y="178"/>
                </a:lnTo>
                <a:lnTo>
                  <a:pt x="1574" y="178"/>
                </a:lnTo>
                <a:lnTo>
                  <a:pt x="1580" y="178"/>
                </a:lnTo>
                <a:lnTo>
                  <a:pt x="1586" y="176"/>
                </a:lnTo>
                <a:lnTo>
                  <a:pt x="1586" y="176"/>
                </a:lnTo>
                <a:lnTo>
                  <a:pt x="1584" y="172"/>
                </a:lnTo>
                <a:lnTo>
                  <a:pt x="1584" y="172"/>
                </a:lnTo>
                <a:lnTo>
                  <a:pt x="1584" y="168"/>
                </a:lnTo>
                <a:lnTo>
                  <a:pt x="1584" y="168"/>
                </a:lnTo>
                <a:lnTo>
                  <a:pt x="1586" y="168"/>
                </a:lnTo>
                <a:lnTo>
                  <a:pt x="1586" y="166"/>
                </a:lnTo>
                <a:lnTo>
                  <a:pt x="1586" y="166"/>
                </a:lnTo>
                <a:lnTo>
                  <a:pt x="1588" y="166"/>
                </a:lnTo>
                <a:lnTo>
                  <a:pt x="1588" y="166"/>
                </a:lnTo>
                <a:lnTo>
                  <a:pt x="1590" y="166"/>
                </a:lnTo>
                <a:lnTo>
                  <a:pt x="1592" y="164"/>
                </a:lnTo>
                <a:lnTo>
                  <a:pt x="1592" y="164"/>
                </a:lnTo>
                <a:lnTo>
                  <a:pt x="1592" y="166"/>
                </a:lnTo>
                <a:lnTo>
                  <a:pt x="1594" y="168"/>
                </a:lnTo>
                <a:lnTo>
                  <a:pt x="1594" y="168"/>
                </a:lnTo>
                <a:lnTo>
                  <a:pt x="1592" y="174"/>
                </a:lnTo>
                <a:lnTo>
                  <a:pt x="1592" y="174"/>
                </a:lnTo>
                <a:lnTo>
                  <a:pt x="1596" y="172"/>
                </a:lnTo>
                <a:lnTo>
                  <a:pt x="1596" y="172"/>
                </a:lnTo>
                <a:lnTo>
                  <a:pt x="1598" y="172"/>
                </a:lnTo>
                <a:lnTo>
                  <a:pt x="1600" y="174"/>
                </a:lnTo>
                <a:lnTo>
                  <a:pt x="1600" y="174"/>
                </a:lnTo>
                <a:lnTo>
                  <a:pt x="1604" y="172"/>
                </a:lnTo>
                <a:lnTo>
                  <a:pt x="1606" y="172"/>
                </a:lnTo>
                <a:lnTo>
                  <a:pt x="1606" y="172"/>
                </a:lnTo>
                <a:lnTo>
                  <a:pt x="1606" y="166"/>
                </a:lnTo>
                <a:lnTo>
                  <a:pt x="1606" y="166"/>
                </a:lnTo>
                <a:lnTo>
                  <a:pt x="1602" y="164"/>
                </a:lnTo>
                <a:lnTo>
                  <a:pt x="1602" y="164"/>
                </a:lnTo>
                <a:lnTo>
                  <a:pt x="1602" y="156"/>
                </a:lnTo>
                <a:lnTo>
                  <a:pt x="1602" y="152"/>
                </a:lnTo>
                <a:lnTo>
                  <a:pt x="1604" y="152"/>
                </a:lnTo>
                <a:lnTo>
                  <a:pt x="1610" y="150"/>
                </a:lnTo>
                <a:lnTo>
                  <a:pt x="1618" y="152"/>
                </a:lnTo>
                <a:lnTo>
                  <a:pt x="1616" y="148"/>
                </a:lnTo>
                <a:lnTo>
                  <a:pt x="1616" y="148"/>
                </a:lnTo>
                <a:lnTo>
                  <a:pt x="1612" y="148"/>
                </a:lnTo>
                <a:lnTo>
                  <a:pt x="1612" y="148"/>
                </a:lnTo>
                <a:lnTo>
                  <a:pt x="1604" y="146"/>
                </a:lnTo>
                <a:lnTo>
                  <a:pt x="1604" y="146"/>
                </a:lnTo>
                <a:lnTo>
                  <a:pt x="1606" y="140"/>
                </a:lnTo>
                <a:lnTo>
                  <a:pt x="1606" y="140"/>
                </a:lnTo>
                <a:lnTo>
                  <a:pt x="1618" y="140"/>
                </a:lnTo>
                <a:lnTo>
                  <a:pt x="1620" y="138"/>
                </a:lnTo>
                <a:lnTo>
                  <a:pt x="1620" y="138"/>
                </a:lnTo>
                <a:lnTo>
                  <a:pt x="1620" y="136"/>
                </a:lnTo>
                <a:lnTo>
                  <a:pt x="1618" y="136"/>
                </a:lnTo>
                <a:lnTo>
                  <a:pt x="1618" y="136"/>
                </a:lnTo>
                <a:lnTo>
                  <a:pt x="1618" y="134"/>
                </a:lnTo>
                <a:lnTo>
                  <a:pt x="1618" y="134"/>
                </a:lnTo>
                <a:lnTo>
                  <a:pt x="1614" y="134"/>
                </a:lnTo>
                <a:lnTo>
                  <a:pt x="1614" y="134"/>
                </a:lnTo>
                <a:lnTo>
                  <a:pt x="1614" y="130"/>
                </a:lnTo>
                <a:lnTo>
                  <a:pt x="1614" y="130"/>
                </a:lnTo>
                <a:lnTo>
                  <a:pt x="1618" y="130"/>
                </a:lnTo>
                <a:lnTo>
                  <a:pt x="1622" y="130"/>
                </a:lnTo>
                <a:lnTo>
                  <a:pt x="1622" y="130"/>
                </a:lnTo>
                <a:lnTo>
                  <a:pt x="1626" y="134"/>
                </a:lnTo>
                <a:lnTo>
                  <a:pt x="1626" y="134"/>
                </a:lnTo>
                <a:lnTo>
                  <a:pt x="1634" y="138"/>
                </a:lnTo>
                <a:lnTo>
                  <a:pt x="1634" y="138"/>
                </a:lnTo>
                <a:lnTo>
                  <a:pt x="1642" y="138"/>
                </a:lnTo>
                <a:lnTo>
                  <a:pt x="1642" y="138"/>
                </a:lnTo>
                <a:lnTo>
                  <a:pt x="1652" y="142"/>
                </a:lnTo>
                <a:lnTo>
                  <a:pt x="1652" y="142"/>
                </a:lnTo>
                <a:lnTo>
                  <a:pt x="1656" y="140"/>
                </a:lnTo>
                <a:lnTo>
                  <a:pt x="1662" y="140"/>
                </a:lnTo>
                <a:lnTo>
                  <a:pt x="1664" y="142"/>
                </a:lnTo>
                <a:lnTo>
                  <a:pt x="1664" y="142"/>
                </a:lnTo>
                <a:lnTo>
                  <a:pt x="1680" y="146"/>
                </a:lnTo>
                <a:lnTo>
                  <a:pt x="1680" y="148"/>
                </a:lnTo>
                <a:lnTo>
                  <a:pt x="1680" y="148"/>
                </a:lnTo>
                <a:lnTo>
                  <a:pt x="1668" y="146"/>
                </a:lnTo>
                <a:lnTo>
                  <a:pt x="1666" y="148"/>
                </a:lnTo>
                <a:lnTo>
                  <a:pt x="1666" y="154"/>
                </a:lnTo>
                <a:lnTo>
                  <a:pt x="1666" y="154"/>
                </a:lnTo>
                <a:lnTo>
                  <a:pt x="1694" y="152"/>
                </a:lnTo>
                <a:lnTo>
                  <a:pt x="1694" y="152"/>
                </a:lnTo>
                <a:lnTo>
                  <a:pt x="1692" y="162"/>
                </a:lnTo>
                <a:lnTo>
                  <a:pt x="1692" y="162"/>
                </a:lnTo>
                <a:lnTo>
                  <a:pt x="1690" y="160"/>
                </a:lnTo>
                <a:lnTo>
                  <a:pt x="1690" y="158"/>
                </a:lnTo>
                <a:lnTo>
                  <a:pt x="1690" y="158"/>
                </a:lnTo>
                <a:lnTo>
                  <a:pt x="1690" y="156"/>
                </a:lnTo>
                <a:lnTo>
                  <a:pt x="1690" y="156"/>
                </a:lnTo>
                <a:lnTo>
                  <a:pt x="1688" y="154"/>
                </a:lnTo>
                <a:lnTo>
                  <a:pt x="1688" y="154"/>
                </a:lnTo>
                <a:lnTo>
                  <a:pt x="1684" y="162"/>
                </a:lnTo>
                <a:lnTo>
                  <a:pt x="1678" y="164"/>
                </a:lnTo>
                <a:lnTo>
                  <a:pt x="1678" y="164"/>
                </a:lnTo>
                <a:lnTo>
                  <a:pt x="1678" y="166"/>
                </a:lnTo>
                <a:lnTo>
                  <a:pt x="1678" y="166"/>
                </a:lnTo>
                <a:lnTo>
                  <a:pt x="1682" y="170"/>
                </a:lnTo>
                <a:lnTo>
                  <a:pt x="1682" y="170"/>
                </a:lnTo>
                <a:lnTo>
                  <a:pt x="1676" y="172"/>
                </a:lnTo>
                <a:lnTo>
                  <a:pt x="1676" y="172"/>
                </a:lnTo>
                <a:lnTo>
                  <a:pt x="1676" y="174"/>
                </a:lnTo>
                <a:lnTo>
                  <a:pt x="1678" y="176"/>
                </a:lnTo>
                <a:lnTo>
                  <a:pt x="1678" y="176"/>
                </a:lnTo>
                <a:lnTo>
                  <a:pt x="1690" y="174"/>
                </a:lnTo>
                <a:lnTo>
                  <a:pt x="1690" y="174"/>
                </a:lnTo>
                <a:lnTo>
                  <a:pt x="1692" y="170"/>
                </a:lnTo>
                <a:lnTo>
                  <a:pt x="1692" y="170"/>
                </a:lnTo>
                <a:lnTo>
                  <a:pt x="1698" y="160"/>
                </a:lnTo>
                <a:lnTo>
                  <a:pt x="1702" y="150"/>
                </a:lnTo>
                <a:lnTo>
                  <a:pt x="1702" y="150"/>
                </a:lnTo>
                <a:lnTo>
                  <a:pt x="1712" y="150"/>
                </a:lnTo>
                <a:lnTo>
                  <a:pt x="1722" y="150"/>
                </a:lnTo>
                <a:lnTo>
                  <a:pt x="1722" y="150"/>
                </a:lnTo>
                <a:lnTo>
                  <a:pt x="1724" y="152"/>
                </a:lnTo>
                <a:lnTo>
                  <a:pt x="1726" y="154"/>
                </a:lnTo>
                <a:lnTo>
                  <a:pt x="1726" y="154"/>
                </a:lnTo>
                <a:lnTo>
                  <a:pt x="1730" y="152"/>
                </a:lnTo>
                <a:lnTo>
                  <a:pt x="1732" y="152"/>
                </a:lnTo>
                <a:lnTo>
                  <a:pt x="1732" y="152"/>
                </a:lnTo>
                <a:lnTo>
                  <a:pt x="1738" y="156"/>
                </a:lnTo>
                <a:lnTo>
                  <a:pt x="1744" y="160"/>
                </a:lnTo>
                <a:lnTo>
                  <a:pt x="1744" y="160"/>
                </a:lnTo>
                <a:lnTo>
                  <a:pt x="1742" y="166"/>
                </a:lnTo>
                <a:lnTo>
                  <a:pt x="1742" y="166"/>
                </a:lnTo>
                <a:lnTo>
                  <a:pt x="1736" y="168"/>
                </a:lnTo>
                <a:lnTo>
                  <a:pt x="1736" y="168"/>
                </a:lnTo>
                <a:lnTo>
                  <a:pt x="1734" y="164"/>
                </a:lnTo>
                <a:lnTo>
                  <a:pt x="1734" y="164"/>
                </a:lnTo>
                <a:lnTo>
                  <a:pt x="1732" y="164"/>
                </a:lnTo>
                <a:lnTo>
                  <a:pt x="1732" y="164"/>
                </a:lnTo>
                <a:lnTo>
                  <a:pt x="1732" y="166"/>
                </a:lnTo>
                <a:lnTo>
                  <a:pt x="1730" y="166"/>
                </a:lnTo>
                <a:lnTo>
                  <a:pt x="1730" y="166"/>
                </a:lnTo>
                <a:lnTo>
                  <a:pt x="1730" y="172"/>
                </a:lnTo>
                <a:lnTo>
                  <a:pt x="1730" y="172"/>
                </a:lnTo>
                <a:lnTo>
                  <a:pt x="1736" y="172"/>
                </a:lnTo>
                <a:lnTo>
                  <a:pt x="1736" y="176"/>
                </a:lnTo>
                <a:lnTo>
                  <a:pt x="1736" y="176"/>
                </a:lnTo>
                <a:lnTo>
                  <a:pt x="1730" y="182"/>
                </a:lnTo>
                <a:lnTo>
                  <a:pt x="1724" y="190"/>
                </a:lnTo>
                <a:lnTo>
                  <a:pt x="1724" y="190"/>
                </a:lnTo>
                <a:lnTo>
                  <a:pt x="1732" y="188"/>
                </a:lnTo>
                <a:lnTo>
                  <a:pt x="1738" y="190"/>
                </a:lnTo>
                <a:lnTo>
                  <a:pt x="1738" y="190"/>
                </a:lnTo>
                <a:lnTo>
                  <a:pt x="1742" y="188"/>
                </a:lnTo>
                <a:lnTo>
                  <a:pt x="1742" y="188"/>
                </a:lnTo>
                <a:lnTo>
                  <a:pt x="1748" y="188"/>
                </a:lnTo>
                <a:lnTo>
                  <a:pt x="1754" y="188"/>
                </a:lnTo>
                <a:lnTo>
                  <a:pt x="1754" y="188"/>
                </a:lnTo>
                <a:lnTo>
                  <a:pt x="1762" y="188"/>
                </a:lnTo>
                <a:lnTo>
                  <a:pt x="1768" y="188"/>
                </a:lnTo>
                <a:lnTo>
                  <a:pt x="1768" y="188"/>
                </a:lnTo>
                <a:lnTo>
                  <a:pt x="1774" y="188"/>
                </a:lnTo>
                <a:lnTo>
                  <a:pt x="1778" y="186"/>
                </a:lnTo>
                <a:lnTo>
                  <a:pt x="1786" y="182"/>
                </a:lnTo>
                <a:lnTo>
                  <a:pt x="1786" y="182"/>
                </a:lnTo>
                <a:lnTo>
                  <a:pt x="1790" y="182"/>
                </a:lnTo>
                <a:lnTo>
                  <a:pt x="1792" y="184"/>
                </a:lnTo>
                <a:lnTo>
                  <a:pt x="1796" y="186"/>
                </a:lnTo>
                <a:lnTo>
                  <a:pt x="1796" y="186"/>
                </a:lnTo>
                <a:lnTo>
                  <a:pt x="1802" y="186"/>
                </a:lnTo>
                <a:lnTo>
                  <a:pt x="1804" y="184"/>
                </a:lnTo>
                <a:lnTo>
                  <a:pt x="1812" y="180"/>
                </a:lnTo>
                <a:lnTo>
                  <a:pt x="1812" y="180"/>
                </a:lnTo>
                <a:lnTo>
                  <a:pt x="1816" y="180"/>
                </a:lnTo>
                <a:lnTo>
                  <a:pt x="1820" y="182"/>
                </a:lnTo>
                <a:lnTo>
                  <a:pt x="1820" y="182"/>
                </a:lnTo>
                <a:lnTo>
                  <a:pt x="1824" y="182"/>
                </a:lnTo>
                <a:lnTo>
                  <a:pt x="1828" y="182"/>
                </a:lnTo>
                <a:lnTo>
                  <a:pt x="1830" y="184"/>
                </a:lnTo>
                <a:lnTo>
                  <a:pt x="1830" y="184"/>
                </a:lnTo>
                <a:lnTo>
                  <a:pt x="1834" y="184"/>
                </a:lnTo>
                <a:lnTo>
                  <a:pt x="1838" y="182"/>
                </a:lnTo>
                <a:lnTo>
                  <a:pt x="1838" y="182"/>
                </a:lnTo>
                <a:lnTo>
                  <a:pt x="1842" y="182"/>
                </a:lnTo>
                <a:lnTo>
                  <a:pt x="1846" y="184"/>
                </a:lnTo>
                <a:lnTo>
                  <a:pt x="1846" y="182"/>
                </a:lnTo>
                <a:lnTo>
                  <a:pt x="1846" y="182"/>
                </a:lnTo>
                <a:lnTo>
                  <a:pt x="1850" y="180"/>
                </a:lnTo>
                <a:lnTo>
                  <a:pt x="1850" y="180"/>
                </a:lnTo>
                <a:lnTo>
                  <a:pt x="1856" y="184"/>
                </a:lnTo>
                <a:lnTo>
                  <a:pt x="1856" y="184"/>
                </a:lnTo>
                <a:lnTo>
                  <a:pt x="1860" y="184"/>
                </a:lnTo>
                <a:lnTo>
                  <a:pt x="1864" y="186"/>
                </a:lnTo>
                <a:lnTo>
                  <a:pt x="1864" y="186"/>
                </a:lnTo>
                <a:lnTo>
                  <a:pt x="1866" y="188"/>
                </a:lnTo>
                <a:lnTo>
                  <a:pt x="1868" y="192"/>
                </a:lnTo>
                <a:lnTo>
                  <a:pt x="1868" y="192"/>
                </a:lnTo>
                <a:lnTo>
                  <a:pt x="1872" y="192"/>
                </a:lnTo>
                <a:lnTo>
                  <a:pt x="1872" y="192"/>
                </a:lnTo>
                <a:lnTo>
                  <a:pt x="1876" y="196"/>
                </a:lnTo>
                <a:lnTo>
                  <a:pt x="1880" y="200"/>
                </a:lnTo>
                <a:lnTo>
                  <a:pt x="1880" y="200"/>
                </a:lnTo>
                <a:lnTo>
                  <a:pt x="1876" y="202"/>
                </a:lnTo>
                <a:lnTo>
                  <a:pt x="1876" y="202"/>
                </a:lnTo>
                <a:lnTo>
                  <a:pt x="1876" y="206"/>
                </a:lnTo>
                <a:lnTo>
                  <a:pt x="1878" y="206"/>
                </a:lnTo>
                <a:lnTo>
                  <a:pt x="1878" y="206"/>
                </a:lnTo>
                <a:lnTo>
                  <a:pt x="1878" y="210"/>
                </a:lnTo>
                <a:lnTo>
                  <a:pt x="1876" y="212"/>
                </a:lnTo>
                <a:lnTo>
                  <a:pt x="1876" y="212"/>
                </a:lnTo>
                <a:lnTo>
                  <a:pt x="1880" y="214"/>
                </a:lnTo>
                <a:lnTo>
                  <a:pt x="1884" y="214"/>
                </a:lnTo>
                <a:lnTo>
                  <a:pt x="1884" y="214"/>
                </a:lnTo>
                <a:lnTo>
                  <a:pt x="1884" y="218"/>
                </a:lnTo>
                <a:lnTo>
                  <a:pt x="1884" y="218"/>
                </a:lnTo>
                <a:lnTo>
                  <a:pt x="1888" y="222"/>
                </a:lnTo>
                <a:lnTo>
                  <a:pt x="1888" y="222"/>
                </a:lnTo>
                <a:lnTo>
                  <a:pt x="1888" y="226"/>
                </a:lnTo>
                <a:lnTo>
                  <a:pt x="1890" y="228"/>
                </a:lnTo>
                <a:lnTo>
                  <a:pt x="1890" y="228"/>
                </a:lnTo>
                <a:lnTo>
                  <a:pt x="1890" y="232"/>
                </a:lnTo>
                <a:lnTo>
                  <a:pt x="1890" y="232"/>
                </a:lnTo>
                <a:lnTo>
                  <a:pt x="1892" y="230"/>
                </a:lnTo>
                <a:lnTo>
                  <a:pt x="1892" y="230"/>
                </a:lnTo>
                <a:lnTo>
                  <a:pt x="1896" y="216"/>
                </a:lnTo>
                <a:lnTo>
                  <a:pt x="1896" y="216"/>
                </a:lnTo>
                <a:lnTo>
                  <a:pt x="1902" y="214"/>
                </a:lnTo>
                <a:lnTo>
                  <a:pt x="1902" y="214"/>
                </a:lnTo>
                <a:lnTo>
                  <a:pt x="1910" y="210"/>
                </a:lnTo>
                <a:lnTo>
                  <a:pt x="1910" y="210"/>
                </a:lnTo>
                <a:lnTo>
                  <a:pt x="1912" y="210"/>
                </a:lnTo>
                <a:lnTo>
                  <a:pt x="1914" y="210"/>
                </a:lnTo>
                <a:lnTo>
                  <a:pt x="1914" y="210"/>
                </a:lnTo>
                <a:lnTo>
                  <a:pt x="1926" y="210"/>
                </a:lnTo>
                <a:lnTo>
                  <a:pt x="1936" y="210"/>
                </a:lnTo>
                <a:lnTo>
                  <a:pt x="1936" y="210"/>
                </a:lnTo>
                <a:lnTo>
                  <a:pt x="1936" y="214"/>
                </a:lnTo>
                <a:lnTo>
                  <a:pt x="1936" y="214"/>
                </a:lnTo>
                <a:lnTo>
                  <a:pt x="1940" y="214"/>
                </a:lnTo>
                <a:lnTo>
                  <a:pt x="1942" y="216"/>
                </a:lnTo>
                <a:lnTo>
                  <a:pt x="1942" y="216"/>
                </a:lnTo>
                <a:lnTo>
                  <a:pt x="1944" y="212"/>
                </a:lnTo>
                <a:lnTo>
                  <a:pt x="1944" y="212"/>
                </a:lnTo>
                <a:lnTo>
                  <a:pt x="1956" y="212"/>
                </a:lnTo>
                <a:lnTo>
                  <a:pt x="1956" y="212"/>
                </a:lnTo>
                <a:lnTo>
                  <a:pt x="1966" y="214"/>
                </a:lnTo>
                <a:lnTo>
                  <a:pt x="1966" y="214"/>
                </a:lnTo>
                <a:lnTo>
                  <a:pt x="1966" y="218"/>
                </a:lnTo>
                <a:lnTo>
                  <a:pt x="1966" y="218"/>
                </a:lnTo>
                <a:lnTo>
                  <a:pt x="1968" y="218"/>
                </a:lnTo>
                <a:lnTo>
                  <a:pt x="1972" y="216"/>
                </a:lnTo>
                <a:lnTo>
                  <a:pt x="1978" y="214"/>
                </a:lnTo>
                <a:lnTo>
                  <a:pt x="1978" y="214"/>
                </a:lnTo>
                <a:lnTo>
                  <a:pt x="1980" y="216"/>
                </a:lnTo>
                <a:lnTo>
                  <a:pt x="1982" y="216"/>
                </a:lnTo>
                <a:lnTo>
                  <a:pt x="1982" y="216"/>
                </a:lnTo>
                <a:lnTo>
                  <a:pt x="1988" y="210"/>
                </a:lnTo>
                <a:lnTo>
                  <a:pt x="1988" y="210"/>
                </a:lnTo>
                <a:lnTo>
                  <a:pt x="1988" y="216"/>
                </a:lnTo>
                <a:lnTo>
                  <a:pt x="1988" y="222"/>
                </a:lnTo>
                <a:lnTo>
                  <a:pt x="1988" y="222"/>
                </a:lnTo>
                <a:lnTo>
                  <a:pt x="1990" y="222"/>
                </a:lnTo>
                <a:lnTo>
                  <a:pt x="1994" y="224"/>
                </a:lnTo>
                <a:lnTo>
                  <a:pt x="1994" y="224"/>
                </a:lnTo>
                <a:lnTo>
                  <a:pt x="1996" y="238"/>
                </a:lnTo>
                <a:lnTo>
                  <a:pt x="1996" y="238"/>
                </a:lnTo>
                <a:lnTo>
                  <a:pt x="2006" y="236"/>
                </a:lnTo>
                <a:lnTo>
                  <a:pt x="2006" y="236"/>
                </a:lnTo>
                <a:lnTo>
                  <a:pt x="2006" y="234"/>
                </a:lnTo>
                <a:lnTo>
                  <a:pt x="2006" y="234"/>
                </a:lnTo>
                <a:lnTo>
                  <a:pt x="2010" y="236"/>
                </a:lnTo>
                <a:lnTo>
                  <a:pt x="2014" y="234"/>
                </a:lnTo>
                <a:lnTo>
                  <a:pt x="2014" y="234"/>
                </a:lnTo>
                <a:lnTo>
                  <a:pt x="2014" y="230"/>
                </a:lnTo>
                <a:lnTo>
                  <a:pt x="2014" y="230"/>
                </a:lnTo>
                <a:lnTo>
                  <a:pt x="2018" y="230"/>
                </a:lnTo>
                <a:lnTo>
                  <a:pt x="2018" y="230"/>
                </a:lnTo>
                <a:lnTo>
                  <a:pt x="2020" y="226"/>
                </a:lnTo>
                <a:lnTo>
                  <a:pt x="2020" y="226"/>
                </a:lnTo>
                <a:lnTo>
                  <a:pt x="2024" y="226"/>
                </a:lnTo>
                <a:lnTo>
                  <a:pt x="2024" y="226"/>
                </a:lnTo>
                <a:lnTo>
                  <a:pt x="2024" y="220"/>
                </a:lnTo>
                <a:lnTo>
                  <a:pt x="2024" y="214"/>
                </a:lnTo>
                <a:lnTo>
                  <a:pt x="2024" y="214"/>
                </a:lnTo>
                <a:lnTo>
                  <a:pt x="2020" y="212"/>
                </a:lnTo>
                <a:lnTo>
                  <a:pt x="2020" y="212"/>
                </a:lnTo>
                <a:lnTo>
                  <a:pt x="2018" y="212"/>
                </a:lnTo>
                <a:lnTo>
                  <a:pt x="2018" y="212"/>
                </a:lnTo>
                <a:lnTo>
                  <a:pt x="2018" y="204"/>
                </a:lnTo>
                <a:lnTo>
                  <a:pt x="2018" y="198"/>
                </a:lnTo>
                <a:lnTo>
                  <a:pt x="2018" y="198"/>
                </a:lnTo>
                <a:lnTo>
                  <a:pt x="2022" y="198"/>
                </a:lnTo>
                <a:lnTo>
                  <a:pt x="2022" y="198"/>
                </a:lnTo>
                <a:lnTo>
                  <a:pt x="2026" y="200"/>
                </a:lnTo>
                <a:lnTo>
                  <a:pt x="2026" y="200"/>
                </a:lnTo>
                <a:lnTo>
                  <a:pt x="2034" y="200"/>
                </a:lnTo>
                <a:lnTo>
                  <a:pt x="2042" y="200"/>
                </a:lnTo>
                <a:lnTo>
                  <a:pt x="2042" y="200"/>
                </a:lnTo>
                <a:lnTo>
                  <a:pt x="2046" y="202"/>
                </a:lnTo>
                <a:lnTo>
                  <a:pt x="2046" y="202"/>
                </a:lnTo>
                <a:lnTo>
                  <a:pt x="2050" y="202"/>
                </a:lnTo>
                <a:lnTo>
                  <a:pt x="2052" y="200"/>
                </a:lnTo>
                <a:lnTo>
                  <a:pt x="2052" y="200"/>
                </a:lnTo>
                <a:lnTo>
                  <a:pt x="2056" y="202"/>
                </a:lnTo>
                <a:lnTo>
                  <a:pt x="2062" y="202"/>
                </a:lnTo>
                <a:lnTo>
                  <a:pt x="2062" y="202"/>
                </a:lnTo>
                <a:lnTo>
                  <a:pt x="2068" y="204"/>
                </a:lnTo>
                <a:lnTo>
                  <a:pt x="2076" y="202"/>
                </a:lnTo>
                <a:lnTo>
                  <a:pt x="2076" y="202"/>
                </a:lnTo>
                <a:lnTo>
                  <a:pt x="2076" y="202"/>
                </a:lnTo>
                <a:lnTo>
                  <a:pt x="2078" y="200"/>
                </a:lnTo>
                <a:lnTo>
                  <a:pt x="2078" y="202"/>
                </a:lnTo>
                <a:lnTo>
                  <a:pt x="2084" y="208"/>
                </a:lnTo>
                <a:lnTo>
                  <a:pt x="2084" y="208"/>
                </a:lnTo>
                <a:lnTo>
                  <a:pt x="2090" y="208"/>
                </a:lnTo>
                <a:lnTo>
                  <a:pt x="2096" y="210"/>
                </a:lnTo>
                <a:lnTo>
                  <a:pt x="2096" y="210"/>
                </a:lnTo>
                <a:lnTo>
                  <a:pt x="2098" y="214"/>
                </a:lnTo>
                <a:lnTo>
                  <a:pt x="2102" y="218"/>
                </a:lnTo>
                <a:lnTo>
                  <a:pt x="2102" y="218"/>
                </a:lnTo>
                <a:lnTo>
                  <a:pt x="2106" y="218"/>
                </a:lnTo>
                <a:lnTo>
                  <a:pt x="2108" y="218"/>
                </a:lnTo>
                <a:lnTo>
                  <a:pt x="2112" y="216"/>
                </a:lnTo>
                <a:lnTo>
                  <a:pt x="2116" y="216"/>
                </a:lnTo>
                <a:lnTo>
                  <a:pt x="2116" y="216"/>
                </a:lnTo>
                <a:lnTo>
                  <a:pt x="2118" y="218"/>
                </a:lnTo>
                <a:lnTo>
                  <a:pt x="2122" y="220"/>
                </a:lnTo>
                <a:lnTo>
                  <a:pt x="2122" y="220"/>
                </a:lnTo>
                <a:lnTo>
                  <a:pt x="2132" y="220"/>
                </a:lnTo>
                <a:lnTo>
                  <a:pt x="2132" y="220"/>
                </a:lnTo>
                <a:lnTo>
                  <a:pt x="2136" y="224"/>
                </a:lnTo>
                <a:lnTo>
                  <a:pt x="2136" y="224"/>
                </a:lnTo>
                <a:lnTo>
                  <a:pt x="2136" y="228"/>
                </a:lnTo>
                <a:lnTo>
                  <a:pt x="2136" y="228"/>
                </a:lnTo>
                <a:lnTo>
                  <a:pt x="2140" y="230"/>
                </a:lnTo>
                <a:lnTo>
                  <a:pt x="2140" y="230"/>
                </a:lnTo>
                <a:lnTo>
                  <a:pt x="2144" y="234"/>
                </a:lnTo>
                <a:lnTo>
                  <a:pt x="2146" y="242"/>
                </a:lnTo>
                <a:lnTo>
                  <a:pt x="2146" y="242"/>
                </a:lnTo>
                <a:lnTo>
                  <a:pt x="2158" y="244"/>
                </a:lnTo>
                <a:lnTo>
                  <a:pt x="2158" y="246"/>
                </a:lnTo>
                <a:lnTo>
                  <a:pt x="2158" y="246"/>
                </a:lnTo>
                <a:lnTo>
                  <a:pt x="2162" y="246"/>
                </a:lnTo>
                <a:lnTo>
                  <a:pt x="2164" y="246"/>
                </a:lnTo>
                <a:lnTo>
                  <a:pt x="2164" y="246"/>
                </a:lnTo>
                <a:lnTo>
                  <a:pt x="2168" y="250"/>
                </a:lnTo>
                <a:lnTo>
                  <a:pt x="2168" y="250"/>
                </a:lnTo>
                <a:lnTo>
                  <a:pt x="2166" y="252"/>
                </a:lnTo>
                <a:lnTo>
                  <a:pt x="2166" y="254"/>
                </a:lnTo>
                <a:lnTo>
                  <a:pt x="2168" y="254"/>
                </a:lnTo>
                <a:lnTo>
                  <a:pt x="2168" y="254"/>
                </a:lnTo>
                <a:lnTo>
                  <a:pt x="2174" y="258"/>
                </a:lnTo>
                <a:lnTo>
                  <a:pt x="2180" y="262"/>
                </a:lnTo>
                <a:lnTo>
                  <a:pt x="2180" y="262"/>
                </a:lnTo>
                <a:lnTo>
                  <a:pt x="2184" y="262"/>
                </a:lnTo>
                <a:lnTo>
                  <a:pt x="2184" y="262"/>
                </a:lnTo>
                <a:lnTo>
                  <a:pt x="2186" y="266"/>
                </a:lnTo>
                <a:lnTo>
                  <a:pt x="2186" y="266"/>
                </a:lnTo>
                <a:lnTo>
                  <a:pt x="2194" y="268"/>
                </a:lnTo>
                <a:lnTo>
                  <a:pt x="2194" y="268"/>
                </a:lnTo>
                <a:lnTo>
                  <a:pt x="2196" y="272"/>
                </a:lnTo>
                <a:lnTo>
                  <a:pt x="2196" y="272"/>
                </a:lnTo>
                <a:lnTo>
                  <a:pt x="2200" y="274"/>
                </a:lnTo>
                <a:lnTo>
                  <a:pt x="2204" y="274"/>
                </a:lnTo>
                <a:lnTo>
                  <a:pt x="2204" y="274"/>
                </a:lnTo>
                <a:lnTo>
                  <a:pt x="2206" y="280"/>
                </a:lnTo>
                <a:lnTo>
                  <a:pt x="2206" y="280"/>
                </a:lnTo>
                <a:lnTo>
                  <a:pt x="2208" y="282"/>
                </a:lnTo>
                <a:lnTo>
                  <a:pt x="2212" y="284"/>
                </a:lnTo>
                <a:lnTo>
                  <a:pt x="2212" y="284"/>
                </a:lnTo>
                <a:lnTo>
                  <a:pt x="2212" y="290"/>
                </a:lnTo>
                <a:lnTo>
                  <a:pt x="2210" y="298"/>
                </a:lnTo>
                <a:lnTo>
                  <a:pt x="2210" y="298"/>
                </a:lnTo>
                <a:lnTo>
                  <a:pt x="2216" y="300"/>
                </a:lnTo>
                <a:lnTo>
                  <a:pt x="2216" y="300"/>
                </a:lnTo>
                <a:lnTo>
                  <a:pt x="2214" y="288"/>
                </a:lnTo>
                <a:lnTo>
                  <a:pt x="2214" y="288"/>
                </a:lnTo>
                <a:lnTo>
                  <a:pt x="2226" y="286"/>
                </a:lnTo>
                <a:lnTo>
                  <a:pt x="2238" y="286"/>
                </a:lnTo>
                <a:lnTo>
                  <a:pt x="2240" y="288"/>
                </a:lnTo>
                <a:lnTo>
                  <a:pt x="2240" y="288"/>
                </a:lnTo>
                <a:lnTo>
                  <a:pt x="2244" y="290"/>
                </a:lnTo>
                <a:lnTo>
                  <a:pt x="2246" y="290"/>
                </a:lnTo>
                <a:lnTo>
                  <a:pt x="2246" y="290"/>
                </a:lnTo>
                <a:lnTo>
                  <a:pt x="2248" y="292"/>
                </a:lnTo>
                <a:lnTo>
                  <a:pt x="2248" y="296"/>
                </a:lnTo>
                <a:lnTo>
                  <a:pt x="2248" y="296"/>
                </a:lnTo>
                <a:lnTo>
                  <a:pt x="2254" y="298"/>
                </a:lnTo>
                <a:lnTo>
                  <a:pt x="2254" y="298"/>
                </a:lnTo>
                <a:lnTo>
                  <a:pt x="2254" y="302"/>
                </a:lnTo>
                <a:lnTo>
                  <a:pt x="2254" y="302"/>
                </a:lnTo>
                <a:lnTo>
                  <a:pt x="2262" y="306"/>
                </a:lnTo>
                <a:lnTo>
                  <a:pt x="2268" y="310"/>
                </a:lnTo>
                <a:lnTo>
                  <a:pt x="2268" y="310"/>
                </a:lnTo>
                <a:lnTo>
                  <a:pt x="2270" y="312"/>
                </a:lnTo>
                <a:lnTo>
                  <a:pt x="2270" y="312"/>
                </a:lnTo>
                <a:lnTo>
                  <a:pt x="2274" y="312"/>
                </a:lnTo>
                <a:lnTo>
                  <a:pt x="2274" y="314"/>
                </a:lnTo>
                <a:lnTo>
                  <a:pt x="2274" y="314"/>
                </a:lnTo>
                <a:lnTo>
                  <a:pt x="2270" y="316"/>
                </a:lnTo>
                <a:lnTo>
                  <a:pt x="2270" y="316"/>
                </a:lnTo>
                <a:close/>
                <a:moveTo>
                  <a:pt x="26" y="556"/>
                </a:moveTo>
                <a:lnTo>
                  <a:pt x="26" y="556"/>
                </a:lnTo>
                <a:lnTo>
                  <a:pt x="16" y="546"/>
                </a:lnTo>
                <a:lnTo>
                  <a:pt x="16" y="546"/>
                </a:lnTo>
                <a:lnTo>
                  <a:pt x="12" y="548"/>
                </a:lnTo>
                <a:lnTo>
                  <a:pt x="12" y="548"/>
                </a:lnTo>
                <a:lnTo>
                  <a:pt x="14" y="544"/>
                </a:lnTo>
                <a:lnTo>
                  <a:pt x="14" y="542"/>
                </a:lnTo>
                <a:lnTo>
                  <a:pt x="12" y="542"/>
                </a:lnTo>
                <a:lnTo>
                  <a:pt x="12" y="542"/>
                </a:lnTo>
                <a:lnTo>
                  <a:pt x="12" y="542"/>
                </a:lnTo>
                <a:lnTo>
                  <a:pt x="10" y="542"/>
                </a:lnTo>
                <a:lnTo>
                  <a:pt x="12" y="542"/>
                </a:lnTo>
                <a:lnTo>
                  <a:pt x="12" y="542"/>
                </a:lnTo>
                <a:lnTo>
                  <a:pt x="8" y="546"/>
                </a:lnTo>
                <a:lnTo>
                  <a:pt x="6" y="546"/>
                </a:lnTo>
                <a:lnTo>
                  <a:pt x="6" y="546"/>
                </a:lnTo>
                <a:lnTo>
                  <a:pt x="4" y="554"/>
                </a:lnTo>
                <a:lnTo>
                  <a:pt x="4" y="554"/>
                </a:lnTo>
                <a:lnTo>
                  <a:pt x="6" y="554"/>
                </a:lnTo>
                <a:lnTo>
                  <a:pt x="6" y="554"/>
                </a:lnTo>
                <a:lnTo>
                  <a:pt x="4" y="556"/>
                </a:lnTo>
                <a:lnTo>
                  <a:pt x="4" y="556"/>
                </a:lnTo>
                <a:lnTo>
                  <a:pt x="4" y="560"/>
                </a:lnTo>
                <a:lnTo>
                  <a:pt x="4" y="560"/>
                </a:lnTo>
                <a:lnTo>
                  <a:pt x="0" y="562"/>
                </a:lnTo>
                <a:lnTo>
                  <a:pt x="0" y="562"/>
                </a:lnTo>
                <a:lnTo>
                  <a:pt x="0" y="564"/>
                </a:lnTo>
                <a:lnTo>
                  <a:pt x="0" y="564"/>
                </a:lnTo>
                <a:lnTo>
                  <a:pt x="4" y="568"/>
                </a:lnTo>
                <a:lnTo>
                  <a:pt x="14" y="572"/>
                </a:lnTo>
                <a:lnTo>
                  <a:pt x="14" y="572"/>
                </a:lnTo>
                <a:lnTo>
                  <a:pt x="26" y="574"/>
                </a:lnTo>
                <a:lnTo>
                  <a:pt x="32" y="574"/>
                </a:lnTo>
                <a:lnTo>
                  <a:pt x="32" y="574"/>
                </a:lnTo>
                <a:lnTo>
                  <a:pt x="40" y="574"/>
                </a:lnTo>
                <a:lnTo>
                  <a:pt x="46" y="572"/>
                </a:lnTo>
                <a:lnTo>
                  <a:pt x="44" y="560"/>
                </a:lnTo>
                <a:lnTo>
                  <a:pt x="44" y="560"/>
                </a:lnTo>
                <a:lnTo>
                  <a:pt x="36" y="560"/>
                </a:lnTo>
                <a:lnTo>
                  <a:pt x="30" y="558"/>
                </a:lnTo>
                <a:lnTo>
                  <a:pt x="26" y="556"/>
                </a:lnTo>
                <a:lnTo>
                  <a:pt x="26" y="5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1" name="Freeform 105">
            <a:extLst>
              <a:ext uri="{FF2B5EF4-FFF2-40B4-BE49-F238E27FC236}">
                <a16:creationId xmlns:a16="http://schemas.microsoft.com/office/drawing/2014/main" id="{849DEAB7-01C0-42BF-9F45-491FAFD7004C}"/>
              </a:ext>
            </a:extLst>
          </p:cNvPr>
          <p:cNvSpPr>
            <a:spLocks/>
          </p:cNvSpPr>
          <p:nvPr userDrawn="1"/>
        </p:nvSpPr>
        <p:spPr bwMode="auto">
          <a:xfrm>
            <a:off x="6330416" y="2225491"/>
            <a:ext cx="194536" cy="154439"/>
          </a:xfrm>
          <a:custGeom>
            <a:avLst/>
            <a:gdLst>
              <a:gd name="T0" fmla="*/ 114 w 116"/>
              <a:gd name="T1" fmla="*/ 60 h 90"/>
              <a:gd name="T2" fmla="*/ 108 w 116"/>
              <a:gd name="T3" fmla="*/ 60 h 90"/>
              <a:gd name="T4" fmla="*/ 104 w 116"/>
              <a:gd name="T5" fmla="*/ 60 h 90"/>
              <a:gd name="T6" fmla="*/ 102 w 116"/>
              <a:gd name="T7" fmla="*/ 60 h 90"/>
              <a:gd name="T8" fmla="*/ 96 w 116"/>
              <a:gd name="T9" fmla="*/ 56 h 90"/>
              <a:gd name="T10" fmla="*/ 96 w 116"/>
              <a:gd name="T11" fmla="*/ 50 h 90"/>
              <a:gd name="T12" fmla="*/ 96 w 116"/>
              <a:gd name="T13" fmla="*/ 48 h 90"/>
              <a:gd name="T14" fmla="*/ 96 w 116"/>
              <a:gd name="T15" fmla="*/ 40 h 90"/>
              <a:gd name="T16" fmla="*/ 96 w 116"/>
              <a:gd name="T17" fmla="*/ 36 h 90"/>
              <a:gd name="T18" fmla="*/ 96 w 116"/>
              <a:gd name="T19" fmla="*/ 32 h 90"/>
              <a:gd name="T20" fmla="*/ 96 w 116"/>
              <a:gd name="T21" fmla="*/ 28 h 90"/>
              <a:gd name="T22" fmla="*/ 90 w 116"/>
              <a:gd name="T23" fmla="*/ 18 h 90"/>
              <a:gd name="T24" fmla="*/ 86 w 116"/>
              <a:gd name="T25" fmla="*/ 10 h 90"/>
              <a:gd name="T26" fmla="*/ 76 w 116"/>
              <a:gd name="T27" fmla="*/ 0 h 90"/>
              <a:gd name="T28" fmla="*/ 70 w 116"/>
              <a:gd name="T29" fmla="*/ 4 h 90"/>
              <a:gd name="T30" fmla="*/ 64 w 116"/>
              <a:gd name="T31" fmla="*/ 8 h 90"/>
              <a:gd name="T32" fmla="*/ 58 w 116"/>
              <a:gd name="T33" fmla="*/ 12 h 90"/>
              <a:gd name="T34" fmla="*/ 52 w 116"/>
              <a:gd name="T35" fmla="*/ 10 h 90"/>
              <a:gd name="T36" fmla="*/ 44 w 116"/>
              <a:gd name="T37" fmla="*/ 8 h 90"/>
              <a:gd name="T38" fmla="*/ 34 w 116"/>
              <a:gd name="T39" fmla="*/ 6 h 90"/>
              <a:gd name="T40" fmla="*/ 30 w 116"/>
              <a:gd name="T41" fmla="*/ 2 h 90"/>
              <a:gd name="T42" fmla="*/ 28 w 116"/>
              <a:gd name="T43" fmla="*/ 14 h 90"/>
              <a:gd name="T44" fmla="*/ 20 w 116"/>
              <a:gd name="T45" fmla="*/ 22 h 90"/>
              <a:gd name="T46" fmla="*/ 16 w 116"/>
              <a:gd name="T47" fmla="*/ 40 h 90"/>
              <a:gd name="T48" fmla="*/ 10 w 116"/>
              <a:gd name="T49" fmla="*/ 50 h 90"/>
              <a:gd name="T50" fmla="*/ 4 w 116"/>
              <a:gd name="T51" fmla="*/ 54 h 90"/>
              <a:gd name="T52" fmla="*/ 4 w 116"/>
              <a:gd name="T53" fmla="*/ 58 h 90"/>
              <a:gd name="T54" fmla="*/ 8 w 116"/>
              <a:gd name="T55" fmla="*/ 64 h 90"/>
              <a:gd name="T56" fmla="*/ 10 w 116"/>
              <a:gd name="T57" fmla="*/ 68 h 90"/>
              <a:gd name="T58" fmla="*/ 14 w 116"/>
              <a:gd name="T59" fmla="*/ 72 h 90"/>
              <a:gd name="T60" fmla="*/ 20 w 116"/>
              <a:gd name="T61" fmla="*/ 70 h 90"/>
              <a:gd name="T62" fmla="*/ 24 w 116"/>
              <a:gd name="T63" fmla="*/ 68 h 90"/>
              <a:gd name="T64" fmla="*/ 30 w 116"/>
              <a:gd name="T65" fmla="*/ 74 h 90"/>
              <a:gd name="T66" fmla="*/ 24 w 116"/>
              <a:gd name="T67" fmla="*/ 74 h 90"/>
              <a:gd name="T68" fmla="*/ 26 w 116"/>
              <a:gd name="T69" fmla="*/ 80 h 90"/>
              <a:gd name="T70" fmla="*/ 32 w 116"/>
              <a:gd name="T71" fmla="*/ 82 h 90"/>
              <a:gd name="T72" fmla="*/ 38 w 116"/>
              <a:gd name="T73" fmla="*/ 86 h 90"/>
              <a:gd name="T74" fmla="*/ 36 w 116"/>
              <a:gd name="T75" fmla="*/ 90 h 90"/>
              <a:gd name="T76" fmla="*/ 42 w 116"/>
              <a:gd name="T77" fmla="*/ 90 h 90"/>
              <a:gd name="T78" fmla="*/ 48 w 116"/>
              <a:gd name="T79" fmla="*/ 88 h 90"/>
              <a:gd name="T80" fmla="*/ 56 w 116"/>
              <a:gd name="T81" fmla="*/ 90 h 90"/>
              <a:gd name="T82" fmla="*/ 66 w 116"/>
              <a:gd name="T83" fmla="*/ 88 h 90"/>
              <a:gd name="T84" fmla="*/ 74 w 116"/>
              <a:gd name="T85" fmla="*/ 82 h 90"/>
              <a:gd name="T86" fmla="*/ 82 w 116"/>
              <a:gd name="T87" fmla="*/ 84 h 90"/>
              <a:gd name="T88" fmla="*/ 88 w 116"/>
              <a:gd name="T89" fmla="*/ 84 h 90"/>
              <a:gd name="T90" fmla="*/ 96 w 116"/>
              <a:gd name="T91" fmla="*/ 82 h 90"/>
              <a:gd name="T92" fmla="*/ 106 w 116"/>
              <a:gd name="T93" fmla="*/ 84 h 90"/>
              <a:gd name="T94" fmla="*/ 106 w 116"/>
              <a:gd name="T95" fmla="*/ 80 h 90"/>
              <a:gd name="T96" fmla="*/ 108 w 116"/>
              <a:gd name="T97" fmla="*/ 76 h 90"/>
              <a:gd name="T98" fmla="*/ 112 w 116"/>
              <a:gd name="T99" fmla="*/ 76 h 90"/>
              <a:gd name="T100" fmla="*/ 114 w 116"/>
              <a:gd name="T101" fmla="*/ 72 h 90"/>
              <a:gd name="T102" fmla="*/ 116 w 116"/>
              <a:gd name="T103" fmla="*/ 64 h 90"/>
              <a:gd name="T104" fmla="*/ 114 w 116"/>
              <a:gd name="T105" fmla="*/ 62 h 90"/>
              <a:gd name="T106" fmla="*/ 116 w 116"/>
              <a:gd name="T107"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90">
                <a:moveTo>
                  <a:pt x="116" y="60"/>
                </a:moveTo>
                <a:lnTo>
                  <a:pt x="116" y="60"/>
                </a:lnTo>
                <a:lnTo>
                  <a:pt x="114" y="60"/>
                </a:lnTo>
                <a:lnTo>
                  <a:pt x="110" y="60"/>
                </a:lnTo>
                <a:lnTo>
                  <a:pt x="108" y="60"/>
                </a:lnTo>
                <a:lnTo>
                  <a:pt x="108" y="60"/>
                </a:lnTo>
                <a:lnTo>
                  <a:pt x="108" y="62"/>
                </a:lnTo>
                <a:lnTo>
                  <a:pt x="106" y="62"/>
                </a:lnTo>
                <a:lnTo>
                  <a:pt x="104" y="60"/>
                </a:lnTo>
                <a:lnTo>
                  <a:pt x="104" y="60"/>
                </a:lnTo>
                <a:lnTo>
                  <a:pt x="102" y="60"/>
                </a:lnTo>
                <a:lnTo>
                  <a:pt x="102" y="60"/>
                </a:lnTo>
                <a:lnTo>
                  <a:pt x="98" y="58"/>
                </a:lnTo>
                <a:lnTo>
                  <a:pt x="98" y="58"/>
                </a:lnTo>
                <a:lnTo>
                  <a:pt x="96" y="56"/>
                </a:lnTo>
                <a:lnTo>
                  <a:pt x="96" y="54"/>
                </a:lnTo>
                <a:lnTo>
                  <a:pt x="98" y="52"/>
                </a:lnTo>
                <a:lnTo>
                  <a:pt x="96" y="50"/>
                </a:lnTo>
                <a:lnTo>
                  <a:pt x="96" y="50"/>
                </a:lnTo>
                <a:lnTo>
                  <a:pt x="96" y="50"/>
                </a:lnTo>
                <a:lnTo>
                  <a:pt x="96" y="48"/>
                </a:lnTo>
                <a:lnTo>
                  <a:pt x="96" y="42"/>
                </a:lnTo>
                <a:lnTo>
                  <a:pt x="96" y="42"/>
                </a:lnTo>
                <a:lnTo>
                  <a:pt x="96" y="40"/>
                </a:lnTo>
                <a:lnTo>
                  <a:pt x="98" y="38"/>
                </a:lnTo>
                <a:lnTo>
                  <a:pt x="98" y="38"/>
                </a:lnTo>
                <a:lnTo>
                  <a:pt x="96" y="36"/>
                </a:lnTo>
                <a:lnTo>
                  <a:pt x="96" y="36"/>
                </a:lnTo>
                <a:lnTo>
                  <a:pt x="96" y="34"/>
                </a:lnTo>
                <a:lnTo>
                  <a:pt x="96" y="32"/>
                </a:lnTo>
                <a:lnTo>
                  <a:pt x="96" y="30"/>
                </a:lnTo>
                <a:lnTo>
                  <a:pt x="96" y="28"/>
                </a:lnTo>
                <a:lnTo>
                  <a:pt x="96" y="28"/>
                </a:lnTo>
                <a:lnTo>
                  <a:pt x="94" y="24"/>
                </a:lnTo>
                <a:lnTo>
                  <a:pt x="90" y="18"/>
                </a:lnTo>
                <a:lnTo>
                  <a:pt x="90" y="18"/>
                </a:lnTo>
                <a:lnTo>
                  <a:pt x="86" y="14"/>
                </a:lnTo>
                <a:lnTo>
                  <a:pt x="86" y="10"/>
                </a:lnTo>
                <a:lnTo>
                  <a:pt x="86" y="10"/>
                </a:lnTo>
                <a:lnTo>
                  <a:pt x="80" y="2"/>
                </a:lnTo>
                <a:lnTo>
                  <a:pt x="76" y="0"/>
                </a:lnTo>
                <a:lnTo>
                  <a:pt x="76" y="0"/>
                </a:lnTo>
                <a:lnTo>
                  <a:pt x="74" y="0"/>
                </a:lnTo>
                <a:lnTo>
                  <a:pt x="70" y="4"/>
                </a:lnTo>
                <a:lnTo>
                  <a:pt x="70" y="4"/>
                </a:lnTo>
                <a:lnTo>
                  <a:pt x="68" y="6"/>
                </a:lnTo>
                <a:lnTo>
                  <a:pt x="64" y="8"/>
                </a:lnTo>
                <a:lnTo>
                  <a:pt x="64" y="8"/>
                </a:lnTo>
                <a:lnTo>
                  <a:pt x="62" y="8"/>
                </a:lnTo>
                <a:lnTo>
                  <a:pt x="62" y="10"/>
                </a:lnTo>
                <a:lnTo>
                  <a:pt x="58" y="12"/>
                </a:lnTo>
                <a:lnTo>
                  <a:pt x="58" y="12"/>
                </a:lnTo>
                <a:lnTo>
                  <a:pt x="54" y="14"/>
                </a:lnTo>
                <a:lnTo>
                  <a:pt x="52" y="10"/>
                </a:lnTo>
                <a:lnTo>
                  <a:pt x="52" y="10"/>
                </a:lnTo>
                <a:lnTo>
                  <a:pt x="48" y="8"/>
                </a:lnTo>
                <a:lnTo>
                  <a:pt x="44" y="8"/>
                </a:lnTo>
                <a:lnTo>
                  <a:pt x="44" y="8"/>
                </a:lnTo>
                <a:lnTo>
                  <a:pt x="38" y="8"/>
                </a:lnTo>
                <a:lnTo>
                  <a:pt x="34" y="6"/>
                </a:lnTo>
                <a:lnTo>
                  <a:pt x="34" y="6"/>
                </a:lnTo>
                <a:lnTo>
                  <a:pt x="32" y="2"/>
                </a:lnTo>
                <a:lnTo>
                  <a:pt x="30" y="2"/>
                </a:lnTo>
                <a:lnTo>
                  <a:pt x="30" y="2"/>
                </a:lnTo>
                <a:lnTo>
                  <a:pt x="28" y="14"/>
                </a:lnTo>
                <a:lnTo>
                  <a:pt x="28" y="14"/>
                </a:lnTo>
                <a:lnTo>
                  <a:pt x="26" y="18"/>
                </a:lnTo>
                <a:lnTo>
                  <a:pt x="20" y="22"/>
                </a:lnTo>
                <a:lnTo>
                  <a:pt x="20" y="22"/>
                </a:lnTo>
                <a:lnTo>
                  <a:pt x="18" y="26"/>
                </a:lnTo>
                <a:lnTo>
                  <a:pt x="16" y="32"/>
                </a:lnTo>
                <a:lnTo>
                  <a:pt x="16" y="40"/>
                </a:lnTo>
                <a:lnTo>
                  <a:pt x="14" y="46"/>
                </a:lnTo>
                <a:lnTo>
                  <a:pt x="14" y="46"/>
                </a:lnTo>
                <a:lnTo>
                  <a:pt x="10" y="50"/>
                </a:lnTo>
                <a:lnTo>
                  <a:pt x="8" y="52"/>
                </a:lnTo>
                <a:lnTo>
                  <a:pt x="4" y="54"/>
                </a:lnTo>
                <a:lnTo>
                  <a:pt x="4" y="54"/>
                </a:lnTo>
                <a:lnTo>
                  <a:pt x="0" y="54"/>
                </a:lnTo>
                <a:lnTo>
                  <a:pt x="0" y="54"/>
                </a:lnTo>
                <a:lnTo>
                  <a:pt x="4" y="58"/>
                </a:lnTo>
                <a:lnTo>
                  <a:pt x="6" y="60"/>
                </a:lnTo>
                <a:lnTo>
                  <a:pt x="8" y="64"/>
                </a:lnTo>
                <a:lnTo>
                  <a:pt x="8" y="64"/>
                </a:lnTo>
                <a:lnTo>
                  <a:pt x="6" y="68"/>
                </a:lnTo>
                <a:lnTo>
                  <a:pt x="10" y="68"/>
                </a:lnTo>
                <a:lnTo>
                  <a:pt x="10" y="68"/>
                </a:lnTo>
                <a:lnTo>
                  <a:pt x="12" y="68"/>
                </a:lnTo>
                <a:lnTo>
                  <a:pt x="14" y="72"/>
                </a:lnTo>
                <a:lnTo>
                  <a:pt x="14" y="72"/>
                </a:lnTo>
                <a:lnTo>
                  <a:pt x="16" y="74"/>
                </a:lnTo>
                <a:lnTo>
                  <a:pt x="18" y="72"/>
                </a:lnTo>
                <a:lnTo>
                  <a:pt x="20" y="70"/>
                </a:lnTo>
                <a:lnTo>
                  <a:pt x="20" y="70"/>
                </a:lnTo>
                <a:lnTo>
                  <a:pt x="20" y="68"/>
                </a:lnTo>
                <a:lnTo>
                  <a:pt x="24" y="68"/>
                </a:lnTo>
                <a:lnTo>
                  <a:pt x="28" y="72"/>
                </a:lnTo>
                <a:lnTo>
                  <a:pt x="28" y="72"/>
                </a:lnTo>
                <a:lnTo>
                  <a:pt x="30" y="74"/>
                </a:lnTo>
                <a:lnTo>
                  <a:pt x="28" y="74"/>
                </a:lnTo>
                <a:lnTo>
                  <a:pt x="28" y="74"/>
                </a:lnTo>
                <a:lnTo>
                  <a:pt x="24" y="74"/>
                </a:lnTo>
                <a:lnTo>
                  <a:pt x="24" y="76"/>
                </a:lnTo>
                <a:lnTo>
                  <a:pt x="26" y="80"/>
                </a:lnTo>
                <a:lnTo>
                  <a:pt x="26" y="80"/>
                </a:lnTo>
                <a:lnTo>
                  <a:pt x="30" y="82"/>
                </a:lnTo>
                <a:lnTo>
                  <a:pt x="32" y="82"/>
                </a:lnTo>
                <a:lnTo>
                  <a:pt x="32" y="82"/>
                </a:lnTo>
                <a:lnTo>
                  <a:pt x="36" y="84"/>
                </a:lnTo>
                <a:lnTo>
                  <a:pt x="38" y="84"/>
                </a:lnTo>
                <a:lnTo>
                  <a:pt x="38" y="86"/>
                </a:lnTo>
                <a:lnTo>
                  <a:pt x="38" y="86"/>
                </a:lnTo>
                <a:lnTo>
                  <a:pt x="36" y="88"/>
                </a:lnTo>
                <a:lnTo>
                  <a:pt x="36" y="90"/>
                </a:lnTo>
                <a:lnTo>
                  <a:pt x="38" y="90"/>
                </a:lnTo>
                <a:lnTo>
                  <a:pt x="42" y="90"/>
                </a:lnTo>
                <a:lnTo>
                  <a:pt x="42" y="90"/>
                </a:lnTo>
                <a:lnTo>
                  <a:pt x="46" y="90"/>
                </a:lnTo>
                <a:lnTo>
                  <a:pt x="46" y="90"/>
                </a:lnTo>
                <a:lnTo>
                  <a:pt x="48" y="88"/>
                </a:lnTo>
                <a:lnTo>
                  <a:pt x="50" y="90"/>
                </a:lnTo>
                <a:lnTo>
                  <a:pt x="50" y="90"/>
                </a:lnTo>
                <a:lnTo>
                  <a:pt x="56" y="90"/>
                </a:lnTo>
                <a:lnTo>
                  <a:pt x="62" y="90"/>
                </a:lnTo>
                <a:lnTo>
                  <a:pt x="62" y="90"/>
                </a:lnTo>
                <a:lnTo>
                  <a:pt x="66" y="88"/>
                </a:lnTo>
                <a:lnTo>
                  <a:pt x="70" y="86"/>
                </a:lnTo>
                <a:lnTo>
                  <a:pt x="70" y="86"/>
                </a:lnTo>
                <a:lnTo>
                  <a:pt x="74" y="82"/>
                </a:lnTo>
                <a:lnTo>
                  <a:pt x="78" y="82"/>
                </a:lnTo>
                <a:lnTo>
                  <a:pt x="78" y="82"/>
                </a:lnTo>
                <a:lnTo>
                  <a:pt x="82" y="84"/>
                </a:lnTo>
                <a:lnTo>
                  <a:pt x="84" y="86"/>
                </a:lnTo>
                <a:lnTo>
                  <a:pt x="88" y="84"/>
                </a:lnTo>
                <a:lnTo>
                  <a:pt x="88" y="84"/>
                </a:lnTo>
                <a:lnTo>
                  <a:pt x="92" y="82"/>
                </a:lnTo>
                <a:lnTo>
                  <a:pt x="96" y="82"/>
                </a:lnTo>
                <a:lnTo>
                  <a:pt x="96" y="82"/>
                </a:lnTo>
                <a:lnTo>
                  <a:pt x="102" y="86"/>
                </a:lnTo>
                <a:lnTo>
                  <a:pt x="106" y="84"/>
                </a:lnTo>
                <a:lnTo>
                  <a:pt x="106" y="84"/>
                </a:lnTo>
                <a:lnTo>
                  <a:pt x="106" y="82"/>
                </a:lnTo>
                <a:lnTo>
                  <a:pt x="106" y="80"/>
                </a:lnTo>
                <a:lnTo>
                  <a:pt x="106" y="80"/>
                </a:lnTo>
                <a:lnTo>
                  <a:pt x="106" y="78"/>
                </a:lnTo>
                <a:lnTo>
                  <a:pt x="108" y="76"/>
                </a:lnTo>
                <a:lnTo>
                  <a:pt x="108" y="76"/>
                </a:lnTo>
                <a:lnTo>
                  <a:pt x="112" y="78"/>
                </a:lnTo>
                <a:lnTo>
                  <a:pt x="112" y="78"/>
                </a:lnTo>
                <a:lnTo>
                  <a:pt x="112" y="76"/>
                </a:lnTo>
                <a:lnTo>
                  <a:pt x="114" y="76"/>
                </a:lnTo>
                <a:lnTo>
                  <a:pt x="114" y="76"/>
                </a:lnTo>
                <a:lnTo>
                  <a:pt x="114" y="72"/>
                </a:lnTo>
                <a:lnTo>
                  <a:pt x="114" y="66"/>
                </a:lnTo>
                <a:lnTo>
                  <a:pt x="114" y="66"/>
                </a:lnTo>
                <a:lnTo>
                  <a:pt x="116" y="64"/>
                </a:lnTo>
                <a:lnTo>
                  <a:pt x="114" y="64"/>
                </a:lnTo>
                <a:lnTo>
                  <a:pt x="114" y="64"/>
                </a:lnTo>
                <a:lnTo>
                  <a:pt x="114" y="62"/>
                </a:lnTo>
                <a:lnTo>
                  <a:pt x="114" y="62"/>
                </a:lnTo>
                <a:lnTo>
                  <a:pt x="116" y="62"/>
                </a:lnTo>
                <a:lnTo>
                  <a:pt x="116" y="62"/>
                </a:lnTo>
                <a:lnTo>
                  <a:pt x="116" y="60"/>
                </a:lnTo>
                <a:lnTo>
                  <a:pt x="116" y="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2" name="Freeform 106">
            <a:extLst>
              <a:ext uri="{FF2B5EF4-FFF2-40B4-BE49-F238E27FC236}">
                <a16:creationId xmlns:a16="http://schemas.microsoft.com/office/drawing/2014/main" id="{6E14D833-AC2E-4620-9FBF-65C9D3678C1E}"/>
              </a:ext>
            </a:extLst>
          </p:cNvPr>
          <p:cNvSpPr>
            <a:spLocks/>
          </p:cNvSpPr>
          <p:nvPr userDrawn="1"/>
        </p:nvSpPr>
        <p:spPr bwMode="auto">
          <a:xfrm>
            <a:off x="6987815" y="2935909"/>
            <a:ext cx="20125" cy="30888"/>
          </a:xfrm>
          <a:custGeom>
            <a:avLst/>
            <a:gdLst>
              <a:gd name="T0" fmla="*/ 0 w 12"/>
              <a:gd name="T1" fmla="*/ 12 h 18"/>
              <a:gd name="T2" fmla="*/ 0 w 12"/>
              <a:gd name="T3" fmla="*/ 12 h 18"/>
              <a:gd name="T4" fmla="*/ 0 w 12"/>
              <a:gd name="T5" fmla="*/ 10 h 18"/>
              <a:gd name="T6" fmla="*/ 0 w 12"/>
              <a:gd name="T7" fmla="*/ 10 h 18"/>
              <a:gd name="T8" fmla="*/ 6 w 12"/>
              <a:gd name="T9" fmla="*/ 6 h 18"/>
              <a:gd name="T10" fmla="*/ 8 w 12"/>
              <a:gd name="T11" fmla="*/ 0 h 18"/>
              <a:gd name="T12" fmla="*/ 8 w 12"/>
              <a:gd name="T13" fmla="*/ 0 h 18"/>
              <a:gd name="T14" fmla="*/ 10 w 12"/>
              <a:gd name="T15" fmla="*/ 0 h 18"/>
              <a:gd name="T16" fmla="*/ 10 w 12"/>
              <a:gd name="T17" fmla="*/ 0 h 18"/>
              <a:gd name="T18" fmla="*/ 12 w 12"/>
              <a:gd name="T19" fmla="*/ 8 h 18"/>
              <a:gd name="T20" fmla="*/ 12 w 12"/>
              <a:gd name="T21" fmla="*/ 18 h 18"/>
              <a:gd name="T22" fmla="*/ 6 w 12"/>
              <a:gd name="T23" fmla="*/ 16 h 18"/>
              <a:gd name="T24" fmla="*/ 0 w 12"/>
              <a:gd name="T25"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8">
                <a:moveTo>
                  <a:pt x="0" y="12"/>
                </a:moveTo>
                <a:lnTo>
                  <a:pt x="0" y="12"/>
                </a:lnTo>
                <a:lnTo>
                  <a:pt x="0" y="10"/>
                </a:lnTo>
                <a:lnTo>
                  <a:pt x="0" y="10"/>
                </a:lnTo>
                <a:lnTo>
                  <a:pt x="6" y="6"/>
                </a:lnTo>
                <a:lnTo>
                  <a:pt x="8" y="0"/>
                </a:lnTo>
                <a:lnTo>
                  <a:pt x="8" y="0"/>
                </a:lnTo>
                <a:lnTo>
                  <a:pt x="10" y="0"/>
                </a:lnTo>
                <a:lnTo>
                  <a:pt x="10" y="0"/>
                </a:lnTo>
                <a:lnTo>
                  <a:pt x="12" y="8"/>
                </a:lnTo>
                <a:lnTo>
                  <a:pt x="12" y="18"/>
                </a:lnTo>
                <a:lnTo>
                  <a:pt x="6" y="16"/>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3" name="Freeform 107">
            <a:extLst>
              <a:ext uri="{FF2B5EF4-FFF2-40B4-BE49-F238E27FC236}">
                <a16:creationId xmlns:a16="http://schemas.microsoft.com/office/drawing/2014/main" id="{C1483C01-4338-4579-8067-9C2A6B15A35C}"/>
              </a:ext>
            </a:extLst>
          </p:cNvPr>
          <p:cNvSpPr>
            <a:spLocks/>
          </p:cNvSpPr>
          <p:nvPr userDrawn="1"/>
        </p:nvSpPr>
        <p:spPr bwMode="auto">
          <a:xfrm>
            <a:off x="4356545" y="3148692"/>
            <a:ext cx="30187" cy="17160"/>
          </a:xfrm>
          <a:custGeom>
            <a:avLst/>
            <a:gdLst>
              <a:gd name="T0" fmla="*/ 0 w 18"/>
              <a:gd name="T1" fmla="*/ 0 h 10"/>
              <a:gd name="T2" fmla="*/ 0 w 18"/>
              <a:gd name="T3" fmla="*/ 0 h 10"/>
              <a:gd name="T4" fmla="*/ 0 w 18"/>
              <a:gd name="T5" fmla="*/ 4 h 10"/>
              <a:gd name="T6" fmla="*/ 0 w 18"/>
              <a:gd name="T7" fmla="*/ 4 h 10"/>
              <a:gd name="T8" fmla="*/ 2 w 18"/>
              <a:gd name="T9" fmla="*/ 8 h 10"/>
              <a:gd name="T10" fmla="*/ 2 w 18"/>
              <a:gd name="T11" fmla="*/ 8 h 10"/>
              <a:gd name="T12" fmla="*/ 8 w 18"/>
              <a:gd name="T13" fmla="*/ 10 h 10"/>
              <a:gd name="T14" fmla="*/ 10 w 18"/>
              <a:gd name="T15" fmla="*/ 8 h 10"/>
              <a:gd name="T16" fmla="*/ 16 w 18"/>
              <a:gd name="T17" fmla="*/ 4 h 10"/>
              <a:gd name="T18" fmla="*/ 16 w 18"/>
              <a:gd name="T19" fmla="*/ 4 h 10"/>
              <a:gd name="T20" fmla="*/ 18 w 18"/>
              <a:gd name="T21" fmla="*/ 2 h 10"/>
              <a:gd name="T22" fmla="*/ 18 w 18"/>
              <a:gd name="T23" fmla="*/ 2 h 10"/>
              <a:gd name="T24" fmla="*/ 14 w 18"/>
              <a:gd name="T25" fmla="*/ 0 h 10"/>
              <a:gd name="T26" fmla="*/ 0 w 18"/>
              <a:gd name="T27" fmla="*/ 0 h 10"/>
              <a:gd name="T28" fmla="*/ 0 w 18"/>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0">
                <a:moveTo>
                  <a:pt x="0" y="0"/>
                </a:moveTo>
                <a:lnTo>
                  <a:pt x="0" y="0"/>
                </a:lnTo>
                <a:lnTo>
                  <a:pt x="0" y="4"/>
                </a:lnTo>
                <a:lnTo>
                  <a:pt x="0" y="4"/>
                </a:lnTo>
                <a:lnTo>
                  <a:pt x="2" y="8"/>
                </a:lnTo>
                <a:lnTo>
                  <a:pt x="2" y="8"/>
                </a:lnTo>
                <a:lnTo>
                  <a:pt x="8" y="10"/>
                </a:lnTo>
                <a:lnTo>
                  <a:pt x="10" y="8"/>
                </a:lnTo>
                <a:lnTo>
                  <a:pt x="16" y="4"/>
                </a:lnTo>
                <a:lnTo>
                  <a:pt x="16" y="4"/>
                </a:lnTo>
                <a:lnTo>
                  <a:pt x="18" y="2"/>
                </a:lnTo>
                <a:lnTo>
                  <a:pt x="18" y="2"/>
                </a:lnTo>
                <a:lnTo>
                  <a:pt x="14"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4" name="Freeform 108">
            <a:extLst>
              <a:ext uri="{FF2B5EF4-FFF2-40B4-BE49-F238E27FC236}">
                <a16:creationId xmlns:a16="http://schemas.microsoft.com/office/drawing/2014/main" id="{70118262-D16E-4A17-B79B-91F97388FD62}"/>
              </a:ext>
            </a:extLst>
          </p:cNvPr>
          <p:cNvSpPr>
            <a:spLocks/>
          </p:cNvSpPr>
          <p:nvPr userDrawn="1"/>
        </p:nvSpPr>
        <p:spPr bwMode="auto">
          <a:xfrm>
            <a:off x="5641155" y="2434841"/>
            <a:ext cx="63727" cy="161303"/>
          </a:xfrm>
          <a:custGeom>
            <a:avLst/>
            <a:gdLst>
              <a:gd name="T0" fmla="*/ 30 w 38"/>
              <a:gd name="T1" fmla="*/ 90 h 94"/>
              <a:gd name="T2" fmla="*/ 32 w 38"/>
              <a:gd name="T3" fmla="*/ 82 h 94"/>
              <a:gd name="T4" fmla="*/ 34 w 38"/>
              <a:gd name="T5" fmla="*/ 80 h 94"/>
              <a:gd name="T6" fmla="*/ 30 w 38"/>
              <a:gd name="T7" fmla="*/ 80 h 94"/>
              <a:gd name="T8" fmla="*/ 28 w 38"/>
              <a:gd name="T9" fmla="*/ 78 h 94"/>
              <a:gd name="T10" fmla="*/ 28 w 38"/>
              <a:gd name="T11" fmla="*/ 72 h 94"/>
              <a:gd name="T12" fmla="*/ 30 w 38"/>
              <a:gd name="T13" fmla="*/ 68 h 94"/>
              <a:gd name="T14" fmla="*/ 30 w 38"/>
              <a:gd name="T15" fmla="*/ 62 h 94"/>
              <a:gd name="T16" fmla="*/ 28 w 38"/>
              <a:gd name="T17" fmla="*/ 58 h 94"/>
              <a:gd name="T18" fmla="*/ 32 w 38"/>
              <a:gd name="T19" fmla="*/ 52 h 94"/>
              <a:gd name="T20" fmla="*/ 32 w 38"/>
              <a:gd name="T21" fmla="*/ 48 h 94"/>
              <a:gd name="T22" fmla="*/ 32 w 38"/>
              <a:gd name="T23" fmla="*/ 42 h 94"/>
              <a:gd name="T24" fmla="*/ 34 w 38"/>
              <a:gd name="T25" fmla="*/ 34 h 94"/>
              <a:gd name="T26" fmla="*/ 36 w 38"/>
              <a:gd name="T27" fmla="*/ 32 h 94"/>
              <a:gd name="T28" fmla="*/ 32 w 38"/>
              <a:gd name="T29" fmla="*/ 20 h 94"/>
              <a:gd name="T30" fmla="*/ 30 w 38"/>
              <a:gd name="T31" fmla="*/ 18 h 94"/>
              <a:gd name="T32" fmla="*/ 36 w 38"/>
              <a:gd name="T33" fmla="*/ 12 h 94"/>
              <a:gd name="T34" fmla="*/ 38 w 38"/>
              <a:gd name="T35" fmla="*/ 6 h 94"/>
              <a:gd name="T36" fmla="*/ 34 w 38"/>
              <a:gd name="T37" fmla="*/ 6 h 94"/>
              <a:gd name="T38" fmla="*/ 30 w 38"/>
              <a:gd name="T39" fmla="*/ 4 h 94"/>
              <a:gd name="T40" fmla="*/ 20 w 38"/>
              <a:gd name="T41" fmla="*/ 4 h 94"/>
              <a:gd name="T42" fmla="*/ 18 w 38"/>
              <a:gd name="T43" fmla="*/ 4 h 94"/>
              <a:gd name="T44" fmla="*/ 18 w 38"/>
              <a:gd name="T45" fmla="*/ 2 h 94"/>
              <a:gd name="T46" fmla="*/ 16 w 38"/>
              <a:gd name="T47" fmla="*/ 0 h 94"/>
              <a:gd name="T48" fmla="*/ 10 w 38"/>
              <a:gd name="T49" fmla="*/ 4 h 94"/>
              <a:gd name="T50" fmla="*/ 12 w 38"/>
              <a:gd name="T51" fmla="*/ 16 h 94"/>
              <a:gd name="T52" fmla="*/ 12 w 38"/>
              <a:gd name="T53" fmla="*/ 30 h 94"/>
              <a:gd name="T54" fmla="*/ 8 w 38"/>
              <a:gd name="T55" fmla="*/ 34 h 94"/>
              <a:gd name="T56" fmla="*/ 8 w 38"/>
              <a:gd name="T57" fmla="*/ 36 h 94"/>
              <a:gd name="T58" fmla="*/ 8 w 38"/>
              <a:gd name="T59" fmla="*/ 38 h 94"/>
              <a:gd name="T60" fmla="*/ 6 w 38"/>
              <a:gd name="T61" fmla="*/ 42 h 94"/>
              <a:gd name="T62" fmla="*/ 6 w 38"/>
              <a:gd name="T63" fmla="*/ 46 h 94"/>
              <a:gd name="T64" fmla="*/ 2 w 38"/>
              <a:gd name="T65" fmla="*/ 48 h 94"/>
              <a:gd name="T66" fmla="*/ 2 w 38"/>
              <a:gd name="T67" fmla="*/ 54 h 94"/>
              <a:gd name="T68" fmla="*/ 0 w 38"/>
              <a:gd name="T69" fmla="*/ 56 h 94"/>
              <a:gd name="T70" fmla="*/ 2 w 38"/>
              <a:gd name="T71" fmla="*/ 58 h 94"/>
              <a:gd name="T72" fmla="*/ 4 w 38"/>
              <a:gd name="T73" fmla="*/ 62 h 94"/>
              <a:gd name="T74" fmla="*/ 6 w 38"/>
              <a:gd name="T75" fmla="*/ 58 h 94"/>
              <a:gd name="T76" fmla="*/ 6 w 38"/>
              <a:gd name="T77" fmla="*/ 62 h 94"/>
              <a:gd name="T78" fmla="*/ 4 w 38"/>
              <a:gd name="T79" fmla="*/ 64 h 94"/>
              <a:gd name="T80" fmla="*/ 4 w 38"/>
              <a:gd name="T81" fmla="*/ 66 h 94"/>
              <a:gd name="T82" fmla="*/ 6 w 38"/>
              <a:gd name="T83" fmla="*/ 66 h 94"/>
              <a:gd name="T84" fmla="*/ 6 w 38"/>
              <a:gd name="T85" fmla="*/ 72 h 94"/>
              <a:gd name="T86" fmla="*/ 8 w 38"/>
              <a:gd name="T87" fmla="*/ 76 h 94"/>
              <a:gd name="T88" fmla="*/ 8 w 38"/>
              <a:gd name="T89" fmla="*/ 78 h 94"/>
              <a:gd name="T90" fmla="*/ 6 w 38"/>
              <a:gd name="T91" fmla="*/ 92 h 94"/>
              <a:gd name="T92" fmla="*/ 18 w 38"/>
              <a:gd name="T93" fmla="*/ 92 h 94"/>
              <a:gd name="T94" fmla="*/ 18 w 38"/>
              <a:gd name="T95" fmla="*/ 94 h 94"/>
              <a:gd name="T96" fmla="*/ 22 w 38"/>
              <a:gd name="T97" fmla="*/ 94 h 94"/>
              <a:gd name="T98" fmla="*/ 30 w 38"/>
              <a:gd name="T9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 h="94">
                <a:moveTo>
                  <a:pt x="30" y="90"/>
                </a:moveTo>
                <a:lnTo>
                  <a:pt x="30" y="90"/>
                </a:lnTo>
                <a:lnTo>
                  <a:pt x="30" y="88"/>
                </a:lnTo>
                <a:lnTo>
                  <a:pt x="32" y="82"/>
                </a:lnTo>
                <a:lnTo>
                  <a:pt x="32" y="82"/>
                </a:lnTo>
                <a:lnTo>
                  <a:pt x="34" y="80"/>
                </a:lnTo>
                <a:lnTo>
                  <a:pt x="32" y="80"/>
                </a:lnTo>
                <a:lnTo>
                  <a:pt x="30" y="80"/>
                </a:lnTo>
                <a:lnTo>
                  <a:pt x="28" y="78"/>
                </a:lnTo>
                <a:lnTo>
                  <a:pt x="28" y="78"/>
                </a:lnTo>
                <a:lnTo>
                  <a:pt x="28" y="74"/>
                </a:lnTo>
                <a:lnTo>
                  <a:pt x="28" y="72"/>
                </a:lnTo>
                <a:lnTo>
                  <a:pt x="30" y="68"/>
                </a:lnTo>
                <a:lnTo>
                  <a:pt x="30" y="68"/>
                </a:lnTo>
                <a:lnTo>
                  <a:pt x="32" y="64"/>
                </a:lnTo>
                <a:lnTo>
                  <a:pt x="30" y="62"/>
                </a:lnTo>
                <a:lnTo>
                  <a:pt x="30" y="62"/>
                </a:lnTo>
                <a:lnTo>
                  <a:pt x="28" y="58"/>
                </a:lnTo>
                <a:lnTo>
                  <a:pt x="28" y="56"/>
                </a:lnTo>
                <a:lnTo>
                  <a:pt x="32" y="52"/>
                </a:lnTo>
                <a:lnTo>
                  <a:pt x="32" y="52"/>
                </a:lnTo>
                <a:lnTo>
                  <a:pt x="32" y="48"/>
                </a:lnTo>
                <a:lnTo>
                  <a:pt x="32" y="42"/>
                </a:lnTo>
                <a:lnTo>
                  <a:pt x="32" y="42"/>
                </a:lnTo>
                <a:lnTo>
                  <a:pt x="30" y="38"/>
                </a:lnTo>
                <a:lnTo>
                  <a:pt x="34" y="34"/>
                </a:lnTo>
                <a:lnTo>
                  <a:pt x="34" y="34"/>
                </a:lnTo>
                <a:lnTo>
                  <a:pt x="36" y="32"/>
                </a:lnTo>
                <a:lnTo>
                  <a:pt x="36" y="28"/>
                </a:lnTo>
                <a:lnTo>
                  <a:pt x="32" y="20"/>
                </a:lnTo>
                <a:lnTo>
                  <a:pt x="32" y="20"/>
                </a:lnTo>
                <a:lnTo>
                  <a:pt x="30" y="18"/>
                </a:lnTo>
                <a:lnTo>
                  <a:pt x="32" y="16"/>
                </a:lnTo>
                <a:lnTo>
                  <a:pt x="36" y="12"/>
                </a:lnTo>
                <a:lnTo>
                  <a:pt x="36" y="12"/>
                </a:lnTo>
                <a:lnTo>
                  <a:pt x="38" y="6"/>
                </a:lnTo>
                <a:lnTo>
                  <a:pt x="34" y="6"/>
                </a:lnTo>
                <a:lnTo>
                  <a:pt x="34" y="6"/>
                </a:lnTo>
                <a:lnTo>
                  <a:pt x="34" y="4"/>
                </a:lnTo>
                <a:lnTo>
                  <a:pt x="30" y="4"/>
                </a:lnTo>
                <a:lnTo>
                  <a:pt x="30" y="4"/>
                </a:lnTo>
                <a:lnTo>
                  <a:pt x="20" y="4"/>
                </a:lnTo>
                <a:lnTo>
                  <a:pt x="20" y="4"/>
                </a:lnTo>
                <a:lnTo>
                  <a:pt x="18" y="4"/>
                </a:lnTo>
                <a:lnTo>
                  <a:pt x="18" y="4"/>
                </a:lnTo>
                <a:lnTo>
                  <a:pt x="18" y="2"/>
                </a:lnTo>
                <a:lnTo>
                  <a:pt x="18" y="2"/>
                </a:lnTo>
                <a:lnTo>
                  <a:pt x="16" y="0"/>
                </a:lnTo>
                <a:lnTo>
                  <a:pt x="12" y="2"/>
                </a:lnTo>
                <a:lnTo>
                  <a:pt x="10" y="4"/>
                </a:lnTo>
                <a:lnTo>
                  <a:pt x="10" y="4"/>
                </a:lnTo>
                <a:lnTo>
                  <a:pt x="12" y="16"/>
                </a:lnTo>
                <a:lnTo>
                  <a:pt x="12" y="24"/>
                </a:lnTo>
                <a:lnTo>
                  <a:pt x="12" y="30"/>
                </a:lnTo>
                <a:lnTo>
                  <a:pt x="12" y="30"/>
                </a:lnTo>
                <a:lnTo>
                  <a:pt x="8" y="34"/>
                </a:lnTo>
                <a:lnTo>
                  <a:pt x="8" y="34"/>
                </a:lnTo>
                <a:lnTo>
                  <a:pt x="8" y="36"/>
                </a:lnTo>
                <a:lnTo>
                  <a:pt x="8" y="38"/>
                </a:lnTo>
                <a:lnTo>
                  <a:pt x="8" y="38"/>
                </a:lnTo>
                <a:lnTo>
                  <a:pt x="6" y="42"/>
                </a:lnTo>
                <a:lnTo>
                  <a:pt x="6" y="42"/>
                </a:lnTo>
                <a:lnTo>
                  <a:pt x="6" y="46"/>
                </a:lnTo>
                <a:lnTo>
                  <a:pt x="6" y="46"/>
                </a:lnTo>
                <a:lnTo>
                  <a:pt x="2" y="48"/>
                </a:lnTo>
                <a:lnTo>
                  <a:pt x="2" y="48"/>
                </a:lnTo>
                <a:lnTo>
                  <a:pt x="2" y="52"/>
                </a:lnTo>
                <a:lnTo>
                  <a:pt x="2" y="54"/>
                </a:lnTo>
                <a:lnTo>
                  <a:pt x="0" y="56"/>
                </a:lnTo>
                <a:lnTo>
                  <a:pt x="0" y="56"/>
                </a:lnTo>
                <a:lnTo>
                  <a:pt x="0" y="56"/>
                </a:lnTo>
                <a:lnTo>
                  <a:pt x="2" y="58"/>
                </a:lnTo>
                <a:lnTo>
                  <a:pt x="4" y="62"/>
                </a:lnTo>
                <a:lnTo>
                  <a:pt x="4" y="62"/>
                </a:lnTo>
                <a:lnTo>
                  <a:pt x="4" y="60"/>
                </a:lnTo>
                <a:lnTo>
                  <a:pt x="6" y="58"/>
                </a:lnTo>
                <a:lnTo>
                  <a:pt x="6" y="58"/>
                </a:lnTo>
                <a:lnTo>
                  <a:pt x="6" y="62"/>
                </a:lnTo>
                <a:lnTo>
                  <a:pt x="6" y="62"/>
                </a:lnTo>
                <a:lnTo>
                  <a:pt x="4" y="64"/>
                </a:lnTo>
                <a:lnTo>
                  <a:pt x="4" y="64"/>
                </a:lnTo>
                <a:lnTo>
                  <a:pt x="4" y="66"/>
                </a:lnTo>
                <a:lnTo>
                  <a:pt x="4" y="66"/>
                </a:lnTo>
                <a:lnTo>
                  <a:pt x="6" y="66"/>
                </a:lnTo>
                <a:lnTo>
                  <a:pt x="6" y="66"/>
                </a:lnTo>
                <a:lnTo>
                  <a:pt x="6" y="72"/>
                </a:lnTo>
                <a:lnTo>
                  <a:pt x="8" y="74"/>
                </a:lnTo>
                <a:lnTo>
                  <a:pt x="8" y="76"/>
                </a:lnTo>
                <a:lnTo>
                  <a:pt x="8" y="78"/>
                </a:lnTo>
                <a:lnTo>
                  <a:pt x="8" y="78"/>
                </a:lnTo>
                <a:lnTo>
                  <a:pt x="6" y="92"/>
                </a:lnTo>
                <a:lnTo>
                  <a:pt x="6" y="92"/>
                </a:lnTo>
                <a:lnTo>
                  <a:pt x="10" y="90"/>
                </a:lnTo>
                <a:lnTo>
                  <a:pt x="18" y="92"/>
                </a:lnTo>
                <a:lnTo>
                  <a:pt x="18" y="92"/>
                </a:lnTo>
                <a:lnTo>
                  <a:pt x="18" y="94"/>
                </a:lnTo>
                <a:lnTo>
                  <a:pt x="22" y="94"/>
                </a:lnTo>
                <a:lnTo>
                  <a:pt x="22" y="94"/>
                </a:lnTo>
                <a:lnTo>
                  <a:pt x="26" y="92"/>
                </a:lnTo>
                <a:lnTo>
                  <a:pt x="30" y="90"/>
                </a:lnTo>
                <a:lnTo>
                  <a:pt x="30" y="9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5" name="Freeform 109">
            <a:extLst>
              <a:ext uri="{FF2B5EF4-FFF2-40B4-BE49-F238E27FC236}">
                <a16:creationId xmlns:a16="http://schemas.microsoft.com/office/drawing/2014/main" id="{F82B87C1-B878-4A9D-946E-7F534920A260}"/>
              </a:ext>
            </a:extLst>
          </p:cNvPr>
          <p:cNvSpPr>
            <a:spLocks/>
          </p:cNvSpPr>
          <p:nvPr userDrawn="1"/>
        </p:nvSpPr>
        <p:spPr bwMode="auto">
          <a:xfrm>
            <a:off x="6172775" y="2005844"/>
            <a:ext cx="241493" cy="209350"/>
          </a:xfrm>
          <a:custGeom>
            <a:avLst/>
            <a:gdLst>
              <a:gd name="T0" fmla="*/ 72 w 144"/>
              <a:gd name="T1" fmla="*/ 8 h 122"/>
              <a:gd name="T2" fmla="*/ 72 w 144"/>
              <a:gd name="T3" fmla="*/ 6 h 122"/>
              <a:gd name="T4" fmla="*/ 66 w 144"/>
              <a:gd name="T5" fmla="*/ 8 h 122"/>
              <a:gd name="T6" fmla="*/ 60 w 144"/>
              <a:gd name="T7" fmla="*/ 8 h 122"/>
              <a:gd name="T8" fmla="*/ 58 w 144"/>
              <a:gd name="T9" fmla="*/ 4 h 122"/>
              <a:gd name="T10" fmla="*/ 60 w 144"/>
              <a:gd name="T11" fmla="*/ 6 h 122"/>
              <a:gd name="T12" fmla="*/ 62 w 144"/>
              <a:gd name="T13" fmla="*/ 2 h 122"/>
              <a:gd name="T14" fmla="*/ 58 w 144"/>
              <a:gd name="T15" fmla="*/ 0 h 122"/>
              <a:gd name="T16" fmla="*/ 40 w 144"/>
              <a:gd name="T17" fmla="*/ 8 h 122"/>
              <a:gd name="T18" fmla="*/ 34 w 144"/>
              <a:gd name="T19" fmla="*/ 8 h 122"/>
              <a:gd name="T20" fmla="*/ 28 w 144"/>
              <a:gd name="T21" fmla="*/ 12 h 122"/>
              <a:gd name="T22" fmla="*/ 22 w 144"/>
              <a:gd name="T23" fmla="*/ 14 h 122"/>
              <a:gd name="T24" fmla="*/ 8 w 144"/>
              <a:gd name="T25" fmla="*/ 16 h 122"/>
              <a:gd name="T26" fmla="*/ 2 w 144"/>
              <a:gd name="T27" fmla="*/ 22 h 122"/>
              <a:gd name="T28" fmla="*/ 0 w 144"/>
              <a:gd name="T29" fmla="*/ 34 h 122"/>
              <a:gd name="T30" fmla="*/ 4 w 144"/>
              <a:gd name="T31" fmla="*/ 40 h 122"/>
              <a:gd name="T32" fmla="*/ 4 w 144"/>
              <a:gd name="T33" fmla="*/ 54 h 122"/>
              <a:gd name="T34" fmla="*/ 6 w 144"/>
              <a:gd name="T35" fmla="*/ 76 h 122"/>
              <a:gd name="T36" fmla="*/ 18 w 144"/>
              <a:gd name="T37" fmla="*/ 78 h 122"/>
              <a:gd name="T38" fmla="*/ 20 w 144"/>
              <a:gd name="T39" fmla="*/ 82 h 122"/>
              <a:gd name="T40" fmla="*/ 24 w 144"/>
              <a:gd name="T41" fmla="*/ 82 h 122"/>
              <a:gd name="T42" fmla="*/ 32 w 144"/>
              <a:gd name="T43" fmla="*/ 88 h 122"/>
              <a:gd name="T44" fmla="*/ 42 w 144"/>
              <a:gd name="T45" fmla="*/ 90 h 122"/>
              <a:gd name="T46" fmla="*/ 46 w 144"/>
              <a:gd name="T47" fmla="*/ 92 h 122"/>
              <a:gd name="T48" fmla="*/ 48 w 144"/>
              <a:gd name="T49" fmla="*/ 96 h 122"/>
              <a:gd name="T50" fmla="*/ 54 w 144"/>
              <a:gd name="T51" fmla="*/ 104 h 122"/>
              <a:gd name="T52" fmla="*/ 60 w 144"/>
              <a:gd name="T53" fmla="*/ 104 h 122"/>
              <a:gd name="T54" fmla="*/ 68 w 144"/>
              <a:gd name="T55" fmla="*/ 104 h 122"/>
              <a:gd name="T56" fmla="*/ 80 w 144"/>
              <a:gd name="T57" fmla="*/ 110 h 122"/>
              <a:gd name="T58" fmla="*/ 84 w 144"/>
              <a:gd name="T59" fmla="*/ 108 h 122"/>
              <a:gd name="T60" fmla="*/ 92 w 144"/>
              <a:gd name="T61" fmla="*/ 104 h 122"/>
              <a:gd name="T62" fmla="*/ 100 w 144"/>
              <a:gd name="T63" fmla="*/ 100 h 122"/>
              <a:gd name="T64" fmla="*/ 106 w 144"/>
              <a:gd name="T65" fmla="*/ 98 h 122"/>
              <a:gd name="T66" fmla="*/ 114 w 144"/>
              <a:gd name="T67" fmla="*/ 104 h 122"/>
              <a:gd name="T68" fmla="*/ 122 w 144"/>
              <a:gd name="T69" fmla="*/ 110 h 122"/>
              <a:gd name="T70" fmla="*/ 124 w 144"/>
              <a:gd name="T71" fmla="*/ 116 h 122"/>
              <a:gd name="T72" fmla="*/ 130 w 144"/>
              <a:gd name="T73" fmla="*/ 122 h 122"/>
              <a:gd name="T74" fmla="*/ 138 w 144"/>
              <a:gd name="T75" fmla="*/ 118 h 122"/>
              <a:gd name="T76" fmla="*/ 136 w 144"/>
              <a:gd name="T77" fmla="*/ 112 h 122"/>
              <a:gd name="T78" fmla="*/ 136 w 144"/>
              <a:gd name="T79" fmla="*/ 106 h 122"/>
              <a:gd name="T80" fmla="*/ 144 w 144"/>
              <a:gd name="T81" fmla="*/ 90 h 122"/>
              <a:gd name="T82" fmla="*/ 140 w 144"/>
              <a:gd name="T83" fmla="*/ 82 h 122"/>
              <a:gd name="T84" fmla="*/ 140 w 144"/>
              <a:gd name="T85" fmla="*/ 76 h 122"/>
              <a:gd name="T86" fmla="*/ 142 w 144"/>
              <a:gd name="T87" fmla="*/ 68 h 122"/>
              <a:gd name="T88" fmla="*/ 142 w 144"/>
              <a:gd name="T89" fmla="*/ 66 h 122"/>
              <a:gd name="T90" fmla="*/ 140 w 144"/>
              <a:gd name="T91" fmla="*/ 58 h 122"/>
              <a:gd name="T92" fmla="*/ 140 w 144"/>
              <a:gd name="T93" fmla="*/ 46 h 122"/>
              <a:gd name="T94" fmla="*/ 144 w 144"/>
              <a:gd name="T95" fmla="*/ 36 h 122"/>
              <a:gd name="T96" fmla="*/ 142 w 144"/>
              <a:gd name="T97" fmla="*/ 30 h 122"/>
              <a:gd name="T98" fmla="*/ 140 w 144"/>
              <a:gd name="T99" fmla="*/ 22 h 122"/>
              <a:gd name="T100" fmla="*/ 138 w 144"/>
              <a:gd name="T101" fmla="*/ 18 h 122"/>
              <a:gd name="T102" fmla="*/ 120 w 144"/>
              <a:gd name="T103" fmla="*/ 16 h 122"/>
              <a:gd name="T104" fmla="*/ 106 w 144"/>
              <a:gd name="T105" fmla="*/ 18 h 122"/>
              <a:gd name="T106" fmla="*/ 88 w 144"/>
              <a:gd name="T107" fmla="*/ 16 h 122"/>
              <a:gd name="T108" fmla="*/ 74 w 144"/>
              <a:gd name="T109" fmla="*/ 8 h 122"/>
              <a:gd name="T110" fmla="*/ 74 w 144"/>
              <a:gd name="T111" fmla="*/ 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 h="122">
                <a:moveTo>
                  <a:pt x="74" y="10"/>
                </a:moveTo>
                <a:lnTo>
                  <a:pt x="74" y="10"/>
                </a:lnTo>
                <a:lnTo>
                  <a:pt x="72" y="8"/>
                </a:lnTo>
                <a:lnTo>
                  <a:pt x="72" y="8"/>
                </a:lnTo>
                <a:lnTo>
                  <a:pt x="72" y="6"/>
                </a:lnTo>
                <a:lnTo>
                  <a:pt x="72" y="6"/>
                </a:lnTo>
                <a:lnTo>
                  <a:pt x="70" y="6"/>
                </a:lnTo>
                <a:lnTo>
                  <a:pt x="66" y="8"/>
                </a:lnTo>
                <a:lnTo>
                  <a:pt x="66" y="8"/>
                </a:lnTo>
                <a:lnTo>
                  <a:pt x="62" y="10"/>
                </a:lnTo>
                <a:lnTo>
                  <a:pt x="62" y="10"/>
                </a:lnTo>
                <a:lnTo>
                  <a:pt x="60" y="8"/>
                </a:lnTo>
                <a:lnTo>
                  <a:pt x="58" y="8"/>
                </a:lnTo>
                <a:lnTo>
                  <a:pt x="58" y="8"/>
                </a:lnTo>
                <a:lnTo>
                  <a:pt x="58" y="4"/>
                </a:lnTo>
                <a:lnTo>
                  <a:pt x="58" y="4"/>
                </a:lnTo>
                <a:lnTo>
                  <a:pt x="60" y="6"/>
                </a:lnTo>
                <a:lnTo>
                  <a:pt x="60" y="6"/>
                </a:lnTo>
                <a:lnTo>
                  <a:pt x="62" y="4"/>
                </a:lnTo>
                <a:lnTo>
                  <a:pt x="62" y="4"/>
                </a:lnTo>
                <a:lnTo>
                  <a:pt x="62" y="2"/>
                </a:lnTo>
                <a:lnTo>
                  <a:pt x="60" y="2"/>
                </a:lnTo>
                <a:lnTo>
                  <a:pt x="58" y="0"/>
                </a:lnTo>
                <a:lnTo>
                  <a:pt x="58" y="0"/>
                </a:lnTo>
                <a:lnTo>
                  <a:pt x="44" y="4"/>
                </a:lnTo>
                <a:lnTo>
                  <a:pt x="44" y="4"/>
                </a:lnTo>
                <a:lnTo>
                  <a:pt x="40" y="8"/>
                </a:lnTo>
                <a:lnTo>
                  <a:pt x="40" y="8"/>
                </a:lnTo>
                <a:lnTo>
                  <a:pt x="34" y="8"/>
                </a:lnTo>
                <a:lnTo>
                  <a:pt x="34" y="8"/>
                </a:lnTo>
                <a:lnTo>
                  <a:pt x="32" y="10"/>
                </a:lnTo>
                <a:lnTo>
                  <a:pt x="28" y="12"/>
                </a:lnTo>
                <a:lnTo>
                  <a:pt x="28" y="12"/>
                </a:lnTo>
                <a:lnTo>
                  <a:pt x="26" y="12"/>
                </a:lnTo>
                <a:lnTo>
                  <a:pt x="24" y="12"/>
                </a:lnTo>
                <a:lnTo>
                  <a:pt x="22" y="14"/>
                </a:lnTo>
                <a:lnTo>
                  <a:pt x="22" y="14"/>
                </a:lnTo>
                <a:lnTo>
                  <a:pt x="8" y="16"/>
                </a:lnTo>
                <a:lnTo>
                  <a:pt x="8" y="16"/>
                </a:lnTo>
                <a:lnTo>
                  <a:pt x="2" y="16"/>
                </a:lnTo>
                <a:lnTo>
                  <a:pt x="2" y="16"/>
                </a:lnTo>
                <a:lnTo>
                  <a:pt x="2" y="22"/>
                </a:lnTo>
                <a:lnTo>
                  <a:pt x="0" y="32"/>
                </a:lnTo>
                <a:lnTo>
                  <a:pt x="0" y="32"/>
                </a:lnTo>
                <a:lnTo>
                  <a:pt x="0" y="34"/>
                </a:lnTo>
                <a:lnTo>
                  <a:pt x="2" y="38"/>
                </a:lnTo>
                <a:lnTo>
                  <a:pt x="4" y="40"/>
                </a:lnTo>
                <a:lnTo>
                  <a:pt x="4" y="40"/>
                </a:lnTo>
                <a:lnTo>
                  <a:pt x="2" y="50"/>
                </a:lnTo>
                <a:lnTo>
                  <a:pt x="2" y="50"/>
                </a:lnTo>
                <a:lnTo>
                  <a:pt x="4" y="54"/>
                </a:lnTo>
                <a:lnTo>
                  <a:pt x="4" y="58"/>
                </a:lnTo>
                <a:lnTo>
                  <a:pt x="4" y="58"/>
                </a:lnTo>
                <a:lnTo>
                  <a:pt x="6" y="76"/>
                </a:lnTo>
                <a:lnTo>
                  <a:pt x="10" y="78"/>
                </a:lnTo>
                <a:lnTo>
                  <a:pt x="10" y="78"/>
                </a:lnTo>
                <a:lnTo>
                  <a:pt x="18" y="78"/>
                </a:lnTo>
                <a:lnTo>
                  <a:pt x="18" y="78"/>
                </a:lnTo>
                <a:lnTo>
                  <a:pt x="20" y="80"/>
                </a:lnTo>
                <a:lnTo>
                  <a:pt x="20" y="82"/>
                </a:lnTo>
                <a:lnTo>
                  <a:pt x="22" y="82"/>
                </a:lnTo>
                <a:lnTo>
                  <a:pt x="24" y="82"/>
                </a:lnTo>
                <a:lnTo>
                  <a:pt x="24" y="82"/>
                </a:lnTo>
                <a:lnTo>
                  <a:pt x="26" y="82"/>
                </a:lnTo>
                <a:lnTo>
                  <a:pt x="28" y="84"/>
                </a:lnTo>
                <a:lnTo>
                  <a:pt x="32" y="88"/>
                </a:lnTo>
                <a:lnTo>
                  <a:pt x="32" y="88"/>
                </a:lnTo>
                <a:lnTo>
                  <a:pt x="38" y="90"/>
                </a:lnTo>
                <a:lnTo>
                  <a:pt x="42" y="90"/>
                </a:lnTo>
                <a:lnTo>
                  <a:pt x="42" y="90"/>
                </a:lnTo>
                <a:lnTo>
                  <a:pt x="44" y="90"/>
                </a:lnTo>
                <a:lnTo>
                  <a:pt x="46" y="92"/>
                </a:lnTo>
                <a:lnTo>
                  <a:pt x="48" y="94"/>
                </a:lnTo>
                <a:lnTo>
                  <a:pt x="48" y="96"/>
                </a:lnTo>
                <a:lnTo>
                  <a:pt x="48" y="96"/>
                </a:lnTo>
                <a:lnTo>
                  <a:pt x="50" y="96"/>
                </a:lnTo>
                <a:lnTo>
                  <a:pt x="52" y="98"/>
                </a:lnTo>
                <a:lnTo>
                  <a:pt x="54" y="104"/>
                </a:lnTo>
                <a:lnTo>
                  <a:pt x="54" y="104"/>
                </a:lnTo>
                <a:lnTo>
                  <a:pt x="60" y="104"/>
                </a:lnTo>
                <a:lnTo>
                  <a:pt x="60" y="104"/>
                </a:lnTo>
                <a:lnTo>
                  <a:pt x="64" y="102"/>
                </a:lnTo>
                <a:lnTo>
                  <a:pt x="68" y="104"/>
                </a:lnTo>
                <a:lnTo>
                  <a:pt x="68" y="104"/>
                </a:lnTo>
                <a:lnTo>
                  <a:pt x="74" y="108"/>
                </a:lnTo>
                <a:lnTo>
                  <a:pt x="74" y="108"/>
                </a:lnTo>
                <a:lnTo>
                  <a:pt x="80" y="110"/>
                </a:lnTo>
                <a:lnTo>
                  <a:pt x="82" y="110"/>
                </a:lnTo>
                <a:lnTo>
                  <a:pt x="84" y="108"/>
                </a:lnTo>
                <a:lnTo>
                  <a:pt x="84" y="108"/>
                </a:lnTo>
                <a:lnTo>
                  <a:pt x="86" y="106"/>
                </a:lnTo>
                <a:lnTo>
                  <a:pt x="88" y="106"/>
                </a:lnTo>
                <a:lnTo>
                  <a:pt x="92" y="104"/>
                </a:lnTo>
                <a:lnTo>
                  <a:pt x="92" y="104"/>
                </a:lnTo>
                <a:lnTo>
                  <a:pt x="96" y="102"/>
                </a:lnTo>
                <a:lnTo>
                  <a:pt x="100" y="100"/>
                </a:lnTo>
                <a:lnTo>
                  <a:pt x="102" y="98"/>
                </a:lnTo>
                <a:lnTo>
                  <a:pt x="106" y="98"/>
                </a:lnTo>
                <a:lnTo>
                  <a:pt x="106" y="98"/>
                </a:lnTo>
                <a:lnTo>
                  <a:pt x="110" y="102"/>
                </a:lnTo>
                <a:lnTo>
                  <a:pt x="114" y="104"/>
                </a:lnTo>
                <a:lnTo>
                  <a:pt x="114" y="104"/>
                </a:lnTo>
                <a:lnTo>
                  <a:pt x="116" y="104"/>
                </a:lnTo>
                <a:lnTo>
                  <a:pt x="118" y="106"/>
                </a:lnTo>
                <a:lnTo>
                  <a:pt x="122" y="110"/>
                </a:lnTo>
                <a:lnTo>
                  <a:pt x="122" y="110"/>
                </a:lnTo>
                <a:lnTo>
                  <a:pt x="124" y="112"/>
                </a:lnTo>
                <a:lnTo>
                  <a:pt x="124" y="116"/>
                </a:lnTo>
                <a:lnTo>
                  <a:pt x="124" y="116"/>
                </a:lnTo>
                <a:lnTo>
                  <a:pt x="128" y="120"/>
                </a:lnTo>
                <a:lnTo>
                  <a:pt x="130" y="122"/>
                </a:lnTo>
                <a:lnTo>
                  <a:pt x="130" y="122"/>
                </a:lnTo>
                <a:lnTo>
                  <a:pt x="134" y="120"/>
                </a:lnTo>
                <a:lnTo>
                  <a:pt x="138" y="118"/>
                </a:lnTo>
                <a:lnTo>
                  <a:pt x="138" y="116"/>
                </a:lnTo>
                <a:lnTo>
                  <a:pt x="138" y="116"/>
                </a:lnTo>
                <a:lnTo>
                  <a:pt x="136" y="112"/>
                </a:lnTo>
                <a:lnTo>
                  <a:pt x="136" y="108"/>
                </a:lnTo>
                <a:lnTo>
                  <a:pt x="136" y="106"/>
                </a:lnTo>
                <a:lnTo>
                  <a:pt x="136" y="106"/>
                </a:lnTo>
                <a:lnTo>
                  <a:pt x="140" y="98"/>
                </a:lnTo>
                <a:lnTo>
                  <a:pt x="140" y="98"/>
                </a:lnTo>
                <a:lnTo>
                  <a:pt x="144" y="90"/>
                </a:lnTo>
                <a:lnTo>
                  <a:pt x="144" y="90"/>
                </a:lnTo>
                <a:lnTo>
                  <a:pt x="142" y="86"/>
                </a:lnTo>
                <a:lnTo>
                  <a:pt x="140" y="82"/>
                </a:lnTo>
                <a:lnTo>
                  <a:pt x="140" y="80"/>
                </a:lnTo>
                <a:lnTo>
                  <a:pt x="140" y="80"/>
                </a:lnTo>
                <a:lnTo>
                  <a:pt x="140" y="76"/>
                </a:lnTo>
                <a:lnTo>
                  <a:pt x="142" y="70"/>
                </a:lnTo>
                <a:lnTo>
                  <a:pt x="142" y="70"/>
                </a:lnTo>
                <a:lnTo>
                  <a:pt x="142" y="68"/>
                </a:lnTo>
                <a:lnTo>
                  <a:pt x="142" y="68"/>
                </a:lnTo>
                <a:lnTo>
                  <a:pt x="142" y="66"/>
                </a:lnTo>
                <a:lnTo>
                  <a:pt x="142" y="66"/>
                </a:lnTo>
                <a:lnTo>
                  <a:pt x="142" y="66"/>
                </a:lnTo>
                <a:lnTo>
                  <a:pt x="140" y="60"/>
                </a:lnTo>
                <a:lnTo>
                  <a:pt x="140" y="58"/>
                </a:lnTo>
                <a:lnTo>
                  <a:pt x="142" y="56"/>
                </a:lnTo>
                <a:lnTo>
                  <a:pt x="142" y="56"/>
                </a:lnTo>
                <a:lnTo>
                  <a:pt x="140" y="46"/>
                </a:lnTo>
                <a:lnTo>
                  <a:pt x="140" y="46"/>
                </a:lnTo>
                <a:lnTo>
                  <a:pt x="144" y="40"/>
                </a:lnTo>
                <a:lnTo>
                  <a:pt x="144" y="36"/>
                </a:lnTo>
                <a:lnTo>
                  <a:pt x="144" y="34"/>
                </a:lnTo>
                <a:lnTo>
                  <a:pt x="144" y="34"/>
                </a:lnTo>
                <a:lnTo>
                  <a:pt x="142" y="30"/>
                </a:lnTo>
                <a:lnTo>
                  <a:pt x="140" y="26"/>
                </a:lnTo>
                <a:lnTo>
                  <a:pt x="140" y="22"/>
                </a:lnTo>
                <a:lnTo>
                  <a:pt x="140" y="22"/>
                </a:lnTo>
                <a:lnTo>
                  <a:pt x="140" y="22"/>
                </a:lnTo>
                <a:lnTo>
                  <a:pt x="140" y="20"/>
                </a:lnTo>
                <a:lnTo>
                  <a:pt x="138" y="18"/>
                </a:lnTo>
                <a:lnTo>
                  <a:pt x="138" y="18"/>
                </a:lnTo>
                <a:lnTo>
                  <a:pt x="128" y="16"/>
                </a:lnTo>
                <a:lnTo>
                  <a:pt x="120" y="16"/>
                </a:lnTo>
                <a:lnTo>
                  <a:pt x="114" y="18"/>
                </a:lnTo>
                <a:lnTo>
                  <a:pt x="114" y="18"/>
                </a:lnTo>
                <a:lnTo>
                  <a:pt x="106" y="18"/>
                </a:lnTo>
                <a:lnTo>
                  <a:pt x="106" y="18"/>
                </a:lnTo>
                <a:lnTo>
                  <a:pt x="100" y="18"/>
                </a:lnTo>
                <a:lnTo>
                  <a:pt x="88" y="16"/>
                </a:lnTo>
                <a:lnTo>
                  <a:pt x="88" y="16"/>
                </a:lnTo>
                <a:lnTo>
                  <a:pt x="78" y="12"/>
                </a:lnTo>
                <a:lnTo>
                  <a:pt x="74" y="8"/>
                </a:lnTo>
                <a:lnTo>
                  <a:pt x="74" y="8"/>
                </a:lnTo>
                <a:lnTo>
                  <a:pt x="74" y="10"/>
                </a:lnTo>
                <a:lnTo>
                  <a:pt x="74"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6" name="Freeform 110">
            <a:extLst>
              <a:ext uri="{FF2B5EF4-FFF2-40B4-BE49-F238E27FC236}">
                <a16:creationId xmlns:a16="http://schemas.microsoft.com/office/drawing/2014/main" id="{9AD7FBBF-5A8C-4EBA-9720-CBD65EFDA014}"/>
              </a:ext>
            </a:extLst>
          </p:cNvPr>
          <p:cNvSpPr>
            <a:spLocks noEditPoints="1"/>
          </p:cNvSpPr>
          <p:nvPr userDrawn="1"/>
        </p:nvSpPr>
        <p:spPr bwMode="auto">
          <a:xfrm>
            <a:off x="8470314" y="3152124"/>
            <a:ext cx="211306" cy="380949"/>
          </a:xfrm>
          <a:custGeom>
            <a:avLst/>
            <a:gdLst>
              <a:gd name="T0" fmla="*/ 112 w 126"/>
              <a:gd name="T1" fmla="*/ 168 h 222"/>
              <a:gd name="T2" fmla="*/ 96 w 126"/>
              <a:gd name="T3" fmla="*/ 172 h 222"/>
              <a:gd name="T4" fmla="*/ 86 w 126"/>
              <a:gd name="T5" fmla="*/ 174 h 222"/>
              <a:gd name="T6" fmla="*/ 76 w 126"/>
              <a:gd name="T7" fmla="*/ 174 h 222"/>
              <a:gd name="T8" fmla="*/ 66 w 126"/>
              <a:gd name="T9" fmla="*/ 190 h 222"/>
              <a:gd name="T10" fmla="*/ 70 w 126"/>
              <a:gd name="T11" fmla="*/ 192 h 222"/>
              <a:gd name="T12" fmla="*/ 86 w 126"/>
              <a:gd name="T13" fmla="*/ 192 h 222"/>
              <a:gd name="T14" fmla="*/ 92 w 126"/>
              <a:gd name="T15" fmla="*/ 196 h 222"/>
              <a:gd name="T16" fmla="*/ 100 w 126"/>
              <a:gd name="T17" fmla="*/ 216 h 222"/>
              <a:gd name="T18" fmla="*/ 114 w 126"/>
              <a:gd name="T19" fmla="*/ 216 h 222"/>
              <a:gd name="T20" fmla="*/ 118 w 126"/>
              <a:gd name="T21" fmla="*/ 208 h 222"/>
              <a:gd name="T22" fmla="*/ 126 w 126"/>
              <a:gd name="T23" fmla="*/ 186 h 222"/>
              <a:gd name="T24" fmla="*/ 96 w 126"/>
              <a:gd name="T25" fmla="*/ 144 h 222"/>
              <a:gd name="T26" fmla="*/ 104 w 126"/>
              <a:gd name="T27" fmla="*/ 148 h 222"/>
              <a:gd name="T28" fmla="*/ 78 w 126"/>
              <a:gd name="T29" fmla="*/ 142 h 222"/>
              <a:gd name="T30" fmla="*/ 78 w 126"/>
              <a:gd name="T31" fmla="*/ 156 h 222"/>
              <a:gd name="T32" fmla="*/ 86 w 126"/>
              <a:gd name="T33" fmla="*/ 134 h 222"/>
              <a:gd name="T34" fmla="*/ 92 w 126"/>
              <a:gd name="T35" fmla="*/ 134 h 222"/>
              <a:gd name="T36" fmla="*/ 88 w 126"/>
              <a:gd name="T37" fmla="*/ 150 h 222"/>
              <a:gd name="T38" fmla="*/ 94 w 126"/>
              <a:gd name="T39" fmla="*/ 130 h 222"/>
              <a:gd name="T40" fmla="*/ 24 w 126"/>
              <a:gd name="T41" fmla="*/ 140 h 222"/>
              <a:gd name="T42" fmla="*/ 18 w 126"/>
              <a:gd name="T43" fmla="*/ 154 h 222"/>
              <a:gd name="T44" fmla="*/ 8 w 126"/>
              <a:gd name="T45" fmla="*/ 164 h 222"/>
              <a:gd name="T46" fmla="*/ 18 w 126"/>
              <a:gd name="T47" fmla="*/ 158 h 222"/>
              <a:gd name="T48" fmla="*/ 30 w 126"/>
              <a:gd name="T49" fmla="*/ 146 h 222"/>
              <a:gd name="T50" fmla="*/ 34 w 126"/>
              <a:gd name="T51" fmla="*/ 126 h 222"/>
              <a:gd name="T52" fmla="*/ 106 w 126"/>
              <a:gd name="T53" fmla="*/ 130 h 222"/>
              <a:gd name="T54" fmla="*/ 106 w 126"/>
              <a:gd name="T55" fmla="*/ 138 h 222"/>
              <a:gd name="T56" fmla="*/ 114 w 126"/>
              <a:gd name="T57" fmla="*/ 146 h 222"/>
              <a:gd name="T58" fmla="*/ 110 w 126"/>
              <a:gd name="T59" fmla="*/ 130 h 222"/>
              <a:gd name="T60" fmla="*/ 66 w 126"/>
              <a:gd name="T61" fmla="*/ 120 h 222"/>
              <a:gd name="T62" fmla="*/ 76 w 126"/>
              <a:gd name="T63" fmla="*/ 130 h 222"/>
              <a:gd name="T64" fmla="*/ 82 w 126"/>
              <a:gd name="T65" fmla="*/ 110 h 222"/>
              <a:gd name="T66" fmla="*/ 90 w 126"/>
              <a:gd name="T67" fmla="*/ 118 h 222"/>
              <a:gd name="T68" fmla="*/ 98 w 126"/>
              <a:gd name="T69" fmla="*/ 106 h 222"/>
              <a:gd name="T70" fmla="*/ 106 w 126"/>
              <a:gd name="T71" fmla="*/ 122 h 222"/>
              <a:gd name="T72" fmla="*/ 112 w 126"/>
              <a:gd name="T73" fmla="*/ 120 h 222"/>
              <a:gd name="T74" fmla="*/ 108 w 126"/>
              <a:gd name="T75" fmla="*/ 102 h 222"/>
              <a:gd name="T76" fmla="*/ 42 w 126"/>
              <a:gd name="T77" fmla="*/ 90 h 222"/>
              <a:gd name="T78" fmla="*/ 56 w 126"/>
              <a:gd name="T79" fmla="*/ 102 h 222"/>
              <a:gd name="T80" fmla="*/ 50 w 126"/>
              <a:gd name="T81" fmla="*/ 88 h 222"/>
              <a:gd name="T82" fmla="*/ 48 w 126"/>
              <a:gd name="T83" fmla="*/ 12 h 222"/>
              <a:gd name="T84" fmla="*/ 44 w 126"/>
              <a:gd name="T85" fmla="*/ 34 h 222"/>
              <a:gd name="T86" fmla="*/ 38 w 126"/>
              <a:gd name="T87" fmla="*/ 42 h 222"/>
              <a:gd name="T88" fmla="*/ 36 w 126"/>
              <a:gd name="T89" fmla="*/ 50 h 222"/>
              <a:gd name="T90" fmla="*/ 48 w 126"/>
              <a:gd name="T91" fmla="*/ 64 h 222"/>
              <a:gd name="T92" fmla="*/ 58 w 126"/>
              <a:gd name="T93" fmla="*/ 86 h 222"/>
              <a:gd name="T94" fmla="*/ 72 w 126"/>
              <a:gd name="T95" fmla="*/ 84 h 222"/>
              <a:gd name="T96" fmla="*/ 78 w 126"/>
              <a:gd name="T97" fmla="*/ 82 h 222"/>
              <a:gd name="T98" fmla="*/ 88 w 126"/>
              <a:gd name="T99" fmla="*/ 96 h 222"/>
              <a:gd name="T100" fmla="*/ 88 w 126"/>
              <a:gd name="T101" fmla="*/ 86 h 222"/>
              <a:gd name="T102" fmla="*/ 80 w 126"/>
              <a:gd name="T103" fmla="*/ 78 h 222"/>
              <a:gd name="T104" fmla="*/ 76 w 126"/>
              <a:gd name="T105" fmla="*/ 74 h 222"/>
              <a:gd name="T106" fmla="*/ 58 w 126"/>
              <a:gd name="T107" fmla="*/ 66 h 222"/>
              <a:gd name="T108" fmla="*/ 64 w 126"/>
              <a:gd name="T109" fmla="*/ 46 h 222"/>
              <a:gd name="T110" fmla="*/ 74 w 126"/>
              <a:gd name="T111" fmla="*/ 30 h 222"/>
              <a:gd name="T112" fmla="*/ 70 w 126"/>
              <a:gd name="T113" fmla="*/ 0 h 222"/>
              <a:gd name="T114" fmla="*/ 54 w 126"/>
              <a:gd name="T115"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 h="222">
                <a:moveTo>
                  <a:pt x="114" y="158"/>
                </a:moveTo>
                <a:lnTo>
                  <a:pt x="114" y="158"/>
                </a:lnTo>
                <a:lnTo>
                  <a:pt x="112" y="158"/>
                </a:lnTo>
                <a:lnTo>
                  <a:pt x="112" y="158"/>
                </a:lnTo>
                <a:lnTo>
                  <a:pt x="112" y="158"/>
                </a:lnTo>
                <a:lnTo>
                  <a:pt x="112" y="164"/>
                </a:lnTo>
                <a:lnTo>
                  <a:pt x="112" y="168"/>
                </a:lnTo>
                <a:lnTo>
                  <a:pt x="112" y="168"/>
                </a:lnTo>
                <a:lnTo>
                  <a:pt x="108" y="168"/>
                </a:lnTo>
                <a:lnTo>
                  <a:pt x="106" y="166"/>
                </a:lnTo>
                <a:lnTo>
                  <a:pt x="106" y="166"/>
                </a:lnTo>
                <a:lnTo>
                  <a:pt x="104" y="168"/>
                </a:lnTo>
                <a:lnTo>
                  <a:pt x="104" y="168"/>
                </a:lnTo>
                <a:lnTo>
                  <a:pt x="102" y="174"/>
                </a:lnTo>
                <a:lnTo>
                  <a:pt x="102" y="174"/>
                </a:lnTo>
                <a:lnTo>
                  <a:pt x="96" y="172"/>
                </a:lnTo>
                <a:lnTo>
                  <a:pt x="96" y="172"/>
                </a:lnTo>
                <a:lnTo>
                  <a:pt x="94" y="174"/>
                </a:lnTo>
                <a:lnTo>
                  <a:pt x="94" y="176"/>
                </a:lnTo>
                <a:lnTo>
                  <a:pt x="94" y="176"/>
                </a:lnTo>
                <a:lnTo>
                  <a:pt x="86" y="178"/>
                </a:lnTo>
                <a:lnTo>
                  <a:pt x="86" y="178"/>
                </a:lnTo>
                <a:lnTo>
                  <a:pt x="86" y="176"/>
                </a:lnTo>
                <a:lnTo>
                  <a:pt x="86" y="174"/>
                </a:lnTo>
                <a:lnTo>
                  <a:pt x="86" y="174"/>
                </a:lnTo>
                <a:lnTo>
                  <a:pt x="86" y="172"/>
                </a:lnTo>
                <a:lnTo>
                  <a:pt x="86" y="172"/>
                </a:lnTo>
                <a:lnTo>
                  <a:pt x="84" y="170"/>
                </a:lnTo>
                <a:lnTo>
                  <a:pt x="84" y="172"/>
                </a:lnTo>
                <a:lnTo>
                  <a:pt x="80" y="172"/>
                </a:lnTo>
                <a:lnTo>
                  <a:pt x="80" y="172"/>
                </a:lnTo>
                <a:lnTo>
                  <a:pt x="76" y="174"/>
                </a:lnTo>
                <a:lnTo>
                  <a:pt x="76" y="174"/>
                </a:lnTo>
                <a:lnTo>
                  <a:pt x="76" y="178"/>
                </a:lnTo>
                <a:lnTo>
                  <a:pt x="76" y="178"/>
                </a:lnTo>
                <a:lnTo>
                  <a:pt x="66" y="180"/>
                </a:lnTo>
                <a:lnTo>
                  <a:pt x="66" y="180"/>
                </a:lnTo>
                <a:lnTo>
                  <a:pt x="66" y="186"/>
                </a:lnTo>
                <a:lnTo>
                  <a:pt x="66" y="190"/>
                </a:lnTo>
                <a:lnTo>
                  <a:pt x="66" y="190"/>
                </a:lnTo>
                <a:lnTo>
                  <a:pt x="62" y="194"/>
                </a:lnTo>
                <a:lnTo>
                  <a:pt x="62" y="194"/>
                </a:lnTo>
                <a:lnTo>
                  <a:pt x="64" y="194"/>
                </a:lnTo>
                <a:lnTo>
                  <a:pt x="64" y="196"/>
                </a:lnTo>
                <a:lnTo>
                  <a:pt x="64" y="196"/>
                </a:lnTo>
                <a:lnTo>
                  <a:pt x="68" y="196"/>
                </a:lnTo>
                <a:lnTo>
                  <a:pt x="68" y="196"/>
                </a:lnTo>
                <a:lnTo>
                  <a:pt x="70" y="192"/>
                </a:lnTo>
                <a:lnTo>
                  <a:pt x="70" y="192"/>
                </a:lnTo>
                <a:lnTo>
                  <a:pt x="74" y="188"/>
                </a:lnTo>
                <a:lnTo>
                  <a:pt x="74" y="188"/>
                </a:lnTo>
                <a:lnTo>
                  <a:pt x="74" y="188"/>
                </a:lnTo>
                <a:lnTo>
                  <a:pt x="76" y="192"/>
                </a:lnTo>
                <a:lnTo>
                  <a:pt x="76" y="192"/>
                </a:lnTo>
                <a:lnTo>
                  <a:pt x="86" y="192"/>
                </a:lnTo>
                <a:lnTo>
                  <a:pt x="86" y="192"/>
                </a:lnTo>
                <a:lnTo>
                  <a:pt x="86" y="190"/>
                </a:lnTo>
                <a:lnTo>
                  <a:pt x="88" y="190"/>
                </a:lnTo>
                <a:lnTo>
                  <a:pt x="88" y="190"/>
                </a:lnTo>
                <a:lnTo>
                  <a:pt x="92" y="192"/>
                </a:lnTo>
                <a:lnTo>
                  <a:pt x="92" y="192"/>
                </a:lnTo>
                <a:lnTo>
                  <a:pt x="94" y="194"/>
                </a:lnTo>
                <a:lnTo>
                  <a:pt x="94" y="196"/>
                </a:lnTo>
                <a:lnTo>
                  <a:pt x="92" y="196"/>
                </a:lnTo>
                <a:lnTo>
                  <a:pt x="92" y="196"/>
                </a:lnTo>
                <a:lnTo>
                  <a:pt x="90" y="202"/>
                </a:lnTo>
                <a:lnTo>
                  <a:pt x="90" y="206"/>
                </a:lnTo>
                <a:lnTo>
                  <a:pt x="90" y="210"/>
                </a:lnTo>
                <a:lnTo>
                  <a:pt x="90" y="210"/>
                </a:lnTo>
                <a:lnTo>
                  <a:pt x="96" y="212"/>
                </a:lnTo>
                <a:lnTo>
                  <a:pt x="96" y="212"/>
                </a:lnTo>
                <a:lnTo>
                  <a:pt x="100" y="216"/>
                </a:lnTo>
                <a:lnTo>
                  <a:pt x="108" y="216"/>
                </a:lnTo>
                <a:lnTo>
                  <a:pt x="108" y="216"/>
                </a:lnTo>
                <a:lnTo>
                  <a:pt x="108" y="218"/>
                </a:lnTo>
                <a:lnTo>
                  <a:pt x="108" y="222"/>
                </a:lnTo>
                <a:lnTo>
                  <a:pt x="108" y="222"/>
                </a:lnTo>
                <a:lnTo>
                  <a:pt x="112" y="220"/>
                </a:lnTo>
                <a:lnTo>
                  <a:pt x="112" y="220"/>
                </a:lnTo>
                <a:lnTo>
                  <a:pt x="114" y="216"/>
                </a:lnTo>
                <a:lnTo>
                  <a:pt x="114" y="212"/>
                </a:lnTo>
                <a:lnTo>
                  <a:pt x="112" y="204"/>
                </a:lnTo>
                <a:lnTo>
                  <a:pt x="112" y="204"/>
                </a:lnTo>
                <a:lnTo>
                  <a:pt x="114" y="204"/>
                </a:lnTo>
                <a:lnTo>
                  <a:pt x="116" y="204"/>
                </a:lnTo>
                <a:lnTo>
                  <a:pt x="116" y="208"/>
                </a:lnTo>
                <a:lnTo>
                  <a:pt x="118" y="208"/>
                </a:lnTo>
                <a:lnTo>
                  <a:pt x="118" y="208"/>
                </a:lnTo>
                <a:lnTo>
                  <a:pt x="116" y="196"/>
                </a:lnTo>
                <a:lnTo>
                  <a:pt x="116" y="196"/>
                </a:lnTo>
                <a:lnTo>
                  <a:pt x="120" y="192"/>
                </a:lnTo>
                <a:lnTo>
                  <a:pt x="120" y="192"/>
                </a:lnTo>
                <a:lnTo>
                  <a:pt x="122" y="188"/>
                </a:lnTo>
                <a:lnTo>
                  <a:pt x="124" y="186"/>
                </a:lnTo>
                <a:lnTo>
                  <a:pt x="126" y="186"/>
                </a:lnTo>
                <a:lnTo>
                  <a:pt x="126" y="186"/>
                </a:lnTo>
                <a:lnTo>
                  <a:pt x="126" y="180"/>
                </a:lnTo>
                <a:lnTo>
                  <a:pt x="124" y="174"/>
                </a:lnTo>
                <a:lnTo>
                  <a:pt x="124" y="174"/>
                </a:lnTo>
                <a:lnTo>
                  <a:pt x="120" y="158"/>
                </a:lnTo>
                <a:lnTo>
                  <a:pt x="120" y="158"/>
                </a:lnTo>
                <a:lnTo>
                  <a:pt x="114" y="158"/>
                </a:lnTo>
                <a:lnTo>
                  <a:pt x="114" y="158"/>
                </a:lnTo>
                <a:close/>
                <a:moveTo>
                  <a:pt x="96" y="144"/>
                </a:moveTo>
                <a:lnTo>
                  <a:pt x="96" y="144"/>
                </a:lnTo>
                <a:lnTo>
                  <a:pt x="92" y="148"/>
                </a:lnTo>
                <a:lnTo>
                  <a:pt x="92" y="148"/>
                </a:lnTo>
                <a:lnTo>
                  <a:pt x="92" y="150"/>
                </a:lnTo>
                <a:lnTo>
                  <a:pt x="92" y="150"/>
                </a:lnTo>
                <a:lnTo>
                  <a:pt x="98" y="152"/>
                </a:lnTo>
                <a:lnTo>
                  <a:pt x="102" y="152"/>
                </a:lnTo>
                <a:lnTo>
                  <a:pt x="104" y="148"/>
                </a:lnTo>
                <a:lnTo>
                  <a:pt x="104" y="148"/>
                </a:lnTo>
                <a:lnTo>
                  <a:pt x="100" y="144"/>
                </a:lnTo>
                <a:lnTo>
                  <a:pt x="100" y="144"/>
                </a:lnTo>
                <a:lnTo>
                  <a:pt x="96" y="144"/>
                </a:lnTo>
                <a:lnTo>
                  <a:pt x="96" y="144"/>
                </a:lnTo>
                <a:close/>
                <a:moveTo>
                  <a:pt x="80" y="132"/>
                </a:moveTo>
                <a:lnTo>
                  <a:pt x="80" y="132"/>
                </a:lnTo>
                <a:lnTo>
                  <a:pt x="78" y="142"/>
                </a:lnTo>
                <a:lnTo>
                  <a:pt x="78" y="142"/>
                </a:lnTo>
                <a:lnTo>
                  <a:pt x="70" y="144"/>
                </a:lnTo>
                <a:lnTo>
                  <a:pt x="68" y="148"/>
                </a:lnTo>
                <a:lnTo>
                  <a:pt x="70" y="152"/>
                </a:lnTo>
                <a:lnTo>
                  <a:pt x="70" y="152"/>
                </a:lnTo>
                <a:lnTo>
                  <a:pt x="74" y="154"/>
                </a:lnTo>
                <a:lnTo>
                  <a:pt x="78" y="156"/>
                </a:lnTo>
                <a:lnTo>
                  <a:pt x="78" y="156"/>
                </a:lnTo>
                <a:lnTo>
                  <a:pt x="82" y="160"/>
                </a:lnTo>
                <a:lnTo>
                  <a:pt x="82" y="160"/>
                </a:lnTo>
                <a:lnTo>
                  <a:pt x="82" y="154"/>
                </a:lnTo>
                <a:lnTo>
                  <a:pt x="82" y="146"/>
                </a:lnTo>
                <a:lnTo>
                  <a:pt x="82" y="146"/>
                </a:lnTo>
                <a:lnTo>
                  <a:pt x="86" y="138"/>
                </a:lnTo>
                <a:lnTo>
                  <a:pt x="86" y="138"/>
                </a:lnTo>
                <a:lnTo>
                  <a:pt x="86" y="134"/>
                </a:lnTo>
                <a:lnTo>
                  <a:pt x="86" y="134"/>
                </a:lnTo>
                <a:lnTo>
                  <a:pt x="84" y="132"/>
                </a:lnTo>
                <a:lnTo>
                  <a:pt x="84" y="132"/>
                </a:lnTo>
                <a:lnTo>
                  <a:pt x="80" y="132"/>
                </a:lnTo>
                <a:lnTo>
                  <a:pt x="80" y="132"/>
                </a:lnTo>
                <a:close/>
                <a:moveTo>
                  <a:pt x="92" y="128"/>
                </a:moveTo>
                <a:lnTo>
                  <a:pt x="92" y="128"/>
                </a:lnTo>
                <a:lnTo>
                  <a:pt x="92" y="134"/>
                </a:lnTo>
                <a:lnTo>
                  <a:pt x="92" y="134"/>
                </a:lnTo>
                <a:lnTo>
                  <a:pt x="86" y="142"/>
                </a:lnTo>
                <a:lnTo>
                  <a:pt x="84" y="148"/>
                </a:lnTo>
                <a:lnTo>
                  <a:pt x="84" y="150"/>
                </a:lnTo>
                <a:lnTo>
                  <a:pt x="86" y="152"/>
                </a:lnTo>
                <a:lnTo>
                  <a:pt x="86" y="152"/>
                </a:lnTo>
                <a:lnTo>
                  <a:pt x="88" y="150"/>
                </a:lnTo>
                <a:lnTo>
                  <a:pt x="88" y="150"/>
                </a:lnTo>
                <a:lnTo>
                  <a:pt x="88" y="146"/>
                </a:lnTo>
                <a:lnTo>
                  <a:pt x="88" y="144"/>
                </a:lnTo>
                <a:lnTo>
                  <a:pt x="88" y="144"/>
                </a:lnTo>
                <a:lnTo>
                  <a:pt x="92" y="142"/>
                </a:lnTo>
                <a:lnTo>
                  <a:pt x="92" y="142"/>
                </a:lnTo>
                <a:lnTo>
                  <a:pt x="94" y="140"/>
                </a:lnTo>
                <a:lnTo>
                  <a:pt x="94" y="138"/>
                </a:lnTo>
                <a:lnTo>
                  <a:pt x="94" y="130"/>
                </a:lnTo>
                <a:lnTo>
                  <a:pt x="92" y="128"/>
                </a:lnTo>
                <a:close/>
                <a:moveTo>
                  <a:pt x="30" y="126"/>
                </a:moveTo>
                <a:lnTo>
                  <a:pt x="30" y="126"/>
                </a:lnTo>
                <a:lnTo>
                  <a:pt x="30" y="132"/>
                </a:lnTo>
                <a:lnTo>
                  <a:pt x="30" y="132"/>
                </a:lnTo>
                <a:lnTo>
                  <a:pt x="24" y="138"/>
                </a:lnTo>
                <a:lnTo>
                  <a:pt x="24" y="138"/>
                </a:lnTo>
                <a:lnTo>
                  <a:pt x="24" y="140"/>
                </a:lnTo>
                <a:lnTo>
                  <a:pt x="24" y="142"/>
                </a:lnTo>
                <a:lnTo>
                  <a:pt x="24" y="142"/>
                </a:lnTo>
                <a:lnTo>
                  <a:pt x="22" y="144"/>
                </a:lnTo>
                <a:lnTo>
                  <a:pt x="20" y="146"/>
                </a:lnTo>
                <a:lnTo>
                  <a:pt x="20" y="146"/>
                </a:lnTo>
                <a:lnTo>
                  <a:pt x="20" y="150"/>
                </a:lnTo>
                <a:lnTo>
                  <a:pt x="18" y="154"/>
                </a:lnTo>
                <a:lnTo>
                  <a:pt x="18" y="154"/>
                </a:lnTo>
                <a:lnTo>
                  <a:pt x="14" y="156"/>
                </a:lnTo>
                <a:lnTo>
                  <a:pt x="14" y="156"/>
                </a:lnTo>
                <a:lnTo>
                  <a:pt x="14" y="160"/>
                </a:lnTo>
                <a:lnTo>
                  <a:pt x="14" y="160"/>
                </a:lnTo>
                <a:lnTo>
                  <a:pt x="8" y="160"/>
                </a:lnTo>
                <a:lnTo>
                  <a:pt x="8" y="160"/>
                </a:lnTo>
                <a:lnTo>
                  <a:pt x="8" y="164"/>
                </a:lnTo>
                <a:lnTo>
                  <a:pt x="8" y="164"/>
                </a:lnTo>
                <a:lnTo>
                  <a:pt x="4" y="164"/>
                </a:lnTo>
                <a:lnTo>
                  <a:pt x="4" y="164"/>
                </a:lnTo>
                <a:lnTo>
                  <a:pt x="0" y="174"/>
                </a:lnTo>
                <a:lnTo>
                  <a:pt x="0" y="174"/>
                </a:lnTo>
                <a:lnTo>
                  <a:pt x="10" y="168"/>
                </a:lnTo>
                <a:lnTo>
                  <a:pt x="18" y="162"/>
                </a:lnTo>
                <a:lnTo>
                  <a:pt x="18" y="162"/>
                </a:lnTo>
                <a:lnTo>
                  <a:pt x="18" y="158"/>
                </a:lnTo>
                <a:lnTo>
                  <a:pt x="18" y="158"/>
                </a:lnTo>
                <a:lnTo>
                  <a:pt x="22" y="152"/>
                </a:lnTo>
                <a:lnTo>
                  <a:pt x="24" y="152"/>
                </a:lnTo>
                <a:lnTo>
                  <a:pt x="24" y="152"/>
                </a:lnTo>
                <a:lnTo>
                  <a:pt x="24" y="150"/>
                </a:lnTo>
                <a:lnTo>
                  <a:pt x="24" y="150"/>
                </a:lnTo>
                <a:lnTo>
                  <a:pt x="26" y="148"/>
                </a:lnTo>
                <a:lnTo>
                  <a:pt x="30" y="146"/>
                </a:lnTo>
                <a:lnTo>
                  <a:pt x="30" y="146"/>
                </a:lnTo>
                <a:lnTo>
                  <a:pt x="30" y="142"/>
                </a:lnTo>
                <a:lnTo>
                  <a:pt x="30" y="142"/>
                </a:lnTo>
                <a:lnTo>
                  <a:pt x="34" y="140"/>
                </a:lnTo>
                <a:lnTo>
                  <a:pt x="34" y="140"/>
                </a:lnTo>
                <a:lnTo>
                  <a:pt x="34" y="128"/>
                </a:lnTo>
                <a:lnTo>
                  <a:pt x="34" y="128"/>
                </a:lnTo>
                <a:lnTo>
                  <a:pt x="34" y="126"/>
                </a:lnTo>
                <a:lnTo>
                  <a:pt x="30" y="126"/>
                </a:lnTo>
                <a:close/>
                <a:moveTo>
                  <a:pt x="100" y="124"/>
                </a:moveTo>
                <a:lnTo>
                  <a:pt x="100" y="124"/>
                </a:lnTo>
                <a:lnTo>
                  <a:pt x="100" y="128"/>
                </a:lnTo>
                <a:lnTo>
                  <a:pt x="100" y="128"/>
                </a:lnTo>
                <a:lnTo>
                  <a:pt x="106" y="128"/>
                </a:lnTo>
                <a:lnTo>
                  <a:pt x="106" y="130"/>
                </a:lnTo>
                <a:lnTo>
                  <a:pt x="106" y="130"/>
                </a:lnTo>
                <a:lnTo>
                  <a:pt x="106" y="130"/>
                </a:lnTo>
                <a:lnTo>
                  <a:pt x="106" y="130"/>
                </a:lnTo>
                <a:lnTo>
                  <a:pt x="106" y="132"/>
                </a:lnTo>
                <a:lnTo>
                  <a:pt x="106" y="132"/>
                </a:lnTo>
                <a:lnTo>
                  <a:pt x="104" y="132"/>
                </a:lnTo>
                <a:lnTo>
                  <a:pt x="104" y="134"/>
                </a:lnTo>
                <a:lnTo>
                  <a:pt x="106" y="136"/>
                </a:lnTo>
                <a:lnTo>
                  <a:pt x="106" y="138"/>
                </a:lnTo>
                <a:lnTo>
                  <a:pt x="106" y="138"/>
                </a:lnTo>
                <a:lnTo>
                  <a:pt x="108" y="140"/>
                </a:lnTo>
                <a:lnTo>
                  <a:pt x="108" y="140"/>
                </a:lnTo>
                <a:lnTo>
                  <a:pt x="108" y="142"/>
                </a:lnTo>
                <a:lnTo>
                  <a:pt x="110" y="144"/>
                </a:lnTo>
                <a:lnTo>
                  <a:pt x="110" y="144"/>
                </a:lnTo>
                <a:lnTo>
                  <a:pt x="114" y="146"/>
                </a:lnTo>
                <a:lnTo>
                  <a:pt x="114" y="146"/>
                </a:lnTo>
                <a:lnTo>
                  <a:pt x="112" y="142"/>
                </a:lnTo>
                <a:lnTo>
                  <a:pt x="112" y="142"/>
                </a:lnTo>
                <a:lnTo>
                  <a:pt x="112" y="140"/>
                </a:lnTo>
                <a:lnTo>
                  <a:pt x="112" y="136"/>
                </a:lnTo>
                <a:lnTo>
                  <a:pt x="112" y="136"/>
                </a:lnTo>
                <a:lnTo>
                  <a:pt x="110" y="132"/>
                </a:lnTo>
                <a:lnTo>
                  <a:pt x="110" y="132"/>
                </a:lnTo>
                <a:lnTo>
                  <a:pt x="110" y="130"/>
                </a:lnTo>
                <a:lnTo>
                  <a:pt x="112" y="128"/>
                </a:lnTo>
                <a:lnTo>
                  <a:pt x="112" y="128"/>
                </a:lnTo>
                <a:lnTo>
                  <a:pt x="110" y="126"/>
                </a:lnTo>
                <a:lnTo>
                  <a:pt x="110" y="126"/>
                </a:lnTo>
                <a:lnTo>
                  <a:pt x="106" y="124"/>
                </a:lnTo>
                <a:lnTo>
                  <a:pt x="100" y="124"/>
                </a:lnTo>
                <a:lnTo>
                  <a:pt x="100" y="124"/>
                </a:lnTo>
                <a:close/>
                <a:moveTo>
                  <a:pt x="66" y="120"/>
                </a:moveTo>
                <a:lnTo>
                  <a:pt x="66" y="120"/>
                </a:lnTo>
                <a:lnTo>
                  <a:pt x="62" y="140"/>
                </a:lnTo>
                <a:lnTo>
                  <a:pt x="62" y="140"/>
                </a:lnTo>
                <a:lnTo>
                  <a:pt x="72" y="134"/>
                </a:lnTo>
                <a:lnTo>
                  <a:pt x="72" y="134"/>
                </a:lnTo>
                <a:lnTo>
                  <a:pt x="76" y="134"/>
                </a:lnTo>
                <a:lnTo>
                  <a:pt x="76" y="134"/>
                </a:lnTo>
                <a:lnTo>
                  <a:pt x="76" y="130"/>
                </a:lnTo>
                <a:lnTo>
                  <a:pt x="76" y="130"/>
                </a:lnTo>
                <a:lnTo>
                  <a:pt x="78" y="130"/>
                </a:lnTo>
                <a:lnTo>
                  <a:pt x="78" y="130"/>
                </a:lnTo>
                <a:lnTo>
                  <a:pt x="78" y="124"/>
                </a:lnTo>
                <a:lnTo>
                  <a:pt x="78" y="124"/>
                </a:lnTo>
                <a:lnTo>
                  <a:pt x="66" y="120"/>
                </a:lnTo>
                <a:lnTo>
                  <a:pt x="66" y="120"/>
                </a:lnTo>
                <a:close/>
                <a:moveTo>
                  <a:pt x="82" y="110"/>
                </a:moveTo>
                <a:lnTo>
                  <a:pt x="82" y="112"/>
                </a:lnTo>
                <a:lnTo>
                  <a:pt x="82" y="112"/>
                </a:lnTo>
                <a:lnTo>
                  <a:pt x="82" y="112"/>
                </a:lnTo>
                <a:lnTo>
                  <a:pt x="82" y="114"/>
                </a:lnTo>
                <a:lnTo>
                  <a:pt x="82" y="116"/>
                </a:lnTo>
                <a:lnTo>
                  <a:pt x="82" y="116"/>
                </a:lnTo>
                <a:lnTo>
                  <a:pt x="90" y="118"/>
                </a:lnTo>
                <a:lnTo>
                  <a:pt x="90" y="118"/>
                </a:lnTo>
                <a:lnTo>
                  <a:pt x="94" y="118"/>
                </a:lnTo>
                <a:lnTo>
                  <a:pt x="94" y="118"/>
                </a:lnTo>
                <a:lnTo>
                  <a:pt x="92" y="114"/>
                </a:lnTo>
                <a:lnTo>
                  <a:pt x="82" y="110"/>
                </a:lnTo>
                <a:lnTo>
                  <a:pt x="82" y="110"/>
                </a:lnTo>
                <a:close/>
                <a:moveTo>
                  <a:pt x="102" y="102"/>
                </a:moveTo>
                <a:lnTo>
                  <a:pt x="102" y="102"/>
                </a:lnTo>
                <a:lnTo>
                  <a:pt x="98" y="106"/>
                </a:lnTo>
                <a:lnTo>
                  <a:pt x="98" y="106"/>
                </a:lnTo>
                <a:lnTo>
                  <a:pt x="98" y="110"/>
                </a:lnTo>
                <a:lnTo>
                  <a:pt x="98" y="110"/>
                </a:lnTo>
                <a:lnTo>
                  <a:pt x="102" y="114"/>
                </a:lnTo>
                <a:lnTo>
                  <a:pt x="106" y="118"/>
                </a:lnTo>
                <a:lnTo>
                  <a:pt x="106" y="118"/>
                </a:lnTo>
                <a:lnTo>
                  <a:pt x="106" y="120"/>
                </a:lnTo>
                <a:lnTo>
                  <a:pt x="106" y="122"/>
                </a:lnTo>
                <a:lnTo>
                  <a:pt x="106" y="122"/>
                </a:lnTo>
                <a:lnTo>
                  <a:pt x="110" y="124"/>
                </a:lnTo>
                <a:lnTo>
                  <a:pt x="112" y="124"/>
                </a:lnTo>
                <a:lnTo>
                  <a:pt x="114" y="124"/>
                </a:lnTo>
                <a:lnTo>
                  <a:pt x="114" y="124"/>
                </a:lnTo>
                <a:lnTo>
                  <a:pt x="116" y="128"/>
                </a:lnTo>
                <a:lnTo>
                  <a:pt x="116" y="128"/>
                </a:lnTo>
                <a:lnTo>
                  <a:pt x="112" y="120"/>
                </a:lnTo>
                <a:lnTo>
                  <a:pt x="112" y="120"/>
                </a:lnTo>
                <a:lnTo>
                  <a:pt x="110" y="118"/>
                </a:lnTo>
                <a:lnTo>
                  <a:pt x="110" y="118"/>
                </a:lnTo>
                <a:lnTo>
                  <a:pt x="110" y="112"/>
                </a:lnTo>
                <a:lnTo>
                  <a:pt x="112" y="106"/>
                </a:lnTo>
                <a:lnTo>
                  <a:pt x="110" y="106"/>
                </a:lnTo>
                <a:lnTo>
                  <a:pt x="110" y="106"/>
                </a:lnTo>
                <a:lnTo>
                  <a:pt x="108" y="102"/>
                </a:lnTo>
                <a:lnTo>
                  <a:pt x="108" y="102"/>
                </a:lnTo>
                <a:lnTo>
                  <a:pt x="102" y="102"/>
                </a:lnTo>
                <a:lnTo>
                  <a:pt x="102" y="102"/>
                </a:lnTo>
                <a:close/>
                <a:moveTo>
                  <a:pt x="46" y="88"/>
                </a:moveTo>
                <a:lnTo>
                  <a:pt x="46" y="88"/>
                </a:lnTo>
                <a:lnTo>
                  <a:pt x="44" y="88"/>
                </a:lnTo>
                <a:lnTo>
                  <a:pt x="44" y="88"/>
                </a:lnTo>
                <a:lnTo>
                  <a:pt x="42" y="90"/>
                </a:lnTo>
                <a:lnTo>
                  <a:pt x="44" y="90"/>
                </a:lnTo>
                <a:lnTo>
                  <a:pt x="48" y="92"/>
                </a:lnTo>
                <a:lnTo>
                  <a:pt x="48" y="92"/>
                </a:lnTo>
                <a:lnTo>
                  <a:pt x="50" y="96"/>
                </a:lnTo>
                <a:lnTo>
                  <a:pt x="52" y="100"/>
                </a:lnTo>
                <a:lnTo>
                  <a:pt x="52" y="100"/>
                </a:lnTo>
                <a:lnTo>
                  <a:pt x="56" y="102"/>
                </a:lnTo>
                <a:lnTo>
                  <a:pt x="56" y="102"/>
                </a:lnTo>
                <a:lnTo>
                  <a:pt x="56" y="106"/>
                </a:lnTo>
                <a:lnTo>
                  <a:pt x="58" y="110"/>
                </a:lnTo>
                <a:lnTo>
                  <a:pt x="58" y="110"/>
                </a:lnTo>
                <a:lnTo>
                  <a:pt x="60" y="106"/>
                </a:lnTo>
                <a:lnTo>
                  <a:pt x="60" y="104"/>
                </a:lnTo>
                <a:lnTo>
                  <a:pt x="58" y="96"/>
                </a:lnTo>
                <a:lnTo>
                  <a:pt x="54" y="90"/>
                </a:lnTo>
                <a:lnTo>
                  <a:pt x="50" y="88"/>
                </a:lnTo>
                <a:lnTo>
                  <a:pt x="46" y="88"/>
                </a:lnTo>
                <a:lnTo>
                  <a:pt x="46" y="88"/>
                </a:lnTo>
                <a:close/>
                <a:moveTo>
                  <a:pt x="50" y="0"/>
                </a:moveTo>
                <a:lnTo>
                  <a:pt x="50" y="0"/>
                </a:lnTo>
                <a:lnTo>
                  <a:pt x="48" y="8"/>
                </a:lnTo>
                <a:lnTo>
                  <a:pt x="48" y="8"/>
                </a:lnTo>
                <a:lnTo>
                  <a:pt x="48" y="12"/>
                </a:lnTo>
                <a:lnTo>
                  <a:pt x="48" y="12"/>
                </a:lnTo>
                <a:lnTo>
                  <a:pt x="44" y="20"/>
                </a:lnTo>
                <a:lnTo>
                  <a:pt x="44" y="20"/>
                </a:lnTo>
                <a:lnTo>
                  <a:pt x="44" y="24"/>
                </a:lnTo>
                <a:lnTo>
                  <a:pt x="46" y="26"/>
                </a:lnTo>
                <a:lnTo>
                  <a:pt x="46" y="28"/>
                </a:lnTo>
                <a:lnTo>
                  <a:pt x="46" y="32"/>
                </a:lnTo>
                <a:lnTo>
                  <a:pt x="46" y="32"/>
                </a:lnTo>
                <a:lnTo>
                  <a:pt x="44" y="34"/>
                </a:lnTo>
                <a:lnTo>
                  <a:pt x="44" y="34"/>
                </a:lnTo>
                <a:lnTo>
                  <a:pt x="44" y="38"/>
                </a:lnTo>
                <a:lnTo>
                  <a:pt x="44" y="44"/>
                </a:lnTo>
                <a:lnTo>
                  <a:pt x="44" y="44"/>
                </a:lnTo>
                <a:lnTo>
                  <a:pt x="42" y="44"/>
                </a:lnTo>
                <a:lnTo>
                  <a:pt x="40" y="46"/>
                </a:lnTo>
                <a:lnTo>
                  <a:pt x="40" y="46"/>
                </a:lnTo>
                <a:lnTo>
                  <a:pt x="38" y="42"/>
                </a:lnTo>
                <a:lnTo>
                  <a:pt x="38" y="42"/>
                </a:lnTo>
                <a:lnTo>
                  <a:pt x="36" y="42"/>
                </a:lnTo>
                <a:lnTo>
                  <a:pt x="36" y="42"/>
                </a:lnTo>
                <a:lnTo>
                  <a:pt x="36" y="44"/>
                </a:lnTo>
                <a:lnTo>
                  <a:pt x="36" y="44"/>
                </a:lnTo>
                <a:lnTo>
                  <a:pt x="36" y="44"/>
                </a:lnTo>
                <a:lnTo>
                  <a:pt x="36" y="50"/>
                </a:lnTo>
                <a:lnTo>
                  <a:pt x="36" y="50"/>
                </a:lnTo>
                <a:lnTo>
                  <a:pt x="40" y="52"/>
                </a:lnTo>
                <a:lnTo>
                  <a:pt x="40" y="52"/>
                </a:lnTo>
                <a:lnTo>
                  <a:pt x="40" y="60"/>
                </a:lnTo>
                <a:lnTo>
                  <a:pt x="40" y="60"/>
                </a:lnTo>
                <a:lnTo>
                  <a:pt x="46" y="68"/>
                </a:lnTo>
                <a:lnTo>
                  <a:pt x="46" y="68"/>
                </a:lnTo>
                <a:lnTo>
                  <a:pt x="46" y="68"/>
                </a:lnTo>
                <a:lnTo>
                  <a:pt x="48" y="64"/>
                </a:lnTo>
                <a:lnTo>
                  <a:pt x="48" y="64"/>
                </a:lnTo>
                <a:lnTo>
                  <a:pt x="50" y="64"/>
                </a:lnTo>
                <a:lnTo>
                  <a:pt x="50" y="64"/>
                </a:lnTo>
                <a:lnTo>
                  <a:pt x="48" y="72"/>
                </a:lnTo>
                <a:lnTo>
                  <a:pt x="48" y="78"/>
                </a:lnTo>
                <a:lnTo>
                  <a:pt x="54" y="88"/>
                </a:lnTo>
                <a:lnTo>
                  <a:pt x="54" y="88"/>
                </a:lnTo>
                <a:lnTo>
                  <a:pt x="58" y="86"/>
                </a:lnTo>
                <a:lnTo>
                  <a:pt x="58" y="86"/>
                </a:lnTo>
                <a:lnTo>
                  <a:pt x="60" y="84"/>
                </a:lnTo>
                <a:lnTo>
                  <a:pt x="62" y="82"/>
                </a:lnTo>
                <a:lnTo>
                  <a:pt x="66" y="82"/>
                </a:lnTo>
                <a:lnTo>
                  <a:pt x="68" y="84"/>
                </a:lnTo>
                <a:lnTo>
                  <a:pt x="68" y="84"/>
                </a:lnTo>
                <a:lnTo>
                  <a:pt x="72" y="84"/>
                </a:lnTo>
                <a:lnTo>
                  <a:pt x="72" y="84"/>
                </a:lnTo>
                <a:lnTo>
                  <a:pt x="72" y="88"/>
                </a:lnTo>
                <a:lnTo>
                  <a:pt x="74" y="90"/>
                </a:lnTo>
                <a:lnTo>
                  <a:pt x="74" y="90"/>
                </a:lnTo>
                <a:lnTo>
                  <a:pt x="76" y="90"/>
                </a:lnTo>
                <a:lnTo>
                  <a:pt x="76" y="86"/>
                </a:lnTo>
                <a:lnTo>
                  <a:pt x="74" y="84"/>
                </a:lnTo>
                <a:lnTo>
                  <a:pt x="78" y="82"/>
                </a:lnTo>
                <a:lnTo>
                  <a:pt x="78" y="82"/>
                </a:lnTo>
                <a:lnTo>
                  <a:pt x="78" y="86"/>
                </a:lnTo>
                <a:lnTo>
                  <a:pt x="78" y="86"/>
                </a:lnTo>
                <a:lnTo>
                  <a:pt x="82" y="90"/>
                </a:lnTo>
                <a:lnTo>
                  <a:pt x="82" y="90"/>
                </a:lnTo>
                <a:lnTo>
                  <a:pt x="84" y="96"/>
                </a:lnTo>
                <a:lnTo>
                  <a:pt x="84" y="96"/>
                </a:lnTo>
                <a:lnTo>
                  <a:pt x="88" y="96"/>
                </a:lnTo>
                <a:lnTo>
                  <a:pt x="88" y="96"/>
                </a:lnTo>
                <a:lnTo>
                  <a:pt x="90" y="98"/>
                </a:lnTo>
                <a:lnTo>
                  <a:pt x="90" y="100"/>
                </a:lnTo>
                <a:lnTo>
                  <a:pt x="92" y="100"/>
                </a:lnTo>
                <a:lnTo>
                  <a:pt x="92" y="100"/>
                </a:lnTo>
                <a:lnTo>
                  <a:pt x="94" y="94"/>
                </a:lnTo>
                <a:lnTo>
                  <a:pt x="92" y="92"/>
                </a:lnTo>
                <a:lnTo>
                  <a:pt x="90" y="90"/>
                </a:lnTo>
                <a:lnTo>
                  <a:pt x="88" y="86"/>
                </a:lnTo>
                <a:lnTo>
                  <a:pt x="88" y="86"/>
                </a:lnTo>
                <a:lnTo>
                  <a:pt x="90" y="82"/>
                </a:lnTo>
                <a:lnTo>
                  <a:pt x="90" y="80"/>
                </a:lnTo>
                <a:lnTo>
                  <a:pt x="90" y="80"/>
                </a:lnTo>
                <a:lnTo>
                  <a:pt x="86" y="76"/>
                </a:lnTo>
                <a:lnTo>
                  <a:pt x="86" y="76"/>
                </a:lnTo>
                <a:lnTo>
                  <a:pt x="82" y="80"/>
                </a:lnTo>
                <a:lnTo>
                  <a:pt x="80" y="78"/>
                </a:lnTo>
                <a:lnTo>
                  <a:pt x="80" y="78"/>
                </a:lnTo>
                <a:lnTo>
                  <a:pt x="80" y="74"/>
                </a:lnTo>
                <a:lnTo>
                  <a:pt x="80" y="74"/>
                </a:lnTo>
                <a:lnTo>
                  <a:pt x="78" y="72"/>
                </a:lnTo>
                <a:lnTo>
                  <a:pt x="78" y="72"/>
                </a:lnTo>
                <a:lnTo>
                  <a:pt x="78" y="72"/>
                </a:lnTo>
                <a:lnTo>
                  <a:pt x="76" y="74"/>
                </a:lnTo>
                <a:lnTo>
                  <a:pt x="76" y="74"/>
                </a:lnTo>
                <a:lnTo>
                  <a:pt x="70" y="74"/>
                </a:lnTo>
                <a:lnTo>
                  <a:pt x="70" y="74"/>
                </a:lnTo>
                <a:lnTo>
                  <a:pt x="64" y="78"/>
                </a:lnTo>
                <a:lnTo>
                  <a:pt x="64" y="78"/>
                </a:lnTo>
                <a:lnTo>
                  <a:pt x="60" y="76"/>
                </a:lnTo>
                <a:lnTo>
                  <a:pt x="60" y="76"/>
                </a:lnTo>
                <a:lnTo>
                  <a:pt x="60" y="66"/>
                </a:lnTo>
                <a:lnTo>
                  <a:pt x="58" y="66"/>
                </a:lnTo>
                <a:lnTo>
                  <a:pt x="58" y="66"/>
                </a:lnTo>
                <a:lnTo>
                  <a:pt x="58" y="56"/>
                </a:lnTo>
                <a:lnTo>
                  <a:pt x="58" y="56"/>
                </a:lnTo>
                <a:lnTo>
                  <a:pt x="60" y="50"/>
                </a:lnTo>
                <a:lnTo>
                  <a:pt x="60" y="46"/>
                </a:lnTo>
                <a:lnTo>
                  <a:pt x="62" y="46"/>
                </a:lnTo>
                <a:lnTo>
                  <a:pt x="64" y="46"/>
                </a:lnTo>
                <a:lnTo>
                  <a:pt x="64" y="46"/>
                </a:lnTo>
                <a:lnTo>
                  <a:pt x="66" y="40"/>
                </a:lnTo>
                <a:lnTo>
                  <a:pt x="66" y="34"/>
                </a:lnTo>
                <a:lnTo>
                  <a:pt x="66" y="34"/>
                </a:lnTo>
                <a:lnTo>
                  <a:pt x="70" y="34"/>
                </a:lnTo>
                <a:lnTo>
                  <a:pt x="72" y="34"/>
                </a:lnTo>
                <a:lnTo>
                  <a:pt x="72" y="34"/>
                </a:lnTo>
                <a:lnTo>
                  <a:pt x="74" y="30"/>
                </a:lnTo>
                <a:lnTo>
                  <a:pt x="74" y="30"/>
                </a:lnTo>
                <a:lnTo>
                  <a:pt x="72" y="20"/>
                </a:lnTo>
                <a:lnTo>
                  <a:pt x="72" y="20"/>
                </a:lnTo>
                <a:lnTo>
                  <a:pt x="68" y="18"/>
                </a:lnTo>
                <a:lnTo>
                  <a:pt x="68" y="18"/>
                </a:lnTo>
                <a:lnTo>
                  <a:pt x="68" y="10"/>
                </a:lnTo>
                <a:lnTo>
                  <a:pt x="70" y="4"/>
                </a:lnTo>
                <a:lnTo>
                  <a:pt x="70" y="4"/>
                </a:lnTo>
                <a:lnTo>
                  <a:pt x="70" y="0"/>
                </a:lnTo>
                <a:lnTo>
                  <a:pt x="70" y="0"/>
                </a:lnTo>
                <a:lnTo>
                  <a:pt x="62" y="4"/>
                </a:lnTo>
                <a:lnTo>
                  <a:pt x="58" y="6"/>
                </a:lnTo>
                <a:lnTo>
                  <a:pt x="56" y="2"/>
                </a:lnTo>
                <a:lnTo>
                  <a:pt x="56" y="2"/>
                </a:lnTo>
                <a:lnTo>
                  <a:pt x="56" y="2"/>
                </a:lnTo>
                <a:lnTo>
                  <a:pt x="54" y="0"/>
                </a:lnTo>
                <a:lnTo>
                  <a:pt x="54" y="0"/>
                </a:lnTo>
                <a:lnTo>
                  <a:pt x="50" y="0"/>
                </a:lnTo>
                <a:lnTo>
                  <a:pt x="5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7" name="Freeform 111">
            <a:extLst>
              <a:ext uri="{FF2B5EF4-FFF2-40B4-BE49-F238E27FC236}">
                <a16:creationId xmlns:a16="http://schemas.microsoft.com/office/drawing/2014/main" id="{78AD0EB4-D1D5-4C04-893F-1AF080E10CD6}"/>
              </a:ext>
            </a:extLst>
          </p:cNvPr>
          <p:cNvSpPr>
            <a:spLocks/>
          </p:cNvSpPr>
          <p:nvPr userDrawn="1"/>
        </p:nvSpPr>
        <p:spPr bwMode="auto">
          <a:xfrm>
            <a:off x="4024492" y="3694375"/>
            <a:ext cx="275033" cy="511365"/>
          </a:xfrm>
          <a:custGeom>
            <a:avLst/>
            <a:gdLst>
              <a:gd name="T0" fmla="*/ 158 w 164"/>
              <a:gd name="T1" fmla="*/ 252 h 298"/>
              <a:gd name="T2" fmla="*/ 156 w 164"/>
              <a:gd name="T3" fmla="*/ 238 h 298"/>
              <a:gd name="T4" fmla="*/ 138 w 164"/>
              <a:gd name="T5" fmla="*/ 194 h 298"/>
              <a:gd name="T6" fmla="*/ 138 w 164"/>
              <a:gd name="T7" fmla="*/ 152 h 298"/>
              <a:gd name="T8" fmla="*/ 114 w 164"/>
              <a:gd name="T9" fmla="*/ 156 h 298"/>
              <a:gd name="T10" fmla="*/ 106 w 164"/>
              <a:gd name="T11" fmla="*/ 146 h 298"/>
              <a:gd name="T12" fmla="*/ 96 w 164"/>
              <a:gd name="T13" fmla="*/ 136 h 298"/>
              <a:gd name="T14" fmla="*/ 96 w 164"/>
              <a:gd name="T15" fmla="*/ 122 h 298"/>
              <a:gd name="T16" fmla="*/ 92 w 164"/>
              <a:gd name="T17" fmla="*/ 114 h 298"/>
              <a:gd name="T18" fmla="*/ 98 w 164"/>
              <a:gd name="T19" fmla="*/ 106 h 298"/>
              <a:gd name="T20" fmla="*/ 104 w 164"/>
              <a:gd name="T21" fmla="*/ 92 h 298"/>
              <a:gd name="T22" fmla="*/ 118 w 164"/>
              <a:gd name="T23" fmla="*/ 76 h 298"/>
              <a:gd name="T24" fmla="*/ 140 w 164"/>
              <a:gd name="T25" fmla="*/ 70 h 298"/>
              <a:gd name="T26" fmla="*/ 134 w 164"/>
              <a:gd name="T27" fmla="*/ 64 h 298"/>
              <a:gd name="T28" fmla="*/ 140 w 164"/>
              <a:gd name="T29" fmla="*/ 34 h 298"/>
              <a:gd name="T30" fmla="*/ 124 w 164"/>
              <a:gd name="T31" fmla="*/ 28 h 298"/>
              <a:gd name="T32" fmla="*/ 112 w 164"/>
              <a:gd name="T33" fmla="*/ 30 h 298"/>
              <a:gd name="T34" fmla="*/ 100 w 164"/>
              <a:gd name="T35" fmla="*/ 20 h 298"/>
              <a:gd name="T36" fmla="*/ 94 w 164"/>
              <a:gd name="T37" fmla="*/ 14 h 298"/>
              <a:gd name="T38" fmla="*/ 84 w 164"/>
              <a:gd name="T39" fmla="*/ 4 h 298"/>
              <a:gd name="T40" fmla="*/ 76 w 164"/>
              <a:gd name="T41" fmla="*/ 6 h 298"/>
              <a:gd name="T42" fmla="*/ 74 w 164"/>
              <a:gd name="T43" fmla="*/ 24 h 298"/>
              <a:gd name="T44" fmla="*/ 66 w 164"/>
              <a:gd name="T45" fmla="*/ 42 h 298"/>
              <a:gd name="T46" fmla="*/ 42 w 164"/>
              <a:gd name="T47" fmla="*/ 60 h 298"/>
              <a:gd name="T48" fmla="*/ 30 w 164"/>
              <a:gd name="T49" fmla="*/ 80 h 298"/>
              <a:gd name="T50" fmla="*/ 22 w 164"/>
              <a:gd name="T51" fmla="*/ 80 h 298"/>
              <a:gd name="T52" fmla="*/ 18 w 164"/>
              <a:gd name="T53" fmla="*/ 74 h 298"/>
              <a:gd name="T54" fmla="*/ 14 w 164"/>
              <a:gd name="T55" fmla="*/ 66 h 298"/>
              <a:gd name="T56" fmla="*/ 0 w 164"/>
              <a:gd name="T57" fmla="*/ 72 h 298"/>
              <a:gd name="T58" fmla="*/ 0 w 164"/>
              <a:gd name="T59" fmla="*/ 76 h 298"/>
              <a:gd name="T60" fmla="*/ 4 w 164"/>
              <a:gd name="T61" fmla="*/ 82 h 298"/>
              <a:gd name="T62" fmla="*/ 6 w 164"/>
              <a:gd name="T63" fmla="*/ 90 h 298"/>
              <a:gd name="T64" fmla="*/ 20 w 164"/>
              <a:gd name="T65" fmla="*/ 112 h 298"/>
              <a:gd name="T66" fmla="*/ 22 w 164"/>
              <a:gd name="T67" fmla="*/ 118 h 298"/>
              <a:gd name="T68" fmla="*/ 30 w 164"/>
              <a:gd name="T69" fmla="*/ 126 h 298"/>
              <a:gd name="T70" fmla="*/ 46 w 164"/>
              <a:gd name="T71" fmla="*/ 144 h 298"/>
              <a:gd name="T72" fmla="*/ 50 w 164"/>
              <a:gd name="T73" fmla="*/ 152 h 298"/>
              <a:gd name="T74" fmla="*/ 54 w 164"/>
              <a:gd name="T75" fmla="*/ 164 h 298"/>
              <a:gd name="T76" fmla="*/ 56 w 164"/>
              <a:gd name="T77" fmla="*/ 182 h 298"/>
              <a:gd name="T78" fmla="*/ 62 w 164"/>
              <a:gd name="T79" fmla="*/ 196 h 298"/>
              <a:gd name="T80" fmla="*/ 66 w 164"/>
              <a:gd name="T81" fmla="*/ 200 h 298"/>
              <a:gd name="T82" fmla="*/ 72 w 164"/>
              <a:gd name="T83" fmla="*/ 214 h 298"/>
              <a:gd name="T84" fmla="*/ 82 w 164"/>
              <a:gd name="T85" fmla="*/ 246 h 298"/>
              <a:gd name="T86" fmla="*/ 88 w 164"/>
              <a:gd name="T87" fmla="*/ 254 h 298"/>
              <a:gd name="T88" fmla="*/ 102 w 164"/>
              <a:gd name="T89" fmla="*/ 266 h 298"/>
              <a:gd name="T90" fmla="*/ 110 w 164"/>
              <a:gd name="T91" fmla="*/ 270 h 298"/>
              <a:gd name="T92" fmla="*/ 128 w 164"/>
              <a:gd name="T93" fmla="*/ 280 h 298"/>
              <a:gd name="T94" fmla="*/ 136 w 164"/>
              <a:gd name="T95" fmla="*/ 284 h 298"/>
              <a:gd name="T96" fmla="*/ 144 w 164"/>
              <a:gd name="T97" fmla="*/ 292 h 298"/>
              <a:gd name="T98" fmla="*/ 154 w 164"/>
              <a:gd name="T99" fmla="*/ 294 h 298"/>
              <a:gd name="T100" fmla="*/ 162 w 164"/>
              <a:gd name="T101" fmla="*/ 270 h 298"/>
              <a:gd name="T102" fmla="*/ 162 w 164"/>
              <a:gd name="T103" fmla="*/ 262 h 298"/>
              <a:gd name="T104" fmla="*/ 152 w 164"/>
              <a:gd name="T105" fmla="*/ 258 h 298"/>
              <a:gd name="T106" fmla="*/ 158 w 164"/>
              <a:gd name="T107" fmla="*/ 254 h 298"/>
              <a:gd name="T108" fmla="*/ 160 w 164"/>
              <a:gd name="T109" fmla="*/ 25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298">
                <a:moveTo>
                  <a:pt x="160" y="258"/>
                </a:moveTo>
                <a:lnTo>
                  <a:pt x="160" y="258"/>
                </a:lnTo>
                <a:lnTo>
                  <a:pt x="160" y="256"/>
                </a:lnTo>
                <a:lnTo>
                  <a:pt x="158" y="252"/>
                </a:lnTo>
                <a:lnTo>
                  <a:pt x="158" y="252"/>
                </a:lnTo>
                <a:lnTo>
                  <a:pt x="158" y="248"/>
                </a:lnTo>
                <a:lnTo>
                  <a:pt x="160" y="246"/>
                </a:lnTo>
                <a:lnTo>
                  <a:pt x="160" y="246"/>
                </a:lnTo>
                <a:lnTo>
                  <a:pt x="156" y="238"/>
                </a:lnTo>
                <a:lnTo>
                  <a:pt x="156" y="238"/>
                </a:lnTo>
                <a:lnTo>
                  <a:pt x="156" y="232"/>
                </a:lnTo>
                <a:lnTo>
                  <a:pt x="156" y="226"/>
                </a:lnTo>
                <a:lnTo>
                  <a:pt x="160" y="216"/>
                </a:lnTo>
                <a:lnTo>
                  <a:pt x="152" y="200"/>
                </a:lnTo>
                <a:lnTo>
                  <a:pt x="138" y="194"/>
                </a:lnTo>
                <a:lnTo>
                  <a:pt x="140" y="154"/>
                </a:lnTo>
                <a:lnTo>
                  <a:pt x="140" y="154"/>
                </a:lnTo>
                <a:lnTo>
                  <a:pt x="140" y="152"/>
                </a:lnTo>
                <a:lnTo>
                  <a:pt x="140" y="150"/>
                </a:lnTo>
                <a:lnTo>
                  <a:pt x="138" y="152"/>
                </a:lnTo>
                <a:lnTo>
                  <a:pt x="138" y="152"/>
                </a:lnTo>
                <a:lnTo>
                  <a:pt x="128" y="158"/>
                </a:lnTo>
                <a:lnTo>
                  <a:pt x="116" y="158"/>
                </a:lnTo>
                <a:lnTo>
                  <a:pt x="116" y="158"/>
                </a:lnTo>
                <a:lnTo>
                  <a:pt x="114" y="156"/>
                </a:lnTo>
                <a:lnTo>
                  <a:pt x="112" y="152"/>
                </a:lnTo>
                <a:lnTo>
                  <a:pt x="112" y="152"/>
                </a:lnTo>
                <a:lnTo>
                  <a:pt x="112" y="150"/>
                </a:lnTo>
                <a:lnTo>
                  <a:pt x="108" y="148"/>
                </a:lnTo>
                <a:lnTo>
                  <a:pt x="106" y="146"/>
                </a:lnTo>
                <a:lnTo>
                  <a:pt x="104" y="142"/>
                </a:lnTo>
                <a:lnTo>
                  <a:pt x="104" y="142"/>
                </a:lnTo>
                <a:lnTo>
                  <a:pt x="102" y="140"/>
                </a:lnTo>
                <a:lnTo>
                  <a:pt x="98" y="138"/>
                </a:lnTo>
                <a:lnTo>
                  <a:pt x="96" y="136"/>
                </a:lnTo>
                <a:lnTo>
                  <a:pt x="98" y="130"/>
                </a:lnTo>
                <a:lnTo>
                  <a:pt x="98" y="130"/>
                </a:lnTo>
                <a:lnTo>
                  <a:pt x="98" y="126"/>
                </a:lnTo>
                <a:lnTo>
                  <a:pt x="96" y="124"/>
                </a:lnTo>
                <a:lnTo>
                  <a:pt x="96" y="122"/>
                </a:lnTo>
                <a:lnTo>
                  <a:pt x="96" y="122"/>
                </a:lnTo>
                <a:lnTo>
                  <a:pt x="94" y="122"/>
                </a:lnTo>
                <a:lnTo>
                  <a:pt x="94" y="118"/>
                </a:lnTo>
                <a:lnTo>
                  <a:pt x="92" y="114"/>
                </a:lnTo>
                <a:lnTo>
                  <a:pt x="92" y="114"/>
                </a:lnTo>
                <a:lnTo>
                  <a:pt x="94" y="112"/>
                </a:lnTo>
                <a:lnTo>
                  <a:pt x="96" y="112"/>
                </a:lnTo>
                <a:lnTo>
                  <a:pt x="98" y="114"/>
                </a:lnTo>
                <a:lnTo>
                  <a:pt x="98" y="114"/>
                </a:lnTo>
                <a:lnTo>
                  <a:pt x="98" y="106"/>
                </a:lnTo>
                <a:lnTo>
                  <a:pt x="98" y="106"/>
                </a:lnTo>
                <a:lnTo>
                  <a:pt x="100" y="102"/>
                </a:lnTo>
                <a:lnTo>
                  <a:pt x="102" y="98"/>
                </a:lnTo>
                <a:lnTo>
                  <a:pt x="102" y="98"/>
                </a:lnTo>
                <a:lnTo>
                  <a:pt x="104" y="92"/>
                </a:lnTo>
                <a:lnTo>
                  <a:pt x="106" y="86"/>
                </a:lnTo>
                <a:lnTo>
                  <a:pt x="106" y="86"/>
                </a:lnTo>
                <a:lnTo>
                  <a:pt x="110" y="82"/>
                </a:lnTo>
                <a:lnTo>
                  <a:pt x="118" y="76"/>
                </a:lnTo>
                <a:lnTo>
                  <a:pt x="118" y="76"/>
                </a:lnTo>
                <a:lnTo>
                  <a:pt x="124" y="74"/>
                </a:lnTo>
                <a:lnTo>
                  <a:pt x="130" y="72"/>
                </a:lnTo>
                <a:lnTo>
                  <a:pt x="130" y="72"/>
                </a:lnTo>
                <a:lnTo>
                  <a:pt x="140" y="70"/>
                </a:lnTo>
                <a:lnTo>
                  <a:pt x="140" y="70"/>
                </a:lnTo>
                <a:lnTo>
                  <a:pt x="142" y="70"/>
                </a:lnTo>
                <a:lnTo>
                  <a:pt x="144" y="68"/>
                </a:lnTo>
                <a:lnTo>
                  <a:pt x="144" y="66"/>
                </a:lnTo>
                <a:lnTo>
                  <a:pt x="140" y="64"/>
                </a:lnTo>
                <a:lnTo>
                  <a:pt x="134" y="64"/>
                </a:lnTo>
                <a:lnTo>
                  <a:pt x="146" y="38"/>
                </a:lnTo>
                <a:lnTo>
                  <a:pt x="146" y="38"/>
                </a:lnTo>
                <a:lnTo>
                  <a:pt x="144" y="36"/>
                </a:lnTo>
                <a:lnTo>
                  <a:pt x="140" y="34"/>
                </a:lnTo>
                <a:lnTo>
                  <a:pt x="140" y="34"/>
                </a:lnTo>
                <a:lnTo>
                  <a:pt x="134" y="32"/>
                </a:lnTo>
                <a:lnTo>
                  <a:pt x="130" y="30"/>
                </a:lnTo>
                <a:lnTo>
                  <a:pt x="130" y="30"/>
                </a:lnTo>
                <a:lnTo>
                  <a:pt x="128" y="28"/>
                </a:lnTo>
                <a:lnTo>
                  <a:pt x="124" y="28"/>
                </a:lnTo>
                <a:lnTo>
                  <a:pt x="120" y="28"/>
                </a:lnTo>
                <a:lnTo>
                  <a:pt x="120" y="32"/>
                </a:lnTo>
                <a:lnTo>
                  <a:pt x="120" y="32"/>
                </a:lnTo>
                <a:lnTo>
                  <a:pt x="112" y="30"/>
                </a:lnTo>
                <a:lnTo>
                  <a:pt x="112" y="30"/>
                </a:lnTo>
                <a:lnTo>
                  <a:pt x="110" y="30"/>
                </a:lnTo>
                <a:lnTo>
                  <a:pt x="108" y="28"/>
                </a:lnTo>
                <a:lnTo>
                  <a:pt x="108" y="26"/>
                </a:lnTo>
                <a:lnTo>
                  <a:pt x="108" y="20"/>
                </a:lnTo>
                <a:lnTo>
                  <a:pt x="100" y="20"/>
                </a:lnTo>
                <a:lnTo>
                  <a:pt x="100" y="20"/>
                </a:lnTo>
                <a:lnTo>
                  <a:pt x="96" y="18"/>
                </a:lnTo>
                <a:lnTo>
                  <a:pt x="94" y="16"/>
                </a:lnTo>
                <a:lnTo>
                  <a:pt x="94" y="14"/>
                </a:lnTo>
                <a:lnTo>
                  <a:pt x="94" y="14"/>
                </a:lnTo>
                <a:lnTo>
                  <a:pt x="92" y="10"/>
                </a:lnTo>
                <a:lnTo>
                  <a:pt x="88" y="6"/>
                </a:lnTo>
                <a:lnTo>
                  <a:pt x="88" y="6"/>
                </a:lnTo>
                <a:lnTo>
                  <a:pt x="86" y="6"/>
                </a:lnTo>
                <a:lnTo>
                  <a:pt x="84" y="4"/>
                </a:lnTo>
                <a:lnTo>
                  <a:pt x="84" y="0"/>
                </a:lnTo>
                <a:lnTo>
                  <a:pt x="76" y="0"/>
                </a:lnTo>
                <a:lnTo>
                  <a:pt x="72" y="4"/>
                </a:lnTo>
                <a:lnTo>
                  <a:pt x="76" y="6"/>
                </a:lnTo>
                <a:lnTo>
                  <a:pt x="76" y="6"/>
                </a:lnTo>
                <a:lnTo>
                  <a:pt x="76" y="16"/>
                </a:lnTo>
                <a:lnTo>
                  <a:pt x="76" y="16"/>
                </a:lnTo>
                <a:lnTo>
                  <a:pt x="78" y="22"/>
                </a:lnTo>
                <a:lnTo>
                  <a:pt x="78" y="24"/>
                </a:lnTo>
                <a:lnTo>
                  <a:pt x="74" y="24"/>
                </a:lnTo>
                <a:lnTo>
                  <a:pt x="74" y="24"/>
                </a:lnTo>
                <a:lnTo>
                  <a:pt x="74" y="30"/>
                </a:lnTo>
                <a:lnTo>
                  <a:pt x="72" y="36"/>
                </a:lnTo>
                <a:lnTo>
                  <a:pt x="66" y="42"/>
                </a:lnTo>
                <a:lnTo>
                  <a:pt x="66" y="42"/>
                </a:lnTo>
                <a:lnTo>
                  <a:pt x="54" y="48"/>
                </a:lnTo>
                <a:lnTo>
                  <a:pt x="48" y="52"/>
                </a:lnTo>
                <a:lnTo>
                  <a:pt x="48" y="52"/>
                </a:lnTo>
                <a:lnTo>
                  <a:pt x="42" y="60"/>
                </a:lnTo>
                <a:lnTo>
                  <a:pt x="42" y="60"/>
                </a:lnTo>
                <a:lnTo>
                  <a:pt x="38" y="66"/>
                </a:lnTo>
                <a:lnTo>
                  <a:pt x="34" y="76"/>
                </a:lnTo>
                <a:lnTo>
                  <a:pt x="34" y="76"/>
                </a:lnTo>
                <a:lnTo>
                  <a:pt x="32" y="78"/>
                </a:lnTo>
                <a:lnTo>
                  <a:pt x="30" y="80"/>
                </a:lnTo>
                <a:lnTo>
                  <a:pt x="26" y="82"/>
                </a:lnTo>
                <a:lnTo>
                  <a:pt x="26" y="82"/>
                </a:lnTo>
                <a:lnTo>
                  <a:pt x="26" y="82"/>
                </a:lnTo>
                <a:lnTo>
                  <a:pt x="24" y="82"/>
                </a:lnTo>
                <a:lnTo>
                  <a:pt x="22" y="80"/>
                </a:lnTo>
                <a:lnTo>
                  <a:pt x="22" y="80"/>
                </a:lnTo>
                <a:lnTo>
                  <a:pt x="20" y="74"/>
                </a:lnTo>
                <a:lnTo>
                  <a:pt x="18" y="72"/>
                </a:lnTo>
                <a:lnTo>
                  <a:pt x="18" y="72"/>
                </a:lnTo>
                <a:lnTo>
                  <a:pt x="18" y="74"/>
                </a:lnTo>
                <a:lnTo>
                  <a:pt x="14" y="76"/>
                </a:lnTo>
                <a:lnTo>
                  <a:pt x="14" y="76"/>
                </a:lnTo>
                <a:lnTo>
                  <a:pt x="10" y="72"/>
                </a:lnTo>
                <a:lnTo>
                  <a:pt x="8" y="70"/>
                </a:lnTo>
                <a:lnTo>
                  <a:pt x="14" y="66"/>
                </a:lnTo>
                <a:lnTo>
                  <a:pt x="12" y="64"/>
                </a:lnTo>
                <a:lnTo>
                  <a:pt x="10" y="58"/>
                </a:lnTo>
                <a:lnTo>
                  <a:pt x="10" y="58"/>
                </a:lnTo>
                <a:lnTo>
                  <a:pt x="4" y="64"/>
                </a:lnTo>
                <a:lnTo>
                  <a:pt x="0" y="72"/>
                </a:lnTo>
                <a:lnTo>
                  <a:pt x="0" y="72"/>
                </a:lnTo>
                <a:lnTo>
                  <a:pt x="0" y="74"/>
                </a:lnTo>
                <a:lnTo>
                  <a:pt x="0" y="76"/>
                </a:lnTo>
                <a:lnTo>
                  <a:pt x="0" y="76"/>
                </a:lnTo>
                <a:lnTo>
                  <a:pt x="0" y="76"/>
                </a:lnTo>
                <a:lnTo>
                  <a:pt x="2" y="80"/>
                </a:lnTo>
                <a:lnTo>
                  <a:pt x="2" y="80"/>
                </a:lnTo>
                <a:lnTo>
                  <a:pt x="4" y="80"/>
                </a:lnTo>
                <a:lnTo>
                  <a:pt x="4" y="80"/>
                </a:lnTo>
                <a:lnTo>
                  <a:pt x="4" y="82"/>
                </a:lnTo>
                <a:lnTo>
                  <a:pt x="4" y="82"/>
                </a:lnTo>
                <a:lnTo>
                  <a:pt x="2" y="86"/>
                </a:lnTo>
                <a:lnTo>
                  <a:pt x="2" y="86"/>
                </a:lnTo>
                <a:lnTo>
                  <a:pt x="6" y="90"/>
                </a:lnTo>
                <a:lnTo>
                  <a:pt x="6" y="90"/>
                </a:lnTo>
                <a:lnTo>
                  <a:pt x="6" y="94"/>
                </a:lnTo>
                <a:lnTo>
                  <a:pt x="4" y="98"/>
                </a:lnTo>
                <a:lnTo>
                  <a:pt x="4" y="98"/>
                </a:lnTo>
                <a:lnTo>
                  <a:pt x="12" y="104"/>
                </a:lnTo>
                <a:lnTo>
                  <a:pt x="20" y="112"/>
                </a:lnTo>
                <a:lnTo>
                  <a:pt x="20" y="112"/>
                </a:lnTo>
                <a:lnTo>
                  <a:pt x="22" y="114"/>
                </a:lnTo>
                <a:lnTo>
                  <a:pt x="22" y="114"/>
                </a:lnTo>
                <a:lnTo>
                  <a:pt x="22" y="118"/>
                </a:lnTo>
                <a:lnTo>
                  <a:pt x="22" y="118"/>
                </a:lnTo>
                <a:lnTo>
                  <a:pt x="26" y="120"/>
                </a:lnTo>
                <a:lnTo>
                  <a:pt x="30" y="122"/>
                </a:lnTo>
                <a:lnTo>
                  <a:pt x="30" y="122"/>
                </a:lnTo>
                <a:lnTo>
                  <a:pt x="30" y="126"/>
                </a:lnTo>
                <a:lnTo>
                  <a:pt x="30" y="126"/>
                </a:lnTo>
                <a:lnTo>
                  <a:pt x="38" y="134"/>
                </a:lnTo>
                <a:lnTo>
                  <a:pt x="38" y="134"/>
                </a:lnTo>
                <a:lnTo>
                  <a:pt x="44" y="144"/>
                </a:lnTo>
                <a:lnTo>
                  <a:pt x="44" y="144"/>
                </a:lnTo>
                <a:lnTo>
                  <a:pt x="46" y="144"/>
                </a:lnTo>
                <a:lnTo>
                  <a:pt x="46" y="144"/>
                </a:lnTo>
                <a:lnTo>
                  <a:pt x="46" y="148"/>
                </a:lnTo>
                <a:lnTo>
                  <a:pt x="48" y="150"/>
                </a:lnTo>
                <a:lnTo>
                  <a:pt x="48" y="150"/>
                </a:lnTo>
                <a:lnTo>
                  <a:pt x="50" y="152"/>
                </a:lnTo>
                <a:lnTo>
                  <a:pt x="50" y="152"/>
                </a:lnTo>
                <a:lnTo>
                  <a:pt x="50" y="160"/>
                </a:lnTo>
                <a:lnTo>
                  <a:pt x="50" y="160"/>
                </a:lnTo>
                <a:lnTo>
                  <a:pt x="54" y="164"/>
                </a:lnTo>
                <a:lnTo>
                  <a:pt x="54" y="164"/>
                </a:lnTo>
                <a:lnTo>
                  <a:pt x="54" y="172"/>
                </a:lnTo>
                <a:lnTo>
                  <a:pt x="54" y="172"/>
                </a:lnTo>
                <a:lnTo>
                  <a:pt x="56" y="178"/>
                </a:lnTo>
                <a:lnTo>
                  <a:pt x="56" y="182"/>
                </a:lnTo>
                <a:lnTo>
                  <a:pt x="56" y="182"/>
                </a:lnTo>
                <a:lnTo>
                  <a:pt x="56" y="184"/>
                </a:lnTo>
                <a:lnTo>
                  <a:pt x="56" y="184"/>
                </a:lnTo>
                <a:lnTo>
                  <a:pt x="60" y="190"/>
                </a:lnTo>
                <a:lnTo>
                  <a:pt x="62" y="192"/>
                </a:lnTo>
                <a:lnTo>
                  <a:pt x="62" y="196"/>
                </a:lnTo>
                <a:lnTo>
                  <a:pt x="62" y="196"/>
                </a:lnTo>
                <a:lnTo>
                  <a:pt x="62" y="198"/>
                </a:lnTo>
                <a:lnTo>
                  <a:pt x="62" y="198"/>
                </a:lnTo>
                <a:lnTo>
                  <a:pt x="66" y="200"/>
                </a:lnTo>
                <a:lnTo>
                  <a:pt x="66" y="200"/>
                </a:lnTo>
                <a:lnTo>
                  <a:pt x="68" y="206"/>
                </a:lnTo>
                <a:lnTo>
                  <a:pt x="70" y="212"/>
                </a:lnTo>
                <a:lnTo>
                  <a:pt x="70" y="212"/>
                </a:lnTo>
                <a:lnTo>
                  <a:pt x="72" y="214"/>
                </a:lnTo>
                <a:lnTo>
                  <a:pt x="72" y="214"/>
                </a:lnTo>
                <a:lnTo>
                  <a:pt x="74" y="224"/>
                </a:lnTo>
                <a:lnTo>
                  <a:pt x="72" y="232"/>
                </a:lnTo>
                <a:lnTo>
                  <a:pt x="72" y="232"/>
                </a:lnTo>
                <a:lnTo>
                  <a:pt x="78" y="238"/>
                </a:lnTo>
                <a:lnTo>
                  <a:pt x="82" y="246"/>
                </a:lnTo>
                <a:lnTo>
                  <a:pt x="82" y="246"/>
                </a:lnTo>
                <a:lnTo>
                  <a:pt x="82" y="248"/>
                </a:lnTo>
                <a:lnTo>
                  <a:pt x="84" y="250"/>
                </a:lnTo>
                <a:lnTo>
                  <a:pt x="84" y="250"/>
                </a:lnTo>
                <a:lnTo>
                  <a:pt x="88" y="254"/>
                </a:lnTo>
                <a:lnTo>
                  <a:pt x="94" y="258"/>
                </a:lnTo>
                <a:lnTo>
                  <a:pt x="94" y="258"/>
                </a:lnTo>
                <a:lnTo>
                  <a:pt x="102" y="264"/>
                </a:lnTo>
                <a:lnTo>
                  <a:pt x="102" y="264"/>
                </a:lnTo>
                <a:lnTo>
                  <a:pt x="102" y="266"/>
                </a:lnTo>
                <a:lnTo>
                  <a:pt x="102" y="266"/>
                </a:lnTo>
                <a:lnTo>
                  <a:pt x="106" y="266"/>
                </a:lnTo>
                <a:lnTo>
                  <a:pt x="106" y="266"/>
                </a:lnTo>
                <a:lnTo>
                  <a:pt x="110" y="270"/>
                </a:lnTo>
                <a:lnTo>
                  <a:pt x="110" y="270"/>
                </a:lnTo>
                <a:lnTo>
                  <a:pt x="116" y="270"/>
                </a:lnTo>
                <a:lnTo>
                  <a:pt x="116" y="270"/>
                </a:lnTo>
                <a:lnTo>
                  <a:pt x="116" y="274"/>
                </a:lnTo>
                <a:lnTo>
                  <a:pt x="116" y="274"/>
                </a:lnTo>
                <a:lnTo>
                  <a:pt x="128" y="280"/>
                </a:lnTo>
                <a:lnTo>
                  <a:pt x="128" y="280"/>
                </a:lnTo>
                <a:lnTo>
                  <a:pt x="130" y="280"/>
                </a:lnTo>
                <a:lnTo>
                  <a:pt x="130" y="280"/>
                </a:lnTo>
                <a:lnTo>
                  <a:pt x="136" y="284"/>
                </a:lnTo>
                <a:lnTo>
                  <a:pt x="136" y="284"/>
                </a:lnTo>
                <a:lnTo>
                  <a:pt x="138" y="284"/>
                </a:lnTo>
                <a:lnTo>
                  <a:pt x="138" y="284"/>
                </a:lnTo>
                <a:lnTo>
                  <a:pt x="142" y="288"/>
                </a:lnTo>
                <a:lnTo>
                  <a:pt x="144" y="292"/>
                </a:lnTo>
                <a:lnTo>
                  <a:pt x="144" y="292"/>
                </a:lnTo>
                <a:lnTo>
                  <a:pt x="148" y="298"/>
                </a:lnTo>
                <a:lnTo>
                  <a:pt x="148" y="298"/>
                </a:lnTo>
                <a:lnTo>
                  <a:pt x="150" y="298"/>
                </a:lnTo>
                <a:lnTo>
                  <a:pt x="154" y="294"/>
                </a:lnTo>
                <a:lnTo>
                  <a:pt x="154" y="294"/>
                </a:lnTo>
                <a:lnTo>
                  <a:pt x="156" y="290"/>
                </a:lnTo>
                <a:lnTo>
                  <a:pt x="158" y="290"/>
                </a:lnTo>
                <a:lnTo>
                  <a:pt x="154" y="282"/>
                </a:lnTo>
                <a:lnTo>
                  <a:pt x="154" y="282"/>
                </a:lnTo>
                <a:lnTo>
                  <a:pt x="162" y="270"/>
                </a:lnTo>
                <a:lnTo>
                  <a:pt x="162" y="270"/>
                </a:lnTo>
                <a:lnTo>
                  <a:pt x="164" y="268"/>
                </a:lnTo>
                <a:lnTo>
                  <a:pt x="162" y="266"/>
                </a:lnTo>
                <a:lnTo>
                  <a:pt x="162" y="262"/>
                </a:lnTo>
                <a:lnTo>
                  <a:pt x="162" y="262"/>
                </a:lnTo>
                <a:lnTo>
                  <a:pt x="162" y="262"/>
                </a:lnTo>
                <a:lnTo>
                  <a:pt x="156" y="256"/>
                </a:lnTo>
                <a:lnTo>
                  <a:pt x="156" y="256"/>
                </a:lnTo>
                <a:lnTo>
                  <a:pt x="152" y="258"/>
                </a:lnTo>
                <a:lnTo>
                  <a:pt x="152" y="258"/>
                </a:lnTo>
                <a:lnTo>
                  <a:pt x="152" y="250"/>
                </a:lnTo>
                <a:lnTo>
                  <a:pt x="152" y="250"/>
                </a:lnTo>
                <a:lnTo>
                  <a:pt x="154" y="248"/>
                </a:lnTo>
                <a:lnTo>
                  <a:pt x="154" y="248"/>
                </a:lnTo>
                <a:lnTo>
                  <a:pt x="158" y="254"/>
                </a:lnTo>
                <a:lnTo>
                  <a:pt x="158" y="254"/>
                </a:lnTo>
                <a:lnTo>
                  <a:pt x="158" y="256"/>
                </a:lnTo>
                <a:lnTo>
                  <a:pt x="158" y="256"/>
                </a:lnTo>
                <a:lnTo>
                  <a:pt x="160" y="258"/>
                </a:lnTo>
                <a:lnTo>
                  <a:pt x="160" y="2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8" name="Freeform 112">
            <a:extLst>
              <a:ext uri="{FF2B5EF4-FFF2-40B4-BE49-F238E27FC236}">
                <a16:creationId xmlns:a16="http://schemas.microsoft.com/office/drawing/2014/main" id="{573192C3-B832-4303-9072-699618F1C735}"/>
              </a:ext>
            </a:extLst>
          </p:cNvPr>
          <p:cNvSpPr>
            <a:spLocks/>
          </p:cNvSpPr>
          <p:nvPr userDrawn="1"/>
        </p:nvSpPr>
        <p:spPr bwMode="auto">
          <a:xfrm>
            <a:off x="4447106" y="4236627"/>
            <a:ext cx="181120" cy="243670"/>
          </a:xfrm>
          <a:custGeom>
            <a:avLst/>
            <a:gdLst>
              <a:gd name="T0" fmla="*/ 50 w 108"/>
              <a:gd name="T1" fmla="*/ 2 h 142"/>
              <a:gd name="T2" fmla="*/ 22 w 108"/>
              <a:gd name="T3" fmla="*/ 0 h 142"/>
              <a:gd name="T4" fmla="*/ 18 w 108"/>
              <a:gd name="T5" fmla="*/ 6 h 142"/>
              <a:gd name="T6" fmla="*/ 14 w 108"/>
              <a:gd name="T7" fmla="*/ 12 h 142"/>
              <a:gd name="T8" fmla="*/ 10 w 108"/>
              <a:gd name="T9" fmla="*/ 22 h 142"/>
              <a:gd name="T10" fmla="*/ 0 w 108"/>
              <a:gd name="T11" fmla="*/ 46 h 142"/>
              <a:gd name="T12" fmla="*/ 8 w 108"/>
              <a:gd name="T13" fmla="*/ 52 h 142"/>
              <a:gd name="T14" fmla="*/ 12 w 108"/>
              <a:gd name="T15" fmla="*/ 58 h 142"/>
              <a:gd name="T16" fmla="*/ 18 w 108"/>
              <a:gd name="T17" fmla="*/ 64 h 142"/>
              <a:gd name="T18" fmla="*/ 20 w 108"/>
              <a:gd name="T19" fmla="*/ 66 h 142"/>
              <a:gd name="T20" fmla="*/ 22 w 108"/>
              <a:gd name="T21" fmla="*/ 70 h 142"/>
              <a:gd name="T22" fmla="*/ 26 w 108"/>
              <a:gd name="T23" fmla="*/ 78 h 142"/>
              <a:gd name="T24" fmla="*/ 28 w 108"/>
              <a:gd name="T25" fmla="*/ 80 h 142"/>
              <a:gd name="T26" fmla="*/ 36 w 108"/>
              <a:gd name="T27" fmla="*/ 86 h 142"/>
              <a:gd name="T28" fmla="*/ 40 w 108"/>
              <a:gd name="T29" fmla="*/ 88 h 142"/>
              <a:gd name="T30" fmla="*/ 44 w 108"/>
              <a:gd name="T31" fmla="*/ 88 h 142"/>
              <a:gd name="T32" fmla="*/ 46 w 108"/>
              <a:gd name="T33" fmla="*/ 90 h 142"/>
              <a:gd name="T34" fmla="*/ 52 w 108"/>
              <a:gd name="T35" fmla="*/ 94 h 142"/>
              <a:gd name="T36" fmla="*/ 60 w 108"/>
              <a:gd name="T37" fmla="*/ 104 h 142"/>
              <a:gd name="T38" fmla="*/ 62 w 108"/>
              <a:gd name="T39" fmla="*/ 106 h 142"/>
              <a:gd name="T40" fmla="*/ 60 w 108"/>
              <a:gd name="T41" fmla="*/ 114 h 142"/>
              <a:gd name="T42" fmla="*/ 58 w 108"/>
              <a:gd name="T43" fmla="*/ 122 h 142"/>
              <a:gd name="T44" fmla="*/ 54 w 108"/>
              <a:gd name="T45" fmla="*/ 128 h 142"/>
              <a:gd name="T46" fmla="*/ 50 w 108"/>
              <a:gd name="T47" fmla="*/ 138 h 142"/>
              <a:gd name="T48" fmla="*/ 50 w 108"/>
              <a:gd name="T49" fmla="*/ 138 h 142"/>
              <a:gd name="T50" fmla="*/ 54 w 108"/>
              <a:gd name="T51" fmla="*/ 138 h 142"/>
              <a:gd name="T52" fmla="*/ 64 w 108"/>
              <a:gd name="T53" fmla="*/ 140 h 142"/>
              <a:gd name="T54" fmla="*/ 68 w 108"/>
              <a:gd name="T55" fmla="*/ 142 h 142"/>
              <a:gd name="T56" fmla="*/ 72 w 108"/>
              <a:gd name="T57" fmla="*/ 140 h 142"/>
              <a:gd name="T58" fmla="*/ 84 w 108"/>
              <a:gd name="T59" fmla="*/ 142 h 142"/>
              <a:gd name="T60" fmla="*/ 90 w 108"/>
              <a:gd name="T61" fmla="*/ 142 h 142"/>
              <a:gd name="T62" fmla="*/ 92 w 108"/>
              <a:gd name="T63" fmla="*/ 140 h 142"/>
              <a:gd name="T64" fmla="*/ 94 w 108"/>
              <a:gd name="T65" fmla="*/ 138 h 142"/>
              <a:gd name="T66" fmla="*/ 100 w 108"/>
              <a:gd name="T67" fmla="*/ 130 h 142"/>
              <a:gd name="T68" fmla="*/ 102 w 108"/>
              <a:gd name="T69" fmla="*/ 128 h 142"/>
              <a:gd name="T70" fmla="*/ 102 w 108"/>
              <a:gd name="T71" fmla="*/ 116 h 142"/>
              <a:gd name="T72" fmla="*/ 100 w 108"/>
              <a:gd name="T73" fmla="*/ 114 h 142"/>
              <a:gd name="T74" fmla="*/ 104 w 108"/>
              <a:gd name="T75" fmla="*/ 110 h 142"/>
              <a:gd name="T76" fmla="*/ 104 w 108"/>
              <a:gd name="T77" fmla="*/ 102 h 142"/>
              <a:gd name="T78" fmla="*/ 106 w 108"/>
              <a:gd name="T79" fmla="*/ 94 h 142"/>
              <a:gd name="T80" fmla="*/ 108 w 108"/>
              <a:gd name="T81" fmla="*/ 80 h 142"/>
              <a:gd name="T82" fmla="*/ 106 w 108"/>
              <a:gd name="T83" fmla="*/ 80 h 142"/>
              <a:gd name="T84" fmla="*/ 100 w 108"/>
              <a:gd name="T85" fmla="*/ 82 h 142"/>
              <a:gd name="T86" fmla="*/ 98 w 108"/>
              <a:gd name="T87" fmla="*/ 82 h 142"/>
              <a:gd name="T88" fmla="*/ 96 w 108"/>
              <a:gd name="T89" fmla="*/ 74 h 142"/>
              <a:gd name="T90" fmla="*/ 96 w 108"/>
              <a:gd name="T91" fmla="*/ 60 h 142"/>
              <a:gd name="T92" fmla="*/ 96 w 108"/>
              <a:gd name="T93" fmla="*/ 56 h 142"/>
              <a:gd name="T94" fmla="*/ 90 w 108"/>
              <a:gd name="T95" fmla="*/ 52 h 142"/>
              <a:gd name="T96" fmla="*/ 88 w 108"/>
              <a:gd name="T97" fmla="*/ 52 h 142"/>
              <a:gd name="T98" fmla="*/ 86 w 108"/>
              <a:gd name="T99" fmla="*/ 48 h 142"/>
              <a:gd name="T100" fmla="*/ 80 w 108"/>
              <a:gd name="T101" fmla="*/ 46 h 142"/>
              <a:gd name="T102" fmla="*/ 72 w 108"/>
              <a:gd name="T103" fmla="*/ 46 h 142"/>
              <a:gd name="T104" fmla="*/ 64 w 108"/>
              <a:gd name="T105" fmla="*/ 42 h 142"/>
              <a:gd name="T106" fmla="*/ 64 w 108"/>
              <a:gd name="T107" fmla="*/ 38 h 142"/>
              <a:gd name="T108" fmla="*/ 62 w 108"/>
              <a:gd name="T109" fmla="*/ 32 h 142"/>
              <a:gd name="T110" fmla="*/ 64 w 108"/>
              <a:gd name="T111" fmla="*/ 24 h 142"/>
              <a:gd name="T112" fmla="*/ 62 w 108"/>
              <a:gd name="T113" fmla="*/ 18 h 142"/>
              <a:gd name="T114" fmla="*/ 56 w 108"/>
              <a:gd name="T115"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142">
                <a:moveTo>
                  <a:pt x="56" y="8"/>
                </a:moveTo>
                <a:lnTo>
                  <a:pt x="50" y="2"/>
                </a:lnTo>
                <a:lnTo>
                  <a:pt x="38" y="0"/>
                </a:lnTo>
                <a:lnTo>
                  <a:pt x="22" y="0"/>
                </a:lnTo>
                <a:lnTo>
                  <a:pt x="22" y="0"/>
                </a:lnTo>
                <a:lnTo>
                  <a:pt x="18" y="6"/>
                </a:lnTo>
                <a:lnTo>
                  <a:pt x="14" y="12"/>
                </a:lnTo>
                <a:lnTo>
                  <a:pt x="14" y="12"/>
                </a:lnTo>
                <a:lnTo>
                  <a:pt x="12" y="18"/>
                </a:lnTo>
                <a:lnTo>
                  <a:pt x="10" y="22"/>
                </a:lnTo>
                <a:lnTo>
                  <a:pt x="10" y="28"/>
                </a:lnTo>
                <a:lnTo>
                  <a:pt x="0" y="46"/>
                </a:lnTo>
                <a:lnTo>
                  <a:pt x="8" y="52"/>
                </a:lnTo>
                <a:lnTo>
                  <a:pt x="8" y="52"/>
                </a:lnTo>
                <a:lnTo>
                  <a:pt x="12" y="58"/>
                </a:lnTo>
                <a:lnTo>
                  <a:pt x="12" y="58"/>
                </a:lnTo>
                <a:lnTo>
                  <a:pt x="14" y="62"/>
                </a:lnTo>
                <a:lnTo>
                  <a:pt x="18" y="64"/>
                </a:lnTo>
                <a:lnTo>
                  <a:pt x="18" y="64"/>
                </a:lnTo>
                <a:lnTo>
                  <a:pt x="20" y="66"/>
                </a:lnTo>
                <a:lnTo>
                  <a:pt x="22" y="70"/>
                </a:lnTo>
                <a:lnTo>
                  <a:pt x="22" y="70"/>
                </a:lnTo>
                <a:lnTo>
                  <a:pt x="26" y="76"/>
                </a:lnTo>
                <a:lnTo>
                  <a:pt x="26" y="78"/>
                </a:lnTo>
                <a:lnTo>
                  <a:pt x="28" y="80"/>
                </a:lnTo>
                <a:lnTo>
                  <a:pt x="28" y="80"/>
                </a:lnTo>
                <a:lnTo>
                  <a:pt x="34" y="80"/>
                </a:lnTo>
                <a:lnTo>
                  <a:pt x="36" y="86"/>
                </a:lnTo>
                <a:lnTo>
                  <a:pt x="36" y="86"/>
                </a:lnTo>
                <a:lnTo>
                  <a:pt x="40" y="88"/>
                </a:lnTo>
                <a:lnTo>
                  <a:pt x="42" y="88"/>
                </a:lnTo>
                <a:lnTo>
                  <a:pt x="44" y="88"/>
                </a:lnTo>
                <a:lnTo>
                  <a:pt x="46" y="90"/>
                </a:lnTo>
                <a:lnTo>
                  <a:pt x="46" y="90"/>
                </a:lnTo>
                <a:lnTo>
                  <a:pt x="52" y="94"/>
                </a:lnTo>
                <a:lnTo>
                  <a:pt x="52" y="94"/>
                </a:lnTo>
                <a:lnTo>
                  <a:pt x="54" y="98"/>
                </a:lnTo>
                <a:lnTo>
                  <a:pt x="60" y="104"/>
                </a:lnTo>
                <a:lnTo>
                  <a:pt x="60" y="104"/>
                </a:lnTo>
                <a:lnTo>
                  <a:pt x="62" y="106"/>
                </a:lnTo>
                <a:lnTo>
                  <a:pt x="62" y="108"/>
                </a:lnTo>
                <a:lnTo>
                  <a:pt x="60" y="114"/>
                </a:lnTo>
                <a:lnTo>
                  <a:pt x="60" y="114"/>
                </a:lnTo>
                <a:lnTo>
                  <a:pt x="58" y="122"/>
                </a:lnTo>
                <a:lnTo>
                  <a:pt x="54" y="128"/>
                </a:lnTo>
                <a:lnTo>
                  <a:pt x="54" y="128"/>
                </a:lnTo>
                <a:lnTo>
                  <a:pt x="50" y="134"/>
                </a:lnTo>
                <a:lnTo>
                  <a:pt x="50" y="138"/>
                </a:lnTo>
                <a:lnTo>
                  <a:pt x="50" y="138"/>
                </a:lnTo>
                <a:lnTo>
                  <a:pt x="50" y="138"/>
                </a:lnTo>
                <a:lnTo>
                  <a:pt x="54" y="138"/>
                </a:lnTo>
                <a:lnTo>
                  <a:pt x="54" y="138"/>
                </a:lnTo>
                <a:lnTo>
                  <a:pt x="58" y="138"/>
                </a:lnTo>
                <a:lnTo>
                  <a:pt x="64" y="140"/>
                </a:lnTo>
                <a:lnTo>
                  <a:pt x="64" y="140"/>
                </a:lnTo>
                <a:lnTo>
                  <a:pt x="68" y="142"/>
                </a:lnTo>
                <a:lnTo>
                  <a:pt x="72" y="140"/>
                </a:lnTo>
                <a:lnTo>
                  <a:pt x="72" y="140"/>
                </a:lnTo>
                <a:lnTo>
                  <a:pt x="78" y="140"/>
                </a:lnTo>
                <a:lnTo>
                  <a:pt x="84" y="142"/>
                </a:lnTo>
                <a:lnTo>
                  <a:pt x="84" y="142"/>
                </a:lnTo>
                <a:lnTo>
                  <a:pt x="90" y="142"/>
                </a:lnTo>
                <a:lnTo>
                  <a:pt x="92" y="140"/>
                </a:lnTo>
                <a:lnTo>
                  <a:pt x="92" y="140"/>
                </a:lnTo>
                <a:lnTo>
                  <a:pt x="94" y="138"/>
                </a:lnTo>
                <a:lnTo>
                  <a:pt x="94" y="138"/>
                </a:lnTo>
                <a:lnTo>
                  <a:pt x="96" y="134"/>
                </a:lnTo>
                <a:lnTo>
                  <a:pt x="100" y="130"/>
                </a:lnTo>
                <a:lnTo>
                  <a:pt x="100" y="130"/>
                </a:lnTo>
                <a:lnTo>
                  <a:pt x="102" y="128"/>
                </a:lnTo>
                <a:lnTo>
                  <a:pt x="102" y="124"/>
                </a:lnTo>
                <a:lnTo>
                  <a:pt x="102" y="116"/>
                </a:lnTo>
                <a:lnTo>
                  <a:pt x="102" y="116"/>
                </a:lnTo>
                <a:lnTo>
                  <a:pt x="100" y="114"/>
                </a:lnTo>
                <a:lnTo>
                  <a:pt x="102" y="112"/>
                </a:lnTo>
                <a:lnTo>
                  <a:pt x="104" y="110"/>
                </a:lnTo>
                <a:lnTo>
                  <a:pt x="104" y="110"/>
                </a:lnTo>
                <a:lnTo>
                  <a:pt x="104" y="102"/>
                </a:lnTo>
                <a:lnTo>
                  <a:pt x="106" y="94"/>
                </a:lnTo>
                <a:lnTo>
                  <a:pt x="106" y="94"/>
                </a:lnTo>
                <a:lnTo>
                  <a:pt x="106" y="86"/>
                </a:lnTo>
                <a:lnTo>
                  <a:pt x="108" y="80"/>
                </a:lnTo>
                <a:lnTo>
                  <a:pt x="108" y="80"/>
                </a:lnTo>
                <a:lnTo>
                  <a:pt x="106" y="80"/>
                </a:lnTo>
                <a:lnTo>
                  <a:pt x="104" y="80"/>
                </a:lnTo>
                <a:lnTo>
                  <a:pt x="100" y="82"/>
                </a:lnTo>
                <a:lnTo>
                  <a:pt x="100" y="82"/>
                </a:lnTo>
                <a:lnTo>
                  <a:pt x="98" y="82"/>
                </a:lnTo>
                <a:lnTo>
                  <a:pt x="98" y="80"/>
                </a:lnTo>
                <a:lnTo>
                  <a:pt x="96" y="74"/>
                </a:lnTo>
                <a:lnTo>
                  <a:pt x="96" y="74"/>
                </a:lnTo>
                <a:lnTo>
                  <a:pt x="96" y="60"/>
                </a:lnTo>
                <a:lnTo>
                  <a:pt x="96" y="60"/>
                </a:lnTo>
                <a:lnTo>
                  <a:pt x="96" y="56"/>
                </a:lnTo>
                <a:lnTo>
                  <a:pt x="94" y="54"/>
                </a:lnTo>
                <a:lnTo>
                  <a:pt x="90" y="52"/>
                </a:lnTo>
                <a:lnTo>
                  <a:pt x="90" y="52"/>
                </a:lnTo>
                <a:lnTo>
                  <a:pt x="88" y="52"/>
                </a:lnTo>
                <a:lnTo>
                  <a:pt x="86" y="50"/>
                </a:lnTo>
                <a:lnTo>
                  <a:pt x="86" y="48"/>
                </a:lnTo>
                <a:lnTo>
                  <a:pt x="84" y="44"/>
                </a:lnTo>
                <a:lnTo>
                  <a:pt x="80" y="46"/>
                </a:lnTo>
                <a:lnTo>
                  <a:pt x="80" y="46"/>
                </a:lnTo>
                <a:lnTo>
                  <a:pt x="72" y="46"/>
                </a:lnTo>
                <a:lnTo>
                  <a:pt x="66" y="44"/>
                </a:lnTo>
                <a:lnTo>
                  <a:pt x="64" y="42"/>
                </a:lnTo>
                <a:lnTo>
                  <a:pt x="64" y="42"/>
                </a:lnTo>
                <a:lnTo>
                  <a:pt x="64" y="38"/>
                </a:lnTo>
                <a:lnTo>
                  <a:pt x="62" y="34"/>
                </a:lnTo>
                <a:lnTo>
                  <a:pt x="62" y="32"/>
                </a:lnTo>
                <a:lnTo>
                  <a:pt x="62" y="32"/>
                </a:lnTo>
                <a:lnTo>
                  <a:pt x="64" y="24"/>
                </a:lnTo>
                <a:lnTo>
                  <a:pt x="62" y="18"/>
                </a:lnTo>
                <a:lnTo>
                  <a:pt x="62" y="18"/>
                </a:lnTo>
                <a:lnTo>
                  <a:pt x="58" y="12"/>
                </a:lnTo>
                <a:lnTo>
                  <a:pt x="56" y="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9" name="Freeform 113">
            <a:extLst>
              <a:ext uri="{FF2B5EF4-FFF2-40B4-BE49-F238E27FC236}">
                <a16:creationId xmlns:a16="http://schemas.microsoft.com/office/drawing/2014/main" id="{56A1DA1E-A3CC-40EE-9BF8-D9A9BCF79AF6}"/>
              </a:ext>
            </a:extLst>
          </p:cNvPr>
          <p:cNvSpPr>
            <a:spLocks noEditPoints="1"/>
          </p:cNvSpPr>
          <p:nvPr userDrawn="1"/>
        </p:nvSpPr>
        <p:spPr bwMode="auto">
          <a:xfrm>
            <a:off x="8996904" y="3769879"/>
            <a:ext cx="342115" cy="233374"/>
          </a:xfrm>
          <a:custGeom>
            <a:avLst/>
            <a:gdLst>
              <a:gd name="T0" fmla="*/ 184 w 204"/>
              <a:gd name="T1" fmla="*/ 58 h 136"/>
              <a:gd name="T2" fmla="*/ 190 w 204"/>
              <a:gd name="T3" fmla="*/ 66 h 136"/>
              <a:gd name="T4" fmla="*/ 200 w 204"/>
              <a:gd name="T5" fmla="*/ 74 h 136"/>
              <a:gd name="T6" fmla="*/ 200 w 204"/>
              <a:gd name="T7" fmla="*/ 62 h 136"/>
              <a:gd name="T8" fmla="*/ 190 w 204"/>
              <a:gd name="T9" fmla="*/ 50 h 136"/>
              <a:gd name="T10" fmla="*/ 184 w 204"/>
              <a:gd name="T11" fmla="*/ 44 h 136"/>
              <a:gd name="T12" fmla="*/ 0 w 204"/>
              <a:gd name="T13" fmla="*/ 68 h 136"/>
              <a:gd name="T14" fmla="*/ 16 w 204"/>
              <a:gd name="T15" fmla="*/ 108 h 136"/>
              <a:gd name="T16" fmla="*/ 22 w 204"/>
              <a:gd name="T17" fmla="*/ 108 h 136"/>
              <a:gd name="T18" fmla="*/ 36 w 204"/>
              <a:gd name="T19" fmla="*/ 102 h 136"/>
              <a:gd name="T20" fmla="*/ 38 w 204"/>
              <a:gd name="T21" fmla="*/ 94 h 136"/>
              <a:gd name="T22" fmla="*/ 42 w 204"/>
              <a:gd name="T23" fmla="*/ 90 h 136"/>
              <a:gd name="T24" fmla="*/ 48 w 204"/>
              <a:gd name="T25" fmla="*/ 88 h 136"/>
              <a:gd name="T26" fmla="*/ 68 w 204"/>
              <a:gd name="T27" fmla="*/ 94 h 136"/>
              <a:gd name="T28" fmla="*/ 78 w 204"/>
              <a:gd name="T29" fmla="*/ 108 h 136"/>
              <a:gd name="T30" fmla="*/ 84 w 204"/>
              <a:gd name="T31" fmla="*/ 114 h 136"/>
              <a:gd name="T32" fmla="*/ 90 w 204"/>
              <a:gd name="T33" fmla="*/ 120 h 136"/>
              <a:gd name="T34" fmla="*/ 96 w 204"/>
              <a:gd name="T35" fmla="*/ 126 h 136"/>
              <a:gd name="T36" fmla="*/ 104 w 204"/>
              <a:gd name="T37" fmla="*/ 128 h 136"/>
              <a:gd name="T38" fmla="*/ 118 w 204"/>
              <a:gd name="T39" fmla="*/ 132 h 136"/>
              <a:gd name="T40" fmla="*/ 128 w 204"/>
              <a:gd name="T41" fmla="*/ 136 h 136"/>
              <a:gd name="T42" fmla="*/ 122 w 204"/>
              <a:gd name="T43" fmla="*/ 128 h 136"/>
              <a:gd name="T44" fmla="*/ 122 w 204"/>
              <a:gd name="T45" fmla="*/ 120 h 136"/>
              <a:gd name="T46" fmla="*/ 114 w 204"/>
              <a:gd name="T47" fmla="*/ 120 h 136"/>
              <a:gd name="T48" fmla="*/ 104 w 204"/>
              <a:gd name="T49" fmla="*/ 108 h 136"/>
              <a:gd name="T50" fmla="*/ 100 w 204"/>
              <a:gd name="T51" fmla="*/ 96 h 136"/>
              <a:gd name="T52" fmla="*/ 90 w 204"/>
              <a:gd name="T53" fmla="*/ 90 h 136"/>
              <a:gd name="T54" fmla="*/ 86 w 204"/>
              <a:gd name="T55" fmla="*/ 74 h 136"/>
              <a:gd name="T56" fmla="*/ 94 w 204"/>
              <a:gd name="T57" fmla="*/ 70 h 136"/>
              <a:gd name="T58" fmla="*/ 94 w 204"/>
              <a:gd name="T59" fmla="*/ 62 h 136"/>
              <a:gd name="T60" fmla="*/ 88 w 204"/>
              <a:gd name="T61" fmla="*/ 56 h 136"/>
              <a:gd name="T62" fmla="*/ 82 w 204"/>
              <a:gd name="T63" fmla="*/ 52 h 136"/>
              <a:gd name="T64" fmla="*/ 72 w 204"/>
              <a:gd name="T65" fmla="*/ 48 h 136"/>
              <a:gd name="T66" fmla="*/ 68 w 204"/>
              <a:gd name="T67" fmla="*/ 40 h 136"/>
              <a:gd name="T68" fmla="*/ 56 w 204"/>
              <a:gd name="T69" fmla="*/ 28 h 136"/>
              <a:gd name="T70" fmla="*/ 46 w 204"/>
              <a:gd name="T71" fmla="*/ 20 h 136"/>
              <a:gd name="T72" fmla="*/ 30 w 204"/>
              <a:gd name="T73" fmla="*/ 16 h 136"/>
              <a:gd name="T74" fmla="*/ 14 w 204"/>
              <a:gd name="T75" fmla="*/ 10 h 136"/>
              <a:gd name="T76" fmla="*/ 2 w 204"/>
              <a:gd name="T77" fmla="*/ 0 h 136"/>
              <a:gd name="T78" fmla="*/ 146 w 204"/>
              <a:gd name="T79" fmla="*/ 32 h 136"/>
              <a:gd name="T80" fmla="*/ 144 w 204"/>
              <a:gd name="T81" fmla="*/ 38 h 136"/>
              <a:gd name="T82" fmla="*/ 140 w 204"/>
              <a:gd name="T83" fmla="*/ 46 h 136"/>
              <a:gd name="T84" fmla="*/ 128 w 204"/>
              <a:gd name="T85" fmla="*/ 44 h 136"/>
              <a:gd name="T86" fmla="*/ 112 w 204"/>
              <a:gd name="T87" fmla="*/ 52 h 136"/>
              <a:gd name="T88" fmla="*/ 112 w 204"/>
              <a:gd name="T89" fmla="*/ 58 h 136"/>
              <a:gd name="T90" fmla="*/ 126 w 204"/>
              <a:gd name="T91" fmla="*/ 60 h 136"/>
              <a:gd name="T92" fmla="*/ 142 w 204"/>
              <a:gd name="T93" fmla="*/ 54 h 136"/>
              <a:gd name="T94" fmla="*/ 146 w 204"/>
              <a:gd name="T95" fmla="*/ 50 h 136"/>
              <a:gd name="T96" fmla="*/ 152 w 204"/>
              <a:gd name="T97" fmla="*/ 46 h 136"/>
              <a:gd name="T98" fmla="*/ 156 w 204"/>
              <a:gd name="T99" fmla="*/ 40 h 136"/>
              <a:gd name="T100" fmla="*/ 154 w 204"/>
              <a:gd name="T101" fmla="*/ 32 h 136"/>
              <a:gd name="T102" fmla="*/ 150 w 204"/>
              <a:gd name="T103" fmla="*/ 30 h 136"/>
              <a:gd name="T104" fmla="*/ 156 w 204"/>
              <a:gd name="T105" fmla="*/ 24 h 136"/>
              <a:gd name="T106" fmla="*/ 158 w 204"/>
              <a:gd name="T107" fmla="*/ 34 h 136"/>
              <a:gd name="T108" fmla="*/ 162 w 204"/>
              <a:gd name="T109" fmla="*/ 34 h 136"/>
              <a:gd name="T110" fmla="*/ 136 w 204"/>
              <a:gd name="T111" fmla="*/ 6 h 136"/>
              <a:gd name="T112" fmla="*/ 146 w 204"/>
              <a:gd name="T113" fmla="*/ 14 h 136"/>
              <a:gd name="T114" fmla="*/ 150 w 204"/>
              <a:gd name="T115" fmla="*/ 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4" h="136">
                <a:moveTo>
                  <a:pt x="182" y="42"/>
                </a:moveTo>
                <a:lnTo>
                  <a:pt x="182" y="42"/>
                </a:lnTo>
                <a:lnTo>
                  <a:pt x="182" y="54"/>
                </a:lnTo>
                <a:lnTo>
                  <a:pt x="182" y="54"/>
                </a:lnTo>
                <a:lnTo>
                  <a:pt x="184" y="58"/>
                </a:lnTo>
                <a:lnTo>
                  <a:pt x="186" y="60"/>
                </a:lnTo>
                <a:lnTo>
                  <a:pt x="186" y="60"/>
                </a:lnTo>
                <a:lnTo>
                  <a:pt x="186" y="64"/>
                </a:lnTo>
                <a:lnTo>
                  <a:pt x="186" y="64"/>
                </a:lnTo>
                <a:lnTo>
                  <a:pt x="190" y="66"/>
                </a:lnTo>
                <a:lnTo>
                  <a:pt x="190" y="66"/>
                </a:lnTo>
                <a:lnTo>
                  <a:pt x="190" y="70"/>
                </a:lnTo>
                <a:lnTo>
                  <a:pt x="190" y="70"/>
                </a:lnTo>
                <a:lnTo>
                  <a:pt x="200" y="74"/>
                </a:lnTo>
                <a:lnTo>
                  <a:pt x="200" y="74"/>
                </a:lnTo>
                <a:lnTo>
                  <a:pt x="204" y="70"/>
                </a:lnTo>
                <a:lnTo>
                  <a:pt x="204" y="70"/>
                </a:lnTo>
                <a:lnTo>
                  <a:pt x="202" y="66"/>
                </a:lnTo>
                <a:lnTo>
                  <a:pt x="200" y="62"/>
                </a:lnTo>
                <a:lnTo>
                  <a:pt x="200" y="62"/>
                </a:lnTo>
                <a:lnTo>
                  <a:pt x="196" y="62"/>
                </a:lnTo>
                <a:lnTo>
                  <a:pt x="196" y="62"/>
                </a:lnTo>
                <a:lnTo>
                  <a:pt x="190" y="54"/>
                </a:lnTo>
                <a:lnTo>
                  <a:pt x="190" y="54"/>
                </a:lnTo>
                <a:lnTo>
                  <a:pt x="190" y="50"/>
                </a:lnTo>
                <a:lnTo>
                  <a:pt x="190" y="50"/>
                </a:lnTo>
                <a:lnTo>
                  <a:pt x="188" y="50"/>
                </a:lnTo>
                <a:lnTo>
                  <a:pt x="186" y="48"/>
                </a:lnTo>
                <a:lnTo>
                  <a:pt x="186" y="48"/>
                </a:lnTo>
                <a:lnTo>
                  <a:pt x="184" y="44"/>
                </a:lnTo>
                <a:lnTo>
                  <a:pt x="184" y="42"/>
                </a:lnTo>
                <a:lnTo>
                  <a:pt x="182" y="42"/>
                </a:lnTo>
                <a:close/>
                <a:moveTo>
                  <a:pt x="2" y="2"/>
                </a:moveTo>
                <a:lnTo>
                  <a:pt x="2" y="62"/>
                </a:lnTo>
                <a:lnTo>
                  <a:pt x="0" y="68"/>
                </a:lnTo>
                <a:lnTo>
                  <a:pt x="2" y="74"/>
                </a:lnTo>
                <a:lnTo>
                  <a:pt x="2" y="108"/>
                </a:lnTo>
                <a:lnTo>
                  <a:pt x="2" y="108"/>
                </a:lnTo>
                <a:lnTo>
                  <a:pt x="16" y="108"/>
                </a:lnTo>
                <a:lnTo>
                  <a:pt x="16" y="108"/>
                </a:lnTo>
                <a:lnTo>
                  <a:pt x="20" y="106"/>
                </a:lnTo>
                <a:lnTo>
                  <a:pt x="20" y="106"/>
                </a:lnTo>
                <a:lnTo>
                  <a:pt x="22" y="106"/>
                </a:lnTo>
                <a:lnTo>
                  <a:pt x="22" y="108"/>
                </a:lnTo>
                <a:lnTo>
                  <a:pt x="22" y="108"/>
                </a:lnTo>
                <a:lnTo>
                  <a:pt x="26" y="108"/>
                </a:lnTo>
                <a:lnTo>
                  <a:pt x="30" y="108"/>
                </a:lnTo>
                <a:lnTo>
                  <a:pt x="36" y="104"/>
                </a:lnTo>
                <a:lnTo>
                  <a:pt x="36" y="102"/>
                </a:lnTo>
                <a:lnTo>
                  <a:pt x="36" y="102"/>
                </a:lnTo>
                <a:lnTo>
                  <a:pt x="38" y="100"/>
                </a:lnTo>
                <a:lnTo>
                  <a:pt x="38" y="100"/>
                </a:lnTo>
                <a:lnTo>
                  <a:pt x="38" y="98"/>
                </a:lnTo>
                <a:lnTo>
                  <a:pt x="38" y="94"/>
                </a:lnTo>
                <a:lnTo>
                  <a:pt x="38" y="94"/>
                </a:lnTo>
                <a:lnTo>
                  <a:pt x="40" y="88"/>
                </a:lnTo>
                <a:lnTo>
                  <a:pt x="40" y="88"/>
                </a:lnTo>
                <a:lnTo>
                  <a:pt x="42" y="88"/>
                </a:lnTo>
                <a:lnTo>
                  <a:pt x="42" y="90"/>
                </a:lnTo>
                <a:lnTo>
                  <a:pt x="42" y="90"/>
                </a:lnTo>
                <a:lnTo>
                  <a:pt x="44" y="90"/>
                </a:lnTo>
                <a:lnTo>
                  <a:pt x="44" y="90"/>
                </a:lnTo>
                <a:lnTo>
                  <a:pt x="46" y="90"/>
                </a:lnTo>
                <a:lnTo>
                  <a:pt x="48" y="88"/>
                </a:lnTo>
                <a:lnTo>
                  <a:pt x="48" y="88"/>
                </a:lnTo>
                <a:lnTo>
                  <a:pt x="54" y="92"/>
                </a:lnTo>
                <a:lnTo>
                  <a:pt x="54" y="92"/>
                </a:lnTo>
                <a:lnTo>
                  <a:pt x="60" y="92"/>
                </a:lnTo>
                <a:lnTo>
                  <a:pt x="68" y="94"/>
                </a:lnTo>
                <a:lnTo>
                  <a:pt x="68" y="94"/>
                </a:lnTo>
                <a:lnTo>
                  <a:pt x="76" y="102"/>
                </a:lnTo>
                <a:lnTo>
                  <a:pt x="76" y="102"/>
                </a:lnTo>
                <a:lnTo>
                  <a:pt x="76" y="106"/>
                </a:lnTo>
                <a:lnTo>
                  <a:pt x="76" y="108"/>
                </a:lnTo>
                <a:lnTo>
                  <a:pt x="78" y="108"/>
                </a:lnTo>
                <a:lnTo>
                  <a:pt x="80" y="110"/>
                </a:lnTo>
                <a:lnTo>
                  <a:pt x="80" y="110"/>
                </a:lnTo>
                <a:lnTo>
                  <a:pt x="82" y="112"/>
                </a:lnTo>
                <a:lnTo>
                  <a:pt x="82" y="114"/>
                </a:lnTo>
                <a:lnTo>
                  <a:pt x="84" y="114"/>
                </a:lnTo>
                <a:lnTo>
                  <a:pt x="86" y="114"/>
                </a:lnTo>
                <a:lnTo>
                  <a:pt x="86" y="114"/>
                </a:lnTo>
                <a:lnTo>
                  <a:pt x="86" y="118"/>
                </a:lnTo>
                <a:lnTo>
                  <a:pt x="86" y="118"/>
                </a:lnTo>
                <a:lnTo>
                  <a:pt x="90" y="120"/>
                </a:lnTo>
                <a:lnTo>
                  <a:pt x="92" y="122"/>
                </a:lnTo>
                <a:lnTo>
                  <a:pt x="92" y="122"/>
                </a:lnTo>
                <a:lnTo>
                  <a:pt x="92" y="126"/>
                </a:lnTo>
                <a:lnTo>
                  <a:pt x="92" y="126"/>
                </a:lnTo>
                <a:lnTo>
                  <a:pt x="96" y="126"/>
                </a:lnTo>
                <a:lnTo>
                  <a:pt x="98" y="126"/>
                </a:lnTo>
                <a:lnTo>
                  <a:pt x="98" y="126"/>
                </a:lnTo>
                <a:lnTo>
                  <a:pt x="102" y="130"/>
                </a:lnTo>
                <a:lnTo>
                  <a:pt x="102" y="130"/>
                </a:lnTo>
                <a:lnTo>
                  <a:pt x="104" y="128"/>
                </a:lnTo>
                <a:lnTo>
                  <a:pt x="106" y="128"/>
                </a:lnTo>
                <a:lnTo>
                  <a:pt x="108" y="130"/>
                </a:lnTo>
                <a:lnTo>
                  <a:pt x="108" y="130"/>
                </a:lnTo>
                <a:lnTo>
                  <a:pt x="112" y="130"/>
                </a:lnTo>
                <a:lnTo>
                  <a:pt x="118" y="132"/>
                </a:lnTo>
                <a:lnTo>
                  <a:pt x="118" y="132"/>
                </a:lnTo>
                <a:lnTo>
                  <a:pt x="120" y="134"/>
                </a:lnTo>
                <a:lnTo>
                  <a:pt x="120" y="134"/>
                </a:lnTo>
                <a:lnTo>
                  <a:pt x="124" y="136"/>
                </a:lnTo>
                <a:lnTo>
                  <a:pt x="128" y="136"/>
                </a:lnTo>
                <a:lnTo>
                  <a:pt x="128" y="136"/>
                </a:lnTo>
                <a:lnTo>
                  <a:pt x="128" y="130"/>
                </a:lnTo>
                <a:lnTo>
                  <a:pt x="128" y="130"/>
                </a:lnTo>
                <a:lnTo>
                  <a:pt x="126" y="128"/>
                </a:lnTo>
                <a:lnTo>
                  <a:pt x="122" y="128"/>
                </a:lnTo>
                <a:lnTo>
                  <a:pt x="122" y="128"/>
                </a:lnTo>
                <a:lnTo>
                  <a:pt x="120" y="126"/>
                </a:lnTo>
                <a:lnTo>
                  <a:pt x="120" y="126"/>
                </a:lnTo>
                <a:lnTo>
                  <a:pt x="122" y="120"/>
                </a:lnTo>
                <a:lnTo>
                  <a:pt x="122" y="120"/>
                </a:lnTo>
                <a:lnTo>
                  <a:pt x="118" y="118"/>
                </a:lnTo>
                <a:lnTo>
                  <a:pt x="118" y="118"/>
                </a:lnTo>
                <a:lnTo>
                  <a:pt x="116" y="120"/>
                </a:lnTo>
                <a:lnTo>
                  <a:pt x="114" y="120"/>
                </a:lnTo>
                <a:lnTo>
                  <a:pt x="114" y="120"/>
                </a:lnTo>
                <a:lnTo>
                  <a:pt x="112" y="114"/>
                </a:lnTo>
                <a:lnTo>
                  <a:pt x="112" y="110"/>
                </a:lnTo>
                <a:lnTo>
                  <a:pt x="112" y="110"/>
                </a:lnTo>
                <a:lnTo>
                  <a:pt x="104" y="108"/>
                </a:lnTo>
                <a:lnTo>
                  <a:pt x="104" y="108"/>
                </a:lnTo>
                <a:lnTo>
                  <a:pt x="104" y="102"/>
                </a:lnTo>
                <a:lnTo>
                  <a:pt x="104" y="102"/>
                </a:lnTo>
                <a:lnTo>
                  <a:pt x="100" y="100"/>
                </a:lnTo>
                <a:lnTo>
                  <a:pt x="100" y="100"/>
                </a:lnTo>
                <a:lnTo>
                  <a:pt x="100" y="96"/>
                </a:lnTo>
                <a:lnTo>
                  <a:pt x="100" y="96"/>
                </a:lnTo>
                <a:lnTo>
                  <a:pt x="98" y="94"/>
                </a:lnTo>
                <a:lnTo>
                  <a:pt x="94" y="94"/>
                </a:lnTo>
                <a:lnTo>
                  <a:pt x="94" y="94"/>
                </a:lnTo>
                <a:lnTo>
                  <a:pt x="90" y="90"/>
                </a:lnTo>
                <a:lnTo>
                  <a:pt x="88" y="86"/>
                </a:lnTo>
                <a:lnTo>
                  <a:pt x="88" y="76"/>
                </a:lnTo>
                <a:lnTo>
                  <a:pt x="88" y="76"/>
                </a:lnTo>
                <a:lnTo>
                  <a:pt x="86" y="76"/>
                </a:lnTo>
                <a:lnTo>
                  <a:pt x="86" y="74"/>
                </a:lnTo>
                <a:lnTo>
                  <a:pt x="86" y="72"/>
                </a:lnTo>
                <a:lnTo>
                  <a:pt x="86" y="72"/>
                </a:lnTo>
                <a:lnTo>
                  <a:pt x="88" y="72"/>
                </a:lnTo>
                <a:lnTo>
                  <a:pt x="92" y="72"/>
                </a:lnTo>
                <a:lnTo>
                  <a:pt x="94" y="70"/>
                </a:lnTo>
                <a:lnTo>
                  <a:pt x="96" y="68"/>
                </a:lnTo>
                <a:lnTo>
                  <a:pt x="96" y="68"/>
                </a:lnTo>
                <a:lnTo>
                  <a:pt x="96" y="62"/>
                </a:lnTo>
                <a:lnTo>
                  <a:pt x="96" y="62"/>
                </a:lnTo>
                <a:lnTo>
                  <a:pt x="94" y="62"/>
                </a:lnTo>
                <a:lnTo>
                  <a:pt x="94" y="62"/>
                </a:lnTo>
                <a:lnTo>
                  <a:pt x="92" y="58"/>
                </a:lnTo>
                <a:lnTo>
                  <a:pt x="92" y="58"/>
                </a:lnTo>
                <a:lnTo>
                  <a:pt x="88" y="56"/>
                </a:lnTo>
                <a:lnTo>
                  <a:pt x="88" y="56"/>
                </a:lnTo>
                <a:lnTo>
                  <a:pt x="86" y="58"/>
                </a:lnTo>
                <a:lnTo>
                  <a:pt x="86" y="58"/>
                </a:lnTo>
                <a:lnTo>
                  <a:pt x="84" y="58"/>
                </a:lnTo>
                <a:lnTo>
                  <a:pt x="84" y="58"/>
                </a:lnTo>
                <a:lnTo>
                  <a:pt x="82" y="52"/>
                </a:lnTo>
                <a:lnTo>
                  <a:pt x="80" y="52"/>
                </a:lnTo>
                <a:lnTo>
                  <a:pt x="80" y="52"/>
                </a:lnTo>
                <a:lnTo>
                  <a:pt x="80" y="48"/>
                </a:lnTo>
                <a:lnTo>
                  <a:pt x="80" y="48"/>
                </a:lnTo>
                <a:lnTo>
                  <a:pt x="72" y="48"/>
                </a:lnTo>
                <a:lnTo>
                  <a:pt x="70" y="48"/>
                </a:lnTo>
                <a:lnTo>
                  <a:pt x="66" y="46"/>
                </a:lnTo>
                <a:lnTo>
                  <a:pt x="66" y="46"/>
                </a:lnTo>
                <a:lnTo>
                  <a:pt x="66" y="44"/>
                </a:lnTo>
                <a:lnTo>
                  <a:pt x="68" y="40"/>
                </a:lnTo>
                <a:lnTo>
                  <a:pt x="68" y="40"/>
                </a:lnTo>
                <a:lnTo>
                  <a:pt x="64" y="34"/>
                </a:lnTo>
                <a:lnTo>
                  <a:pt x="58" y="28"/>
                </a:lnTo>
                <a:lnTo>
                  <a:pt x="58" y="28"/>
                </a:lnTo>
                <a:lnTo>
                  <a:pt x="56" y="28"/>
                </a:lnTo>
                <a:lnTo>
                  <a:pt x="52" y="28"/>
                </a:lnTo>
                <a:lnTo>
                  <a:pt x="52" y="28"/>
                </a:lnTo>
                <a:lnTo>
                  <a:pt x="50" y="24"/>
                </a:lnTo>
                <a:lnTo>
                  <a:pt x="46" y="20"/>
                </a:lnTo>
                <a:lnTo>
                  <a:pt x="46" y="20"/>
                </a:lnTo>
                <a:lnTo>
                  <a:pt x="40" y="20"/>
                </a:lnTo>
                <a:lnTo>
                  <a:pt x="40" y="20"/>
                </a:lnTo>
                <a:lnTo>
                  <a:pt x="36" y="16"/>
                </a:lnTo>
                <a:lnTo>
                  <a:pt x="36" y="16"/>
                </a:lnTo>
                <a:lnTo>
                  <a:pt x="30" y="16"/>
                </a:lnTo>
                <a:lnTo>
                  <a:pt x="30" y="16"/>
                </a:lnTo>
                <a:lnTo>
                  <a:pt x="26" y="12"/>
                </a:lnTo>
                <a:lnTo>
                  <a:pt x="26" y="12"/>
                </a:lnTo>
                <a:lnTo>
                  <a:pt x="20" y="12"/>
                </a:lnTo>
                <a:lnTo>
                  <a:pt x="14" y="10"/>
                </a:lnTo>
                <a:lnTo>
                  <a:pt x="14" y="10"/>
                </a:lnTo>
                <a:lnTo>
                  <a:pt x="4" y="2"/>
                </a:lnTo>
                <a:lnTo>
                  <a:pt x="4" y="0"/>
                </a:lnTo>
                <a:lnTo>
                  <a:pt x="4" y="0"/>
                </a:lnTo>
                <a:lnTo>
                  <a:pt x="2" y="0"/>
                </a:lnTo>
                <a:lnTo>
                  <a:pt x="2" y="2"/>
                </a:lnTo>
                <a:lnTo>
                  <a:pt x="2" y="2"/>
                </a:lnTo>
                <a:close/>
                <a:moveTo>
                  <a:pt x="150" y="30"/>
                </a:moveTo>
                <a:lnTo>
                  <a:pt x="150" y="30"/>
                </a:lnTo>
                <a:lnTo>
                  <a:pt x="146" y="32"/>
                </a:lnTo>
                <a:lnTo>
                  <a:pt x="146" y="34"/>
                </a:lnTo>
                <a:lnTo>
                  <a:pt x="148" y="34"/>
                </a:lnTo>
                <a:lnTo>
                  <a:pt x="148" y="38"/>
                </a:lnTo>
                <a:lnTo>
                  <a:pt x="148" y="38"/>
                </a:lnTo>
                <a:lnTo>
                  <a:pt x="144" y="38"/>
                </a:lnTo>
                <a:lnTo>
                  <a:pt x="142" y="40"/>
                </a:lnTo>
                <a:lnTo>
                  <a:pt x="142" y="40"/>
                </a:lnTo>
                <a:lnTo>
                  <a:pt x="142" y="42"/>
                </a:lnTo>
                <a:lnTo>
                  <a:pt x="142" y="42"/>
                </a:lnTo>
                <a:lnTo>
                  <a:pt x="140" y="46"/>
                </a:lnTo>
                <a:lnTo>
                  <a:pt x="138" y="48"/>
                </a:lnTo>
                <a:lnTo>
                  <a:pt x="130" y="48"/>
                </a:lnTo>
                <a:lnTo>
                  <a:pt x="130" y="48"/>
                </a:lnTo>
                <a:lnTo>
                  <a:pt x="128" y="44"/>
                </a:lnTo>
                <a:lnTo>
                  <a:pt x="128" y="44"/>
                </a:lnTo>
                <a:lnTo>
                  <a:pt x="122" y="50"/>
                </a:lnTo>
                <a:lnTo>
                  <a:pt x="120" y="52"/>
                </a:lnTo>
                <a:lnTo>
                  <a:pt x="114" y="52"/>
                </a:lnTo>
                <a:lnTo>
                  <a:pt x="114" y="52"/>
                </a:lnTo>
                <a:lnTo>
                  <a:pt x="112" y="52"/>
                </a:lnTo>
                <a:lnTo>
                  <a:pt x="108" y="50"/>
                </a:lnTo>
                <a:lnTo>
                  <a:pt x="108" y="50"/>
                </a:lnTo>
                <a:lnTo>
                  <a:pt x="106" y="54"/>
                </a:lnTo>
                <a:lnTo>
                  <a:pt x="106" y="54"/>
                </a:lnTo>
                <a:lnTo>
                  <a:pt x="112" y="58"/>
                </a:lnTo>
                <a:lnTo>
                  <a:pt x="112" y="58"/>
                </a:lnTo>
                <a:lnTo>
                  <a:pt x="114" y="60"/>
                </a:lnTo>
                <a:lnTo>
                  <a:pt x="114" y="60"/>
                </a:lnTo>
                <a:lnTo>
                  <a:pt x="120" y="60"/>
                </a:lnTo>
                <a:lnTo>
                  <a:pt x="126" y="60"/>
                </a:lnTo>
                <a:lnTo>
                  <a:pt x="126" y="60"/>
                </a:lnTo>
                <a:lnTo>
                  <a:pt x="132" y="60"/>
                </a:lnTo>
                <a:lnTo>
                  <a:pt x="138" y="58"/>
                </a:lnTo>
                <a:lnTo>
                  <a:pt x="138" y="58"/>
                </a:lnTo>
                <a:lnTo>
                  <a:pt x="142" y="54"/>
                </a:lnTo>
                <a:lnTo>
                  <a:pt x="142" y="54"/>
                </a:lnTo>
                <a:lnTo>
                  <a:pt x="144" y="54"/>
                </a:lnTo>
                <a:lnTo>
                  <a:pt x="146" y="52"/>
                </a:lnTo>
                <a:lnTo>
                  <a:pt x="146" y="52"/>
                </a:lnTo>
                <a:lnTo>
                  <a:pt x="146" y="50"/>
                </a:lnTo>
                <a:lnTo>
                  <a:pt x="146" y="48"/>
                </a:lnTo>
                <a:lnTo>
                  <a:pt x="146" y="48"/>
                </a:lnTo>
                <a:lnTo>
                  <a:pt x="150" y="48"/>
                </a:lnTo>
                <a:lnTo>
                  <a:pt x="152" y="46"/>
                </a:lnTo>
                <a:lnTo>
                  <a:pt x="152" y="46"/>
                </a:lnTo>
                <a:lnTo>
                  <a:pt x="154" y="44"/>
                </a:lnTo>
                <a:lnTo>
                  <a:pt x="152" y="40"/>
                </a:lnTo>
                <a:lnTo>
                  <a:pt x="152" y="40"/>
                </a:lnTo>
                <a:lnTo>
                  <a:pt x="156" y="40"/>
                </a:lnTo>
                <a:lnTo>
                  <a:pt x="156" y="40"/>
                </a:lnTo>
                <a:lnTo>
                  <a:pt x="156" y="38"/>
                </a:lnTo>
                <a:lnTo>
                  <a:pt x="156" y="36"/>
                </a:lnTo>
                <a:lnTo>
                  <a:pt x="156" y="36"/>
                </a:lnTo>
                <a:lnTo>
                  <a:pt x="156" y="32"/>
                </a:lnTo>
                <a:lnTo>
                  <a:pt x="154" y="32"/>
                </a:lnTo>
                <a:lnTo>
                  <a:pt x="154" y="32"/>
                </a:lnTo>
                <a:lnTo>
                  <a:pt x="154" y="30"/>
                </a:lnTo>
                <a:lnTo>
                  <a:pt x="154" y="30"/>
                </a:lnTo>
                <a:lnTo>
                  <a:pt x="150" y="30"/>
                </a:lnTo>
                <a:lnTo>
                  <a:pt x="150" y="30"/>
                </a:lnTo>
                <a:close/>
                <a:moveTo>
                  <a:pt x="152" y="16"/>
                </a:moveTo>
                <a:lnTo>
                  <a:pt x="152" y="16"/>
                </a:lnTo>
                <a:lnTo>
                  <a:pt x="152" y="20"/>
                </a:lnTo>
                <a:lnTo>
                  <a:pt x="152" y="20"/>
                </a:lnTo>
                <a:lnTo>
                  <a:pt x="156" y="24"/>
                </a:lnTo>
                <a:lnTo>
                  <a:pt x="158" y="26"/>
                </a:lnTo>
                <a:lnTo>
                  <a:pt x="158" y="26"/>
                </a:lnTo>
                <a:lnTo>
                  <a:pt x="158" y="30"/>
                </a:lnTo>
                <a:lnTo>
                  <a:pt x="158" y="32"/>
                </a:lnTo>
                <a:lnTo>
                  <a:pt x="158" y="34"/>
                </a:lnTo>
                <a:lnTo>
                  <a:pt x="160" y="36"/>
                </a:lnTo>
                <a:lnTo>
                  <a:pt x="162" y="36"/>
                </a:lnTo>
                <a:lnTo>
                  <a:pt x="162" y="36"/>
                </a:lnTo>
                <a:lnTo>
                  <a:pt x="162" y="34"/>
                </a:lnTo>
                <a:lnTo>
                  <a:pt x="162" y="34"/>
                </a:lnTo>
                <a:lnTo>
                  <a:pt x="164" y="28"/>
                </a:lnTo>
                <a:lnTo>
                  <a:pt x="160" y="22"/>
                </a:lnTo>
                <a:lnTo>
                  <a:pt x="152" y="16"/>
                </a:lnTo>
                <a:lnTo>
                  <a:pt x="152" y="16"/>
                </a:lnTo>
                <a:close/>
                <a:moveTo>
                  <a:pt x="136" y="6"/>
                </a:moveTo>
                <a:lnTo>
                  <a:pt x="136" y="6"/>
                </a:lnTo>
                <a:lnTo>
                  <a:pt x="136" y="10"/>
                </a:lnTo>
                <a:lnTo>
                  <a:pt x="136" y="10"/>
                </a:lnTo>
                <a:lnTo>
                  <a:pt x="146" y="14"/>
                </a:lnTo>
                <a:lnTo>
                  <a:pt x="146" y="14"/>
                </a:lnTo>
                <a:lnTo>
                  <a:pt x="148" y="16"/>
                </a:lnTo>
                <a:lnTo>
                  <a:pt x="150" y="16"/>
                </a:lnTo>
                <a:lnTo>
                  <a:pt x="150" y="16"/>
                </a:lnTo>
                <a:lnTo>
                  <a:pt x="150" y="12"/>
                </a:lnTo>
                <a:lnTo>
                  <a:pt x="150" y="12"/>
                </a:lnTo>
                <a:lnTo>
                  <a:pt x="136" y="6"/>
                </a:lnTo>
                <a:lnTo>
                  <a:pt x="136"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0" name="Freeform 114">
            <a:extLst>
              <a:ext uri="{FF2B5EF4-FFF2-40B4-BE49-F238E27FC236}">
                <a16:creationId xmlns:a16="http://schemas.microsoft.com/office/drawing/2014/main" id="{DAC26789-D4E2-403D-9FDB-19EBCE06DE76}"/>
              </a:ext>
            </a:extLst>
          </p:cNvPr>
          <p:cNvSpPr>
            <a:spLocks/>
          </p:cNvSpPr>
          <p:nvPr userDrawn="1"/>
        </p:nvSpPr>
        <p:spPr bwMode="auto">
          <a:xfrm>
            <a:off x="3987597" y="3409522"/>
            <a:ext cx="134163" cy="75504"/>
          </a:xfrm>
          <a:custGeom>
            <a:avLst/>
            <a:gdLst>
              <a:gd name="T0" fmla="*/ 78 w 80"/>
              <a:gd name="T1" fmla="*/ 20 h 44"/>
              <a:gd name="T2" fmla="*/ 72 w 80"/>
              <a:gd name="T3" fmla="*/ 18 h 44"/>
              <a:gd name="T4" fmla="*/ 64 w 80"/>
              <a:gd name="T5" fmla="*/ 10 h 44"/>
              <a:gd name="T6" fmla="*/ 66 w 80"/>
              <a:gd name="T7" fmla="*/ 4 h 44"/>
              <a:gd name="T8" fmla="*/ 64 w 80"/>
              <a:gd name="T9" fmla="*/ 6 h 44"/>
              <a:gd name="T10" fmla="*/ 64 w 80"/>
              <a:gd name="T11" fmla="*/ 6 h 44"/>
              <a:gd name="T12" fmla="*/ 64 w 80"/>
              <a:gd name="T13" fmla="*/ 2 h 44"/>
              <a:gd name="T14" fmla="*/ 48 w 80"/>
              <a:gd name="T15" fmla="*/ 0 h 44"/>
              <a:gd name="T16" fmla="*/ 46 w 80"/>
              <a:gd name="T17" fmla="*/ 4 h 44"/>
              <a:gd name="T18" fmla="*/ 40 w 80"/>
              <a:gd name="T19" fmla="*/ 6 h 44"/>
              <a:gd name="T20" fmla="*/ 34 w 80"/>
              <a:gd name="T21" fmla="*/ 8 h 44"/>
              <a:gd name="T22" fmla="*/ 26 w 80"/>
              <a:gd name="T23" fmla="*/ 12 h 44"/>
              <a:gd name="T24" fmla="*/ 24 w 80"/>
              <a:gd name="T25" fmla="*/ 12 h 44"/>
              <a:gd name="T26" fmla="*/ 18 w 80"/>
              <a:gd name="T27" fmla="*/ 8 h 44"/>
              <a:gd name="T28" fmla="*/ 12 w 80"/>
              <a:gd name="T29" fmla="*/ 10 h 44"/>
              <a:gd name="T30" fmla="*/ 10 w 80"/>
              <a:gd name="T31" fmla="*/ 6 h 44"/>
              <a:gd name="T32" fmla="*/ 10 w 80"/>
              <a:gd name="T33" fmla="*/ 0 h 44"/>
              <a:gd name="T34" fmla="*/ 2 w 80"/>
              <a:gd name="T35" fmla="*/ 0 h 44"/>
              <a:gd name="T36" fmla="*/ 2 w 80"/>
              <a:gd name="T37" fmla="*/ 2 h 44"/>
              <a:gd name="T38" fmla="*/ 2 w 80"/>
              <a:gd name="T39" fmla="*/ 6 h 44"/>
              <a:gd name="T40" fmla="*/ 2 w 80"/>
              <a:gd name="T41" fmla="*/ 12 h 44"/>
              <a:gd name="T42" fmla="*/ 4 w 80"/>
              <a:gd name="T43" fmla="*/ 16 h 44"/>
              <a:gd name="T44" fmla="*/ 2 w 80"/>
              <a:gd name="T45" fmla="*/ 22 h 44"/>
              <a:gd name="T46" fmla="*/ 6 w 80"/>
              <a:gd name="T47" fmla="*/ 20 h 44"/>
              <a:gd name="T48" fmla="*/ 6 w 80"/>
              <a:gd name="T49" fmla="*/ 20 h 44"/>
              <a:gd name="T50" fmla="*/ 10 w 80"/>
              <a:gd name="T51" fmla="*/ 20 h 44"/>
              <a:gd name="T52" fmla="*/ 10 w 80"/>
              <a:gd name="T53" fmla="*/ 22 h 44"/>
              <a:gd name="T54" fmla="*/ 18 w 80"/>
              <a:gd name="T55" fmla="*/ 22 h 44"/>
              <a:gd name="T56" fmla="*/ 22 w 80"/>
              <a:gd name="T57" fmla="*/ 30 h 44"/>
              <a:gd name="T58" fmla="*/ 28 w 80"/>
              <a:gd name="T59" fmla="*/ 30 h 44"/>
              <a:gd name="T60" fmla="*/ 32 w 80"/>
              <a:gd name="T61" fmla="*/ 38 h 44"/>
              <a:gd name="T62" fmla="*/ 36 w 80"/>
              <a:gd name="T63" fmla="*/ 36 h 44"/>
              <a:gd name="T64" fmla="*/ 38 w 80"/>
              <a:gd name="T65" fmla="*/ 32 h 44"/>
              <a:gd name="T66" fmla="*/ 42 w 80"/>
              <a:gd name="T67" fmla="*/ 32 h 44"/>
              <a:gd name="T68" fmla="*/ 42 w 80"/>
              <a:gd name="T69" fmla="*/ 28 h 44"/>
              <a:gd name="T70" fmla="*/ 38 w 80"/>
              <a:gd name="T71" fmla="*/ 24 h 44"/>
              <a:gd name="T72" fmla="*/ 36 w 80"/>
              <a:gd name="T73" fmla="*/ 24 h 44"/>
              <a:gd name="T74" fmla="*/ 34 w 80"/>
              <a:gd name="T75" fmla="*/ 22 h 44"/>
              <a:gd name="T76" fmla="*/ 42 w 80"/>
              <a:gd name="T77" fmla="*/ 20 h 44"/>
              <a:gd name="T78" fmla="*/ 50 w 80"/>
              <a:gd name="T79" fmla="*/ 10 h 44"/>
              <a:gd name="T80" fmla="*/ 54 w 80"/>
              <a:gd name="T81" fmla="*/ 12 h 44"/>
              <a:gd name="T82" fmla="*/ 58 w 80"/>
              <a:gd name="T83" fmla="*/ 18 h 44"/>
              <a:gd name="T84" fmla="*/ 60 w 80"/>
              <a:gd name="T85" fmla="*/ 24 h 44"/>
              <a:gd name="T86" fmla="*/ 68 w 80"/>
              <a:gd name="T87" fmla="*/ 22 h 44"/>
              <a:gd name="T88" fmla="*/ 68 w 80"/>
              <a:gd name="T89" fmla="*/ 26 h 44"/>
              <a:gd name="T90" fmla="*/ 64 w 80"/>
              <a:gd name="T91" fmla="*/ 30 h 44"/>
              <a:gd name="T92" fmla="*/ 62 w 80"/>
              <a:gd name="T93" fmla="*/ 36 h 44"/>
              <a:gd name="T94" fmla="*/ 68 w 80"/>
              <a:gd name="T95" fmla="*/ 42 h 44"/>
              <a:gd name="T96" fmla="*/ 74 w 80"/>
              <a:gd name="T97" fmla="*/ 44 h 44"/>
              <a:gd name="T98" fmla="*/ 76 w 80"/>
              <a:gd name="T99" fmla="*/ 40 h 44"/>
              <a:gd name="T100" fmla="*/ 80 w 80"/>
              <a:gd name="T101" fmla="*/ 32 h 44"/>
              <a:gd name="T102" fmla="*/ 78 w 80"/>
              <a:gd name="T103" fmla="*/ 28 h 44"/>
              <a:gd name="T104" fmla="*/ 78 w 80"/>
              <a:gd name="T10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44">
                <a:moveTo>
                  <a:pt x="78" y="20"/>
                </a:moveTo>
                <a:lnTo>
                  <a:pt x="78" y="20"/>
                </a:lnTo>
                <a:lnTo>
                  <a:pt x="72" y="18"/>
                </a:lnTo>
                <a:lnTo>
                  <a:pt x="72" y="18"/>
                </a:lnTo>
                <a:lnTo>
                  <a:pt x="72" y="14"/>
                </a:lnTo>
                <a:lnTo>
                  <a:pt x="64" y="10"/>
                </a:lnTo>
                <a:lnTo>
                  <a:pt x="64" y="10"/>
                </a:lnTo>
                <a:lnTo>
                  <a:pt x="66" y="4"/>
                </a:lnTo>
                <a:lnTo>
                  <a:pt x="66" y="4"/>
                </a:lnTo>
                <a:lnTo>
                  <a:pt x="64" y="6"/>
                </a:lnTo>
                <a:lnTo>
                  <a:pt x="64" y="6"/>
                </a:lnTo>
                <a:lnTo>
                  <a:pt x="64" y="6"/>
                </a:lnTo>
                <a:lnTo>
                  <a:pt x="64" y="2"/>
                </a:lnTo>
                <a:lnTo>
                  <a:pt x="64" y="2"/>
                </a:lnTo>
                <a:lnTo>
                  <a:pt x="56" y="0"/>
                </a:lnTo>
                <a:lnTo>
                  <a:pt x="48" y="0"/>
                </a:lnTo>
                <a:lnTo>
                  <a:pt x="48" y="0"/>
                </a:lnTo>
                <a:lnTo>
                  <a:pt x="46" y="4"/>
                </a:lnTo>
                <a:lnTo>
                  <a:pt x="46" y="4"/>
                </a:lnTo>
                <a:lnTo>
                  <a:pt x="40" y="6"/>
                </a:lnTo>
                <a:lnTo>
                  <a:pt x="34" y="8"/>
                </a:lnTo>
                <a:lnTo>
                  <a:pt x="34" y="8"/>
                </a:lnTo>
                <a:lnTo>
                  <a:pt x="30" y="10"/>
                </a:lnTo>
                <a:lnTo>
                  <a:pt x="26" y="12"/>
                </a:lnTo>
                <a:lnTo>
                  <a:pt x="26" y="12"/>
                </a:lnTo>
                <a:lnTo>
                  <a:pt x="24" y="12"/>
                </a:lnTo>
                <a:lnTo>
                  <a:pt x="22" y="10"/>
                </a:lnTo>
                <a:lnTo>
                  <a:pt x="18" y="8"/>
                </a:lnTo>
                <a:lnTo>
                  <a:pt x="12" y="10"/>
                </a:lnTo>
                <a:lnTo>
                  <a:pt x="12" y="10"/>
                </a:lnTo>
                <a:lnTo>
                  <a:pt x="10" y="6"/>
                </a:lnTo>
                <a:lnTo>
                  <a:pt x="10" y="6"/>
                </a:lnTo>
                <a:lnTo>
                  <a:pt x="10" y="4"/>
                </a:lnTo>
                <a:lnTo>
                  <a:pt x="10" y="0"/>
                </a:lnTo>
                <a:lnTo>
                  <a:pt x="4" y="0"/>
                </a:lnTo>
                <a:lnTo>
                  <a:pt x="2" y="0"/>
                </a:lnTo>
                <a:lnTo>
                  <a:pt x="2" y="0"/>
                </a:lnTo>
                <a:lnTo>
                  <a:pt x="2" y="2"/>
                </a:lnTo>
                <a:lnTo>
                  <a:pt x="2" y="6"/>
                </a:lnTo>
                <a:lnTo>
                  <a:pt x="2" y="6"/>
                </a:lnTo>
                <a:lnTo>
                  <a:pt x="0" y="10"/>
                </a:lnTo>
                <a:lnTo>
                  <a:pt x="2" y="12"/>
                </a:lnTo>
                <a:lnTo>
                  <a:pt x="4" y="14"/>
                </a:lnTo>
                <a:lnTo>
                  <a:pt x="4" y="16"/>
                </a:lnTo>
                <a:lnTo>
                  <a:pt x="4" y="16"/>
                </a:lnTo>
                <a:lnTo>
                  <a:pt x="2" y="22"/>
                </a:lnTo>
                <a:lnTo>
                  <a:pt x="2" y="22"/>
                </a:lnTo>
                <a:lnTo>
                  <a:pt x="6" y="20"/>
                </a:lnTo>
                <a:lnTo>
                  <a:pt x="6" y="20"/>
                </a:lnTo>
                <a:lnTo>
                  <a:pt x="6" y="20"/>
                </a:lnTo>
                <a:lnTo>
                  <a:pt x="10" y="20"/>
                </a:lnTo>
                <a:lnTo>
                  <a:pt x="10" y="20"/>
                </a:lnTo>
                <a:lnTo>
                  <a:pt x="10" y="22"/>
                </a:lnTo>
                <a:lnTo>
                  <a:pt x="10" y="22"/>
                </a:lnTo>
                <a:lnTo>
                  <a:pt x="16" y="22"/>
                </a:lnTo>
                <a:lnTo>
                  <a:pt x="18" y="22"/>
                </a:lnTo>
                <a:lnTo>
                  <a:pt x="18" y="22"/>
                </a:lnTo>
                <a:lnTo>
                  <a:pt x="22" y="30"/>
                </a:lnTo>
                <a:lnTo>
                  <a:pt x="22" y="30"/>
                </a:lnTo>
                <a:lnTo>
                  <a:pt x="28" y="30"/>
                </a:lnTo>
                <a:lnTo>
                  <a:pt x="32" y="38"/>
                </a:lnTo>
                <a:lnTo>
                  <a:pt x="32" y="38"/>
                </a:lnTo>
                <a:lnTo>
                  <a:pt x="36" y="36"/>
                </a:lnTo>
                <a:lnTo>
                  <a:pt x="36" y="36"/>
                </a:lnTo>
                <a:lnTo>
                  <a:pt x="38" y="32"/>
                </a:lnTo>
                <a:lnTo>
                  <a:pt x="38" y="32"/>
                </a:lnTo>
                <a:lnTo>
                  <a:pt x="42" y="32"/>
                </a:lnTo>
                <a:lnTo>
                  <a:pt x="42" y="32"/>
                </a:lnTo>
                <a:lnTo>
                  <a:pt x="42" y="28"/>
                </a:lnTo>
                <a:lnTo>
                  <a:pt x="42" y="28"/>
                </a:lnTo>
                <a:lnTo>
                  <a:pt x="38" y="24"/>
                </a:lnTo>
                <a:lnTo>
                  <a:pt x="38" y="24"/>
                </a:lnTo>
                <a:lnTo>
                  <a:pt x="36" y="24"/>
                </a:lnTo>
                <a:lnTo>
                  <a:pt x="36" y="24"/>
                </a:lnTo>
                <a:lnTo>
                  <a:pt x="34" y="22"/>
                </a:lnTo>
                <a:lnTo>
                  <a:pt x="34" y="22"/>
                </a:lnTo>
                <a:lnTo>
                  <a:pt x="42" y="20"/>
                </a:lnTo>
                <a:lnTo>
                  <a:pt x="42" y="20"/>
                </a:lnTo>
                <a:lnTo>
                  <a:pt x="46" y="16"/>
                </a:lnTo>
                <a:lnTo>
                  <a:pt x="50" y="10"/>
                </a:lnTo>
                <a:lnTo>
                  <a:pt x="50" y="10"/>
                </a:lnTo>
                <a:lnTo>
                  <a:pt x="54" y="12"/>
                </a:lnTo>
                <a:lnTo>
                  <a:pt x="54" y="12"/>
                </a:lnTo>
                <a:lnTo>
                  <a:pt x="58" y="18"/>
                </a:lnTo>
                <a:lnTo>
                  <a:pt x="60" y="24"/>
                </a:lnTo>
                <a:lnTo>
                  <a:pt x="60" y="24"/>
                </a:lnTo>
                <a:lnTo>
                  <a:pt x="68" y="22"/>
                </a:lnTo>
                <a:lnTo>
                  <a:pt x="68" y="22"/>
                </a:lnTo>
                <a:lnTo>
                  <a:pt x="68" y="26"/>
                </a:lnTo>
                <a:lnTo>
                  <a:pt x="68" y="26"/>
                </a:lnTo>
                <a:lnTo>
                  <a:pt x="66" y="28"/>
                </a:lnTo>
                <a:lnTo>
                  <a:pt x="64" y="30"/>
                </a:lnTo>
                <a:lnTo>
                  <a:pt x="64" y="30"/>
                </a:lnTo>
                <a:lnTo>
                  <a:pt x="62" y="36"/>
                </a:lnTo>
                <a:lnTo>
                  <a:pt x="64" y="40"/>
                </a:lnTo>
                <a:lnTo>
                  <a:pt x="68" y="42"/>
                </a:lnTo>
                <a:lnTo>
                  <a:pt x="74" y="44"/>
                </a:lnTo>
                <a:lnTo>
                  <a:pt x="74" y="44"/>
                </a:lnTo>
                <a:lnTo>
                  <a:pt x="76" y="40"/>
                </a:lnTo>
                <a:lnTo>
                  <a:pt x="76" y="40"/>
                </a:lnTo>
                <a:lnTo>
                  <a:pt x="78" y="38"/>
                </a:lnTo>
                <a:lnTo>
                  <a:pt x="80" y="32"/>
                </a:lnTo>
                <a:lnTo>
                  <a:pt x="80" y="32"/>
                </a:lnTo>
                <a:lnTo>
                  <a:pt x="78" y="28"/>
                </a:lnTo>
                <a:lnTo>
                  <a:pt x="76" y="26"/>
                </a:lnTo>
                <a:lnTo>
                  <a:pt x="78" y="20"/>
                </a:lnTo>
                <a:close/>
              </a:path>
            </a:pathLst>
          </a:custGeom>
          <a:solidFill>
            <a:srgbClr val="00095B"/>
          </a:solidFill>
          <a:ln w="3175">
            <a:solidFill>
              <a:schemeClr val="accent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1" name="Freeform 115">
            <a:extLst>
              <a:ext uri="{FF2B5EF4-FFF2-40B4-BE49-F238E27FC236}">
                <a16:creationId xmlns:a16="http://schemas.microsoft.com/office/drawing/2014/main" id="{38DEA512-80BD-4D91-9E6D-E64D78F3C697}"/>
              </a:ext>
            </a:extLst>
          </p:cNvPr>
          <p:cNvSpPr>
            <a:spLocks/>
          </p:cNvSpPr>
          <p:nvPr userDrawn="1"/>
        </p:nvSpPr>
        <p:spPr bwMode="auto">
          <a:xfrm>
            <a:off x="7229308" y="2609872"/>
            <a:ext cx="345470" cy="394677"/>
          </a:xfrm>
          <a:custGeom>
            <a:avLst/>
            <a:gdLst>
              <a:gd name="T0" fmla="*/ 198 w 206"/>
              <a:gd name="T1" fmla="*/ 32 h 230"/>
              <a:gd name="T2" fmla="*/ 178 w 206"/>
              <a:gd name="T3" fmla="*/ 42 h 230"/>
              <a:gd name="T4" fmla="*/ 168 w 206"/>
              <a:gd name="T5" fmla="*/ 52 h 230"/>
              <a:gd name="T6" fmla="*/ 152 w 206"/>
              <a:gd name="T7" fmla="*/ 54 h 230"/>
              <a:gd name="T8" fmla="*/ 160 w 206"/>
              <a:gd name="T9" fmla="*/ 78 h 230"/>
              <a:gd name="T10" fmla="*/ 172 w 206"/>
              <a:gd name="T11" fmla="*/ 90 h 230"/>
              <a:gd name="T12" fmla="*/ 164 w 206"/>
              <a:gd name="T13" fmla="*/ 110 h 230"/>
              <a:gd name="T14" fmla="*/ 156 w 206"/>
              <a:gd name="T15" fmla="*/ 132 h 230"/>
              <a:gd name="T16" fmla="*/ 140 w 206"/>
              <a:gd name="T17" fmla="*/ 146 h 230"/>
              <a:gd name="T18" fmla="*/ 122 w 206"/>
              <a:gd name="T19" fmla="*/ 164 h 230"/>
              <a:gd name="T20" fmla="*/ 112 w 206"/>
              <a:gd name="T21" fmla="*/ 172 h 230"/>
              <a:gd name="T22" fmla="*/ 114 w 206"/>
              <a:gd name="T23" fmla="*/ 186 h 230"/>
              <a:gd name="T24" fmla="*/ 118 w 206"/>
              <a:gd name="T25" fmla="*/ 200 h 230"/>
              <a:gd name="T26" fmla="*/ 116 w 206"/>
              <a:gd name="T27" fmla="*/ 220 h 230"/>
              <a:gd name="T28" fmla="*/ 98 w 206"/>
              <a:gd name="T29" fmla="*/ 224 h 230"/>
              <a:gd name="T30" fmla="*/ 90 w 206"/>
              <a:gd name="T31" fmla="*/ 226 h 230"/>
              <a:gd name="T32" fmla="*/ 88 w 206"/>
              <a:gd name="T33" fmla="*/ 226 h 230"/>
              <a:gd name="T34" fmla="*/ 82 w 206"/>
              <a:gd name="T35" fmla="*/ 222 h 230"/>
              <a:gd name="T36" fmla="*/ 80 w 206"/>
              <a:gd name="T37" fmla="*/ 216 h 230"/>
              <a:gd name="T38" fmla="*/ 70 w 206"/>
              <a:gd name="T39" fmla="*/ 212 h 230"/>
              <a:gd name="T40" fmla="*/ 68 w 206"/>
              <a:gd name="T41" fmla="*/ 204 h 230"/>
              <a:gd name="T42" fmla="*/ 68 w 206"/>
              <a:gd name="T43" fmla="*/ 198 h 230"/>
              <a:gd name="T44" fmla="*/ 56 w 206"/>
              <a:gd name="T45" fmla="*/ 200 h 230"/>
              <a:gd name="T46" fmla="*/ 44 w 206"/>
              <a:gd name="T47" fmla="*/ 204 h 230"/>
              <a:gd name="T48" fmla="*/ 28 w 206"/>
              <a:gd name="T49" fmla="*/ 204 h 230"/>
              <a:gd name="T50" fmla="*/ 20 w 206"/>
              <a:gd name="T51" fmla="*/ 206 h 230"/>
              <a:gd name="T52" fmla="*/ 12 w 206"/>
              <a:gd name="T53" fmla="*/ 206 h 230"/>
              <a:gd name="T54" fmla="*/ 6 w 206"/>
              <a:gd name="T55" fmla="*/ 206 h 230"/>
              <a:gd name="T56" fmla="*/ 0 w 206"/>
              <a:gd name="T57" fmla="*/ 208 h 230"/>
              <a:gd name="T58" fmla="*/ 18 w 206"/>
              <a:gd name="T59" fmla="*/ 178 h 230"/>
              <a:gd name="T60" fmla="*/ 32 w 206"/>
              <a:gd name="T61" fmla="*/ 166 h 230"/>
              <a:gd name="T62" fmla="*/ 22 w 206"/>
              <a:gd name="T63" fmla="*/ 150 h 230"/>
              <a:gd name="T64" fmla="*/ 8 w 206"/>
              <a:gd name="T65" fmla="*/ 134 h 230"/>
              <a:gd name="T66" fmla="*/ 18 w 206"/>
              <a:gd name="T67" fmla="*/ 124 h 230"/>
              <a:gd name="T68" fmla="*/ 40 w 206"/>
              <a:gd name="T69" fmla="*/ 122 h 230"/>
              <a:gd name="T70" fmla="*/ 56 w 206"/>
              <a:gd name="T71" fmla="*/ 118 h 230"/>
              <a:gd name="T72" fmla="*/ 66 w 206"/>
              <a:gd name="T73" fmla="*/ 102 h 230"/>
              <a:gd name="T74" fmla="*/ 82 w 206"/>
              <a:gd name="T75" fmla="*/ 90 h 230"/>
              <a:gd name="T76" fmla="*/ 86 w 206"/>
              <a:gd name="T77" fmla="*/ 76 h 230"/>
              <a:gd name="T78" fmla="*/ 98 w 206"/>
              <a:gd name="T79" fmla="*/ 78 h 230"/>
              <a:gd name="T80" fmla="*/ 104 w 206"/>
              <a:gd name="T81" fmla="*/ 64 h 230"/>
              <a:gd name="T82" fmla="*/ 106 w 206"/>
              <a:gd name="T83" fmla="*/ 48 h 230"/>
              <a:gd name="T84" fmla="*/ 120 w 206"/>
              <a:gd name="T85" fmla="*/ 42 h 230"/>
              <a:gd name="T86" fmla="*/ 124 w 206"/>
              <a:gd name="T87" fmla="*/ 26 h 230"/>
              <a:gd name="T88" fmla="*/ 148 w 206"/>
              <a:gd name="T89" fmla="*/ 6 h 230"/>
              <a:gd name="T90" fmla="*/ 170 w 206"/>
              <a:gd name="T91" fmla="*/ 4 h 230"/>
              <a:gd name="T92" fmla="*/ 196 w 206"/>
              <a:gd name="T93" fmla="*/ 1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30">
                <a:moveTo>
                  <a:pt x="206" y="20"/>
                </a:moveTo>
                <a:lnTo>
                  <a:pt x="202" y="26"/>
                </a:lnTo>
                <a:lnTo>
                  <a:pt x="198" y="32"/>
                </a:lnTo>
                <a:lnTo>
                  <a:pt x="194" y="34"/>
                </a:lnTo>
                <a:lnTo>
                  <a:pt x="188" y="40"/>
                </a:lnTo>
                <a:lnTo>
                  <a:pt x="178" y="42"/>
                </a:lnTo>
                <a:lnTo>
                  <a:pt x="172" y="46"/>
                </a:lnTo>
                <a:lnTo>
                  <a:pt x="172" y="48"/>
                </a:lnTo>
                <a:lnTo>
                  <a:pt x="168" y="52"/>
                </a:lnTo>
                <a:lnTo>
                  <a:pt x="164" y="48"/>
                </a:lnTo>
                <a:lnTo>
                  <a:pt x="158" y="52"/>
                </a:lnTo>
                <a:lnTo>
                  <a:pt x="152" y="54"/>
                </a:lnTo>
                <a:lnTo>
                  <a:pt x="152" y="58"/>
                </a:lnTo>
                <a:lnTo>
                  <a:pt x="158" y="64"/>
                </a:lnTo>
                <a:lnTo>
                  <a:pt x="160" y="78"/>
                </a:lnTo>
                <a:lnTo>
                  <a:pt x="162" y="80"/>
                </a:lnTo>
                <a:lnTo>
                  <a:pt x="166" y="84"/>
                </a:lnTo>
                <a:lnTo>
                  <a:pt x="172" y="90"/>
                </a:lnTo>
                <a:lnTo>
                  <a:pt x="172" y="98"/>
                </a:lnTo>
                <a:lnTo>
                  <a:pt x="168" y="104"/>
                </a:lnTo>
                <a:lnTo>
                  <a:pt x="164" y="110"/>
                </a:lnTo>
                <a:lnTo>
                  <a:pt x="164" y="120"/>
                </a:lnTo>
                <a:lnTo>
                  <a:pt x="162" y="128"/>
                </a:lnTo>
                <a:lnTo>
                  <a:pt x="156" y="132"/>
                </a:lnTo>
                <a:lnTo>
                  <a:pt x="152" y="136"/>
                </a:lnTo>
                <a:lnTo>
                  <a:pt x="148" y="142"/>
                </a:lnTo>
                <a:lnTo>
                  <a:pt x="140" y="146"/>
                </a:lnTo>
                <a:lnTo>
                  <a:pt x="134" y="156"/>
                </a:lnTo>
                <a:lnTo>
                  <a:pt x="128" y="162"/>
                </a:lnTo>
                <a:lnTo>
                  <a:pt x="122" y="164"/>
                </a:lnTo>
                <a:lnTo>
                  <a:pt x="120" y="160"/>
                </a:lnTo>
                <a:lnTo>
                  <a:pt x="116" y="168"/>
                </a:lnTo>
                <a:lnTo>
                  <a:pt x="112" y="172"/>
                </a:lnTo>
                <a:lnTo>
                  <a:pt x="108" y="180"/>
                </a:lnTo>
                <a:lnTo>
                  <a:pt x="112" y="184"/>
                </a:lnTo>
                <a:lnTo>
                  <a:pt x="114" y="186"/>
                </a:lnTo>
                <a:lnTo>
                  <a:pt x="112" y="192"/>
                </a:lnTo>
                <a:lnTo>
                  <a:pt x="112" y="198"/>
                </a:lnTo>
                <a:lnTo>
                  <a:pt x="118" y="200"/>
                </a:lnTo>
                <a:lnTo>
                  <a:pt x="120" y="206"/>
                </a:lnTo>
                <a:lnTo>
                  <a:pt x="120" y="222"/>
                </a:lnTo>
                <a:lnTo>
                  <a:pt x="116" y="220"/>
                </a:lnTo>
                <a:lnTo>
                  <a:pt x="108" y="220"/>
                </a:lnTo>
                <a:lnTo>
                  <a:pt x="104" y="220"/>
                </a:lnTo>
                <a:lnTo>
                  <a:pt x="98" y="224"/>
                </a:lnTo>
                <a:lnTo>
                  <a:pt x="96" y="230"/>
                </a:lnTo>
                <a:lnTo>
                  <a:pt x="90" y="230"/>
                </a:lnTo>
                <a:lnTo>
                  <a:pt x="90" y="226"/>
                </a:lnTo>
                <a:lnTo>
                  <a:pt x="90" y="226"/>
                </a:lnTo>
                <a:lnTo>
                  <a:pt x="88" y="226"/>
                </a:lnTo>
                <a:lnTo>
                  <a:pt x="88" y="226"/>
                </a:lnTo>
                <a:lnTo>
                  <a:pt x="84" y="226"/>
                </a:lnTo>
                <a:lnTo>
                  <a:pt x="84" y="226"/>
                </a:lnTo>
                <a:lnTo>
                  <a:pt x="82" y="222"/>
                </a:lnTo>
                <a:lnTo>
                  <a:pt x="82" y="222"/>
                </a:lnTo>
                <a:lnTo>
                  <a:pt x="80" y="216"/>
                </a:lnTo>
                <a:lnTo>
                  <a:pt x="80" y="216"/>
                </a:lnTo>
                <a:lnTo>
                  <a:pt x="76" y="214"/>
                </a:lnTo>
                <a:lnTo>
                  <a:pt x="70" y="212"/>
                </a:lnTo>
                <a:lnTo>
                  <a:pt x="70" y="212"/>
                </a:lnTo>
                <a:lnTo>
                  <a:pt x="70" y="208"/>
                </a:lnTo>
                <a:lnTo>
                  <a:pt x="70" y="204"/>
                </a:lnTo>
                <a:lnTo>
                  <a:pt x="68" y="204"/>
                </a:lnTo>
                <a:lnTo>
                  <a:pt x="68" y="204"/>
                </a:lnTo>
                <a:lnTo>
                  <a:pt x="68" y="198"/>
                </a:lnTo>
                <a:lnTo>
                  <a:pt x="68" y="198"/>
                </a:lnTo>
                <a:lnTo>
                  <a:pt x="58" y="200"/>
                </a:lnTo>
                <a:lnTo>
                  <a:pt x="58" y="200"/>
                </a:lnTo>
                <a:lnTo>
                  <a:pt x="56" y="200"/>
                </a:lnTo>
                <a:lnTo>
                  <a:pt x="52" y="200"/>
                </a:lnTo>
                <a:lnTo>
                  <a:pt x="52" y="200"/>
                </a:lnTo>
                <a:lnTo>
                  <a:pt x="44" y="204"/>
                </a:lnTo>
                <a:lnTo>
                  <a:pt x="44" y="204"/>
                </a:lnTo>
                <a:lnTo>
                  <a:pt x="36" y="204"/>
                </a:lnTo>
                <a:lnTo>
                  <a:pt x="28" y="204"/>
                </a:lnTo>
                <a:lnTo>
                  <a:pt x="26" y="206"/>
                </a:lnTo>
                <a:lnTo>
                  <a:pt x="26" y="206"/>
                </a:lnTo>
                <a:lnTo>
                  <a:pt x="20" y="206"/>
                </a:lnTo>
                <a:lnTo>
                  <a:pt x="14" y="204"/>
                </a:lnTo>
                <a:lnTo>
                  <a:pt x="12" y="206"/>
                </a:lnTo>
                <a:lnTo>
                  <a:pt x="12" y="206"/>
                </a:lnTo>
                <a:lnTo>
                  <a:pt x="10" y="206"/>
                </a:lnTo>
                <a:lnTo>
                  <a:pt x="6" y="206"/>
                </a:lnTo>
                <a:lnTo>
                  <a:pt x="6" y="206"/>
                </a:lnTo>
                <a:lnTo>
                  <a:pt x="6" y="208"/>
                </a:lnTo>
                <a:lnTo>
                  <a:pt x="6" y="208"/>
                </a:lnTo>
                <a:lnTo>
                  <a:pt x="0" y="208"/>
                </a:lnTo>
                <a:lnTo>
                  <a:pt x="2" y="192"/>
                </a:lnTo>
                <a:lnTo>
                  <a:pt x="10" y="180"/>
                </a:lnTo>
                <a:lnTo>
                  <a:pt x="18" y="178"/>
                </a:lnTo>
                <a:lnTo>
                  <a:pt x="26" y="176"/>
                </a:lnTo>
                <a:lnTo>
                  <a:pt x="32" y="172"/>
                </a:lnTo>
                <a:lnTo>
                  <a:pt x="32" y="166"/>
                </a:lnTo>
                <a:lnTo>
                  <a:pt x="26" y="164"/>
                </a:lnTo>
                <a:lnTo>
                  <a:pt x="26" y="156"/>
                </a:lnTo>
                <a:lnTo>
                  <a:pt x="22" y="150"/>
                </a:lnTo>
                <a:lnTo>
                  <a:pt x="16" y="148"/>
                </a:lnTo>
                <a:lnTo>
                  <a:pt x="10" y="138"/>
                </a:lnTo>
                <a:lnTo>
                  <a:pt x="8" y="134"/>
                </a:lnTo>
                <a:lnTo>
                  <a:pt x="10" y="130"/>
                </a:lnTo>
                <a:lnTo>
                  <a:pt x="4" y="116"/>
                </a:lnTo>
                <a:lnTo>
                  <a:pt x="18" y="124"/>
                </a:lnTo>
                <a:lnTo>
                  <a:pt x="22" y="122"/>
                </a:lnTo>
                <a:lnTo>
                  <a:pt x="28" y="122"/>
                </a:lnTo>
                <a:lnTo>
                  <a:pt x="40" y="122"/>
                </a:lnTo>
                <a:lnTo>
                  <a:pt x="46" y="124"/>
                </a:lnTo>
                <a:lnTo>
                  <a:pt x="48" y="120"/>
                </a:lnTo>
                <a:lnTo>
                  <a:pt x="56" y="118"/>
                </a:lnTo>
                <a:lnTo>
                  <a:pt x="58" y="112"/>
                </a:lnTo>
                <a:lnTo>
                  <a:pt x="58" y="106"/>
                </a:lnTo>
                <a:lnTo>
                  <a:pt x="66" y="102"/>
                </a:lnTo>
                <a:lnTo>
                  <a:pt x="74" y="90"/>
                </a:lnTo>
                <a:lnTo>
                  <a:pt x="78" y="92"/>
                </a:lnTo>
                <a:lnTo>
                  <a:pt x="82" y="90"/>
                </a:lnTo>
                <a:lnTo>
                  <a:pt x="84" y="86"/>
                </a:lnTo>
                <a:lnTo>
                  <a:pt x="80" y="80"/>
                </a:lnTo>
                <a:lnTo>
                  <a:pt x="86" y="76"/>
                </a:lnTo>
                <a:lnTo>
                  <a:pt x="90" y="72"/>
                </a:lnTo>
                <a:lnTo>
                  <a:pt x="92" y="76"/>
                </a:lnTo>
                <a:lnTo>
                  <a:pt x="98" y="78"/>
                </a:lnTo>
                <a:lnTo>
                  <a:pt x="102" y="76"/>
                </a:lnTo>
                <a:lnTo>
                  <a:pt x="104" y="70"/>
                </a:lnTo>
                <a:lnTo>
                  <a:pt x="104" y="64"/>
                </a:lnTo>
                <a:lnTo>
                  <a:pt x="110" y="60"/>
                </a:lnTo>
                <a:lnTo>
                  <a:pt x="110" y="52"/>
                </a:lnTo>
                <a:lnTo>
                  <a:pt x="106" y="48"/>
                </a:lnTo>
                <a:lnTo>
                  <a:pt x="108" y="42"/>
                </a:lnTo>
                <a:lnTo>
                  <a:pt x="114" y="44"/>
                </a:lnTo>
                <a:lnTo>
                  <a:pt x="120" y="42"/>
                </a:lnTo>
                <a:lnTo>
                  <a:pt x="122" y="34"/>
                </a:lnTo>
                <a:lnTo>
                  <a:pt x="120" y="28"/>
                </a:lnTo>
                <a:lnTo>
                  <a:pt x="124" y="26"/>
                </a:lnTo>
                <a:lnTo>
                  <a:pt x="124" y="18"/>
                </a:lnTo>
                <a:lnTo>
                  <a:pt x="138" y="8"/>
                </a:lnTo>
                <a:lnTo>
                  <a:pt x="148" y="6"/>
                </a:lnTo>
                <a:lnTo>
                  <a:pt x="156" y="4"/>
                </a:lnTo>
                <a:lnTo>
                  <a:pt x="164" y="4"/>
                </a:lnTo>
                <a:lnTo>
                  <a:pt x="170" y="4"/>
                </a:lnTo>
                <a:lnTo>
                  <a:pt x="172" y="0"/>
                </a:lnTo>
                <a:lnTo>
                  <a:pt x="182" y="0"/>
                </a:lnTo>
                <a:lnTo>
                  <a:pt x="196" y="10"/>
                </a:lnTo>
                <a:lnTo>
                  <a:pt x="200" y="14"/>
                </a:lnTo>
                <a:lnTo>
                  <a:pt x="206" y="2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2" name="Freeform 116">
            <a:extLst>
              <a:ext uri="{FF2B5EF4-FFF2-40B4-BE49-F238E27FC236}">
                <a16:creationId xmlns:a16="http://schemas.microsoft.com/office/drawing/2014/main" id="{535CD36B-E5BA-42DD-A437-4AD9100CFDA7}"/>
              </a:ext>
            </a:extLst>
          </p:cNvPr>
          <p:cNvSpPr>
            <a:spLocks noEditPoints="1"/>
          </p:cNvSpPr>
          <p:nvPr userDrawn="1"/>
        </p:nvSpPr>
        <p:spPr bwMode="auto">
          <a:xfrm>
            <a:off x="7018001" y="2932477"/>
            <a:ext cx="177766" cy="274558"/>
          </a:xfrm>
          <a:custGeom>
            <a:avLst/>
            <a:gdLst>
              <a:gd name="T0" fmla="*/ 56 w 106"/>
              <a:gd name="T1" fmla="*/ 6 h 160"/>
              <a:gd name="T2" fmla="*/ 58 w 106"/>
              <a:gd name="T3" fmla="*/ 12 h 160"/>
              <a:gd name="T4" fmla="*/ 58 w 106"/>
              <a:gd name="T5" fmla="*/ 0 h 160"/>
              <a:gd name="T6" fmla="*/ 54 w 106"/>
              <a:gd name="T7" fmla="*/ 2 h 160"/>
              <a:gd name="T8" fmla="*/ 54 w 106"/>
              <a:gd name="T9" fmla="*/ 6 h 160"/>
              <a:gd name="T10" fmla="*/ 60 w 106"/>
              <a:gd name="T11" fmla="*/ 18 h 160"/>
              <a:gd name="T12" fmla="*/ 62 w 106"/>
              <a:gd name="T13" fmla="*/ 24 h 160"/>
              <a:gd name="T14" fmla="*/ 68 w 106"/>
              <a:gd name="T15" fmla="*/ 28 h 160"/>
              <a:gd name="T16" fmla="*/ 72 w 106"/>
              <a:gd name="T17" fmla="*/ 34 h 160"/>
              <a:gd name="T18" fmla="*/ 76 w 106"/>
              <a:gd name="T19" fmla="*/ 38 h 160"/>
              <a:gd name="T20" fmla="*/ 88 w 106"/>
              <a:gd name="T21" fmla="*/ 42 h 160"/>
              <a:gd name="T22" fmla="*/ 90 w 106"/>
              <a:gd name="T23" fmla="*/ 44 h 160"/>
              <a:gd name="T24" fmla="*/ 94 w 106"/>
              <a:gd name="T25" fmla="*/ 48 h 160"/>
              <a:gd name="T26" fmla="*/ 96 w 106"/>
              <a:gd name="T27" fmla="*/ 48 h 160"/>
              <a:gd name="T28" fmla="*/ 100 w 106"/>
              <a:gd name="T29" fmla="*/ 54 h 160"/>
              <a:gd name="T30" fmla="*/ 100 w 106"/>
              <a:gd name="T31" fmla="*/ 58 h 160"/>
              <a:gd name="T32" fmla="*/ 104 w 106"/>
              <a:gd name="T33" fmla="*/ 60 h 160"/>
              <a:gd name="T34" fmla="*/ 106 w 106"/>
              <a:gd name="T35" fmla="*/ 62 h 160"/>
              <a:gd name="T36" fmla="*/ 106 w 106"/>
              <a:gd name="T37" fmla="*/ 66 h 160"/>
              <a:gd name="T38" fmla="*/ 102 w 106"/>
              <a:gd name="T39" fmla="*/ 72 h 160"/>
              <a:gd name="T40" fmla="*/ 102 w 106"/>
              <a:gd name="T41" fmla="*/ 76 h 160"/>
              <a:gd name="T42" fmla="*/ 100 w 106"/>
              <a:gd name="T43" fmla="*/ 80 h 160"/>
              <a:gd name="T44" fmla="*/ 100 w 106"/>
              <a:gd name="T45" fmla="*/ 82 h 160"/>
              <a:gd name="T46" fmla="*/ 96 w 106"/>
              <a:gd name="T47" fmla="*/ 86 h 160"/>
              <a:gd name="T48" fmla="*/ 94 w 106"/>
              <a:gd name="T49" fmla="*/ 94 h 160"/>
              <a:gd name="T50" fmla="*/ 90 w 106"/>
              <a:gd name="T51" fmla="*/ 96 h 160"/>
              <a:gd name="T52" fmla="*/ 90 w 106"/>
              <a:gd name="T53" fmla="*/ 104 h 160"/>
              <a:gd name="T54" fmla="*/ 86 w 106"/>
              <a:gd name="T55" fmla="*/ 102 h 160"/>
              <a:gd name="T56" fmla="*/ 82 w 106"/>
              <a:gd name="T57" fmla="*/ 112 h 160"/>
              <a:gd name="T58" fmla="*/ 82 w 106"/>
              <a:gd name="T59" fmla="*/ 124 h 160"/>
              <a:gd name="T60" fmla="*/ 68 w 106"/>
              <a:gd name="T61" fmla="*/ 128 h 160"/>
              <a:gd name="T62" fmla="*/ 68 w 106"/>
              <a:gd name="T63" fmla="*/ 130 h 160"/>
              <a:gd name="T64" fmla="*/ 68 w 106"/>
              <a:gd name="T65" fmla="*/ 130 h 160"/>
              <a:gd name="T66" fmla="*/ 64 w 106"/>
              <a:gd name="T67" fmla="*/ 136 h 160"/>
              <a:gd name="T68" fmla="*/ 64 w 106"/>
              <a:gd name="T69" fmla="*/ 140 h 160"/>
              <a:gd name="T70" fmla="*/ 48 w 106"/>
              <a:gd name="T71" fmla="*/ 142 h 160"/>
              <a:gd name="T72" fmla="*/ 46 w 106"/>
              <a:gd name="T73" fmla="*/ 148 h 160"/>
              <a:gd name="T74" fmla="*/ 44 w 106"/>
              <a:gd name="T75" fmla="*/ 154 h 160"/>
              <a:gd name="T76" fmla="*/ 34 w 106"/>
              <a:gd name="T77" fmla="*/ 156 h 160"/>
              <a:gd name="T78" fmla="*/ 28 w 106"/>
              <a:gd name="T79" fmla="*/ 158 h 160"/>
              <a:gd name="T80" fmla="*/ 28 w 106"/>
              <a:gd name="T81" fmla="*/ 160 h 160"/>
              <a:gd name="T82" fmla="*/ 16 w 106"/>
              <a:gd name="T83" fmla="*/ 156 h 160"/>
              <a:gd name="T84" fmla="*/ 0 w 106"/>
              <a:gd name="T85" fmla="*/ 124 h 160"/>
              <a:gd name="T86" fmla="*/ 44 w 106"/>
              <a:gd name="T87" fmla="*/ 104 h 160"/>
              <a:gd name="T88" fmla="*/ 48 w 106"/>
              <a:gd name="T89" fmla="*/ 98 h 160"/>
              <a:gd name="T90" fmla="*/ 54 w 106"/>
              <a:gd name="T91" fmla="*/ 64 h 160"/>
              <a:gd name="T92" fmla="*/ 44 w 106"/>
              <a:gd name="T93" fmla="*/ 54 h 160"/>
              <a:gd name="T94" fmla="*/ 48 w 106"/>
              <a:gd name="T95" fmla="*/ 44 h 160"/>
              <a:gd name="T96" fmla="*/ 50 w 106"/>
              <a:gd name="T97" fmla="*/ 40 h 160"/>
              <a:gd name="T98" fmla="*/ 50 w 106"/>
              <a:gd name="T99" fmla="*/ 32 h 160"/>
              <a:gd name="T100" fmla="*/ 48 w 106"/>
              <a:gd name="T101" fmla="*/ 32 h 160"/>
              <a:gd name="T102" fmla="*/ 50 w 106"/>
              <a:gd name="T103" fmla="*/ 28 h 160"/>
              <a:gd name="T104" fmla="*/ 54 w 106"/>
              <a:gd name="T105" fmla="*/ 26 h 160"/>
              <a:gd name="T106" fmla="*/ 52 w 106"/>
              <a:gd name="T107" fmla="*/ 24 h 160"/>
              <a:gd name="T108" fmla="*/ 50 w 106"/>
              <a:gd name="T109" fmla="*/ 22 h 160"/>
              <a:gd name="T110" fmla="*/ 52 w 106"/>
              <a:gd name="T111" fmla="*/ 18 h 160"/>
              <a:gd name="T112" fmla="*/ 54 w 106"/>
              <a:gd name="T113" fmla="*/ 22 h 160"/>
              <a:gd name="T114" fmla="*/ 56 w 106"/>
              <a:gd name="T115" fmla="*/ 22 h 160"/>
              <a:gd name="T116" fmla="*/ 58 w 106"/>
              <a:gd name="T117" fmla="*/ 20 h 160"/>
              <a:gd name="T118" fmla="*/ 60 w 106"/>
              <a:gd name="T119" fmla="*/ 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 h="160">
                <a:moveTo>
                  <a:pt x="54" y="6"/>
                </a:moveTo>
                <a:lnTo>
                  <a:pt x="56" y="6"/>
                </a:lnTo>
                <a:lnTo>
                  <a:pt x="54" y="12"/>
                </a:lnTo>
                <a:lnTo>
                  <a:pt x="58" y="12"/>
                </a:lnTo>
                <a:lnTo>
                  <a:pt x="58" y="12"/>
                </a:lnTo>
                <a:lnTo>
                  <a:pt x="58" y="0"/>
                </a:lnTo>
                <a:lnTo>
                  <a:pt x="58" y="0"/>
                </a:lnTo>
                <a:lnTo>
                  <a:pt x="54" y="2"/>
                </a:lnTo>
                <a:lnTo>
                  <a:pt x="54" y="2"/>
                </a:lnTo>
                <a:lnTo>
                  <a:pt x="54" y="6"/>
                </a:lnTo>
                <a:lnTo>
                  <a:pt x="54" y="6"/>
                </a:lnTo>
                <a:close/>
                <a:moveTo>
                  <a:pt x="60" y="18"/>
                </a:moveTo>
                <a:lnTo>
                  <a:pt x="60" y="18"/>
                </a:lnTo>
                <a:lnTo>
                  <a:pt x="62" y="24"/>
                </a:lnTo>
                <a:lnTo>
                  <a:pt x="62" y="24"/>
                </a:lnTo>
                <a:lnTo>
                  <a:pt x="68" y="28"/>
                </a:lnTo>
                <a:lnTo>
                  <a:pt x="68" y="28"/>
                </a:lnTo>
                <a:lnTo>
                  <a:pt x="72" y="34"/>
                </a:lnTo>
                <a:lnTo>
                  <a:pt x="76" y="38"/>
                </a:lnTo>
                <a:lnTo>
                  <a:pt x="76" y="38"/>
                </a:lnTo>
                <a:lnTo>
                  <a:pt x="80" y="38"/>
                </a:lnTo>
                <a:lnTo>
                  <a:pt x="88" y="42"/>
                </a:lnTo>
                <a:lnTo>
                  <a:pt x="88" y="42"/>
                </a:lnTo>
                <a:lnTo>
                  <a:pt x="90" y="44"/>
                </a:lnTo>
                <a:lnTo>
                  <a:pt x="94" y="48"/>
                </a:lnTo>
                <a:lnTo>
                  <a:pt x="94" y="48"/>
                </a:lnTo>
                <a:lnTo>
                  <a:pt x="96" y="48"/>
                </a:lnTo>
                <a:lnTo>
                  <a:pt x="96" y="48"/>
                </a:lnTo>
                <a:lnTo>
                  <a:pt x="100" y="54"/>
                </a:lnTo>
                <a:lnTo>
                  <a:pt x="100" y="54"/>
                </a:lnTo>
                <a:lnTo>
                  <a:pt x="100" y="56"/>
                </a:lnTo>
                <a:lnTo>
                  <a:pt x="100" y="58"/>
                </a:lnTo>
                <a:lnTo>
                  <a:pt x="100" y="58"/>
                </a:lnTo>
                <a:lnTo>
                  <a:pt x="104" y="60"/>
                </a:lnTo>
                <a:lnTo>
                  <a:pt x="106" y="62"/>
                </a:lnTo>
                <a:lnTo>
                  <a:pt x="106" y="62"/>
                </a:lnTo>
                <a:lnTo>
                  <a:pt x="106" y="66"/>
                </a:lnTo>
                <a:lnTo>
                  <a:pt x="106" y="66"/>
                </a:lnTo>
                <a:lnTo>
                  <a:pt x="102" y="72"/>
                </a:lnTo>
                <a:lnTo>
                  <a:pt x="102" y="72"/>
                </a:lnTo>
                <a:lnTo>
                  <a:pt x="102" y="76"/>
                </a:lnTo>
                <a:lnTo>
                  <a:pt x="102" y="76"/>
                </a:lnTo>
                <a:lnTo>
                  <a:pt x="100" y="80"/>
                </a:lnTo>
                <a:lnTo>
                  <a:pt x="100" y="80"/>
                </a:lnTo>
                <a:lnTo>
                  <a:pt x="100" y="82"/>
                </a:lnTo>
                <a:lnTo>
                  <a:pt x="100" y="82"/>
                </a:lnTo>
                <a:lnTo>
                  <a:pt x="96" y="86"/>
                </a:lnTo>
                <a:lnTo>
                  <a:pt x="96" y="86"/>
                </a:lnTo>
                <a:lnTo>
                  <a:pt x="94" y="94"/>
                </a:lnTo>
                <a:lnTo>
                  <a:pt x="94" y="94"/>
                </a:lnTo>
                <a:lnTo>
                  <a:pt x="90" y="96"/>
                </a:lnTo>
                <a:lnTo>
                  <a:pt x="90" y="96"/>
                </a:lnTo>
                <a:lnTo>
                  <a:pt x="90" y="100"/>
                </a:lnTo>
                <a:lnTo>
                  <a:pt x="90" y="104"/>
                </a:lnTo>
                <a:lnTo>
                  <a:pt x="90" y="104"/>
                </a:lnTo>
                <a:lnTo>
                  <a:pt x="86" y="102"/>
                </a:lnTo>
                <a:lnTo>
                  <a:pt x="86" y="102"/>
                </a:lnTo>
                <a:lnTo>
                  <a:pt x="82" y="112"/>
                </a:lnTo>
                <a:lnTo>
                  <a:pt x="82" y="124"/>
                </a:lnTo>
                <a:lnTo>
                  <a:pt x="82" y="124"/>
                </a:lnTo>
                <a:lnTo>
                  <a:pt x="76" y="126"/>
                </a:lnTo>
                <a:lnTo>
                  <a:pt x="68" y="128"/>
                </a:lnTo>
                <a:lnTo>
                  <a:pt x="68" y="128"/>
                </a:lnTo>
                <a:lnTo>
                  <a:pt x="68" y="130"/>
                </a:lnTo>
                <a:lnTo>
                  <a:pt x="68" y="130"/>
                </a:lnTo>
                <a:lnTo>
                  <a:pt x="68" y="130"/>
                </a:lnTo>
                <a:lnTo>
                  <a:pt x="64" y="136"/>
                </a:lnTo>
                <a:lnTo>
                  <a:pt x="64" y="136"/>
                </a:lnTo>
                <a:lnTo>
                  <a:pt x="64" y="140"/>
                </a:lnTo>
                <a:lnTo>
                  <a:pt x="64" y="140"/>
                </a:lnTo>
                <a:lnTo>
                  <a:pt x="58" y="142"/>
                </a:lnTo>
                <a:lnTo>
                  <a:pt x="48" y="142"/>
                </a:lnTo>
                <a:lnTo>
                  <a:pt x="48" y="142"/>
                </a:lnTo>
                <a:lnTo>
                  <a:pt x="46" y="148"/>
                </a:lnTo>
                <a:lnTo>
                  <a:pt x="44" y="154"/>
                </a:lnTo>
                <a:lnTo>
                  <a:pt x="44" y="154"/>
                </a:lnTo>
                <a:lnTo>
                  <a:pt x="38" y="154"/>
                </a:lnTo>
                <a:lnTo>
                  <a:pt x="34" y="156"/>
                </a:lnTo>
                <a:lnTo>
                  <a:pt x="34" y="156"/>
                </a:lnTo>
                <a:lnTo>
                  <a:pt x="28" y="158"/>
                </a:lnTo>
                <a:lnTo>
                  <a:pt x="28" y="160"/>
                </a:lnTo>
                <a:lnTo>
                  <a:pt x="28" y="160"/>
                </a:lnTo>
                <a:lnTo>
                  <a:pt x="24" y="160"/>
                </a:lnTo>
                <a:lnTo>
                  <a:pt x="16" y="156"/>
                </a:lnTo>
                <a:lnTo>
                  <a:pt x="0" y="128"/>
                </a:lnTo>
                <a:lnTo>
                  <a:pt x="0" y="124"/>
                </a:lnTo>
                <a:lnTo>
                  <a:pt x="0" y="124"/>
                </a:lnTo>
                <a:lnTo>
                  <a:pt x="44" y="104"/>
                </a:lnTo>
                <a:lnTo>
                  <a:pt x="44" y="104"/>
                </a:lnTo>
                <a:lnTo>
                  <a:pt x="48" y="98"/>
                </a:lnTo>
                <a:lnTo>
                  <a:pt x="50" y="84"/>
                </a:lnTo>
                <a:lnTo>
                  <a:pt x="54" y="64"/>
                </a:lnTo>
                <a:lnTo>
                  <a:pt x="44" y="54"/>
                </a:lnTo>
                <a:lnTo>
                  <a:pt x="44" y="54"/>
                </a:lnTo>
                <a:lnTo>
                  <a:pt x="46" y="50"/>
                </a:lnTo>
                <a:lnTo>
                  <a:pt x="48" y="44"/>
                </a:lnTo>
                <a:lnTo>
                  <a:pt x="48" y="44"/>
                </a:lnTo>
                <a:lnTo>
                  <a:pt x="50" y="40"/>
                </a:lnTo>
                <a:lnTo>
                  <a:pt x="50" y="36"/>
                </a:lnTo>
                <a:lnTo>
                  <a:pt x="50" y="32"/>
                </a:lnTo>
                <a:lnTo>
                  <a:pt x="50" y="32"/>
                </a:lnTo>
                <a:lnTo>
                  <a:pt x="48" y="32"/>
                </a:lnTo>
                <a:lnTo>
                  <a:pt x="48" y="32"/>
                </a:lnTo>
                <a:lnTo>
                  <a:pt x="50" y="28"/>
                </a:lnTo>
                <a:lnTo>
                  <a:pt x="50" y="28"/>
                </a:lnTo>
                <a:lnTo>
                  <a:pt x="54" y="26"/>
                </a:lnTo>
                <a:lnTo>
                  <a:pt x="54" y="26"/>
                </a:lnTo>
                <a:lnTo>
                  <a:pt x="52" y="24"/>
                </a:lnTo>
                <a:lnTo>
                  <a:pt x="50" y="22"/>
                </a:lnTo>
                <a:lnTo>
                  <a:pt x="50" y="22"/>
                </a:lnTo>
                <a:lnTo>
                  <a:pt x="50" y="18"/>
                </a:lnTo>
                <a:lnTo>
                  <a:pt x="52" y="18"/>
                </a:lnTo>
                <a:lnTo>
                  <a:pt x="52" y="18"/>
                </a:lnTo>
                <a:lnTo>
                  <a:pt x="54" y="22"/>
                </a:lnTo>
                <a:lnTo>
                  <a:pt x="56" y="22"/>
                </a:lnTo>
                <a:lnTo>
                  <a:pt x="56" y="22"/>
                </a:lnTo>
                <a:lnTo>
                  <a:pt x="56" y="22"/>
                </a:lnTo>
                <a:lnTo>
                  <a:pt x="58" y="20"/>
                </a:lnTo>
                <a:lnTo>
                  <a:pt x="60" y="18"/>
                </a:lnTo>
                <a:lnTo>
                  <a:pt x="6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3" name="Freeform 117">
            <a:extLst>
              <a:ext uri="{FF2B5EF4-FFF2-40B4-BE49-F238E27FC236}">
                <a16:creationId xmlns:a16="http://schemas.microsoft.com/office/drawing/2014/main" id="{D2C9DBD5-DC9B-4DA6-A4C4-AE1B034D5F7F}"/>
              </a:ext>
            </a:extLst>
          </p:cNvPr>
          <p:cNvSpPr>
            <a:spLocks/>
          </p:cNvSpPr>
          <p:nvPr userDrawn="1"/>
        </p:nvSpPr>
        <p:spPr bwMode="auto">
          <a:xfrm>
            <a:off x="6186192" y="1569984"/>
            <a:ext cx="3354" cy="3432"/>
          </a:xfrm>
          <a:custGeom>
            <a:avLst/>
            <a:gdLst>
              <a:gd name="T0" fmla="*/ 2 w 2"/>
              <a:gd name="T1" fmla="*/ 0 h 2"/>
              <a:gd name="T2" fmla="*/ 2 w 2"/>
              <a:gd name="T3" fmla="*/ 0 h 2"/>
              <a:gd name="T4" fmla="*/ 2 w 2"/>
              <a:gd name="T5" fmla="*/ 2 h 2"/>
              <a:gd name="T6" fmla="*/ 2 w 2"/>
              <a:gd name="T7" fmla="*/ 2 h 2"/>
              <a:gd name="T8" fmla="*/ 0 w 2"/>
              <a:gd name="T9" fmla="*/ 2 h 2"/>
              <a:gd name="T10" fmla="*/ 0 w 2"/>
              <a:gd name="T11" fmla="*/ 2 h 2"/>
              <a:gd name="T12" fmla="*/ 0 w 2"/>
              <a:gd name="T13" fmla="*/ 2 h 2"/>
              <a:gd name="T14" fmla="*/ 2 w 2"/>
              <a:gd name="T15" fmla="*/ 0 h 2"/>
              <a:gd name="T16" fmla="*/ 2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0"/>
                </a:moveTo>
                <a:lnTo>
                  <a:pt x="2" y="0"/>
                </a:lnTo>
                <a:lnTo>
                  <a:pt x="2" y="2"/>
                </a:lnTo>
                <a:lnTo>
                  <a:pt x="2" y="2"/>
                </a:lnTo>
                <a:lnTo>
                  <a:pt x="0" y="2"/>
                </a:lnTo>
                <a:lnTo>
                  <a:pt x="0" y="2"/>
                </a:lnTo>
                <a:lnTo>
                  <a:pt x="0" y="2"/>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4" name="Freeform 118">
            <a:extLst>
              <a:ext uri="{FF2B5EF4-FFF2-40B4-BE49-F238E27FC236}">
                <a16:creationId xmlns:a16="http://schemas.microsoft.com/office/drawing/2014/main" id="{E6BE4971-6DD9-4EAB-A24A-CBFAEFF9137B}"/>
              </a:ext>
            </a:extLst>
          </p:cNvPr>
          <p:cNvSpPr>
            <a:spLocks/>
          </p:cNvSpPr>
          <p:nvPr userDrawn="1"/>
        </p:nvSpPr>
        <p:spPr bwMode="auto">
          <a:xfrm>
            <a:off x="6169422" y="1573416"/>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0" y="2"/>
                </a:lnTo>
                <a:lnTo>
                  <a:pt x="2" y="2"/>
                </a:lnTo>
                <a:lnTo>
                  <a:pt x="2" y="2"/>
                </a:lnTo>
                <a:lnTo>
                  <a:pt x="2" y="0"/>
                </a:lnTo>
                <a:lnTo>
                  <a:pt x="0" y="0"/>
                </a:lnTo>
                <a:lnTo>
                  <a:pt x="0"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5" name="Freeform 119">
            <a:extLst>
              <a:ext uri="{FF2B5EF4-FFF2-40B4-BE49-F238E27FC236}">
                <a16:creationId xmlns:a16="http://schemas.microsoft.com/office/drawing/2014/main" id="{53C3E4A9-83CB-4933-9697-574152516E1F}"/>
              </a:ext>
            </a:extLst>
          </p:cNvPr>
          <p:cNvSpPr>
            <a:spLocks/>
          </p:cNvSpPr>
          <p:nvPr userDrawn="1"/>
        </p:nvSpPr>
        <p:spPr bwMode="auto">
          <a:xfrm>
            <a:off x="6050351" y="1686671"/>
            <a:ext cx="6708" cy="3432"/>
          </a:xfrm>
          <a:custGeom>
            <a:avLst/>
            <a:gdLst>
              <a:gd name="T0" fmla="*/ 2 w 4"/>
              <a:gd name="T1" fmla="*/ 0 h 2"/>
              <a:gd name="T2" fmla="*/ 2 w 4"/>
              <a:gd name="T3" fmla="*/ 0 h 2"/>
              <a:gd name="T4" fmla="*/ 4 w 4"/>
              <a:gd name="T5" fmla="*/ 2 h 2"/>
              <a:gd name="T6" fmla="*/ 2 w 4"/>
              <a:gd name="T7" fmla="*/ 2 h 2"/>
              <a:gd name="T8" fmla="*/ 2 w 4"/>
              <a:gd name="T9" fmla="*/ 2 h 2"/>
              <a:gd name="T10" fmla="*/ 2 w 4"/>
              <a:gd name="T11" fmla="*/ 0 h 2"/>
              <a:gd name="T12" fmla="*/ 0 w 4"/>
              <a:gd name="T13" fmla="*/ 0 h 2"/>
              <a:gd name="T14" fmla="*/ 2 w 4"/>
              <a:gd name="T15" fmla="*/ 0 h 2"/>
              <a:gd name="T16" fmla="*/ 2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2" y="0"/>
                </a:moveTo>
                <a:lnTo>
                  <a:pt x="2" y="0"/>
                </a:lnTo>
                <a:lnTo>
                  <a:pt x="4" y="2"/>
                </a:lnTo>
                <a:lnTo>
                  <a:pt x="2" y="2"/>
                </a:lnTo>
                <a:lnTo>
                  <a:pt x="2" y="2"/>
                </a:lnTo>
                <a:lnTo>
                  <a:pt x="2" y="0"/>
                </a:lnTo>
                <a:lnTo>
                  <a:pt x="0" y="0"/>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6" name="Freeform 120">
            <a:extLst>
              <a:ext uri="{FF2B5EF4-FFF2-40B4-BE49-F238E27FC236}">
                <a16:creationId xmlns:a16="http://schemas.microsoft.com/office/drawing/2014/main" id="{EC40DA32-DBD9-471C-8126-629724BD21D9}"/>
              </a:ext>
            </a:extLst>
          </p:cNvPr>
          <p:cNvSpPr>
            <a:spLocks/>
          </p:cNvSpPr>
          <p:nvPr userDrawn="1"/>
        </p:nvSpPr>
        <p:spPr bwMode="auto">
          <a:xfrm>
            <a:off x="6016811" y="1720990"/>
            <a:ext cx="6708" cy="10296"/>
          </a:xfrm>
          <a:custGeom>
            <a:avLst/>
            <a:gdLst>
              <a:gd name="T0" fmla="*/ 2 w 4"/>
              <a:gd name="T1" fmla="*/ 0 h 6"/>
              <a:gd name="T2" fmla="*/ 2 w 4"/>
              <a:gd name="T3" fmla="*/ 0 h 6"/>
              <a:gd name="T4" fmla="*/ 2 w 4"/>
              <a:gd name="T5" fmla="*/ 2 h 6"/>
              <a:gd name="T6" fmla="*/ 2 w 4"/>
              <a:gd name="T7" fmla="*/ 2 h 6"/>
              <a:gd name="T8" fmla="*/ 4 w 4"/>
              <a:gd name="T9" fmla="*/ 2 h 6"/>
              <a:gd name="T10" fmla="*/ 4 w 4"/>
              <a:gd name="T11" fmla="*/ 2 h 6"/>
              <a:gd name="T12" fmla="*/ 2 w 4"/>
              <a:gd name="T13" fmla="*/ 2 h 6"/>
              <a:gd name="T14" fmla="*/ 2 w 4"/>
              <a:gd name="T15" fmla="*/ 4 h 6"/>
              <a:gd name="T16" fmla="*/ 2 w 4"/>
              <a:gd name="T17" fmla="*/ 4 h 6"/>
              <a:gd name="T18" fmla="*/ 0 w 4"/>
              <a:gd name="T19" fmla="*/ 6 h 6"/>
              <a:gd name="T20" fmla="*/ 0 w 4"/>
              <a:gd name="T21" fmla="*/ 6 h 6"/>
              <a:gd name="T22" fmla="*/ 0 w 4"/>
              <a:gd name="T23" fmla="*/ 2 h 6"/>
              <a:gd name="T24" fmla="*/ 0 w 4"/>
              <a:gd name="T25" fmla="*/ 0 h 6"/>
              <a:gd name="T26" fmla="*/ 2 w 4"/>
              <a:gd name="T27" fmla="*/ 0 h 6"/>
              <a:gd name="T28" fmla="*/ 2 w 4"/>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6">
                <a:moveTo>
                  <a:pt x="2" y="0"/>
                </a:moveTo>
                <a:lnTo>
                  <a:pt x="2" y="0"/>
                </a:lnTo>
                <a:lnTo>
                  <a:pt x="2" y="2"/>
                </a:lnTo>
                <a:lnTo>
                  <a:pt x="2" y="2"/>
                </a:lnTo>
                <a:lnTo>
                  <a:pt x="4" y="2"/>
                </a:lnTo>
                <a:lnTo>
                  <a:pt x="4" y="2"/>
                </a:lnTo>
                <a:lnTo>
                  <a:pt x="2" y="2"/>
                </a:lnTo>
                <a:lnTo>
                  <a:pt x="2" y="4"/>
                </a:lnTo>
                <a:lnTo>
                  <a:pt x="2" y="4"/>
                </a:lnTo>
                <a:lnTo>
                  <a:pt x="0" y="6"/>
                </a:lnTo>
                <a:lnTo>
                  <a:pt x="0" y="6"/>
                </a:lnTo>
                <a:lnTo>
                  <a:pt x="0" y="2"/>
                </a:lnTo>
                <a:lnTo>
                  <a:pt x="0" y="0"/>
                </a:lnTo>
                <a:lnTo>
                  <a:pt x="2" y="0"/>
                </a:lnTo>
                <a:lnTo>
                  <a:pt x="2"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7" name="Freeform 121">
            <a:extLst>
              <a:ext uri="{FF2B5EF4-FFF2-40B4-BE49-F238E27FC236}">
                <a16:creationId xmlns:a16="http://schemas.microsoft.com/office/drawing/2014/main" id="{EF30C49A-836D-4798-8DD8-2E8AFFFD776D}"/>
              </a:ext>
            </a:extLst>
          </p:cNvPr>
          <p:cNvSpPr>
            <a:spLocks/>
          </p:cNvSpPr>
          <p:nvPr userDrawn="1"/>
        </p:nvSpPr>
        <p:spPr bwMode="auto">
          <a:xfrm>
            <a:off x="5969854" y="1336610"/>
            <a:ext cx="588640" cy="549116"/>
          </a:xfrm>
          <a:custGeom>
            <a:avLst/>
            <a:gdLst>
              <a:gd name="T0" fmla="*/ 91 w 351"/>
              <a:gd name="T1" fmla="*/ 280 h 320"/>
              <a:gd name="T2" fmla="*/ 95 w 351"/>
              <a:gd name="T3" fmla="*/ 252 h 320"/>
              <a:gd name="T4" fmla="*/ 97 w 351"/>
              <a:gd name="T5" fmla="*/ 228 h 320"/>
              <a:gd name="T6" fmla="*/ 103 w 351"/>
              <a:gd name="T7" fmla="*/ 186 h 320"/>
              <a:gd name="T8" fmla="*/ 131 w 351"/>
              <a:gd name="T9" fmla="*/ 172 h 320"/>
              <a:gd name="T10" fmla="*/ 149 w 351"/>
              <a:gd name="T11" fmla="*/ 126 h 320"/>
              <a:gd name="T12" fmla="*/ 169 w 351"/>
              <a:gd name="T13" fmla="*/ 100 h 320"/>
              <a:gd name="T14" fmla="*/ 187 w 351"/>
              <a:gd name="T15" fmla="*/ 88 h 320"/>
              <a:gd name="T16" fmla="*/ 205 w 351"/>
              <a:gd name="T17" fmla="*/ 64 h 320"/>
              <a:gd name="T18" fmla="*/ 257 w 351"/>
              <a:gd name="T19" fmla="*/ 72 h 320"/>
              <a:gd name="T20" fmla="*/ 281 w 351"/>
              <a:gd name="T21" fmla="*/ 64 h 320"/>
              <a:gd name="T22" fmla="*/ 301 w 351"/>
              <a:gd name="T23" fmla="*/ 42 h 320"/>
              <a:gd name="T24" fmla="*/ 333 w 351"/>
              <a:gd name="T25" fmla="*/ 58 h 320"/>
              <a:gd name="T26" fmla="*/ 341 w 351"/>
              <a:gd name="T27" fmla="*/ 42 h 320"/>
              <a:gd name="T28" fmla="*/ 337 w 351"/>
              <a:gd name="T29" fmla="*/ 40 h 320"/>
              <a:gd name="T30" fmla="*/ 347 w 351"/>
              <a:gd name="T31" fmla="*/ 28 h 320"/>
              <a:gd name="T32" fmla="*/ 327 w 351"/>
              <a:gd name="T33" fmla="*/ 8 h 320"/>
              <a:gd name="T34" fmla="*/ 315 w 351"/>
              <a:gd name="T35" fmla="*/ 16 h 320"/>
              <a:gd name="T36" fmla="*/ 309 w 351"/>
              <a:gd name="T37" fmla="*/ 0 h 320"/>
              <a:gd name="T38" fmla="*/ 301 w 351"/>
              <a:gd name="T39" fmla="*/ 20 h 320"/>
              <a:gd name="T40" fmla="*/ 295 w 351"/>
              <a:gd name="T41" fmla="*/ 20 h 320"/>
              <a:gd name="T42" fmla="*/ 289 w 351"/>
              <a:gd name="T43" fmla="*/ 16 h 320"/>
              <a:gd name="T44" fmla="*/ 275 w 351"/>
              <a:gd name="T45" fmla="*/ 24 h 320"/>
              <a:gd name="T46" fmla="*/ 275 w 351"/>
              <a:gd name="T47" fmla="*/ 14 h 320"/>
              <a:gd name="T48" fmla="*/ 263 w 351"/>
              <a:gd name="T49" fmla="*/ 22 h 320"/>
              <a:gd name="T50" fmla="*/ 245 w 351"/>
              <a:gd name="T51" fmla="*/ 32 h 320"/>
              <a:gd name="T52" fmla="*/ 225 w 351"/>
              <a:gd name="T53" fmla="*/ 24 h 320"/>
              <a:gd name="T54" fmla="*/ 229 w 351"/>
              <a:gd name="T55" fmla="*/ 36 h 320"/>
              <a:gd name="T56" fmla="*/ 221 w 351"/>
              <a:gd name="T57" fmla="*/ 36 h 320"/>
              <a:gd name="T58" fmla="*/ 211 w 351"/>
              <a:gd name="T59" fmla="*/ 38 h 320"/>
              <a:gd name="T60" fmla="*/ 195 w 351"/>
              <a:gd name="T61" fmla="*/ 36 h 320"/>
              <a:gd name="T62" fmla="*/ 189 w 351"/>
              <a:gd name="T63" fmla="*/ 50 h 320"/>
              <a:gd name="T64" fmla="*/ 181 w 351"/>
              <a:gd name="T65" fmla="*/ 54 h 320"/>
              <a:gd name="T66" fmla="*/ 169 w 351"/>
              <a:gd name="T67" fmla="*/ 76 h 320"/>
              <a:gd name="T68" fmla="*/ 171 w 351"/>
              <a:gd name="T69" fmla="*/ 82 h 320"/>
              <a:gd name="T70" fmla="*/ 151 w 351"/>
              <a:gd name="T71" fmla="*/ 92 h 320"/>
              <a:gd name="T72" fmla="*/ 157 w 351"/>
              <a:gd name="T73" fmla="*/ 102 h 320"/>
              <a:gd name="T74" fmla="*/ 141 w 351"/>
              <a:gd name="T75" fmla="*/ 120 h 320"/>
              <a:gd name="T76" fmla="*/ 125 w 351"/>
              <a:gd name="T77" fmla="*/ 132 h 320"/>
              <a:gd name="T78" fmla="*/ 103 w 351"/>
              <a:gd name="T79" fmla="*/ 152 h 320"/>
              <a:gd name="T80" fmla="*/ 91 w 351"/>
              <a:gd name="T81" fmla="*/ 168 h 320"/>
              <a:gd name="T82" fmla="*/ 74 w 351"/>
              <a:gd name="T83" fmla="*/ 184 h 320"/>
              <a:gd name="T84" fmla="*/ 79 w 351"/>
              <a:gd name="T85" fmla="*/ 196 h 320"/>
              <a:gd name="T86" fmla="*/ 54 w 351"/>
              <a:gd name="T87" fmla="*/ 198 h 320"/>
              <a:gd name="T88" fmla="*/ 42 w 351"/>
              <a:gd name="T89" fmla="*/ 204 h 320"/>
              <a:gd name="T90" fmla="*/ 32 w 351"/>
              <a:gd name="T91" fmla="*/ 218 h 320"/>
              <a:gd name="T92" fmla="*/ 24 w 351"/>
              <a:gd name="T93" fmla="*/ 228 h 320"/>
              <a:gd name="T94" fmla="*/ 4 w 351"/>
              <a:gd name="T95" fmla="*/ 228 h 320"/>
              <a:gd name="T96" fmla="*/ 0 w 351"/>
              <a:gd name="T97" fmla="*/ 248 h 320"/>
              <a:gd name="T98" fmla="*/ 18 w 351"/>
              <a:gd name="T99" fmla="*/ 244 h 320"/>
              <a:gd name="T100" fmla="*/ 30 w 351"/>
              <a:gd name="T101" fmla="*/ 250 h 320"/>
              <a:gd name="T102" fmla="*/ 6 w 351"/>
              <a:gd name="T103" fmla="*/ 256 h 320"/>
              <a:gd name="T104" fmla="*/ 0 w 351"/>
              <a:gd name="T105" fmla="*/ 264 h 320"/>
              <a:gd name="T106" fmla="*/ 6 w 351"/>
              <a:gd name="T107" fmla="*/ 270 h 320"/>
              <a:gd name="T108" fmla="*/ 28 w 351"/>
              <a:gd name="T109" fmla="*/ 264 h 320"/>
              <a:gd name="T110" fmla="*/ 14 w 351"/>
              <a:gd name="T111" fmla="*/ 282 h 320"/>
              <a:gd name="T112" fmla="*/ 10 w 351"/>
              <a:gd name="T113" fmla="*/ 290 h 320"/>
              <a:gd name="T114" fmla="*/ 14 w 351"/>
              <a:gd name="T115" fmla="*/ 304 h 320"/>
              <a:gd name="T116" fmla="*/ 32 w 351"/>
              <a:gd name="T117" fmla="*/ 320 h 320"/>
              <a:gd name="T118" fmla="*/ 68 w 351"/>
              <a:gd name="T11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1" h="320">
                <a:moveTo>
                  <a:pt x="85" y="300"/>
                </a:moveTo>
                <a:lnTo>
                  <a:pt x="85" y="300"/>
                </a:lnTo>
                <a:lnTo>
                  <a:pt x="89" y="300"/>
                </a:lnTo>
                <a:lnTo>
                  <a:pt x="89" y="300"/>
                </a:lnTo>
                <a:lnTo>
                  <a:pt x="91" y="300"/>
                </a:lnTo>
                <a:lnTo>
                  <a:pt x="91" y="298"/>
                </a:lnTo>
                <a:lnTo>
                  <a:pt x="93" y="292"/>
                </a:lnTo>
                <a:lnTo>
                  <a:pt x="93" y="292"/>
                </a:lnTo>
                <a:lnTo>
                  <a:pt x="91" y="290"/>
                </a:lnTo>
                <a:lnTo>
                  <a:pt x="89" y="284"/>
                </a:lnTo>
                <a:lnTo>
                  <a:pt x="89" y="284"/>
                </a:lnTo>
                <a:lnTo>
                  <a:pt x="89" y="282"/>
                </a:lnTo>
                <a:lnTo>
                  <a:pt x="91" y="280"/>
                </a:lnTo>
                <a:lnTo>
                  <a:pt x="91" y="280"/>
                </a:lnTo>
                <a:lnTo>
                  <a:pt x="93" y="280"/>
                </a:lnTo>
                <a:lnTo>
                  <a:pt x="93" y="278"/>
                </a:lnTo>
                <a:lnTo>
                  <a:pt x="93" y="276"/>
                </a:lnTo>
                <a:lnTo>
                  <a:pt x="95" y="274"/>
                </a:lnTo>
                <a:lnTo>
                  <a:pt x="95" y="274"/>
                </a:lnTo>
                <a:lnTo>
                  <a:pt x="97" y="272"/>
                </a:lnTo>
                <a:lnTo>
                  <a:pt x="95" y="268"/>
                </a:lnTo>
                <a:lnTo>
                  <a:pt x="95" y="268"/>
                </a:lnTo>
                <a:lnTo>
                  <a:pt x="93" y="266"/>
                </a:lnTo>
                <a:lnTo>
                  <a:pt x="93" y="264"/>
                </a:lnTo>
                <a:lnTo>
                  <a:pt x="95" y="260"/>
                </a:lnTo>
                <a:lnTo>
                  <a:pt x="95" y="260"/>
                </a:lnTo>
                <a:lnTo>
                  <a:pt x="95" y="252"/>
                </a:lnTo>
                <a:lnTo>
                  <a:pt x="95" y="252"/>
                </a:lnTo>
                <a:lnTo>
                  <a:pt x="95" y="252"/>
                </a:lnTo>
                <a:lnTo>
                  <a:pt x="99" y="250"/>
                </a:lnTo>
                <a:lnTo>
                  <a:pt x="99" y="250"/>
                </a:lnTo>
                <a:lnTo>
                  <a:pt x="101" y="248"/>
                </a:lnTo>
                <a:lnTo>
                  <a:pt x="101" y="246"/>
                </a:lnTo>
                <a:lnTo>
                  <a:pt x="101" y="242"/>
                </a:lnTo>
                <a:lnTo>
                  <a:pt x="101" y="242"/>
                </a:lnTo>
                <a:lnTo>
                  <a:pt x="99" y="236"/>
                </a:lnTo>
                <a:lnTo>
                  <a:pt x="97" y="234"/>
                </a:lnTo>
                <a:lnTo>
                  <a:pt x="97" y="234"/>
                </a:lnTo>
                <a:lnTo>
                  <a:pt x="95" y="234"/>
                </a:lnTo>
                <a:lnTo>
                  <a:pt x="95" y="232"/>
                </a:lnTo>
                <a:lnTo>
                  <a:pt x="97" y="228"/>
                </a:lnTo>
                <a:lnTo>
                  <a:pt x="97" y="228"/>
                </a:lnTo>
                <a:lnTo>
                  <a:pt x="97" y="222"/>
                </a:lnTo>
                <a:lnTo>
                  <a:pt x="97" y="216"/>
                </a:lnTo>
                <a:lnTo>
                  <a:pt x="97" y="216"/>
                </a:lnTo>
                <a:lnTo>
                  <a:pt x="97" y="210"/>
                </a:lnTo>
                <a:lnTo>
                  <a:pt x="97" y="204"/>
                </a:lnTo>
                <a:lnTo>
                  <a:pt x="97" y="204"/>
                </a:lnTo>
                <a:lnTo>
                  <a:pt x="97" y="200"/>
                </a:lnTo>
                <a:lnTo>
                  <a:pt x="95" y="196"/>
                </a:lnTo>
                <a:lnTo>
                  <a:pt x="95" y="196"/>
                </a:lnTo>
                <a:lnTo>
                  <a:pt x="97" y="192"/>
                </a:lnTo>
                <a:lnTo>
                  <a:pt x="99" y="190"/>
                </a:lnTo>
                <a:lnTo>
                  <a:pt x="101" y="188"/>
                </a:lnTo>
                <a:lnTo>
                  <a:pt x="103" y="186"/>
                </a:lnTo>
                <a:lnTo>
                  <a:pt x="103" y="186"/>
                </a:lnTo>
                <a:lnTo>
                  <a:pt x="103" y="182"/>
                </a:lnTo>
                <a:lnTo>
                  <a:pt x="107" y="180"/>
                </a:lnTo>
                <a:lnTo>
                  <a:pt x="109" y="176"/>
                </a:lnTo>
                <a:lnTo>
                  <a:pt x="109" y="174"/>
                </a:lnTo>
                <a:lnTo>
                  <a:pt x="109" y="174"/>
                </a:lnTo>
                <a:lnTo>
                  <a:pt x="111" y="172"/>
                </a:lnTo>
                <a:lnTo>
                  <a:pt x="113" y="168"/>
                </a:lnTo>
                <a:lnTo>
                  <a:pt x="121" y="166"/>
                </a:lnTo>
                <a:lnTo>
                  <a:pt x="121" y="166"/>
                </a:lnTo>
                <a:lnTo>
                  <a:pt x="123" y="166"/>
                </a:lnTo>
                <a:lnTo>
                  <a:pt x="125" y="168"/>
                </a:lnTo>
                <a:lnTo>
                  <a:pt x="129" y="172"/>
                </a:lnTo>
                <a:lnTo>
                  <a:pt x="129" y="172"/>
                </a:lnTo>
                <a:lnTo>
                  <a:pt x="131" y="172"/>
                </a:lnTo>
                <a:lnTo>
                  <a:pt x="133" y="170"/>
                </a:lnTo>
                <a:lnTo>
                  <a:pt x="133" y="164"/>
                </a:lnTo>
                <a:lnTo>
                  <a:pt x="133" y="164"/>
                </a:lnTo>
                <a:lnTo>
                  <a:pt x="135" y="156"/>
                </a:lnTo>
                <a:lnTo>
                  <a:pt x="133" y="150"/>
                </a:lnTo>
                <a:lnTo>
                  <a:pt x="133" y="150"/>
                </a:lnTo>
                <a:lnTo>
                  <a:pt x="135" y="148"/>
                </a:lnTo>
                <a:lnTo>
                  <a:pt x="137" y="146"/>
                </a:lnTo>
                <a:lnTo>
                  <a:pt x="141" y="144"/>
                </a:lnTo>
                <a:lnTo>
                  <a:pt x="141" y="144"/>
                </a:lnTo>
                <a:lnTo>
                  <a:pt x="143" y="140"/>
                </a:lnTo>
                <a:lnTo>
                  <a:pt x="147" y="134"/>
                </a:lnTo>
                <a:lnTo>
                  <a:pt x="149" y="126"/>
                </a:lnTo>
                <a:lnTo>
                  <a:pt x="149" y="126"/>
                </a:lnTo>
                <a:lnTo>
                  <a:pt x="149" y="120"/>
                </a:lnTo>
                <a:lnTo>
                  <a:pt x="151" y="118"/>
                </a:lnTo>
                <a:lnTo>
                  <a:pt x="153" y="116"/>
                </a:lnTo>
                <a:lnTo>
                  <a:pt x="153" y="116"/>
                </a:lnTo>
                <a:lnTo>
                  <a:pt x="157" y="116"/>
                </a:lnTo>
                <a:lnTo>
                  <a:pt x="157" y="114"/>
                </a:lnTo>
                <a:lnTo>
                  <a:pt x="157" y="114"/>
                </a:lnTo>
                <a:lnTo>
                  <a:pt x="157" y="114"/>
                </a:lnTo>
                <a:lnTo>
                  <a:pt x="159" y="112"/>
                </a:lnTo>
                <a:lnTo>
                  <a:pt x="161" y="110"/>
                </a:lnTo>
                <a:lnTo>
                  <a:pt x="165" y="106"/>
                </a:lnTo>
                <a:lnTo>
                  <a:pt x="165" y="106"/>
                </a:lnTo>
                <a:lnTo>
                  <a:pt x="167" y="104"/>
                </a:lnTo>
                <a:lnTo>
                  <a:pt x="169" y="100"/>
                </a:lnTo>
                <a:lnTo>
                  <a:pt x="169" y="100"/>
                </a:lnTo>
                <a:lnTo>
                  <a:pt x="169" y="94"/>
                </a:lnTo>
                <a:lnTo>
                  <a:pt x="171" y="90"/>
                </a:lnTo>
                <a:lnTo>
                  <a:pt x="171" y="90"/>
                </a:lnTo>
                <a:lnTo>
                  <a:pt x="175" y="86"/>
                </a:lnTo>
                <a:lnTo>
                  <a:pt x="177" y="84"/>
                </a:lnTo>
                <a:lnTo>
                  <a:pt x="177" y="84"/>
                </a:lnTo>
                <a:lnTo>
                  <a:pt x="183" y="90"/>
                </a:lnTo>
                <a:lnTo>
                  <a:pt x="187" y="92"/>
                </a:lnTo>
                <a:lnTo>
                  <a:pt x="187" y="92"/>
                </a:lnTo>
                <a:lnTo>
                  <a:pt x="187" y="92"/>
                </a:lnTo>
                <a:lnTo>
                  <a:pt x="187" y="92"/>
                </a:lnTo>
                <a:lnTo>
                  <a:pt x="185" y="90"/>
                </a:lnTo>
                <a:lnTo>
                  <a:pt x="187" y="88"/>
                </a:lnTo>
                <a:lnTo>
                  <a:pt x="187" y="84"/>
                </a:lnTo>
                <a:lnTo>
                  <a:pt x="187" y="84"/>
                </a:lnTo>
                <a:lnTo>
                  <a:pt x="187" y="82"/>
                </a:lnTo>
                <a:lnTo>
                  <a:pt x="187" y="82"/>
                </a:lnTo>
                <a:lnTo>
                  <a:pt x="191" y="82"/>
                </a:lnTo>
                <a:lnTo>
                  <a:pt x="191" y="82"/>
                </a:lnTo>
                <a:lnTo>
                  <a:pt x="195" y="82"/>
                </a:lnTo>
                <a:lnTo>
                  <a:pt x="201" y="84"/>
                </a:lnTo>
                <a:lnTo>
                  <a:pt x="201" y="84"/>
                </a:lnTo>
                <a:lnTo>
                  <a:pt x="203" y="82"/>
                </a:lnTo>
                <a:lnTo>
                  <a:pt x="203" y="80"/>
                </a:lnTo>
                <a:lnTo>
                  <a:pt x="205" y="76"/>
                </a:lnTo>
                <a:lnTo>
                  <a:pt x="207" y="68"/>
                </a:lnTo>
                <a:lnTo>
                  <a:pt x="205" y="64"/>
                </a:lnTo>
                <a:lnTo>
                  <a:pt x="211" y="64"/>
                </a:lnTo>
                <a:lnTo>
                  <a:pt x="217" y="60"/>
                </a:lnTo>
                <a:lnTo>
                  <a:pt x="219" y="58"/>
                </a:lnTo>
                <a:lnTo>
                  <a:pt x="219" y="58"/>
                </a:lnTo>
                <a:lnTo>
                  <a:pt x="219" y="56"/>
                </a:lnTo>
                <a:lnTo>
                  <a:pt x="221" y="56"/>
                </a:lnTo>
                <a:lnTo>
                  <a:pt x="225" y="56"/>
                </a:lnTo>
                <a:lnTo>
                  <a:pt x="239" y="72"/>
                </a:lnTo>
                <a:lnTo>
                  <a:pt x="239" y="72"/>
                </a:lnTo>
                <a:lnTo>
                  <a:pt x="245" y="70"/>
                </a:lnTo>
                <a:lnTo>
                  <a:pt x="253" y="70"/>
                </a:lnTo>
                <a:lnTo>
                  <a:pt x="253" y="70"/>
                </a:lnTo>
                <a:lnTo>
                  <a:pt x="257" y="72"/>
                </a:lnTo>
                <a:lnTo>
                  <a:pt x="257" y="72"/>
                </a:lnTo>
                <a:lnTo>
                  <a:pt x="257" y="70"/>
                </a:lnTo>
                <a:lnTo>
                  <a:pt x="259" y="70"/>
                </a:lnTo>
                <a:lnTo>
                  <a:pt x="259" y="70"/>
                </a:lnTo>
                <a:lnTo>
                  <a:pt x="263" y="70"/>
                </a:lnTo>
                <a:lnTo>
                  <a:pt x="263" y="72"/>
                </a:lnTo>
                <a:lnTo>
                  <a:pt x="271" y="78"/>
                </a:lnTo>
                <a:lnTo>
                  <a:pt x="271" y="78"/>
                </a:lnTo>
                <a:lnTo>
                  <a:pt x="271" y="76"/>
                </a:lnTo>
                <a:lnTo>
                  <a:pt x="271" y="74"/>
                </a:lnTo>
                <a:lnTo>
                  <a:pt x="273" y="72"/>
                </a:lnTo>
                <a:lnTo>
                  <a:pt x="273" y="72"/>
                </a:lnTo>
                <a:lnTo>
                  <a:pt x="279" y="68"/>
                </a:lnTo>
                <a:lnTo>
                  <a:pt x="281" y="64"/>
                </a:lnTo>
                <a:lnTo>
                  <a:pt x="281" y="64"/>
                </a:lnTo>
                <a:lnTo>
                  <a:pt x="281" y="58"/>
                </a:lnTo>
                <a:lnTo>
                  <a:pt x="279" y="56"/>
                </a:lnTo>
                <a:lnTo>
                  <a:pt x="279" y="56"/>
                </a:lnTo>
                <a:lnTo>
                  <a:pt x="281" y="54"/>
                </a:lnTo>
                <a:lnTo>
                  <a:pt x="281" y="50"/>
                </a:lnTo>
                <a:lnTo>
                  <a:pt x="281" y="50"/>
                </a:lnTo>
                <a:lnTo>
                  <a:pt x="283" y="48"/>
                </a:lnTo>
                <a:lnTo>
                  <a:pt x="287" y="46"/>
                </a:lnTo>
                <a:lnTo>
                  <a:pt x="287" y="46"/>
                </a:lnTo>
                <a:lnTo>
                  <a:pt x="289" y="44"/>
                </a:lnTo>
                <a:lnTo>
                  <a:pt x="291" y="42"/>
                </a:lnTo>
                <a:lnTo>
                  <a:pt x="293" y="40"/>
                </a:lnTo>
                <a:lnTo>
                  <a:pt x="293" y="40"/>
                </a:lnTo>
                <a:lnTo>
                  <a:pt x="301" y="42"/>
                </a:lnTo>
                <a:lnTo>
                  <a:pt x="301" y="42"/>
                </a:lnTo>
                <a:lnTo>
                  <a:pt x="303" y="42"/>
                </a:lnTo>
                <a:lnTo>
                  <a:pt x="307" y="38"/>
                </a:lnTo>
                <a:lnTo>
                  <a:pt x="311" y="36"/>
                </a:lnTo>
                <a:lnTo>
                  <a:pt x="311" y="36"/>
                </a:lnTo>
                <a:lnTo>
                  <a:pt x="315" y="40"/>
                </a:lnTo>
                <a:lnTo>
                  <a:pt x="319" y="48"/>
                </a:lnTo>
                <a:lnTo>
                  <a:pt x="319" y="48"/>
                </a:lnTo>
                <a:lnTo>
                  <a:pt x="327" y="54"/>
                </a:lnTo>
                <a:lnTo>
                  <a:pt x="327" y="54"/>
                </a:lnTo>
                <a:lnTo>
                  <a:pt x="333" y="54"/>
                </a:lnTo>
                <a:lnTo>
                  <a:pt x="333" y="54"/>
                </a:lnTo>
                <a:lnTo>
                  <a:pt x="333" y="58"/>
                </a:lnTo>
                <a:lnTo>
                  <a:pt x="333" y="58"/>
                </a:lnTo>
                <a:lnTo>
                  <a:pt x="335" y="60"/>
                </a:lnTo>
                <a:lnTo>
                  <a:pt x="335" y="60"/>
                </a:lnTo>
                <a:lnTo>
                  <a:pt x="337" y="60"/>
                </a:lnTo>
                <a:lnTo>
                  <a:pt x="337" y="60"/>
                </a:lnTo>
                <a:lnTo>
                  <a:pt x="339" y="54"/>
                </a:lnTo>
                <a:lnTo>
                  <a:pt x="339" y="50"/>
                </a:lnTo>
                <a:lnTo>
                  <a:pt x="339" y="50"/>
                </a:lnTo>
                <a:lnTo>
                  <a:pt x="339" y="44"/>
                </a:lnTo>
                <a:lnTo>
                  <a:pt x="337" y="42"/>
                </a:lnTo>
                <a:lnTo>
                  <a:pt x="337" y="42"/>
                </a:lnTo>
                <a:lnTo>
                  <a:pt x="339" y="42"/>
                </a:lnTo>
                <a:lnTo>
                  <a:pt x="341" y="42"/>
                </a:lnTo>
                <a:lnTo>
                  <a:pt x="341" y="42"/>
                </a:lnTo>
                <a:lnTo>
                  <a:pt x="341" y="42"/>
                </a:lnTo>
                <a:lnTo>
                  <a:pt x="343" y="40"/>
                </a:lnTo>
                <a:lnTo>
                  <a:pt x="347" y="38"/>
                </a:lnTo>
                <a:lnTo>
                  <a:pt x="351" y="36"/>
                </a:lnTo>
                <a:lnTo>
                  <a:pt x="351" y="36"/>
                </a:lnTo>
                <a:lnTo>
                  <a:pt x="347" y="36"/>
                </a:lnTo>
                <a:lnTo>
                  <a:pt x="347" y="36"/>
                </a:lnTo>
                <a:lnTo>
                  <a:pt x="345" y="34"/>
                </a:lnTo>
                <a:lnTo>
                  <a:pt x="345" y="34"/>
                </a:lnTo>
                <a:lnTo>
                  <a:pt x="341" y="40"/>
                </a:lnTo>
                <a:lnTo>
                  <a:pt x="341" y="40"/>
                </a:lnTo>
                <a:lnTo>
                  <a:pt x="339" y="36"/>
                </a:lnTo>
                <a:lnTo>
                  <a:pt x="339" y="36"/>
                </a:lnTo>
                <a:lnTo>
                  <a:pt x="339" y="38"/>
                </a:lnTo>
                <a:lnTo>
                  <a:pt x="337" y="40"/>
                </a:lnTo>
                <a:lnTo>
                  <a:pt x="337" y="40"/>
                </a:lnTo>
                <a:lnTo>
                  <a:pt x="333" y="42"/>
                </a:lnTo>
                <a:lnTo>
                  <a:pt x="333" y="42"/>
                </a:lnTo>
                <a:lnTo>
                  <a:pt x="333" y="36"/>
                </a:lnTo>
                <a:lnTo>
                  <a:pt x="333" y="36"/>
                </a:lnTo>
                <a:lnTo>
                  <a:pt x="329" y="32"/>
                </a:lnTo>
                <a:lnTo>
                  <a:pt x="329" y="32"/>
                </a:lnTo>
                <a:lnTo>
                  <a:pt x="335" y="34"/>
                </a:lnTo>
                <a:lnTo>
                  <a:pt x="341" y="32"/>
                </a:lnTo>
                <a:lnTo>
                  <a:pt x="341" y="32"/>
                </a:lnTo>
                <a:lnTo>
                  <a:pt x="341" y="30"/>
                </a:lnTo>
                <a:lnTo>
                  <a:pt x="343" y="28"/>
                </a:lnTo>
                <a:lnTo>
                  <a:pt x="343" y="28"/>
                </a:lnTo>
                <a:lnTo>
                  <a:pt x="347" y="28"/>
                </a:lnTo>
                <a:lnTo>
                  <a:pt x="351" y="28"/>
                </a:lnTo>
                <a:lnTo>
                  <a:pt x="351" y="28"/>
                </a:lnTo>
                <a:lnTo>
                  <a:pt x="347" y="20"/>
                </a:lnTo>
                <a:lnTo>
                  <a:pt x="345" y="20"/>
                </a:lnTo>
                <a:lnTo>
                  <a:pt x="339" y="20"/>
                </a:lnTo>
                <a:lnTo>
                  <a:pt x="339" y="20"/>
                </a:lnTo>
                <a:lnTo>
                  <a:pt x="341" y="16"/>
                </a:lnTo>
                <a:lnTo>
                  <a:pt x="341" y="14"/>
                </a:lnTo>
                <a:lnTo>
                  <a:pt x="335" y="18"/>
                </a:lnTo>
                <a:lnTo>
                  <a:pt x="335" y="18"/>
                </a:lnTo>
                <a:lnTo>
                  <a:pt x="331" y="8"/>
                </a:lnTo>
                <a:lnTo>
                  <a:pt x="331" y="8"/>
                </a:lnTo>
                <a:lnTo>
                  <a:pt x="327" y="8"/>
                </a:lnTo>
                <a:lnTo>
                  <a:pt x="327" y="8"/>
                </a:lnTo>
                <a:lnTo>
                  <a:pt x="323" y="14"/>
                </a:lnTo>
                <a:lnTo>
                  <a:pt x="325" y="20"/>
                </a:lnTo>
                <a:lnTo>
                  <a:pt x="325" y="20"/>
                </a:lnTo>
                <a:lnTo>
                  <a:pt x="321" y="22"/>
                </a:lnTo>
                <a:lnTo>
                  <a:pt x="321" y="22"/>
                </a:lnTo>
                <a:lnTo>
                  <a:pt x="319" y="20"/>
                </a:lnTo>
                <a:lnTo>
                  <a:pt x="321" y="16"/>
                </a:lnTo>
                <a:lnTo>
                  <a:pt x="321" y="12"/>
                </a:lnTo>
                <a:lnTo>
                  <a:pt x="319" y="12"/>
                </a:lnTo>
                <a:lnTo>
                  <a:pt x="319" y="12"/>
                </a:lnTo>
                <a:lnTo>
                  <a:pt x="317" y="14"/>
                </a:lnTo>
                <a:lnTo>
                  <a:pt x="317" y="14"/>
                </a:lnTo>
                <a:lnTo>
                  <a:pt x="317" y="16"/>
                </a:lnTo>
                <a:lnTo>
                  <a:pt x="315" y="16"/>
                </a:lnTo>
                <a:lnTo>
                  <a:pt x="315" y="16"/>
                </a:lnTo>
                <a:lnTo>
                  <a:pt x="315" y="12"/>
                </a:lnTo>
                <a:lnTo>
                  <a:pt x="315" y="10"/>
                </a:lnTo>
                <a:lnTo>
                  <a:pt x="315" y="10"/>
                </a:lnTo>
                <a:lnTo>
                  <a:pt x="319" y="8"/>
                </a:lnTo>
                <a:lnTo>
                  <a:pt x="321" y="8"/>
                </a:lnTo>
                <a:lnTo>
                  <a:pt x="319" y="6"/>
                </a:lnTo>
                <a:lnTo>
                  <a:pt x="319" y="6"/>
                </a:lnTo>
                <a:lnTo>
                  <a:pt x="319" y="2"/>
                </a:lnTo>
                <a:lnTo>
                  <a:pt x="319" y="2"/>
                </a:lnTo>
                <a:lnTo>
                  <a:pt x="313" y="2"/>
                </a:lnTo>
                <a:lnTo>
                  <a:pt x="313" y="0"/>
                </a:lnTo>
                <a:lnTo>
                  <a:pt x="313" y="0"/>
                </a:lnTo>
                <a:lnTo>
                  <a:pt x="309" y="0"/>
                </a:lnTo>
                <a:lnTo>
                  <a:pt x="309" y="0"/>
                </a:lnTo>
                <a:lnTo>
                  <a:pt x="309" y="6"/>
                </a:lnTo>
                <a:lnTo>
                  <a:pt x="307" y="6"/>
                </a:lnTo>
                <a:lnTo>
                  <a:pt x="307" y="6"/>
                </a:lnTo>
                <a:lnTo>
                  <a:pt x="305" y="6"/>
                </a:lnTo>
                <a:lnTo>
                  <a:pt x="305" y="6"/>
                </a:lnTo>
                <a:lnTo>
                  <a:pt x="305" y="10"/>
                </a:lnTo>
                <a:lnTo>
                  <a:pt x="305" y="10"/>
                </a:lnTo>
                <a:lnTo>
                  <a:pt x="307" y="12"/>
                </a:lnTo>
                <a:lnTo>
                  <a:pt x="307" y="12"/>
                </a:lnTo>
                <a:lnTo>
                  <a:pt x="303" y="14"/>
                </a:lnTo>
                <a:lnTo>
                  <a:pt x="303" y="14"/>
                </a:lnTo>
                <a:lnTo>
                  <a:pt x="301" y="18"/>
                </a:lnTo>
                <a:lnTo>
                  <a:pt x="301" y="20"/>
                </a:lnTo>
                <a:lnTo>
                  <a:pt x="301" y="20"/>
                </a:lnTo>
                <a:lnTo>
                  <a:pt x="295" y="24"/>
                </a:lnTo>
                <a:lnTo>
                  <a:pt x="295" y="24"/>
                </a:lnTo>
                <a:lnTo>
                  <a:pt x="295" y="28"/>
                </a:lnTo>
                <a:lnTo>
                  <a:pt x="295" y="28"/>
                </a:lnTo>
                <a:lnTo>
                  <a:pt x="293" y="26"/>
                </a:lnTo>
                <a:lnTo>
                  <a:pt x="293" y="24"/>
                </a:lnTo>
                <a:lnTo>
                  <a:pt x="293" y="20"/>
                </a:lnTo>
                <a:lnTo>
                  <a:pt x="293" y="20"/>
                </a:lnTo>
                <a:lnTo>
                  <a:pt x="293" y="20"/>
                </a:lnTo>
                <a:lnTo>
                  <a:pt x="293" y="22"/>
                </a:lnTo>
                <a:lnTo>
                  <a:pt x="295" y="22"/>
                </a:lnTo>
                <a:lnTo>
                  <a:pt x="295" y="20"/>
                </a:lnTo>
                <a:lnTo>
                  <a:pt x="295" y="20"/>
                </a:lnTo>
                <a:lnTo>
                  <a:pt x="295" y="18"/>
                </a:lnTo>
                <a:lnTo>
                  <a:pt x="295" y="16"/>
                </a:lnTo>
                <a:lnTo>
                  <a:pt x="295" y="16"/>
                </a:lnTo>
                <a:lnTo>
                  <a:pt x="297" y="12"/>
                </a:lnTo>
                <a:lnTo>
                  <a:pt x="297" y="12"/>
                </a:lnTo>
                <a:lnTo>
                  <a:pt x="297" y="10"/>
                </a:lnTo>
                <a:lnTo>
                  <a:pt x="297" y="8"/>
                </a:lnTo>
                <a:lnTo>
                  <a:pt x="295" y="8"/>
                </a:lnTo>
                <a:lnTo>
                  <a:pt x="295" y="8"/>
                </a:lnTo>
                <a:lnTo>
                  <a:pt x="295" y="12"/>
                </a:lnTo>
                <a:lnTo>
                  <a:pt x="293" y="12"/>
                </a:lnTo>
                <a:lnTo>
                  <a:pt x="293" y="12"/>
                </a:lnTo>
                <a:lnTo>
                  <a:pt x="291" y="16"/>
                </a:lnTo>
                <a:lnTo>
                  <a:pt x="289" y="16"/>
                </a:lnTo>
                <a:lnTo>
                  <a:pt x="289" y="16"/>
                </a:lnTo>
                <a:lnTo>
                  <a:pt x="285" y="24"/>
                </a:lnTo>
                <a:lnTo>
                  <a:pt x="285" y="24"/>
                </a:lnTo>
                <a:lnTo>
                  <a:pt x="283" y="26"/>
                </a:lnTo>
                <a:lnTo>
                  <a:pt x="279" y="28"/>
                </a:lnTo>
                <a:lnTo>
                  <a:pt x="279" y="28"/>
                </a:lnTo>
                <a:lnTo>
                  <a:pt x="279" y="30"/>
                </a:lnTo>
                <a:lnTo>
                  <a:pt x="279" y="34"/>
                </a:lnTo>
                <a:lnTo>
                  <a:pt x="279" y="34"/>
                </a:lnTo>
                <a:lnTo>
                  <a:pt x="275" y="38"/>
                </a:lnTo>
                <a:lnTo>
                  <a:pt x="275" y="38"/>
                </a:lnTo>
                <a:lnTo>
                  <a:pt x="273" y="36"/>
                </a:lnTo>
                <a:lnTo>
                  <a:pt x="273" y="36"/>
                </a:lnTo>
                <a:lnTo>
                  <a:pt x="275" y="24"/>
                </a:lnTo>
                <a:lnTo>
                  <a:pt x="275" y="24"/>
                </a:lnTo>
                <a:lnTo>
                  <a:pt x="279" y="24"/>
                </a:lnTo>
                <a:lnTo>
                  <a:pt x="281" y="22"/>
                </a:lnTo>
                <a:lnTo>
                  <a:pt x="281" y="22"/>
                </a:lnTo>
                <a:lnTo>
                  <a:pt x="283" y="16"/>
                </a:lnTo>
                <a:lnTo>
                  <a:pt x="283" y="16"/>
                </a:lnTo>
                <a:lnTo>
                  <a:pt x="277" y="16"/>
                </a:lnTo>
                <a:lnTo>
                  <a:pt x="277" y="16"/>
                </a:lnTo>
                <a:lnTo>
                  <a:pt x="277" y="12"/>
                </a:lnTo>
                <a:lnTo>
                  <a:pt x="277" y="12"/>
                </a:lnTo>
                <a:lnTo>
                  <a:pt x="277" y="12"/>
                </a:lnTo>
                <a:lnTo>
                  <a:pt x="275" y="12"/>
                </a:lnTo>
                <a:lnTo>
                  <a:pt x="275" y="14"/>
                </a:lnTo>
                <a:lnTo>
                  <a:pt x="275" y="14"/>
                </a:lnTo>
                <a:lnTo>
                  <a:pt x="273" y="14"/>
                </a:lnTo>
                <a:lnTo>
                  <a:pt x="271" y="12"/>
                </a:lnTo>
                <a:lnTo>
                  <a:pt x="267" y="10"/>
                </a:lnTo>
                <a:lnTo>
                  <a:pt x="267" y="10"/>
                </a:lnTo>
                <a:lnTo>
                  <a:pt x="265" y="10"/>
                </a:lnTo>
                <a:lnTo>
                  <a:pt x="265" y="10"/>
                </a:lnTo>
                <a:lnTo>
                  <a:pt x="267" y="18"/>
                </a:lnTo>
                <a:lnTo>
                  <a:pt x="265" y="18"/>
                </a:lnTo>
                <a:lnTo>
                  <a:pt x="265" y="18"/>
                </a:lnTo>
                <a:lnTo>
                  <a:pt x="265" y="20"/>
                </a:lnTo>
                <a:lnTo>
                  <a:pt x="267" y="20"/>
                </a:lnTo>
                <a:lnTo>
                  <a:pt x="267" y="20"/>
                </a:lnTo>
                <a:lnTo>
                  <a:pt x="263" y="22"/>
                </a:lnTo>
                <a:lnTo>
                  <a:pt x="263" y="22"/>
                </a:lnTo>
                <a:lnTo>
                  <a:pt x="261" y="16"/>
                </a:lnTo>
                <a:lnTo>
                  <a:pt x="261" y="16"/>
                </a:lnTo>
                <a:lnTo>
                  <a:pt x="257" y="16"/>
                </a:lnTo>
                <a:lnTo>
                  <a:pt x="257" y="16"/>
                </a:lnTo>
                <a:lnTo>
                  <a:pt x="257" y="18"/>
                </a:lnTo>
                <a:lnTo>
                  <a:pt x="259" y="18"/>
                </a:lnTo>
                <a:lnTo>
                  <a:pt x="259" y="18"/>
                </a:lnTo>
                <a:lnTo>
                  <a:pt x="255" y="22"/>
                </a:lnTo>
                <a:lnTo>
                  <a:pt x="249" y="26"/>
                </a:lnTo>
                <a:lnTo>
                  <a:pt x="249" y="26"/>
                </a:lnTo>
                <a:lnTo>
                  <a:pt x="247" y="26"/>
                </a:lnTo>
                <a:lnTo>
                  <a:pt x="247" y="26"/>
                </a:lnTo>
                <a:lnTo>
                  <a:pt x="245" y="32"/>
                </a:lnTo>
                <a:lnTo>
                  <a:pt x="245" y="32"/>
                </a:lnTo>
                <a:lnTo>
                  <a:pt x="239" y="30"/>
                </a:lnTo>
                <a:lnTo>
                  <a:pt x="235" y="26"/>
                </a:lnTo>
                <a:lnTo>
                  <a:pt x="235" y="26"/>
                </a:lnTo>
                <a:lnTo>
                  <a:pt x="235" y="24"/>
                </a:lnTo>
                <a:lnTo>
                  <a:pt x="235" y="24"/>
                </a:lnTo>
                <a:lnTo>
                  <a:pt x="233" y="24"/>
                </a:lnTo>
                <a:lnTo>
                  <a:pt x="231" y="24"/>
                </a:lnTo>
                <a:lnTo>
                  <a:pt x="231" y="24"/>
                </a:lnTo>
                <a:lnTo>
                  <a:pt x="229" y="22"/>
                </a:lnTo>
                <a:lnTo>
                  <a:pt x="227" y="20"/>
                </a:lnTo>
                <a:lnTo>
                  <a:pt x="225" y="20"/>
                </a:lnTo>
                <a:lnTo>
                  <a:pt x="225" y="20"/>
                </a:lnTo>
                <a:lnTo>
                  <a:pt x="225" y="24"/>
                </a:lnTo>
                <a:lnTo>
                  <a:pt x="225" y="24"/>
                </a:lnTo>
                <a:lnTo>
                  <a:pt x="219" y="24"/>
                </a:lnTo>
                <a:lnTo>
                  <a:pt x="219" y="24"/>
                </a:lnTo>
                <a:lnTo>
                  <a:pt x="219" y="26"/>
                </a:lnTo>
                <a:lnTo>
                  <a:pt x="219" y="26"/>
                </a:lnTo>
                <a:lnTo>
                  <a:pt x="221" y="28"/>
                </a:lnTo>
                <a:lnTo>
                  <a:pt x="221" y="28"/>
                </a:lnTo>
                <a:lnTo>
                  <a:pt x="221" y="28"/>
                </a:lnTo>
                <a:lnTo>
                  <a:pt x="225" y="28"/>
                </a:lnTo>
                <a:lnTo>
                  <a:pt x="225" y="28"/>
                </a:lnTo>
                <a:lnTo>
                  <a:pt x="227" y="30"/>
                </a:lnTo>
                <a:lnTo>
                  <a:pt x="227" y="30"/>
                </a:lnTo>
                <a:lnTo>
                  <a:pt x="229" y="34"/>
                </a:lnTo>
                <a:lnTo>
                  <a:pt x="229" y="34"/>
                </a:lnTo>
                <a:lnTo>
                  <a:pt x="229" y="36"/>
                </a:lnTo>
                <a:lnTo>
                  <a:pt x="227" y="36"/>
                </a:lnTo>
                <a:lnTo>
                  <a:pt x="227" y="36"/>
                </a:lnTo>
                <a:lnTo>
                  <a:pt x="225" y="34"/>
                </a:lnTo>
                <a:lnTo>
                  <a:pt x="223" y="32"/>
                </a:lnTo>
                <a:lnTo>
                  <a:pt x="223" y="32"/>
                </a:lnTo>
                <a:lnTo>
                  <a:pt x="217" y="30"/>
                </a:lnTo>
                <a:lnTo>
                  <a:pt x="217" y="30"/>
                </a:lnTo>
                <a:lnTo>
                  <a:pt x="217" y="32"/>
                </a:lnTo>
                <a:lnTo>
                  <a:pt x="217" y="32"/>
                </a:lnTo>
                <a:lnTo>
                  <a:pt x="219" y="34"/>
                </a:lnTo>
                <a:lnTo>
                  <a:pt x="219" y="34"/>
                </a:lnTo>
                <a:lnTo>
                  <a:pt x="219" y="34"/>
                </a:lnTo>
                <a:lnTo>
                  <a:pt x="221" y="36"/>
                </a:lnTo>
                <a:lnTo>
                  <a:pt x="221" y="36"/>
                </a:lnTo>
                <a:lnTo>
                  <a:pt x="219" y="38"/>
                </a:lnTo>
                <a:lnTo>
                  <a:pt x="217" y="40"/>
                </a:lnTo>
                <a:lnTo>
                  <a:pt x="217" y="40"/>
                </a:lnTo>
                <a:lnTo>
                  <a:pt x="215" y="40"/>
                </a:lnTo>
                <a:lnTo>
                  <a:pt x="215" y="40"/>
                </a:lnTo>
                <a:lnTo>
                  <a:pt x="215" y="36"/>
                </a:lnTo>
                <a:lnTo>
                  <a:pt x="213" y="32"/>
                </a:lnTo>
                <a:lnTo>
                  <a:pt x="213" y="32"/>
                </a:lnTo>
                <a:lnTo>
                  <a:pt x="213" y="32"/>
                </a:lnTo>
                <a:lnTo>
                  <a:pt x="213" y="34"/>
                </a:lnTo>
                <a:lnTo>
                  <a:pt x="211" y="34"/>
                </a:lnTo>
                <a:lnTo>
                  <a:pt x="211" y="34"/>
                </a:lnTo>
                <a:lnTo>
                  <a:pt x="211" y="38"/>
                </a:lnTo>
                <a:lnTo>
                  <a:pt x="211" y="38"/>
                </a:lnTo>
                <a:lnTo>
                  <a:pt x="209" y="40"/>
                </a:lnTo>
                <a:lnTo>
                  <a:pt x="209" y="42"/>
                </a:lnTo>
                <a:lnTo>
                  <a:pt x="209" y="42"/>
                </a:lnTo>
                <a:lnTo>
                  <a:pt x="207" y="42"/>
                </a:lnTo>
                <a:lnTo>
                  <a:pt x="209" y="38"/>
                </a:lnTo>
                <a:lnTo>
                  <a:pt x="209" y="34"/>
                </a:lnTo>
                <a:lnTo>
                  <a:pt x="205" y="32"/>
                </a:lnTo>
                <a:lnTo>
                  <a:pt x="205" y="32"/>
                </a:lnTo>
                <a:lnTo>
                  <a:pt x="201" y="38"/>
                </a:lnTo>
                <a:lnTo>
                  <a:pt x="197" y="44"/>
                </a:lnTo>
                <a:lnTo>
                  <a:pt x="197" y="44"/>
                </a:lnTo>
                <a:lnTo>
                  <a:pt x="195" y="44"/>
                </a:lnTo>
                <a:lnTo>
                  <a:pt x="195" y="44"/>
                </a:lnTo>
                <a:lnTo>
                  <a:pt x="195" y="36"/>
                </a:lnTo>
                <a:lnTo>
                  <a:pt x="195" y="36"/>
                </a:lnTo>
                <a:lnTo>
                  <a:pt x="193" y="38"/>
                </a:lnTo>
                <a:lnTo>
                  <a:pt x="191" y="38"/>
                </a:lnTo>
                <a:lnTo>
                  <a:pt x="191" y="38"/>
                </a:lnTo>
                <a:lnTo>
                  <a:pt x="189" y="42"/>
                </a:lnTo>
                <a:lnTo>
                  <a:pt x="189" y="46"/>
                </a:lnTo>
                <a:lnTo>
                  <a:pt x="189" y="46"/>
                </a:lnTo>
                <a:lnTo>
                  <a:pt x="193" y="46"/>
                </a:lnTo>
                <a:lnTo>
                  <a:pt x="193" y="46"/>
                </a:lnTo>
                <a:lnTo>
                  <a:pt x="193" y="52"/>
                </a:lnTo>
                <a:lnTo>
                  <a:pt x="193" y="54"/>
                </a:lnTo>
                <a:lnTo>
                  <a:pt x="191" y="54"/>
                </a:lnTo>
                <a:lnTo>
                  <a:pt x="191" y="54"/>
                </a:lnTo>
                <a:lnTo>
                  <a:pt x="189" y="50"/>
                </a:lnTo>
                <a:lnTo>
                  <a:pt x="189" y="48"/>
                </a:lnTo>
                <a:lnTo>
                  <a:pt x="189" y="48"/>
                </a:lnTo>
                <a:lnTo>
                  <a:pt x="185" y="48"/>
                </a:lnTo>
                <a:lnTo>
                  <a:pt x="185" y="48"/>
                </a:lnTo>
                <a:lnTo>
                  <a:pt x="187" y="52"/>
                </a:lnTo>
                <a:lnTo>
                  <a:pt x="187" y="52"/>
                </a:lnTo>
                <a:lnTo>
                  <a:pt x="187" y="52"/>
                </a:lnTo>
                <a:lnTo>
                  <a:pt x="187" y="52"/>
                </a:lnTo>
                <a:lnTo>
                  <a:pt x="187" y="54"/>
                </a:lnTo>
                <a:lnTo>
                  <a:pt x="187" y="54"/>
                </a:lnTo>
                <a:lnTo>
                  <a:pt x="185" y="54"/>
                </a:lnTo>
                <a:lnTo>
                  <a:pt x="185" y="54"/>
                </a:lnTo>
                <a:lnTo>
                  <a:pt x="185" y="54"/>
                </a:lnTo>
                <a:lnTo>
                  <a:pt x="181" y="54"/>
                </a:lnTo>
                <a:lnTo>
                  <a:pt x="181" y="54"/>
                </a:lnTo>
                <a:lnTo>
                  <a:pt x="181" y="52"/>
                </a:lnTo>
                <a:lnTo>
                  <a:pt x="179" y="50"/>
                </a:lnTo>
                <a:lnTo>
                  <a:pt x="179" y="50"/>
                </a:lnTo>
                <a:lnTo>
                  <a:pt x="179" y="58"/>
                </a:lnTo>
                <a:lnTo>
                  <a:pt x="175" y="60"/>
                </a:lnTo>
                <a:lnTo>
                  <a:pt x="175" y="60"/>
                </a:lnTo>
                <a:lnTo>
                  <a:pt x="173" y="66"/>
                </a:lnTo>
                <a:lnTo>
                  <a:pt x="171" y="68"/>
                </a:lnTo>
                <a:lnTo>
                  <a:pt x="171" y="68"/>
                </a:lnTo>
                <a:lnTo>
                  <a:pt x="173" y="72"/>
                </a:lnTo>
                <a:lnTo>
                  <a:pt x="171" y="76"/>
                </a:lnTo>
                <a:lnTo>
                  <a:pt x="171" y="76"/>
                </a:lnTo>
                <a:lnTo>
                  <a:pt x="169" y="76"/>
                </a:lnTo>
                <a:lnTo>
                  <a:pt x="167" y="78"/>
                </a:lnTo>
                <a:lnTo>
                  <a:pt x="167" y="78"/>
                </a:lnTo>
                <a:lnTo>
                  <a:pt x="165" y="78"/>
                </a:lnTo>
                <a:lnTo>
                  <a:pt x="161" y="78"/>
                </a:lnTo>
                <a:lnTo>
                  <a:pt x="161" y="78"/>
                </a:lnTo>
                <a:lnTo>
                  <a:pt x="157" y="82"/>
                </a:lnTo>
                <a:lnTo>
                  <a:pt x="157" y="82"/>
                </a:lnTo>
                <a:lnTo>
                  <a:pt x="157" y="84"/>
                </a:lnTo>
                <a:lnTo>
                  <a:pt x="157" y="84"/>
                </a:lnTo>
                <a:lnTo>
                  <a:pt x="165" y="84"/>
                </a:lnTo>
                <a:lnTo>
                  <a:pt x="165" y="84"/>
                </a:lnTo>
                <a:lnTo>
                  <a:pt x="167" y="82"/>
                </a:lnTo>
                <a:lnTo>
                  <a:pt x="169" y="82"/>
                </a:lnTo>
                <a:lnTo>
                  <a:pt x="171" y="82"/>
                </a:lnTo>
                <a:lnTo>
                  <a:pt x="171" y="82"/>
                </a:lnTo>
                <a:lnTo>
                  <a:pt x="171" y="82"/>
                </a:lnTo>
                <a:lnTo>
                  <a:pt x="171" y="84"/>
                </a:lnTo>
                <a:lnTo>
                  <a:pt x="171" y="84"/>
                </a:lnTo>
                <a:lnTo>
                  <a:pt x="165" y="86"/>
                </a:lnTo>
                <a:lnTo>
                  <a:pt x="163" y="86"/>
                </a:lnTo>
                <a:lnTo>
                  <a:pt x="161" y="90"/>
                </a:lnTo>
                <a:lnTo>
                  <a:pt x="163" y="96"/>
                </a:lnTo>
                <a:lnTo>
                  <a:pt x="163" y="96"/>
                </a:lnTo>
                <a:lnTo>
                  <a:pt x="159" y="92"/>
                </a:lnTo>
                <a:lnTo>
                  <a:pt x="157" y="90"/>
                </a:lnTo>
                <a:lnTo>
                  <a:pt x="149" y="90"/>
                </a:lnTo>
                <a:lnTo>
                  <a:pt x="149" y="92"/>
                </a:lnTo>
                <a:lnTo>
                  <a:pt x="151" y="92"/>
                </a:lnTo>
                <a:lnTo>
                  <a:pt x="151" y="92"/>
                </a:lnTo>
                <a:lnTo>
                  <a:pt x="155" y="92"/>
                </a:lnTo>
                <a:lnTo>
                  <a:pt x="155" y="94"/>
                </a:lnTo>
                <a:lnTo>
                  <a:pt x="155" y="94"/>
                </a:lnTo>
                <a:lnTo>
                  <a:pt x="151" y="94"/>
                </a:lnTo>
                <a:lnTo>
                  <a:pt x="151" y="94"/>
                </a:lnTo>
                <a:lnTo>
                  <a:pt x="151" y="96"/>
                </a:lnTo>
                <a:lnTo>
                  <a:pt x="151" y="96"/>
                </a:lnTo>
                <a:lnTo>
                  <a:pt x="157" y="96"/>
                </a:lnTo>
                <a:lnTo>
                  <a:pt x="157" y="96"/>
                </a:lnTo>
                <a:lnTo>
                  <a:pt x="155" y="100"/>
                </a:lnTo>
                <a:lnTo>
                  <a:pt x="155" y="102"/>
                </a:lnTo>
                <a:lnTo>
                  <a:pt x="157" y="102"/>
                </a:lnTo>
                <a:lnTo>
                  <a:pt x="157" y="102"/>
                </a:lnTo>
                <a:lnTo>
                  <a:pt x="157" y="104"/>
                </a:lnTo>
                <a:lnTo>
                  <a:pt x="157" y="104"/>
                </a:lnTo>
                <a:lnTo>
                  <a:pt x="147" y="104"/>
                </a:lnTo>
                <a:lnTo>
                  <a:pt x="147" y="104"/>
                </a:lnTo>
                <a:lnTo>
                  <a:pt x="147" y="110"/>
                </a:lnTo>
                <a:lnTo>
                  <a:pt x="147" y="110"/>
                </a:lnTo>
                <a:lnTo>
                  <a:pt x="149" y="112"/>
                </a:lnTo>
                <a:lnTo>
                  <a:pt x="149" y="112"/>
                </a:lnTo>
                <a:lnTo>
                  <a:pt x="147" y="114"/>
                </a:lnTo>
                <a:lnTo>
                  <a:pt x="147" y="114"/>
                </a:lnTo>
                <a:lnTo>
                  <a:pt x="143" y="114"/>
                </a:lnTo>
                <a:lnTo>
                  <a:pt x="143" y="114"/>
                </a:lnTo>
                <a:lnTo>
                  <a:pt x="143" y="116"/>
                </a:lnTo>
                <a:lnTo>
                  <a:pt x="141" y="120"/>
                </a:lnTo>
                <a:lnTo>
                  <a:pt x="141" y="120"/>
                </a:lnTo>
                <a:lnTo>
                  <a:pt x="137" y="118"/>
                </a:lnTo>
                <a:lnTo>
                  <a:pt x="133" y="120"/>
                </a:lnTo>
                <a:lnTo>
                  <a:pt x="133" y="120"/>
                </a:lnTo>
                <a:lnTo>
                  <a:pt x="133" y="122"/>
                </a:lnTo>
                <a:lnTo>
                  <a:pt x="133" y="124"/>
                </a:lnTo>
                <a:lnTo>
                  <a:pt x="133" y="124"/>
                </a:lnTo>
                <a:lnTo>
                  <a:pt x="123" y="128"/>
                </a:lnTo>
                <a:lnTo>
                  <a:pt x="123" y="128"/>
                </a:lnTo>
                <a:lnTo>
                  <a:pt x="123" y="130"/>
                </a:lnTo>
                <a:lnTo>
                  <a:pt x="123" y="130"/>
                </a:lnTo>
                <a:lnTo>
                  <a:pt x="125" y="132"/>
                </a:lnTo>
                <a:lnTo>
                  <a:pt x="127" y="132"/>
                </a:lnTo>
                <a:lnTo>
                  <a:pt x="125" y="132"/>
                </a:lnTo>
                <a:lnTo>
                  <a:pt x="123" y="132"/>
                </a:lnTo>
                <a:lnTo>
                  <a:pt x="123" y="132"/>
                </a:lnTo>
                <a:lnTo>
                  <a:pt x="125" y="140"/>
                </a:lnTo>
                <a:lnTo>
                  <a:pt x="125" y="140"/>
                </a:lnTo>
                <a:lnTo>
                  <a:pt x="117" y="146"/>
                </a:lnTo>
                <a:lnTo>
                  <a:pt x="117" y="146"/>
                </a:lnTo>
                <a:lnTo>
                  <a:pt x="113" y="146"/>
                </a:lnTo>
                <a:lnTo>
                  <a:pt x="113" y="146"/>
                </a:lnTo>
                <a:lnTo>
                  <a:pt x="113" y="150"/>
                </a:lnTo>
                <a:lnTo>
                  <a:pt x="113" y="150"/>
                </a:lnTo>
                <a:lnTo>
                  <a:pt x="107" y="150"/>
                </a:lnTo>
                <a:lnTo>
                  <a:pt x="107" y="150"/>
                </a:lnTo>
                <a:lnTo>
                  <a:pt x="103" y="152"/>
                </a:lnTo>
                <a:lnTo>
                  <a:pt x="103" y="152"/>
                </a:lnTo>
                <a:lnTo>
                  <a:pt x="107" y="158"/>
                </a:lnTo>
                <a:lnTo>
                  <a:pt x="107" y="160"/>
                </a:lnTo>
                <a:lnTo>
                  <a:pt x="105" y="162"/>
                </a:lnTo>
                <a:lnTo>
                  <a:pt x="105" y="162"/>
                </a:lnTo>
                <a:lnTo>
                  <a:pt x="101" y="160"/>
                </a:lnTo>
                <a:lnTo>
                  <a:pt x="97" y="160"/>
                </a:lnTo>
                <a:lnTo>
                  <a:pt x="97" y="160"/>
                </a:lnTo>
                <a:lnTo>
                  <a:pt x="95" y="160"/>
                </a:lnTo>
                <a:lnTo>
                  <a:pt x="95" y="162"/>
                </a:lnTo>
                <a:lnTo>
                  <a:pt x="95" y="164"/>
                </a:lnTo>
                <a:lnTo>
                  <a:pt x="95" y="164"/>
                </a:lnTo>
                <a:lnTo>
                  <a:pt x="91" y="166"/>
                </a:lnTo>
                <a:lnTo>
                  <a:pt x="91" y="166"/>
                </a:lnTo>
                <a:lnTo>
                  <a:pt x="91" y="168"/>
                </a:lnTo>
                <a:lnTo>
                  <a:pt x="91" y="168"/>
                </a:lnTo>
                <a:lnTo>
                  <a:pt x="89" y="168"/>
                </a:lnTo>
                <a:lnTo>
                  <a:pt x="87" y="168"/>
                </a:lnTo>
                <a:lnTo>
                  <a:pt x="87" y="168"/>
                </a:lnTo>
                <a:lnTo>
                  <a:pt x="87" y="168"/>
                </a:lnTo>
                <a:lnTo>
                  <a:pt x="85" y="170"/>
                </a:lnTo>
                <a:lnTo>
                  <a:pt x="85" y="172"/>
                </a:lnTo>
                <a:lnTo>
                  <a:pt x="85" y="172"/>
                </a:lnTo>
                <a:lnTo>
                  <a:pt x="79" y="178"/>
                </a:lnTo>
                <a:lnTo>
                  <a:pt x="79" y="178"/>
                </a:lnTo>
                <a:lnTo>
                  <a:pt x="77" y="180"/>
                </a:lnTo>
                <a:lnTo>
                  <a:pt x="74" y="184"/>
                </a:lnTo>
                <a:lnTo>
                  <a:pt x="74" y="184"/>
                </a:lnTo>
                <a:lnTo>
                  <a:pt x="74" y="184"/>
                </a:lnTo>
                <a:lnTo>
                  <a:pt x="70" y="184"/>
                </a:lnTo>
                <a:lnTo>
                  <a:pt x="70" y="184"/>
                </a:lnTo>
                <a:lnTo>
                  <a:pt x="72" y="190"/>
                </a:lnTo>
                <a:lnTo>
                  <a:pt x="72" y="190"/>
                </a:lnTo>
                <a:lnTo>
                  <a:pt x="81" y="186"/>
                </a:lnTo>
                <a:lnTo>
                  <a:pt x="91" y="180"/>
                </a:lnTo>
                <a:lnTo>
                  <a:pt x="91" y="180"/>
                </a:lnTo>
                <a:lnTo>
                  <a:pt x="89" y="184"/>
                </a:lnTo>
                <a:lnTo>
                  <a:pt x="89" y="184"/>
                </a:lnTo>
                <a:lnTo>
                  <a:pt x="83" y="188"/>
                </a:lnTo>
                <a:lnTo>
                  <a:pt x="79" y="190"/>
                </a:lnTo>
                <a:lnTo>
                  <a:pt x="79" y="190"/>
                </a:lnTo>
                <a:lnTo>
                  <a:pt x="79" y="196"/>
                </a:lnTo>
                <a:lnTo>
                  <a:pt x="79" y="196"/>
                </a:lnTo>
                <a:lnTo>
                  <a:pt x="68" y="194"/>
                </a:lnTo>
                <a:lnTo>
                  <a:pt x="68" y="194"/>
                </a:lnTo>
                <a:lnTo>
                  <a:pt x="68" y="190"/>
                </a:lnTo>
                <a:lnTo>
                  <a:pt x="68" y="190"/>
                </a:lnTo>
                <a:lnTo>
                  <a:pt x="66" y="188"/>
                </a:lnTo>
                <a:lnTo>
                  <a:pt x="66" y="188"/>
                </a:lnTo>
                <a:lnTo>
                  <a:pt x="60" y="190"/>
                </a:lnTo>
                <a:lnTo>
                  <a:pt x="54" y="190"/>
                </a:lnTo>
                <a:lnTo>
                  <a:pt x="54" y="196"/>
                </a:lnTo>
                <a:lnTo>
                  <a:pt x="54" y="196"/>
                </a:lnTo>
                <a:lnTo>
                  <a:pt x="56" y="196"/>
                </a:lnTo>
                <a:lnTo>
                  <a:pt x="56" y="196"/>
                </a:lnTo>
                <a:lnTo>
                  <a:pt x="54" y="198"/>
                </a:lnTo>
                <a:lnTo>
                  <a:pt x="54" y="198"/>
                </a:lnTo>
                <a:lnTo>
                  <a:pt x="52" y="198"/>
                </a:lnTo>
                <a:lnTo>
                  <a:pt x="50" y="198"/>
                </a:lnTo>
                <a:lnTo>
                  <a:pt x="50" y="198"/>
                </a:lnTo>
                <a:lnTo>
                  <a:pt x="48" y="200"/>
                </a:lnTo>
                <a:lnTo>
                  <a:pt x="48" y="202"/>
                </a:lnTo>
                <a:lnTo>
                  <a:pt x="48" y="204"/>
                </a:lnTo>
                <a:lnTo>
                  <a:pt x="48" y="202"/>
                </a:lnTo>
                <a:lnTo>
                  <a:pt x="48" y="202"/>
                </a:lnTo>
                <a:lnTo>
                  <a:pt x="44" y="202"/>
                </a:lnTo>
                <a:lnTo>
                  <a:pt x="44" y="202"/>
                </a:lnTo>
                <a:lnTo>
                  <a:pt x="44" y="206"/>
                </a:lnTo>
                <a:lnTo>
                  <a:pt x="44" y="206"/>
                </a:lnTo>
                <a:lnTo>
                  <a:pt x="44" y="206"/>
                </a:lnTo>
                <a:lnTo>
                  <a:pt x="42" y="204"/>
                </a:lnTo>
                <a:lnTo>
                  <a:pt x="42" y="204"/>
                </a:lnTo>
                <a:lnTo>
                  <a:pt x="30" y="204"/>
                </a:lnTo>
                <a:lnTo>
                  <a:pt x="30" y="204"/>
                </a:lnTo>
                <a:lnTo>
                  <a:pt x="32" y="208"/>
                </a:lnTo>
                <a:lnTo>
                  <a:pt x="32" y="208"/>
                </a:lnTo>
                <a:lnTo>
                  <a:pt x="34" y="208"/>
                </a:lnTo>
                <a:lnTo>
                  <a:pt x="34" y="208"/>
                </a:lnTo>
                <a:lnTo>
                  <a:pt x="36" y="210"/>
                </a:lnTo>
                <a:lnTo>
                  <a:pt x="36" y="212"/>
                </a:lnTo>
                <a:lnTo>
                  <a:pt x="36" y="212"/>
                </a:lnTo>
                <a:lnTo>
                  <a:pt x="32" y="216"/>
                </a:lnTo>
                <a:lnTo>
                  <a:pt x="32" y="216"/>
                </a:lnTo>
                <a:lnTo>
                  <a:pt x="32" y="218"/>
                </a:lnTo>
                <a:lnTo>
                  <a:pt x="32" y="218"/>
                </a:lnTo>
                <a:lnTo>
                  <a:pt x="30" y="216"/>
                </a:lnTo>
                <a:lnTo>
                  <a:pt x="30" y="216"/>
                </a:lnTo>
                <a:lnTo>
                  <a:pt x="26" y="216"/>
                </a:lnTo>
                <a:lnTo>
                  <a:pt x="22" y="216"/>
                </a:lnTo>
                <a:lnTo>
                  <a:pt x="22" y="216"/>
                </a:lnTo>
                <a:lnTo>
                  <a:pt x="22" y="218"/>
                </a:lnTo>
                <a:lnTo>
                  <a:pt x="20" y="222"/>
                </a:lnTo>
                <a:lnTo>
                  <a:pt x="20" y="222"/>
                </a:lnTo>
                <a:lnTo>
                  <a:pt x="28" y="222"/>
                </a:lnTo>
                <a:lnTo>
                  <a:pt x="30" y="224"/>
                </a:lnTo>
                <a:lnTo>
                  <a:pt x="24" y="226"/>
                </a:lnTo>
                <a:lnTo>
                  <a:pt x="24" y="226"/>
                </a:lnTo>
                <a:lnTo>
                  <a:pt x="24" y="226"/>
                </a:lnTo>
                <a:lnTo>
                  <a:pt x="24" y="228"/>
                </a:lnTo>
                <a:lnTo>
                  <a:pt x="24" y="228"/>
                </a:lnTo>
                <a:lnTo>
                  <a:pt x="22" y="226"/>
                </a:lnTo>
                <a:lnTo>
                  <a:pt x="20" y="224"/>
                </a:lnTo>
                <a:lnTo>
                  <a:pt x="20" y="224"/>
                </a:lnTo>
                <a:lnTo>
                  <a:pt x="20" y="228"/>
                </a:lnTo>
                <a:lnTo>
                  <a:pt x="20" y="228"/>
                </a:lnTo>
                <a:lnTo>
                  <a:pt x="14" y="228"/>
                </a:lnTo>
                <a:lnTo>
                  <a:pt x="8" y="228"/>
                </a:lnTo>
                <a:lnTo>
                  <a:pt x="8" y="228"/>
                </a:lnTo>
                <a:lnTo>
                  <a:pt x="8" y="230"/>
                </a:lnTo>
                <a:lnTo>
                  <a:pt x="8" y="230"/>
                </a:lnTo>
                <a:lnTo>
                  <a:pt x="6" y="228"/>
                </a:lnTo>
                <a:lnTo>
                  <a:pt x="4" y="228"/>
                </a:lnTo>
                <a:lnTo>
                  <a:pt x="4" y="228"/>
                </a:lnTo>
                <a:lnTo>
                  <a:pt x="4" y="232"/>
                </a:lnTo>
                <a:lnTo>
                  <a:pt x="4" y="232"/>
                </a:lnTo>
                <a:lnTo>
                  <a:pt x="16" y="234"/>
                </a:lnTo>
                <a:lnTo>
                  <a:pt x="16" y="234"/>
                </a:lnTo>
                <a:lnTo>
                  <a:pt x="16" y="234"/>
                </a:lnTo>
                <a:lnTo>
                  <a:pt x="16" y="234"/>
                </a:lnTo>
                <a:lnTo>
                  <a:pt x="18" y="234"/>
                </a:lnTo>
                <a:lnTo>
                  <a:pt x="18" y="234"/>
                </a:lnTo>
                <a:lnTo>
                  <a:pt x="18" y="236"/>
                </a:lnTo>
                <a:lnTo>
                  <a:pt x="18" y="236"/>
                </a:lnTo>
                <a:lnTo>
                  <a:pt x="0" y="236"/>
                </a:lnTo>
                <a:lnTo>
                  <a:pt x="0" y="236"/>
                </a:lnTo>
                <a:lnTo>
                  <a:pt x="0" y="242"/>
                </a:lnTo>
                <a:lnTo>
                  <a:pt x="0" y="248"/>
                </a:lnTo>
                <a:lnTo>
                  <a:pt x="0" y="248"/>
                </a:lnTo>
                <a:lnTo>
                  <a:pt x="4" y="248"/>
                </a:lnTo>
                <a:lnTo>
                  <a:pt x="4" y="248"/>
                </a:lnTo>
                <a:lnTo>
                  <a:pt x="6" y="246"/>
                </a:lnTo>
                <a:lnTo>
                  <a:pt x="6" y="246"/>
                </a:lnTo>
                <a:lnTo>
                  <a:pt x="8" y="246"/>
                </a:lnTo>
                <a:lnTo>
                  <a:pt x="8" y="246"/>
                </a:lnTo>
                <a:lnTo>
                  <a:pt x="12" y="250"/>
                </a:lnTo>
                <a:lnTo>
                  <a:pt x="12" y="250"/>
                </a:lnTo>
                <a:lnTo>
                  <a:pt x="16" y="250"/>
                </a:lnTo>
                <a:lnTo>
                  <a:pt x="16" y="250"/>
                </a:lnTo>
                <a:lnTo>
                  <a:pt x="16" y="246"/>
                </a:lnTo>
                <a:lnTo>
                  <a:pt x="16" y="246"/>
                </a:lnTo>
                <a:lnTo>
                  <a:pt x="18" y="244"/>
                </a:lnTo>
                <a:lnTo>
                  <a:pt x="18" y="244"/>
                </a:lnTo>
                <a:lnTo>
                  <a:pt x="20" y="248"/>
                </a:lnTo>
                <a:lnTo>
                  <a:pt x="20" y="248"/>
                </a:lnTo>
                <a:lnTo>
                  <a:pt x="22" y="246"/>
                </a:lnTo>
                <a:lnTo>
                  <a:pt x="24" y="246"/>
                </a:lnTo>
                <a:lnTo>
                  <a:pt x="24" y="246"/>
                </a:lnTo>
                <a:lnTo>
                  <a:pt x="26" y="248"/>
                </a:lnTo>
                <a:lnTo>
                  <a:pt x="26" y="250"/>
                </a:lnTo>
                <a:lnTo>
                  <a:pt x="26" y="250"/>
                </a:lnTo>
                <a:lnTo>
                  <a:pt x="28" y="248"/>
                </a:lnTo>
                <a:lnTo>
                  <a:pt x="30" y="246"/>
                </a:lnTo>
                <a:lnTo>
                  <a:pt x="30" y="246"/>
                </a:lnTo>
                <a:lnTo>
                  <a:pt x="30" y="250"/>
                </a:lnTo>
                <a:lnTo>
                  <a:pt x="30" y="250"/>
                </a:lnTo>
                <a:lnTo>
                  <a:pt x="24" y="250"/>
                </a:lnTo>
                <a:lnTo>
                  <a:pt x="24" y="252"/>
                </a:lnTo>
                <a:lnTo>
                  <a:pt x="24" y="252"/>
                </a:lnTo>
                <a:lnTo>
                  <a:pt x="22" y="252"/>
                </a:lnTo>
                <a:lnTo>
                  <a:pt x="20" y="250"/>
                </a:lnTo>
                <a:lnTo>
                  <a:pt x="20" y="250"/>
                </a:lnTo>
                <a:lnTo>
                  <a:pt x="4" y="250"/>
                </a:lnTo>
                <a:lnTo>
                  <a:pt x="2" y="252"/>
                </a:lnTo>
                <a:lnTo>
                  <a:pt x="2" y="252"/>
                </a:lnTo>
                <a:lnTo>
                  <a:pt x="0" y="252"/>
                </a:lnTo>
                <a:lnTo>
                  <a:pt x="0" y="252"/>
                </a:lnTo>
                <a:lnTo>
                  <a:pt x="0" y="254"/>
                </a:lnTo>
                <a:lnTo>
                  <a:pt x="0" y="254"/>
                </a:lnTo>
                <a:lnTo>
                  <a:pt x="6" y="256"/>
                </a:lnTo>
                <a:lnTo>
                  <a:pt x="6" y="256"/>
                </a:lnTo>
                <a:lnTo>
                  <a:pt x="6" y="256"/>
                </a:lnTo>
                <a:lnTo>
                  <a:pt x="6" y="256"/>
                </a:lnTo>
                <a:lnTo>
                  <a:pt x="6" y="256"/>
                </a:lnTo>
                <a:lnTo>
                  <a:pt x="6" y="260"/>
                </a:lnTo>
                <a:lnTo>
                  <a:pt x="6" y="260"/>
                </a:lnTo>
                <a:lnTo>
                  <a:pt x="2" y="260"/>
                </a:lnTo>
                <a:lnTo>
                  <a:pt x="2" y="260"/>
                </a:lnTo>
                <a:lnTo>
                  <a:pt x="2" y="262"/>
                </a:lnTo>
                <a:lnTo>
                  <a:pt x="2" y="262"/>
                </a:lnTo>
                <a:lnTo>
                  <a:pt x="2" y="262"/>
                </a:lnTo>
                <a:lnTo>
                  <a:pt x="0" y="264"/>
                </a:lnTo>
                <a:lnTo>
                  <a:pt x="0" y="264"/>
                </a:lnTo>
                <a:lnTo>
                  <a:pt x="0" y="264"/>
                </a:lnTo>
                <a:lnTo>
                  <a:pt x="0" y="264"/>
                </a:lnTo>
                <a:lnTo>
                  <a:pt x="6" y="266"/>
                </a:lnTo>
                <a:lnTo>
                  <a:pt x="6" y="266"/>
                </a:lnTo>
                <a:lnTo>
                  <a:pt x="6" y="264"/>
                </a:lnTo>
                <a:lnTo>
                  <a:pt x="6" y="264"/>
                </a:lnTo>
                <a:lnTo>
                  <a:pt x="8" y="264"/>
                </a:lnTo>
                <a:lnTo>
                  <a:pt x="8" y="264"/>
                </a:lnTo>
                <a:lnTo>
                  <a:pt x="8" y="264"/>
                </a:lnTo>
                <a:lnTo>
                  <a:pt x="10" y="266"/>
                </a:lnTo>
                <a:lnTo>
                  <a:pt x="8" y="266"/>
                </a:lnTo>
                <a:lnTo>
                  <a:pt x="6" y="266"/>
                </a:lnTo>
                <a:lnTo>
                  <a:pt x="6" y="266"/>
                </a:lnTo>
                <a:lnTo>
                  <a:pt x="6" y="270"/>
                </a:lnTo>
                <a:lnTo>
                  <a:pt x="6" y="270"/>
                </a:lnTo>
                <a:lnTo>
                  <a:pt x="12" y="268"/>
                </a:lnTo>
                <a:lnTo>
                  <a:pt x="12" y="268"/>
                </a:lnTo>
                <a:lnTo>
                  <a:pt x="12" y="272"/>
                </a:lnTo>
                <a:lnTo>
                  <a:pt x="14" y="272"/>
                </a:lnTo>
                <a:lnTo>
                  <a:pt x="16" y="272"/>
                </a:lnTo>
                <a:lnTo>
                  <a:pt x="16" y="272"/>
                </a:lnTo>
                <a:lnTo>
                  <a:pt x="18" y="270"/>
                </a:lnTo>
                <a:lnTo>
                  <a:pt x="20" y="266"/>
                </a:lnTo>
                <a:lnTo>
                  <a:pt x="22" y="264"/>
                </a:lnTo>
                <a:lnTo>
                  <a:pt x="22" y="264"/>
                </a:lnTo>
                <a:lnTo>
                  <a:pt x="28" y="264"/>
                </a:lnTo>
                <a:lnTo>
                  <a:pt x="28" y="264"/>
                </a:lnTo>
                <a:lnTo>
                  <a:pt x="28" y="264"/>
                </a:lnTo>
                <a:lnTo>
                  <a:pt x="28" y="264"/>
                </a:lnTo>
                <a:lnTo>
                  <a:pt x="26" y="268"/>
                </a:lnTo>
                <a:lnTo>
                  <a:pt x="26" y="268"/>
                </a:lnTo>
                <a:lnTo>
                  <a:pt x="22" y="268"/>
                </a:lnTo>
                <a:lnTo>
                  <a:pt x="22" y="268"/>
                </a:lnTo>
                <a:lnTo>
                  <a:pt x="20" y="270"/>
                </a:lnTo>
                <a:lnTo>
                  <a:pt x="20" y="272"/>
                </a:lnTo>
                <a:lnTo>
                  <a:pt x="18" y="274"/>
                </a:lnTo>
                <a:lnTo>
                  <a:pt x="18" y="274"/>
                </a:lnTo>
                <a:lnTo>
                  <a:pt x="16" y="276"/>
                </a:lnTo>
                <a:lnTo>
                  <a:pt x="16" y="276"/>
                </a:lnTo>
                <a:lnTo>
                  <a:pt x="16" y="280"/>
                </a:lnTo>
                <a:lnTo>
                  <a:pt x="16" y="282"/>
                </a:lnTo>
                <a:lnTo>
                  <a:pt x="16" y="282"/>
                </a:lnTo>
                <a:lnTo>
                  <a:pt x="14" y="282"/>
                </a:lnTo>
                <a:lnTo>
                  <a:pt x="12" y="284"/>
                </a:lnTo>
                <a:lnTo>
                  <a:pt x="6" y="284"/>
                </a:lnTo>
                <a:lnTo>
                  <a:pt x="6" y="284"/>
                </a:lnTo>
                <a:lnTo>
                  <a:pt x="4" y="286"/>
                </a:lnTo>
                <a:lnTo>
                  <a:pt x="4" y="290"/>
                </a:lnTo>
                <a:lnTo>
                  <a:pt x="4" y="290"/>
                </a:lnTo>
                <a:lnTo>
                  <a:pt x="8" y="290"/>
                </a:lnTo>
                <a:lnTo>
                  <a:pt x="8" y="290"/>
                </a:lnTo>
                <a:lnTo>
                  <a:pt x="10" y="292"/>
                </a:lnTo>
                <a:lnTo>
                  <a:pt x="10" y="292"/>
                </a:lnTo>
                <a:lnTo>
                  <a:pt x="10" y="292"/>
                </a:lnTo>
                <a:lnTo>
                  <a:pt x="10" y="292"/>
                </a:lnTo>
                <a:lnTo>
                  <a:pt x="10" y="290"/>
                </a:lnTo>
                <a:lnTo>
                  <a:pt x="10" y="290"/>
                </a:lnTo>
                <a:lnTo>
                  <a:pt x="18" y="290"/>
                </a:lnTo>
                <a:lnTo>
                  <a:pt x="18" y="290"/>
                </a:lnTo>
                <a:lnTo>
                  <a:pt x="18" y="288"/>
                </a:lnTo>
                <a:lnTo>
                  <a:pt x="18" y="286"/>
                </a:lnTo>
                <a:lnTo>
                  <a:pt x="18" y="286"/>
                </a:lnTo>
                <a:lnTo>
                  <a:pt x="18" y="286"/>
                </a:lnTo>
                <a:lnTo>
                  <a:pt x="18" y="288"/>
                </a:lnTo>
                <a:lnTo>
                  <a:pt x="18" y="290"/>
                </a:lnTo>
                <a:lnTo>
                  <a:pt x="18" y="290"/>
                </a:lnTo>
                <a:lnTo>
                  <a:pt x="18" y="292"/>
                </a:lnTo>
                <a:lnTo>
                  <a:pt x="18" y="296"/>
                </a:lnTo>
                <a:lnTo>
                  <a:pt x="16" y="302"/>
                </a:lnTo>
                <a:lnTo>
                  <a:pt x="16" y="302"/>
                </a:lnTo>
                <a:lnTo>
                  <a:pt x="14" y="304"/>
                </a:lnTo>
                <a:lnTo>
                  <a:pt x="10" y="304"/>
                </a:lnTo>
                <a:lnTo>
                  <a:pt x="10" y="304"/>
                </a:lnTo>
                <a:lnTo>
                  <a:pt x="10" y="310"/>
                </a:lnTo>
                <a:lnTo>
                  <a:pt x="10" y="310"/>
                </a:lnTo>
                <a:lnTo>
                  <a:pt x="16" y="316"/>
                </a:lnTo>
                <a:lnTo>
                  <a:pt x="20" y="318"/>
                </a:lnTo>
                <a:lnTo>
                  <a:pt x="26" y="318"/>
                </a:lnTo>
                <a:lnTo>
                  <a:pt x="26" y="318"/>
                </a:lnTo>
                <a:lnTo>
                  <a:pt x="26" y="316"/>
                </a:lnTo>
                <a:lnTo>
                  <a:pt x="26" y="314"/>
                </a:lnTo>
                <a:lnTo>
                  <a:pt x="28" y="316"/>
                </a:lnTo>
                <a:lnTo>
                  <a:pt x="26" y="320"/>
                </a:lnTo>
                <a:lnTo>
                  <a:pt x="26" y="320"/>
                </a:lnTo>
                <a:lnTo>
                  <a:pt x="32" y="320"/>
                </a:lnTo>
                <a:lnTo>
                  <a:pt x="36" y="320"/>
                </a:lnTo>
                <a:lnTo>
                  <a:pt x="36" y="320"/>
                </a:lnTo>
                <a:lnTo>
                  <a:pt x="40" y="316"/>
                </a:lnTo>
                <a:lnTo>
                  <a:pt x="40" y="316"/>
                </a:lnTo>
                <a:lnTo>
                  <a:pt x="44" y="316"/>
                </a:lnTo>
                <a:lnTo>
                  <a:pt x="44" y="316"/>
                </a:lnTo>
                <a:lnTo>
                  <a:pt x="50" y="312"/>
                </a:lnTo>
                <a:lnTo>
                  <a:pt x="50" y="312"/>
                </a:lnTo>
                <a:lnTo>
                  <a:pt x="56" y="310"/>
                </a:lnTo>
                <a:lnTo>
                  <a:pt x="56" y="310"/>
                </a:lnTo>
                <a:lnTo>
                  <a:pt x="62" y="304"/>
                </a:lnTo>
                <a:lnTo>
                  <a:pt x="62" y="304"/>
                </a:lnTo>
                <a:lnTo>
                  <a:pt x="68" y="304"/>
                </a:lnTo>
                <a:lnTo>
                  <a:pt x="68" y="304"/>
                </a:lnTo>
                <a:lnTo>
                  <a:pt x="77" y="300"/>
                </a:lnTo>
                <a:lnTo>
                  <a:pt x="83" y="294"/>
                </a:lnTo>
                <a:lnTo>
                  <a:pt x="83" y="294"/>
                </a:lnTo>
                <a:lnTo>
                  <a:pt x="87" y="294"/>
                </a:lnTo>
                <a:lnTo>
                  <a:pt x="87" y="294"/>
                </a:lnTo>
                <a:lnTo>
                  <a:pt x="85" y="300"/>
                </a:lnTo>
                <a:lnTo>
                  <a:pt x="85" y="30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8" name="Freeform 122">
            <a:extLst>
              <a:ext uri="{FF2B5EF4-FFF2-40B4-BE49-F238E27FC236}">
                <a16:creationId xmlns:a16="http://schemas.microsoft.com/office/drawing/2014/main" id="{9E3C9652-87E3-495C-9CCC-600AF2D2EA7E}"/>
              </a:ext>
            </a:extLst>
          </p:cNvPr>
          <p:cNvSpPr>
            <a:spLocks noEditPoints="1"/>
          </p:cNvSpPr>
          <p:nvPr userDrawn="1"/>
        </p:nvSpPr>
        <p:spPr bwMode="auto">
          <a:xfrm>
            <a:off x="4329712" y="893885"/>
            <a:ext cx="955910" cy="765330"/>
          </a:xfrm>
          <a:custGeom>
            <a:avLst/>
            <a:gdLst>
              <a:gd name="T0" fmla="*/ 482 w 570"/>
              <a:gd name="T1" fmla="*/ 190 h 446"/>
              <a:gd name="T2" fmla="*/ 192 w 570"/>
              <a:gd name="T3" fmla="*/ 334 h 446"/>
              <a:gd name="T4" fmla="*/ 214 w 570"/>
              <a:gd name="T5" fmla="*/ 316 h 446"/>
              <a:gd name="T6" fmla="*/ 458 w 570"/>
              <a:gd name="T7" fmla="*/ 210 h 446"/>
              <a:gd name="T8" fmla="*/ 464 w 570"/>
              <a:gd name="T9" fmla="*/ 224 h 446"/>
              <a:gd name="T10" fmla="*/ 478 w 570"/>
              <a:gd name="T11" fmla="*/ 220 h 446"/>
              <a:gd name="T12" fmla="*/ 498 w 570"/>
              <a:gd name="T13" fmla="*/ 186 h 446"/>
              <a:gd name="T14" fmla="*/ 520 w 570"/>
              <a:gd name="T15" fmla="*/ 176 h 446"/>
              <a:gd name="T16" fmla="*/ 0 w 570"/>
              <a:gd name="T17" fmla="*/ 132 h 446"/>
              <a:gd name="T18" fmla="*/ 500 w 570"/>
              <a:gd name="T19" fmla="*/ 44 h 446"/>
              <a:gd name="T20" fmla="*/ 350 w 570"/>
              <a:gd name="T21" fmla="*/ 22 h 446"/>
              <a:gd name="T22" fmla="*/ 380 w 570"/>
              <a:gd name="T23" fmla="*/ 18 h 446"/>
              <a:gd name="T24" fmla="*/ 474 w 570"/>
              <a:gd name="T25" fmla="*/ 24 h 446"/>
              <a:gd name="T26" fmla="*/ 442 w 570"/>
              <a:gd name="T27" fmla="*/ 6 h 446"/>
              <a:gd name="T28" fmla="*/ 330 w 570"/>
              <a:gd name="T29" fmla="*/ 6 h 446"/>
              <a:gd name="T30" fmla="*/ 294 w 570"/>
              <a:gd name="T31" fmla="*/ 12 h 446"/>
              <a:gd name="T32" fmla="*/ 290 w 570"/>
              <a:gd name="T33" fmla="*/ 30 h 446"/>
              <a:gd name="T34" fmla="*/ 266 w 570"/>
              <a:gd name="T35" fmla="*/ 50 h 446"/>
              <a:gd name="T36" fmla="*/ 214 w 570"/>
              <a:gd name="T37" fmla="*/ 42 h 446"/>
              <a:gd name="T38" fmla="*/ 178 w 570"/>
              <a:gd name="T39" fmla="*/ 40 h 446"/>
              <a:gd name="T40" fmla="*/ 118 w 570"/>
              <a:gd name="T41" fmla="*/ 52 h 446"/>
              <a:gd name="T42" fmla="*/ 56 w 570"/>
              <a:gd name="T43" fmla="*/ 78 h 446"/>
              <a:gd name="T44" fmla="*/ 16 w 570"/>
              <a:gd name="T45" fmla="*/ 108 h 446"/>
              <a:gd name="T46" fmla="*/ 66 w 570"/>
              <a:gd name="T47" fmla="*/ 132 h 446"/>
              <a:gd name="T48" fmla="*/ 26 w 570"/>
              <a:gd name="T49" fmla="*/ 156 h 446"/>
              <a:gd name="T50" fmla="*/ 90 w 570"/>
              <a:gd name="T51" fmla="*/ 152 h 446"/>
              <a:gd name="T52" fmla="*/ 156 w 570"/>
              <a:gd name="T53" fmla="*/ 184 h 446"/>
              <a:gd name="T54" fmla="*/ 170 w 570"/>
              <a:gd name="T55" fmla="*/ 222 h 446"/>
              <a:gd name="T56" fmla="*/ 200 w 570"/>
              <a:gd name="T57" fmla="*/ 244 h 446"/>
              <a:gd name="T58" fmla="*/ 190 w 570"/>
              <a:gd name="T59" fmla="*/ 258 h 446"/>
              <a:gd name="T60" fmla="*/ 174 w 570"/>
              <a:gd name="T61" fmla="*/ 284 h 446"/>
              <a:gd name="T62" fmla="*/ 208 w 570"/>
              <a:gd name="T63" fmla="*/ 272 h 446"/>
              <a:gd name="T64" fmla="*/ 206 w 570"/>
              <a:gd name="T65" fmla="*/ 304 h 446"/>
              <a:gd name="T66" fmla="*/ 184 w 570"/>
              <a:gd name="T67" fmla="*/ 314 h 446"/>
              <a:gd name="T68" fmla="*/ 186 w 570"/>
              <a:gd name="T69" fmla="*/ 320 h 446"/>
              <a:gd name="T70" fmla="*/ 184 w 570"/>
              <a:gd name="T71" fmla="*/ 350 h 446"/>
              <a:gd name="T72" fmla="*/ 210 w 570"/>
              <a:gd name="T73" fmla="*/ 366 h 446"/>
              <a:gd name="T74" fmla="*/ 204 w 570"/>
              <a:gd name="T75" fmla="*/ 392 h 446"/>
              <a:gd name="T76" fmla="*/ 228 w 570"/>
              <a:gd name="T77" fmla="*/ 410 h 446"/>
              <a:gd name="T78" fmla="*/ 238 w 570"/>
              <a:gd name="T79" fmla="*/ 430 h 446"/>
              <a:gd name="T80" fmla="*/ 266 w 570"/>
              <a:gd name="T81" fmla="*/ 428 h 446"/>
              <a:gd name="T82" fmla="*/ 280 w 570"/>
              <a:gd name="T83" fmla="*/ 434 h 446"/>
              <a:gd name="T84" fmla="*/ 292 w 570"/>
              <a:gd name="T85" fmla="*/ 398 h 446"/>
              <a:gd name="T86" fmla="*/ 302 w 570"/>
              <a:gd name="T87" fmla="*/ 358 h 446"/>
              <a:gd name="T88" fmla="*/ 338 w 570"/>
              <a:gd name="T89" fmla="*/ 350 h 446"/>
              <a:gd name="T90" fmla="*/ 382 w 570"/>
              <a:gd name="T91" fmla="*/ 310 h 446"/>
              <a:gd name="T92" fmla="*/ 428 w 570"/>
              <a:gd name="T93" fmla="*/ 298 h 446"/>
              <a:gd name="T94" fmla="*/ 480 w 570"/>
              <a:gd name="T95" fmla="*/ 270 h 446"/>
              <a:gd name="T96" fmla="*/ 448 w 570"/>
              <a:gd name="T97" fmla="*/ 260 h 446"/>
              <a:gd name="T98" fmla="*/ 426 w 570"/>
              <a:gd name="T99" fmla="*/ 242 h 446"/>
              <a:gd name="T100" fmla="*/ 484 w 570"/>
              <a:gd name="T101" fmla="*/ 260 h 446"/>
              <a:gd name="T102" fmla="*/ 452 w 570"/>
              <a:gd name="T103" fmla="*/ 230 h 446"/>
              <a:gd name="T104" fmla="*/ 446 w 570"/>
              <a:gd name="T105" fmla="*/ 214 h 446"/>
              <a:gd name="T106" fmla="*/ 486 w 570"/>
              <a:gd name="T107" fmla="*/ 198 h 446"/>
              <a:gd name="T108" fmla="*/ 490 w 570"/>
              <a:gd name="T109" fmla="*/ 186 h 446"/>
              <a:gd name="T110" fmla="*/ 498 w 570"/>
              <a:gd name="T111" fmla="*/ 154 h 446"/>
              <a:gd name="T112" fmla="*/ 508 w 570"/>
              <a:gd name="T113" fmla="*/ 132 h 446"/>
              <a:gd name="T114" fmla="*/ 500 w 570"/>
              <a:gd name="T115" fmla="*/ 114 h 446"/>
              <a:gd name="T116" fmla="*/ 520 w 570"/>
              <a:gd name="T117" fmla="*/ 78 h 446"/>
              <a:gd name="T118" fmla="*/ 554 w 570"/>
              <a:gd name="T119" fmla="*/ 62 h 446"/>
              <a:gd name="T120" fmla="*/ 496 w 570"/>
              <a:gd name="T121" fmla="*/ 46 h 446"/>
              <a:gd name="T122" fmla="*/ 460 w 570"/>
              <a:gd name="T123" fmla="*/ 42 h 446"/>
              <a:gd name="T124" fmla="*/ 378 w 570"/>
              <a:gd name="T125" fmla="*/ 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 h="446">
                <a:moveTo>
                  <a:pt x="504" y="148"/>
                </a:moveTo>
                <a:lnTo>
                  <a:pt x="506" y="148"/>
                </a:lnTo>
                <a:lnTo>
                  <a:pt x="506" y="148"/>
                </a:lnTo>
                <a:lnTo>
                  <a:pt x="506" y="148"/>
                </a:lnTo>
                <a:lnTo>
                  <a:pt x="504" y="148"/>
                </a:lnTo>
                <a:lnTo>
                  <a:pt x="504" y="148"/>
                </a:lnTo>
                <a:close/>
                <a:moveTo>
                  <a:pt x="272" y="442"/>
                </a:moveTo>
                <a:lnTo>
                  <a:pt x="270" y="444"/>
                </a:lnTo>
                <a:lnTo>
                  <a:pt x="270" y="444"/>
                </a:lnTo>
                <a:lnTo>
                  <a:pt x="272" y="444"/>
                </a:lnTo>
                <a:lnTo>
                  <a:pt x="274" y="446"/>
                </a:lnTo>
                <a:lnTo>
                  <a:pt x="274" y="446"/>
                </a:lnTo>
                <a:lnTo>
                  <a:pt x="274" y="444"/>
                </a:lnTo>
                <a:lnTo>
                  <a:pt x="274" y="442"/>
                </a:lnTo>
                <a:lnTo>
                  <a:pt x="274" y="442"/>
                </a:lnTo>
                <a:lnTo>
                  <a:pt x="272" y="442"/>
                </a:lnTo>
                <a:lnTo>
                  <a:pt x="272" y="442"/>
                </a:lnTo>
                <a:close/>
                <a:moveTo>
                  <a:pt x="258" y="426"/>
                </a:moveTo>
                <a:lnTo>
                  <a:pt x="258" y="426"/>
                </a:lnTo>
                <a:lnTo>
                  <a:pt x="258" y="428"/>
                </a:lnTo>
                <a:lnTo>
                  <a:pt x="258" y="428"/>
                </a:lnTo>
                <a:lnTo>
                  <a:pt x="258" y="428"/>
                </a:lnTo>
                <a:lnTo>
                  <a:pt x="258" y="426"/>
                </a:lnTo>
                <a:lnTo>
                  <a:pt x="258" y="426"/>
                </a:lnTo>
                <a:lnTo>
                  <a:pt x="258" y="426"/>
                </a:lnTo>
                <a:close/>
                <a:moveTo>
                  <a:pt x="482" y="190"/>
                </a:moveTo>
                <a:lnTo>
                  <a:pt x="482" y="190"/>
                </a:lnTo>
                <a:lnTo>
                  <a:pt x="482" y="196"/>
                </a:lnTo>
                <a:lnTo>
                  <a:pt x="482" y="196"/>
                </a:lnTo>
                <a:lnTo>
                  <a:pt x="484" y="196"/>
                </a:lnTo>
                <a:lnTo>
                  <a:pt x="484" y="196"/>
                </a:lnTo>
                <a:lnTo>
                  <a:pt x="490" y="196"/>
                </a:lnTo>
                <a:lnTo>
                  <a:pt x="490" y="196"/>
                </a:lnTo>
                <a:lnTo>
                  <a:pt x="492" y="194"/>
                </a:lnTo>
                <a:lnTo>
                  <a:pt x="492" y="194"/>
                </a:lnTo>
                <a:lnTo>
                  <a:pt x="490" y="192"/>
                </a:lnTo>
                <a:lnTo>
                  <a:pt x="482" y="190"/>
                </a:lnTo>
                <a:lnTo>
                  <a:pt x="482" y="190"/>
                </a:lnTo>
                <a:close/>
                <a:moveTo>
                  <a:pt x="430" y="70"/>
                </a:moveTo>
                <a:lnTo>
                  <a:pt x="430" y="70"/>
                </a:lnTo>
                <a:lnTo>
                  <a:pt x="432" y="68"/>
                </a:lnTo>
                <a:lnTo>
                  <a:pt x="430" y="70"/>
                </a:lnTo>
                <a:lnTo>
                  <a:pt x="428" y="72"/>
                </a:lnTo>
                <a:lnTo>
                  <a:pt x="428" y="72"/>
                </a:lnTo>
                <a:lnTo>
                  <a:pt x="426" y="74"/>
                </a:lnTo>
                <a:lnTo>
                  <a:pt x="426" y="74"/>
                </a:lnTo>
                <a:lnTo>
                  <a:pt x="424" y="74"/>
                </a:lnTo>
                <a:lnTo>
                  <a:pt x="424" y="72"/>
                </a:lnTo>
                <a:lnTo>
                  <a:pt x="426" y="70"/>
                </a:lnTo>
                <a:lnTo>
                  <a:pt x="430" y="70"/>
                </a:lnTo>
                <a:lnTo>
                  <a:pt x="430" y="70"/>
                </a:lnTo>
                <a:close/>
                <a:moveTo>
                  <a:pt x="294" y="34"/>
                </a:moveTo>
                <a:lnTo>
                  <a:pt x="294" y="34"/>
                </a:lnTo>
                <a:lnTo>
                  <a:pt x="296" y="36"/>
                </a:lnTo>
                <a:lnTo>
                  <a:pt x="298" y="36"/>
                </a:lnTo>
                <a:lnTo>
                  <a:pt x="296" y="36"/>
                </a:lnTo>
                <a:lnTo>
                  <a:pt x="296" y="36"/>
                </a:lnTo>
                <a:lnTo>
                  <a:pt x="294" y="34"/>
                </a:lnTo>
                <a:lnTo>
                  <a:pt x="294" y="34"/>
                </a:lnTo>
                <a:lnTo>
                  <a:pt x="294" y="34"/>
                </a:lnTo>
                <a:lnTo>
                  <a:pt x="294" y="34"/>
                </a:lnTo>
                <a:close/>
                <a:moveTo>
                  <a:pt x="334" y="338"/>
                </a:moveTo>
                <a:lnTo>
                  <a:pt x="334" y="338"/>
                </a:lnTo>
                <a:lnTo>
                  <a:pt x="340" y="338"/>
                </a:lnTo>
                <a:lnTo>
                  <a:pt x="340" y="338"/>
                </a:lnTo>
                <a:lnTo>
                  <a:pt x="336" y="342"/>
                </a:lnTo>
                <a:lnTo>
                  <a:pt x="336" y="342"/>
                </a:lnTo>
                <a:lnTo>
                  <a:pt x="334" y="342"/>
                </a:lnTo>
                <a:lnTo>
                  <a:pt x="334" y="342"/>
                </a:lnTo>
                <a:lnTo>
                  <a:pt x="332" y="338"/>
                </a:lnTo>
                <a:lnTo>
                  <a:pt x="332" y="338"/>
                </a:lnTo>
                <a:lnTo>
                  <a:pt x="334" y="338"/>
                </a:lnTo>
                <a:lnTo>
                  <a:pt x="334" y="338"/>
                </a:lnTo>
                <a:close/>
                <a:moveTo>
                  <a:pt x="192" y="332"/>
                </a:moveTo>
                <a:lnTo>
                  <a:pt x="192" y="332"/>
                </a:lnTo>
                <a:lnTo>
                  <a:pt x="192" y="334"/>
                </a:lnTo>
                <a:lnTo>
                  <a:pt x="192" y="334"/>
                </a:lnTo>
                <a:lnTo>
                  <a:pt x="192" y="334"/>
                </a:lnTo>
                <a:lnTo>
                  <a:pt x="192" y="334"/>
                </a:lnTo>
                <a:lnTo>
                  <a:pt x="190" y="332"/>
                </a:lnTo>
                <a:lnTo>
                  <a:pt x="190" y="332"/>
                </a:lnTo>
                <a:lnTo>
                  <a:pt x="192" y="332"/>
                </a:lnTo>
                <a:lnTo>
                  <a:pt x="192" y="332"/>
                </a:lnTo>
                <a:close/>
                <a:moveTo>
                  <a:pt x="218" y="330"/>
                </a:moveTo>
                <a:lnTo>
                  <a:pt x="218" y="330"/>
                </a:lnTo>
                <a:lnTo>
                  <a:pt x="218" y="330"/>
                </a:lnTo>
                <a:lnTo>
                  <a:pt x="218" y="330"/>
                </a:lnTo>
                <a:lnTo>
                  <a:pt x="218" y="330"/>
                </a:lnTo>
                <a:lnTo>
                  <a:pt x="218" y="332"/>
                </a:lnTo>
                <a:lnTo>
                  <a:pt x="218" y="332"/>
                </a:lnTo>
                <a:lnTo>
                  <a:pt x="210" y="336"/>
                </a:lnTo>
                <a:lnTo>
                  <a:pt x="210" y="336"/>
                </a:lnTo>
                <a:lnTo>
                  <a:pt x="208" y="336"/>
                </a:lnTo>
                <a:lnTo>
                  <a:pt x="210" y="334"/>
                </a:lnTo>
                <a:lnTo>
                  <a:pt x="210" y="334"/>
                </a:lnTo>
                <a:lnTo>
                  <a:pt x="212" y="332"/>
                </a:lnTo>
                <a:lnTo>
                  <a:pt x="212" y="332"/>
                </a:lnTo>
                <a:lnTo>
                  <a:pt x="218" y="330"/>
                </a:lnTo>
                <a:lnTo>
                  <a:pt x="218" y="330"/>
                </a:lnTo>
                <a:close/>
                <a:moveTo>
                  <a:pt x="214" y="318"/>
                </a:moveTo>
                <a:lnTo>
                  <a:pt x="214" y="318"/>
                </a:lnTo>
                <a:lnTo>
                  <a:pt x="214" y="318"/>
                </a:lnTo>
                <a:lnTo>
                  <a:pt x="214" y="318"/>
                </a:lnTo>
                <a:lnTo>
                  <a:pt x="214" y="318"/>
                </a:lnTo>
                <a:lnTo>
                  <a:pt x="214" y="318"/>
                </a:lnTo>
                <a:lnTo>
                  <a:pt x="212" y="318"/>
                </a:lnTo>
                <a:lnTo>
                  <a:pt x="214" y="318"/>
                </a:lnTo>
                <a:lnTo>
                  <a:pt x="214" y="318"/>
                </a:lnTo>
                <a:close/>
                <a:moveTo>
                  <a:pt x="214" y="314"/>
                </a:moveTo>
                <a:lnTo>
                  <a:pt x="214" y="314"/>
                </a:lnTo>
                <a:lnTo>
                  <a:pt x="216" y="314"/>
                </a:lnTo>
                <a:lnTo>
                  <a:pt x="216" y="316"/>
                </a:lnTo>
                <a:lnTo>
                  <a:pt x="216" y="316"/>
                </a:lnTo>
                <a:lnTo>
                  <a:pt x="214" y="316"/>
                </a:lnTo>
                <a:lnTo>
                  <a:pt x="214" y="314"/>
                </a:lnTo>
                <a:lnTo>
                  <a:pt x="214" y="314"/>
                </a:lnTo>
                <a:lnTo>
                  <a:pt x="214" y="314"/>
                </a:lnTo>
                <a:close/>
                <a:moveTo>
                  <a:pt x="434" y="266"/>
                </a:moveTo>
                <a:lnTo>
                  <a:pt x="434" y="266"/>
                </a:lnTo>
                <a:lnTo>
                  <a:pt x="434" y="266"/>
                </a:lnTo>
                <a:lnTo>
                  <a:pt x="436" y="268"/>
                </a:lnTo>
                <a:lnTo>
                  <a:pt x="434" y="270"/>
                </a:lnTo>
                <a:lnTo>
                  <a:pt x="434" y="270"/>
                </a:lnTo>
                <a:lnTo>
                  <a:pt x="428" y="268"/>
                </a:lnTo>
                <a:lnTo>
                  <a:pt x="428" y="268"/>
                </a:lnTo>
                <a:lnTo>
                  <a:pt x="430" y="268"/>
                </a:lnTo>
                <a:lnTo>
                  <a:pt x="430" y="268"/>
                </a:lnTo>
                <a:lnTo>
                  <a:pt x="434" y="266"/>
                </a:lnTo>
                <a:lnTo>
                  <a:pt x="434" y="266"/>
                </a:lnTo>
                <a:close/>
                <a:moveTo>
                  <a:pt x="192" y="248"/>
                </a:moveTo>
                <a:lnTo>
                  <a:pt x="192" y="248"/>
                </a:lnTo>
                <a:lnTo>
                  <a:pt x="190" y="248"/>
                </a:lnTo>
                <a:lnTo>
                  <a:pt x="190" y="248"/>
                </a:lnTo>
                <a:lnTo>
                  <a:pt x="194" y="248"/>
                </a:lnTo>
                <a:lnTo>
                  <a:pt x="194" y="248"/>
                </a:lnTo>
                <a:lnTo>
                  <a:pt x="194" y="248"/>
                </a:lnTo>
                <a:lnTo>
                  <a:pt x="192" y="248"/>
                </a:lnTo>
                <a:lnTo>
                  <a:pt x="192" y="248"/>
                </a:lnTo>
                <a:close/>
                <a:moveTo>
                  <a:pt x="182" y="244"/>
                </a:moveTo>
                <a:lnTo>
                  <a:pt x="182" y="244"/>
                </a:lnTo>
                <a:lnTo>
                  <a:pt x="180" y="246"/>
                </a:lnTo>
                <a:lnTo>
                  <a:pt x="180" y="248"/>
                </a:lnTo>
                <a:lnTo>
                  <a:pt x="180" y="248"/>
                </a:lnTo>
                <a:lnTo>
                  <a:pt x="180" y="250"/>
                </a:lnTo>
                <a:lnTo>
                  <a:pt x="180" y="250"/>
                </a:lnTo>
                <a:lnTo>
                  <a:pt x="184" y="250"/>
                </a:lnTo>
                <a:lnTo>
                  <a:pt x="184" y="250"/>
                </a:lnTo>
                <a:lnTo>
                  <a:pt x="184" y="246"/>
                </a:lnTo>
                <a:lnTo>
                  <a:pt x="182" y="244"/>
                </a:lnTo>
                <a:lnTo>
                  <a:pt x="182" y="244"/>
                </a:lnTo>
                <a:close/>
                <a:moveTo>
                  <a:pt x="458" y="210"/>
                </a:moveTo>
                <a:lnTo>
                  <a:pt x="458" y="210"/>
                </a:lnTo>
                <a:lnTo>
                  <a:pt x="458" y="210"/>
                </a:lnTo>
                <a:lnTo>
                  <a:pt x="452" y="212"/>
                </a:lnTo>
                <a:lnTo>
                  <a:pt x="452" y="212"/>
                </a:lnTo>
                <a:lnTo>
                  <a:pt x="452" y="214"/>
                </a:lnTo>
                <a:lnTo>
                  <a:pt x="452" y="214"/>
                </a:lnTo>
                <a:lnTo>
                  <a:pt x="454" y="216"/>
                </a:lnTo>
                <a:lnTo>
                  <a:pt x="454" y="216"/>
                </a:lnTo>
                <a:lnTo>
                  <a:pt x="446" y="214"/>
                </a:lnTo>
                <a:lnTo>
                  <a:pt x="444" y="214"/>
                </a:lnTo>
                <a:lnTo>
                  <a:pt x="440" y="216"/>
                </a:lnTo>
                <a:lnTo>
                  <a:pt x="440" y="216"/>
                </a:lnTo>
                <a:lnTo>
                  <a:pt x="438" y="218"/>
                </a:lnTo>
                <a:lnTo>
                  <a:pt x="438" y="218"/>
                </a:lnTo>
                <a:lnTo>
                  <a:pt x="438" y="222"/>
                </a:lnTo>
                <a:lnTo>
                  <a:pt x="438" y="222"/>
                </a:lnTo>
                <a:lnTo>
                  <a:pt x="442" y="222"/>
                </a:lnTo>
                <a:lnTo>
                  <a:pt x="442" y="222"/>
                </a:lnTo>
                <a:lnTo>
                  <a:pt x="444" y="224"/>
                </a:lnTo>
                <a:lnTo>
                  <a:pt x="444" y="224"/>
                </a:lnTo>
                <a:lnTo>
                  <a:pt x="446" y="224"/>
                </a:lnTo>
                <a:lnTo>
                  <a:pt x="446" y="224"/>
                </a:lnTo>
                <a:lnTo>
                  <a:pt x="450" y="222"/>
                </a:lnTo>
                <a:lnTo>
                  <a:pt x="450" y="222"/>
                </a:lnTo>
                <a:lnTo>
                  <a:pt x="452" y="222"/>
                </a:lnTo>
                <a:lnTo>
                  <a:pt x="452" y="222"/>
                </a:lnTo>
                <a:lnTo>
                  <a:pt x="454" y="220"/>
                </a:lnTo>
                <a:lnTo>
                  <a:pt x="454" y="218"/>
                </a:lnTo>
                <a:lnTo>
                  <a:pt x="454" y="218"/>
                </a:lnTo>
                <a:lnTo>
                  <a:pt x="456" y="218"/>
                </a:lnTo>
                <a:lnTo>
                  <a:pt x="456" y="218"/>
                </a:lnTo>
                <a:lnTo>
                  <a:pt x="458" y="220"/>
                </a:lnTo>
                <a:lnTo>
                  <a:pt x="458" y="220"/>
                </a:lnTo>
                <a:lnTo>
                  <a:pt x="466" y="222"/>
                </a:lnTo>
                <a:lnTo>
                  <a:pt x="466" y="222"/>
                </a:lnTo>
                <a:lnTo>
                  <a:pt x="468" y="222"/>
                </a:lnTo>
                <a:lnTo>
                  <a:pt x="468" y="222"/>
                </a:lnTo>
                <a:lnTo>
                  <a:pt x="466" y="224"/>
                </a:lnTo>
                <a:lnTo>
                  <a:pt x="464" y="224"/>
                </a:lnTo>
                <a:lnTo>
                  <a:pt x="466" y="224"/>
                </a:lnTo>
                <a:lnTo>
                  <a:pt x="466" y="224"/>
                </a:lnTo>
                <a:lnTo>
                  <a:pt x="466" y="226"/>
                </a:lnTo>
                <a:lnTo>
                  <a:pt x="466" y="226"/>
                </a:lnTo>
                <a:lnTo>
                  <a:pt x="466" y="226"/>
                </a:lnTo>
                <a:lnTo>
                  <a:pt x="466" y="228"/>
                </a:lnTo>
                <a:lnTo>
                  <a:pt x="466" y="230"/>
                </a:lnTo>
                <a:lnTo>
                  <a:pt x="468" y="232"/>
                </a:lnTo>
                <a:lnTo>
                  <a:pt x="476" y="236"/>
                </a:lnTo>
                <a:lnTo>
                  <a:pt x="476" y="236"/>
                </a:lnTo>
                <a:lnTo>
                  <a:pt x="480" y="238"/>
                </a:lnTo>
                <a:lnTo>
                  <a:pt x="480" y="238"/>
                </a:lnTo>
                <a:lnTo>
                  <a:pt x="486" y="238"/>
                </a:lnTo>
                <a:lnTo>
                  <a:pt x="486" y="238"/>
                </a:lnTo>
                <a:lnTo>
                  <a:pt x="486" y="238"/>
                </a:lnTo>
                <a:lnTo>
                  <a:pt x="486" y="236"/>
                </a:lnTo>
                <a:lnTo>
                  <a:pt x="486" y="236"/>
                </a:lnTo>
                <a:lnTo>
                  <a:pt x="482" y="234"/>
                </a:lnTo>
                <a:lnTo>
                  <a:pt x="480" y="234"/>
                </a:lnTo>
                <a:lnTo>
                  <a:pt x="484" y="232"/>
                </a:lnTo>
                <a:lnTo>
                  <a:pt x="484" y="230"/>
                </a:lnTo>
                <a:lnTo>
                  <a:pt x="484" y="230"/>
                </a:lnTo>
                <a:lnTo>
                  <a:pt x="478" y="228"/>
                </a:lnTo>
                <a:lnTo>
                  <a:pt x="478" y="228"/>
                </a:lnTo>
                <a:lnTo>
                  <a:pt x="474" y="226"/>
                </a:lnTo>
                <a:lnTo>
                  <a:pt x="474" y="226"/>
                </a:lnTo>
                <a:lnTo>
                  <a:pt x="474" y="226"/>
                </a:lnTo>
                <a:lnTo>
                  <a:pt x="474" y="226"/>
                </a:lnTo>
                <a:lnTo>
                  <a:pt x="478" y="226"/>
                </a:lnTo>
                <a:lnTo>
                  <a:pt x="478" y="226"/>
                </a:lnTo>
                <a:lnTo>
                  <a:pt x="480" y="228"/>
                </a:lnTo>
                <a:lnTo>
                  <a:pt x="480" y="228"/>
                </a:lnTo>
                <a:lnTo>
                  <a:pt x="482" y="228"/>
                </a:lnTo>
                <a:lnTo>
                  <a:pt x="484" y="228"/>
                </a:lnTo>
                <a:lnTo>
                  <a:pt x="484" y="228"/>
                </a:lnTo>
                <a:lnTo>
                  <a:pt x="484" y="222"/>
                </a:lnTo>
                <a:lnTo>
                  <a:pt x="484" y="222"/>
                </a:lnTo>
                <a:lnTo>
                  <a:pt x="478" y="220"/>
                </a:lnTo>
                <a:lnTo>
                  <a:pt x="472" y="222"/>
                </a:lnTo>
                <a:lnTo>
                  <a:pt x="472" y="222"/>
                </a:lnTo>
                <a:lnTo>
                  <a:pt x="474" y="220"/>
                </a:lnTo>
                <a:lnTo>
                  <a:pt x="474" y="220"/>
                </a:lnTo>
                <a:lnTo>
                  <a:pt x="476" y="220"/>
                </a:lnTo>
                <a:lnTo>
                  <a:pt x="476" y="220"/>
                </a:lnTo>
                <a:lnTo>
                  <a:pt x="478" y="216"/>
                </a:lnTo>
                <a:lnTo>
                  <a:pt x="470" y="216"/>
                </a:lnTo>
                <a:lnTo>
                  <a:pt x="470" y="216"/>
                </a:lnTo>
                <a:lnTo>
                  <a:pt x="472" y="214"/>
                </a:lnTo>
                <a:lnTo>
                  <a:pt x="472" y="214"/>
                </a:lnTo>
                <a:lnTo>
                  <a:pt x="464" y="212"/>
                </a:lnTo>
                <a:lnTo>
                  <a:pt x="458" y="210"/>
                </a:lnTo>
                <a:lnTo>
                  <a:pt x="458" y="210"/>
                </a:lnTo>
                <a:close/>
                <a:moveTo>
                  <a:pt x="148" y="186"/>
                </a:moveTo>
                <a:lnTo>
                  <a:pt x="148" y="186"/>
                </a:lnTo>
                <a:lnTo>
                  <a:pt x="146" y="188"/>
                </a:lnTo>
                <a:lnTo>
                  <a:pt x="146" y="188"/>
                </a:lnTo>
                <a:lnTo>
                  <a:pt x="148" y="188"/>
                </a:lnTo>
                <a:lnTo>
                  <a:pt x="148" y="188"/>
                </a:lnTo>
                <a:lnTo>
                  <a:pt x="150" y="188"/>
                </a:lnTo>
                <a:lnTo>
                  <a:pt x="152" y="186"/>
                </a:lnTo>
                <a:lnTo>
                  <a:pt x="152" y="186"/>
                </a:lnTo>
                <a:lnTo>
                  <a:pt x="148" y="186"/>
                </a:lnTo>
                <a:lnTo>
                  <a:pt x="148" y="186"/>
                </a:lnTo>
                <a:close/>
                <a:moveTo>
                  <a:pt x="512" y="184"/>
                </a:moveTo>
                <a:lnTo>
                  <a:pt x="512" y="184"/>
                </a:lnTo>
                <a:lnTo>
                  <a:pt x="510" y="186"/>
                </a:lnTo>
                <a:lnTo>
                  <a:pt x="510" y="186"/>
                </a:lnTo>
                <a:lnTo>
                  <a:pt x="512" y="186"/>
                </a:lnTo>
                <a:lnTo>
                  <a:pt x="512" y="186"/>
                </a:lnTo>
                <a:lnTo>
                  <a:pt x="512" y="186"/>
                </a:lnTo>
                <a:lnTo>
                  <a:pt x="512" y="184"/>
                </a:lnTo>
                <a:lnTo>
                  <a:pt x="512" y="184"/>
                </a:lnTo>
                <a:close/>
                <a:moveTo>
                  <a:pt x="498" y="180"/>
                </a:moveTo>
                <a:lnTo>
                  <a:pt x="498" y="180"/>
                </a:lnTo>
                <a:lnTo>
                  <a:pt x="498" y="182"/>
                </a:lnTo>
                <a:lnTo>
                  <a:pt x="498" y="186"/>
                </a:lnTo>
                <a:lnTo>
                  <a:pt x="498" y="186"/>
                </a:lnTo>
                <a:lnTo>
                  <a:pt x="500" y="186"/>
                </a:lnTo>
                <a:lnTo>
                  <a:pt x="500" y="186"/>
                </a:lnTo>
                <a:lnTo>
                  <a:pt x="504" y="186"/>
                </a:lnTo>
                <a:lnTo>
                  <a:pt x="504" y="186"/>
                </a:lnTo>
                <a:lnTo>
                  <a:pt x="504" y="182"/>
                </a:lnTo>
                <a:lnTo>
                  <a:pt x="504" y="182"/>
                </a:lnTo>
                <a:lnTo>
                  <a:pt x="500" y="182"/>
                </a:lnTo>
                <a:lnTo>
                  <a:pt x="500" y="182"/>
                </a:lnTo>
                <a:lnTo>
                  <a:pt x="500" y="180"/>
                </a:lnTo>
                <a:lnTo>
                  <a:pt x="500" y="180"/>
                </a:lnTo>
                <a:lnTo>
                  <a:pt x="498" y="180"/>
                </a:lnTo>
                <a:lnTo>
                  <a:pt x="498" y="180"/>
                </a:lnTo>
                <a:close/>
                <a:moveTo>
                  <a:pt x="478" y="174"/>
                </a:moveTo>
                <a:lnTo>
                  <a:pt x="478" y="174"/>
                </a:lnTo>
                <a:lnTo>
                  <a:pt x="480" y="174"/>
                </a:lnTo>
                <a:lnTo>
                  <a:pt x="480" y="176"/>
                </a:lnTo>
                <a:lnTo>
                  <a:pt x="480" y="180"/>
                </a:lnTo>
                <a:lnTo>
                  <a:pt x="480" y="180"/>
                </a:lnTo>
                <a:lnTo>
                  <a:pt x="478" y="180"/>
                </a:lnTo>
                <a:lnTo>
                  <a:pt x="478" y="180"/>
                </a:lnTo>
                <a:lnTo>
                  <a:pt x="478" y="176"/>
                </a:lnTo>
                <a:lnTo>
                  <a:pt x="478" y="174"/>
                </a:lnTo>
                <a:lnTo>
                  <a:pt x="478" y="174"/>
                </a:lnTo>
                <a:lnTo>
                  <a:pt x="478" y="174"/>
                </a:lnTo>
                <a:close/>
                <a:moveTo>
                  <a:pt x="512" y="166"/>
                </a:moveTo>
                <a:lnTo>
                  <a:pt x="512" y="166"/>
                </a:lnTo>
                <a:lnTo>
                  <a:pt x="512" y="168"/>
                </a:lnTo>
                <a:lnTo>
                  <a:pt x="512" y="168"/>
                </a:lnTo>
                <a:lnTo>
                  <a:pt x="508" y="168"/>
                </a:lnTo>
                <a:lnTo>
                  <a:pt x="508" y="168"/>
                </a:lnTo>
                <a:lnTo>
                  <a:pt x="510" y="176"/>
                </a:lnTo>
                <a:lnTo>
                  <a:pt x="512" y="178"/>
                </a:lnTo>
                <a:lnTo>
                  <a:pt x="516" y="178"/>
                </a:lnTo>
                <a:lnTo>
                  <a:pt x="516" y="178"/>
                </a:lnTo>
                <a:lnTo>
                  <a:pt x="518" y="176"/>
                </a:lnTo>
                <a:lnTo>
                  <a:pt x="518" y="176"/>
                </a:lnTo>
                <a:lnTo>
                  <a:pt x="520" y="176"/>
                </a:lnTo>
                <a:lnTo>
                  <a:pt x="520" y="176"/>
                </a:lnTo>
                <a:lnTo>
                  <a:pt x="520" y="176"/>
                </a:lnTo>
                <a:lnTo>
                  <a:pt x="520" y="176"/>
                </a:lnTo>
                <a:lnTo>
                  <a:pt x="522" y="176"/>
                </a:lnTo>
                <a:lnTo>
                  <a:pt x="522" y="176"/>
                </a:lnTo>
                <a:lnTo>
                  <a:pt x="522" y="172"/>
                </a:lnTo>
                <a:lnTo>
                  <a:pt x="522" y="172"/>
                </a:lnTo>
                <a:lnTo>
                  <a:pt x="520" y="174"/>
                </a:lnTo>
                <a:lnTo>
                  <a:pt x="520" y="174"/>
                </a:lnTo>
                <a:lnTo>
                  <a:pt x="516" y="172"/>
                </a:lnTo>
                <a:lnTo>
                  <a:pt x="516" y="172"/>
                </a:lnTo>
                <a:lnTo>
                  <a:pt x="514" y="166"/>
                </a:lnTo>
                <a:lnTo>
                  <a:pt x="512" y="166"/>
                </a:lnTo>
                <a:close/>
                <a:moveTo>
                  <a:pt x="506" y="150"/>
                </a:moveTo>
                <a:lnTo>
                  <a:pt x="506" y="150"/>
                </a:lnTo>
                <a:lnTo>
                  <a:pt x="504" y="152"/>
                </a:lnTo>
                <a:lnTo>
                  <a:pt x="504" y="152"/>
                </a:lnTo>
                <a:lnTo>
                  <a:pt x="508" y="156"/>
                </a:lnTo>
                <a:lnTo>
                  <a:pt x="510" y="160"/>
                </a:lnTo>
                <a:lnTo>
                  <a:pt x="508" y="158"/>
                </a:lnTo>
                <a:lnTo>
                  <a:pt x="508" y="158"/>
                </a:lnTo>
                <a:lnTo>
                  <a:pt x="508" y="154"/>
                </a:lnTo>
                <a:lnTo>
                  <a:pt x="508" y="154"/>
                </a:lnTo>
                <a:lnTo>
                  <a:pt x="506" y="152"/>
                </a:lnTo>
                <a:lnTo>
                  <a:pt x="506" y="152"/>
                </a:lnTo>
                <a:lnTo>
                  <a:pt x="508" y="150"/>
                </a:lnTo>
                <a:lnTo>
                  <a:pt x="506" y="150"/>
                </a:lnTo>
                <a:close/>
                <a:moveTo>
                  <a:pt x="12" y="132"/>
                </a:moveTo>
                <a:lnTo>
                  <a:pt x="12" y="132"/>
                </a:lnTo>
                <a:lnTo>
                  <a:pt x="12" y="132"/>
                </a:lnTo>
                <a:lnTo>
                  <a:pt x="14" y="132"/>
                </a:lnTo>
                <a:lnTo>
                  <a:pt x="12" y="132"/>
                </a:lnTo>
                <a:lnTo>
                  <a:pt x="12" y="132"/>
                </a:lnTo>
                <a:lnTo>
                  <a:pt x="12" y="132"/>
                </a:lnTo>
                <a:lnTo>
                  <a:pt x="12" y="132"/>
                </a:lnTo>
                <a:close/>
                <a:moveTo>
                  <a:pt x="2" y="130"/>
                </a:moveTo>
                <a:lnTo>
                  <a:pt x="2" y="130"/>
                </a:lnTo>
                <a:lnTo>
                  <a:pt x="0" y="132"/>
                </a:lnTo>
                <a:lnTo>
                  <a:pt x="0" y="132"/>
                </a:lnTo>
                <a:lnTo>
                  <a:pt x="2" y="132"/>
                </a:lnTo>
                <a:lnTo>
                  <a:pt x="2" y="132"/>
                </a:lnTo>
                <a:lnTo>
                  <a:pt x="4" y="132"/>
                </a:lnTo>
                <a:lnTo>
                  <a:pt x="6" y="130"/>
                </a:lnTo>
                <a:lnTo>
                  <a:pt x="6" y="130"/>
                </a:lnTo>
                <a:lnTo>
                  <a:pt x="2" y="130"/>
                </a:lnTo>
                <a:lnTo>
                  <a:pt x="2" y="130"/>
                </a:lnTo>
                <a:close/>
                <a:moveTo>
                  <a:pt x="500" y="76"/>
                </a:moveTo>
                <a:lnTo>
                  <a:pt x="500" y="76"/>
                </a:lnTo>
                <a:lnTo>
                  <a:pt x="500" y="80"/>
                </a:lnTo>
                <a:lnTo>
                  <a:pt x="500" y="80"/>
                </a:lnTo>
                <a:lnTo>
                  <a:pt x="504" y="78"/>
                </a:lnTo>
                <a:lnTo>
                  <a:pt x="500" y="76"/>
                </a:lnTo>
                <a:lnTo>
                  <a:pt x="500" y="76"/>
                </a:lnTo>
                <a:close/>
                <a:moveTo>
                  <a:pt x="438" y="66"/>
                </a:moveTo>
                <a:lnTo>
                  <a:pt x="438" y="66"/>
                </a:lnTo>
                <a:lnTo>
                  <a:pt x="442" y="66"/>
                </a:lnTo>
                <a:lnTo>
                  <a:pt x="440" y="66"/>
                </a:lnTo>
                <a:lnTo>
                  <a:pt x="434" y="70"/>
                </a:lnTo>
                <a:lnTo>
                  <a:pt x="434" y="70"/>
                </a:lnTo>
                <a:lnTo>
                  <a:pt x="430" y="68"/>
                </a:lnTo>
                <a:lnTo>
                  <a:pt x="430" y="68"/>
                </a:lnTo>
                <a:lnTo>
                  <a:pt x="434" y="68"/>
                </a:lnTo>
                <a:lnTo>
                  <a:pt x="434" y="68"/>
                </a:lnTo>
                <a:lnTo>
                  <a:pt x="438" y="66"/>
                </a:lnTo>
                <a:lnTo>
                  <a:pt x="438" y="66"/>
                </a:lnTo>
                <a:close/>
                <a:moveTo>
                  <a:pt x="508" y="40"/>
                </a:moveTo>
                <a:lnTo>
                  <a:pt x="508" y="40"/>
                </a:lnTo>
                <a:lnTo>
                  <a:pt x="508" y="42"/>
                </a:lnTo>
                <a:lnTo>
                  <a:pt x="508" y="42"/>
                </a:lnTo>
                <a:lnTo>
                  <a:pt x="508" y="42"/>
                </a:lnTo>
                <a:lnTo>
                  <a:pt x="508" y="42"/>
                </a:lnTo>
                <a:lnTo>
                  <a:pt x="508" y="40"/>
                </a:lnTo>
                <a:lnTo>
                  <a:pt x="508" y="40"/>
                </a:lnTo>
                <a:close/>
                <a:moveTo>
                  <a:pt x="500" y="40"/>
                </a:moveTo>
                <a:lnTo>
                  <a:pt x="500" y="40"/>
                </a:lnTo>
                <a:lnTo>
                  <a:pt x="500" y="44"/>
                </a:lnTo>
                <a:lnTo>
                  <a:pt x="500" y="44"/>
                </a:lnTo>
                <a:lnTo>
                  <a:pt x="500" y="44"/>
                </a:lnTo>
                <a:lnTo>
                  <a:pt x="500" y="40"/>
                </a:lnTo>
                <a:lnTo>
                  <a:pt x="500" y="40"/>
                </a:lnTo>
                <a:close/>
                <a:moveTo>
                  <a:pt x="182" y="32"/>
                </a:moveTo>
                <a:lnTo>
                  <a:pt x="182" y="32"/>
                </a:lnTo>
                <a:lnTo>
                  <a:pt x="184" y="38"/>
                </a:lnTo>
                <a:lnTo>
                  <a:pt x="184" y="38"/>
                </a:lnTo>
                <a:lnTo>
                  <a:pt x="186" y="40"/>
                </a:lnTo>
                <a:lnTo>
                  <a:pt x="192" y="44"/>
                </a:lnTo>
                <a:lnTo>
                  <a:pt x="204" y="46"/>
                </a:lnTo>
                <a:lnTo>
                  <a:pt x="204" y="46"/>
                </a:lnTo>
                <a:lnTo>
                  <a:pt x="206" y="46"/>
                </a:lnTo>
                <a:lnTo>
                  <a:pt x="206" y="46"/>
                </a:lnTo>
                <a:lnTo>
                  <a:pt x="206" y="44"/>
                </a:lnTo>
                <a:lnTo>
                  <a:pt x="206" y="44"/>
                </a:lnTo>
                <a:lnTo>
                  <a:pt x="204" y="42"/>
                </a:lnTo>
                <a:lnTo>
                  <a:pt x="204" y="42"/>
                </a:lnTo>
                <a:lnTo>
                  <a:pt x="198" y="40"/>
                </a:lnTo>
                <a:lnTo>
                  <a:pt x="198" y="40"/>
                </a:lnTo>
                <a:lnTo>
                  <a:pt x="194" y="40"/>
                </a:lnTo>
                <a:lnTo>
                  <a:pt x="194" y="40"/>
                </a:lnTo>
                <a:lnTo>
                  <a:pt x="192" y="36"/>
                </a:lnTo>
                <a:lnTo>
                  <a:pt x="192" y="36"/>
                </a:lnTo>
                <a:lnTo>
                  <a:pt x="188" y="36"/>
                </a:lnTo>
                <a:lnTo>
                  <a:pt x="188" y="36"/>
                </a:lnTo>
                <a:lnTo>
                  <a:pt x="182" y="32"/>
                </a:lnTo>
                <a:lnTo>
                  <a:pt x="182" y="32"/>
                </a:lnTo>
                <a:close/>
                <a:moveTo>
                  <a:pt x="358" y="18"/>
                </a:moveTo>
                <a:lnTo>
                  <a:pt x="358" y="18"/>
                </a:lnTo>
                <a:lnTo>
                  <a:pt x="360" y="20"/>
                </a:lnTo>
                <a:lnTo>
                  <a:pt x="360" y="20"/>
                </a:lnTo>
                <a:lnTo>
                  <a:pt x="356" y="22"/>
                </a:lnTo>
                <a:lnTo>
                  <a:pt x="356" y="22"/>
                </a:lnTo>
                <a:lnTo>
                  <a:pt x="356" y="24"/>
                </a:lnTo>
                <a:lnTo>
                  <a:pt x="356" y="24"/>
                </a:lnTo>
                <a:lnTo>
                  <a:pt x="350" y="22"/>
                </a:lnTo>
                <a:lnTo>
                  <a:pt x="350" y="22"/>
                </a:lnTo>
                <a:lnTo>
                  <a:pt x="350" y="24"/>
                </a:lnTo>
                <a:lnTo>
                  <a:pt x="350" y="24"/>
                </a:lnTo>
                <a:lnTo>
                  <a:pt x="350" y="24"/>
                </a:lnTo>
                <a:lnTo>
                  <a:pt x="350" y="22"/>
                </a:lnTo>
                <a:lnTo>
                  <a:pt x="350" y="20"/>
                </a:lnTo>
                <a:lnTo>
                  <a:pt x="350" y="20"/>
                </a:lnTo>
                <a:lnTo>
                  <a:pt x="358" y="18"/>
                </a:lnTo>
                <a:lnTo>
                  <a:pt x="358" y="18"/>
                </a:lnTo>
                <a:close/>
                <a:moveTo>
                  <a:pt x="402" y="16"/>
                </a:moveTo>
                <a:lnTo>
                  <a:pt x="402" y="16"/>
                </a:lnTo>
                <a:lnTo>
                  <a:pt x="410" y="16"/>
                </a:lnTo>
                <a:lnTo>
                  <a:pt x="410" y="16"/>
                </a:lnTo>
                <a:lnTo>
                  <a:pt x="420" y="16"/>
                </a:lnTo>
                <a:lnTo>
                  <a:pt x="420" y="16"/>
                </a:lnTo>
                <a:lnTo>
                  <a:pt x="430" y="16"/>
                </a:lnTo>
                <a:lnTo>
                  <a:pt x="430" y="16"/>
                </a:lnTo>
                <a:lnTo>
                  <a:pt x="410" y="18"/>
                </a:lnTo>
                <a:lnTo>
                  <a:pt x="410" y="18"/>
                </a:lnTo>
                <a:lnTo>
                  <a:pt x="404" y="18"/>
                </a:lnTo>
                <a:lnTo>
                  <a:pt x="398" y="18"/>
                </a:lnTo>
                <a:lnTo>
                  <a:pt x="398" y="20"/>
                </a:lnTo>
                <a:lnTo>
                  <a:pt x="398" y="20"/>
                </a:lnTo>
                <a:lnTo>
                  <a:pt x="392" y="20"/>
                </a:lnTo>
                <a:lnTo>
                  <a:pt x="388" y="20"/>
                </a:lnTo>
                <a:lnTo>
                  <a:pt x="388" y="18"/>
                </a:lnTo>
                <a:lnTo>
                  <a:pt x="388" y="18"/>
                </a:lnTo>
                <a:lnTo>
                  <a:pt x="390" y="18"/>
                </a:lnTo>
                <a:lnTo>
                  <a:pt x="390" y="18"/>
                </a:lnTo>
                <a:lnTo>
                  <a:pt x="402" y="16"/>
                </a:lnTo>
                <a:lnTo>
                  <a:pt x="402" y="16"/>
                </a:lnTo>
                <a:close/>
                <a:moveTo>
                  <a:pt x="368" y="12"/>
                </a:moveTo>
                <a:lnTo>
                  <a:pt x="370" y="12"/>
                </a:lnTo>
                <a:lnTo>
                  <a:pt x="370" y="12"/>
                </a:lnTo>
                <a:lnTo>
                  <a:pt x="370" y="16"/>
                </a:lnTo>
                <a:lnTo>
                  <a:pt x="370" y="16"/>
                </a:lnTo>
                <a:lnTo>
                  <a:pt x="372" y="18"/>
                </a:lnTo>
                <a:lnTo>
                  <a:pt x="372" y="18"/>
                </a:lnTo>
                <a:lnTo>
                  <a:pt x="380" y="18"/>
                </a:lnTo>
                <a:lnTo>
                  <a:pt x="386" y="20"/>
                </a:lnTo>
                <a:lnTo>
                  <a:pt x="386" y="20"/>
                </a:lnTo>
                <a:lnTo>
                  <a:pt x="380" y="18"/>
                </a:lnTo>
                <a:lnTo>
                  <a:pt x="380" y="18"/>
                </a:lnTo>
                <a:lnTo>
                  <a:pt x="372" y="20"/>
                </a:lnTo>
                <a:lnTo>
                  <a:pt x="372" y="20"/>
                </a:lnTo>
                <a:lnTo>
                  <a:pt x="372" y="22"/>
                </a:lnTo>
                <a:lnTo>
                  <a:pt x="372" y="22"/>
                </a:lnTo>
                <a:lnTo>
                  <a:pt x="372" y="22"/>
                </a:lnTo>
                <a:lnTo>
                  <a:pt x="370" y="22"/>
                </a:lnTo>
                <a:lnTo>
                  <a:pt x="370" y="22"/>
                </a:lnTo>
                <a:lnTo>
                  <a:pt x="370" y="20"/>
                </a:lnTo>
                <a:lnTo>
                  <a:pt x="370" y="20"/>
                </a:lnTo>
                <a:lnTo>
                  <a:pt x="366" y="20"/>
                </a:lnTo>
                <a:lnTo>
                  <a:pt x="366" y="18"/>
                </a:lnTo>
                <a:lnTo>
                  <a:pt x="366" y="18"/>
                </a:lnTo>
                <a:lnTo>
                  <a:pt x="368" y="18"/>
                </a:lnTo>
                <a:lnTo>
                  <a:pt x="368" y="14"/>
                </a:lnTo>
                <a:lnTo>
                  <a:pt x="368" y="12"/>
                </a:lnTo>
                <a:lnTo>
                  <a:pt x="368" y="12"/>
                </a:lnTo>
                <a:close/>
                <a:moveTo>
                  <a:pt x="482" y="36"/>
                </a:moveTo>
                <a:lnTo>
                  <a:pt x="482" y="36"/>
                </a:lnTo>
                <a:lnTo>
                  <a:pt x="486" y="34"/>
                </a:lnTo>
                <a:lnTo>
                  <a:pt x="488" y="32"/>
                </a:lnTo>
                <a:lnTo>
                  <a:pt x="488" y="32"/>
                </a:lnTo>
                <a:lnTo>
                  <a:pt x="490" y="32"/>
                </a:lnTo>
                <a:lnTo>
                  <a:pt x="490" y="32"/>
                </a:lnTo>
                <a:lnTo>
                  <a:pt x="496" y="30"/>
                </a:lnTo>
                <a:lnTo>
                  <a:pt x="496" y="30"/>
                </a:lnTo>
                <a:lnTo>
                  <a:pt x="494" y="28"/>
                </a:lnTo>
                <a:lnTo>
                  <a:pt x="494" y="28"/>
                </a:lnTo>
                <a:lnTo>
                  <a:pt x="492" y="26"/>
                </a:lnTo>
                <a:lnTo>
                  <a:pt x="488" y="26"/>
                </a:lnTo>
                <a:lnTo>
                  <a:pt x="488" y="26"/>
                </a:lnTo>
                <a:lnTo>
                  <a:pt x="486" y="24"/>
                </a:lnTo>
                <a:lnTo>
                  <a:pt x="486" y="24"/>
                </a:lnTo>
                <a:lnTo>
                  <a:pt x="480" y="24"/>
                </a:lnTo>
                <a:lnTo>
                  <a:pt x="474" y="24"/>
                </a:lnTo>
                <a:lnTo>
                  <a:pt x="474" y="24"/>
                </a:lnTo>
                <a:lnTo>
                  <a:pt x="474" y="22"/>
                </a:lnTo>
                <a:lnTo>
                  <a:pt x="474" y="22"/>
                </a:lnTo>
                <a:lnTo>
                  <a:pt x="470" y="20"/>
                </a:lnTo>
                <a:lnTo>
                  <a:pt x="470" y="20"/>
                </a:lnTo>
                <a:lnTo>
                  <a:pt x="468" y="20"/>
                </a:lnTo>
                <a:lnTo>
                  <a:pt x="468" y="20"/>
                </a:lnTo>
                <a:lnTo>
                  <a:pt x="466" y="22"/>
                </a:lnTo>
                <a:lnTo>
                  <a:pt x="466" y="22"/>
                </a:lnTo>
                <a:lnTo>
                  <a:pt x="466" y="18"/>
                </a:lnTo>
                <a:lnTo>
                  <a:pt x="466" y="18"/>
                </a:lnTo>
                <a:lnTo>
                  <a:pt x="464" y="18"/>
                </a:lnTo>
                <a:lnTo>
                  <a:pt x="464" y="18"/>
                </a:lnTo>
                <a:lnTo>
                  <a:pt x="458" y="22"/>
                </a:lnTo>
                <a:lnTo>
                  <a:pt x="450" y="24"/>
                </a:lnTo>
                <a:lnTo>
                  <a:pt x="450" y="22"/>
                </a:lnTo>
                <a:lnTo>
                  <a:pt x="450" y="22"/>
                </a:lnTo>
                <a:lnTo>
                  <a:pt x="458" y="20"/>
                </a:lnTo>
                <a:lnTo>
                  <a:pt x="458" y="20"/>
                </a:lnTo>
                <a:lnTo>
                  <a:pt x="458" y="18"/>
                </a:lnTo>
                <a:lnTo>
                  <a:pt x="458" y="18"/>
                </a:lnTo>
                <a:lnTo>
                  <a:pt x="458" y="16"/>
                </a:lnTo>
                <a:lnTo>
                  <a:pt x="458" y="16"/>
                </a:lnTo>
                <a:lnTo>
                  <a:pt x="454" y="12"/>
                </a:lnTo>
                <a:lnTo>
                  <a:pt x="450" y="10"/>
                </a:lnTo>
                <a:lnTo>
                  <a:pt x="450" y="10"/>
                </a:lnTo>
                <a:lnTo>
                  <a:pt x="448" y="12"/>
                </a:lnTo>
                <a:lnTo>
                  <a:pt x="446" y="14"/>
                </a:lnTo>
                <a:lnTo>
                  <a:pt x="446" y="14"/>
                </a:lnTo>
                <a:lnTo>
                  <a:pt x="440" y="16"/>
                </a:lnTo>
                <a:lnTo>
                  <a:pt x="432" y="16"/>
                </a:lnTo>
                <a:lnTo>
                  <a:pt x="432" y="16"/>
                </a:lnTo>
                <a:lnTo>
                  <a:pt x="436" y="10"/>
                </a:lnTo>
                <a:lnTo>
                  <a:pt x="436" y="10"/>
                </a:lnTo>
                <a:lnTo>
                  <a:pt x="442" y="10"/>
                </a:lnTo>
                <a:lnTo>
                  <a:pt x="442" y="10"/>
                </a:lnTo>
                <a:lnTo>
                  <a:pt x="442" y="6"/>
                </a:lnTo>
                <a:lnTo>
                  <a:pt x="442" y="6"/>
                </a:lnTo>
                <a:lnTo>
                  <a:pt x="438" y="4"/>
                </a:lnTo>
                <a:lnTo>
                  <a:pt x="438" y="4"/>
                </a:lnTo>
                <a:lnTo>
                  <a:pt x="422" y="4"/>
                </a:lnTo>
                <a:lnTo>
                  <a:pt x="422" y="4"/>
                </a:lnTo>
                <a:lnTo>
                  <a:pt x="418" y="4"/>
                </a:lnTo>
                <a:lnTo>
                  <a:pt x="412" y="2"/>
                </a:lnTo>
                <a:lnTo>
                  <a:pt x="412" y="2"/>
                </a:lnTo>
                <a:lnTo>
                  <a:pt x="412" y="4"/>
                </a:lnTo>
                <a:lnTo>
                  <a:pt x="412" y="4"/>
                </a:lnTo>
                <a:lnTo>
                  <a:pt x="406" y="4"/>
                </a:lnTo>
                <a:lnTo>
                  <a:pt x="406" y="4"/>
                </a:lnTo>
                <a:lnTo>
                  <a:pt x="404" y="4"/>
                </a:lnTo>
                <a:lnTo>
                  <a:pt x="398" y="6"/>
                </a:lnTo>
                <a:lnTo>
                  <a:pt x="398" y="6"/>
                </a:lnTo>
                <a:lnTo>
                  <a:pt x="392" y="2"/>
                </a:lnTo>
                <a:lnTo>
                  <a:pt x="388" y="2"/>
                </a:lnTo>
                <a:lnTo>
                  <a:pt x="386" y="0"/>
                </a:lnTo>
                <a:lnTo>
                  <a:pt x="386" y="0"/>
                </a:lnTo>
                <a:lnTo>
                  <a:pt x="382" y="2"/>
                </a:lnTo>
                <a:lnTo>
                  <a:pt x="382" y="2"/>
                </a:lnTo>
                <a:lnTo>
                  <a:pt x="378" y="2"/>
                </a:lnTo>
                <a:lnTo>
                  <a:pt x="374" y="2"/>
                </a:lnTo>
                <a:lnTo>
                  <a:pt x="374" y="2"/>
                </a:lnTo>
                <a:lnTo>
                  <a:pt x="366" y="2"/>
                </a:lnTo>
                <a:lnTo>
                  <a:pt x="358" y="2"/>
                </a:lnTo>
                <a:lnTo>
                  <a:pt x="358" y="2"/>
                </a:lnTo>
                <a:lnTo>
                  <a:pt x="348" y="2"/>
                </a:lnTo>
                <a:lnTo>
                  <a:pt x="338" y="0"/>
                </a:lnTo>
                <a:lnTo>
                  <a:pt x="338" y="0"/>
                </a:lnTo>
                <a:lnTo>
                  <a:pt x="338" y="2"/>
                </a:lnTo>
                <a:lnTo>
                  <a:pt x="338" y="4"/>
                </a:lnTo>
                <a:lnTo>
                  <a:pt x="338" y="4"/>
                </a:lnTo>
                <a:lnTo>
                  <a:pt x="328" y="2"/>
                </a:lnTo>
                <a:lnTo>
                  <a:pt x="328" y="2"/>
                </a:lnTo>
                <a:lnTo>
                  <a:pt x="328" y="4"/>
                </a:lnTo>
                <a:lnTo>
                  <a:pt x="328" y="4"/>
                </a:lnTo>
                <a:lnTo>
                  <a:pt x="330" y="6"/>
                </a:lnTo>
                <a:lnTo>
                  <a:pt x="330" y="6"/>
                </a:lnTo>
                <a:lnTo>
                  <a:pt x="326" y="6"/>
                </a:lnTo>
                <a:lnTo>
                  <a:pt x="320" y="6"/>
                </a:lnTo>
                <a:lnTo>
                  <a:pt x="320" y="6"/>
                </a:lnTo>
                <a:lnTo>
                  <a:pt x="320" y="4"/>
                </a:lnTo>
                <a:lnTo>
                  <a:pt x="318" y="4"/>
                </a:lnTo>
                <a:lnTo>
                  <a:pt x="318" y="4"/>
                </a:lnTo>
                <a:lnTo>
                  <a:pt x="318" y="8"/>
                </a:lnTo>
                <a:lnTo>
                  <a:pt x="318" y="8"/>
                </a:lnTo>
                <a:lnTo>
                  <a:pt x="316" y="8"/>
                </a:lnTo>
                <a:lnTo>
                  <a:pt x="316" y="10"/>
                </a:lnTo>
                <a:lnTo>
                  <a:pt x="316" y="10"/>
                </a:lnTo>
                <a:lnTo>
                  <a:pt x="316" y="10"/>
                </a:lnTo>
                <a:lnTo>
                  <a:pt x="320" y="10"/>
                </a:lnTo>
                <a:lnTo>
                  <a:pt x="320" y="12"/>
                </a:lnTo>
                <a:lnTo>
                  <a:pt x="320" y="12"/>
                </a:lnTo>
                <a:lnTo>
                  <a:pt x="312" y="12"/>
                </a:lnTo>
                <a:lnTo>
                  <a:pt x="310" y="14"/>
                </a:lnTo>
                <a:lnTo>
                  <a:pt x="312" y="16"/>
                </a:lnTo>
                <a:lnTo>
                  <a:pt x="316" y="20"/>
                </a:lnTo>
                <a:lnTo>
                  <a:pt x="316" y="20"/>
                </a:lnTo>
                <a:lnTo>
                  <a:pt x="312" y="20"/>
                </a:lnTo>
                <a:lnTo>
                  <a:pt x="312" y="20"/>
                </a:lnTo>
                <a:lnTo>
                  <a:pt x="308" y="14"/>
                </a:lnTo>
                <a:lnTo>
                  <a:pt x="308" y="14"/>
                </a:lnTo>
                <a:lnTo>
                  <a:pt x="304" y="14"/>
                </a:lnTo>
                <a:lnTo>
                  <a:pt x="304" y="14"/>
                </a:lnTo>
                <a:lnTo>
                  <a:pt x="304" y="16"/>
                </a:lnTo>
                <a:lnTo>
                  <a:pt x="306" y="16"/>
                </a:lnTo>
                <a:lnTo>
                  <a:pt x="306" y="16"/>
                </a:lnTo>
                <a:lnTo>
                  <a:pt x="308" y="18"/>
                </a:lnTo>
                <a:lnTo>
                  <a:pt x="308" y="18"/>
                </a:lnTo>
                <a:lnTo>
                  <a:pt x="304" y="16"/>
                </a:lnTo>
                <a:lnTo>
                  <a:pt x="302" y="22"/>
                </a:lnTo>
                <a:lnTo>
                  <a:pt x="302" y="22"/>
                </a:lnTo>
                <a:lnTo>
                  <a:pt x="296" y="20"/>
                </a:lnTo>
                <a:lnTo>
                  <a:pt x="294" y="16"/>
                </a:lnTo>
                <a:lnTo>
                  <a:pt x="294" y="16"/>
                </a:lnTo>
                <a:lnTo>
                  <a:pt x="294" y="12"/>
                </a:lnTo>
                <a:lnTo>
                  <a:pt x="294" y="12"/>
                </a:lnTo>
                <a:lnTo>
                  <a:pt x="288" y="10"/>
                </a:lnTo>
                <a:lnTo>
                  <a:pt x="280" y="10"/>
                </a:lnTo>
                <a:lnTo>
                  <a:pt x="280" y="10"/>
                </a:lnTo>
                <a:lnTo>
                  <a:pt x="280" y="12"/>
                </a:lnTo>
                <a:lnTo>
                  <a:pt x="280" y="12"/>
                </a:lnTo>
                <a:lnTo>
                  <a:pt x="280" y="14"/>
                </a:lnTo>
                <a:lnTo>
                  <a:pt x="280" y="14"/>
                </a:lnTo>
                <a:lnTo>
                  <a:pt x="280" y="14"/>
                </a:lnTo>
                <a:lnTo>
                  <a:pt x="272" y="14"/>
                </a:lnTo>
                <a:lnTo>
                  <a:pt x="272" y="14"/>
                </a:lnTo>
                <a:lnTo>
                  <a:pt x="272" y="14"/>
                </a:lnTo>
                <a:lnTo>
                  <a:pt x="272" y="14"/>
                </a:lnTo>
                <a:lnTo>
                  <a:pt x="272" y="14"/>
                </a:lnTo>
                <a:lnTo>
                  <a:pt x="272" y="14"/>
                </a:lnTo>
                <a:lnTo>
                  <a:pt x="272" y="16"/>
                </a:lnTo>
                <a:lnTo>
                  <a:pt x="272" y="16"/>
                </a:lnTo>
                <a:lnTo>
                  <a:pt x="274" y="18"/>
                </a:lnTo>
                <a:lnTo>
                  <a:pt x="274" y="18"/>
                </a:lnTo>
                <a:lnTo>
                  <a:pt x="274" y="18"/>
                </a:lnTo>
                <a:lnTo>
                  <a:pt x="274" y="18"/>
                </a:lnTo>
                <a:lnTo>
                  <a:pt x="272" y="18"/>
                </a:lnTo>
                <a:lnTo>
                  <a:pt x="272" y="18"/>
                </a:lnTo>
                <a:lnTo>
                  <a:pt x="272" y="22"/>
                </a:lnTo>
                <a:lnTo>
                  <a:pt x="272" y="22"/>
                </a:lnTo>
                <a:lnTo>
                  <a:pt x="278" y="24"/>
                </a:lnTo>
                <a:lnTo>
                  <a:pt x="280" y="24"/>
                </a:lnTo>
                <a:lnTo>
                  <a:pt x="280" y="24"/>
                </a:lnTo>
                <a:lnTo>
                  <a:pt x="284" y="24"/>
                </a:lnTo>
                <a:lnTo>
                  <a:pt x="286" y="24"/>
                </a:lnTo>
                <a:lnTo>
                  <a:pt x="288" y="24"/>
                </a:lnTo>
                <a:lnTo>
                  <a:pt x="288" y="24"/>
                </a:lnTo>
                <a:lnTo>
                  <a:pt x="290" y="28"/>
                </a:lnTo>
                <a:lnTo>
                  <a:pt x="290" y="30"/>
                </a:lnTo>
                <a:lnTo>
                  <a:pt x="290" y="30"/>
                </a:lnTo>
                <a:lnTo>
                  <a:pt x="294" y="34"/>
                </a:lnTo>
                <a:lnTo>
                  <a:pt x="294" y="34"/>
                </a:lnTo>
                <a:lnTo>
                  <a:pt x="290" y="30"/>
                </a:lnTo>
                <a:lnTo>
                  <a:pt x="290" y="30"/>
                </a:lnTo>
                <a:lnTo>
                  <a:pt x="290" y="30"/>
                </a:lnTo>
                <a:lnTo>
                  <a:pt x="288" y="28"/>
                </a:lnTo>
                <a:lnTo>
                  <a:pt x="284" y="26"/>
                </a:lnTo>
                <a:lnTo>
                  <a:pt x="278" y="24"/>
                </a:lnTo>
                <a:lnTo>
                  <a:pt x="278" y="24"/>
                </a:lnTo>
                <a:lnTo>
                  <a:pt x="268" y="24"/>
                </a:lnTo>
                <a:lnTo>
                  <a:pt x="264" y="26"/>
                </a:lnTo>
                <a:lnTo>
                  <a:pt x="264" y="26"/>
                </a:lnTo>
                <a:lnTo>
                  <a:pt x="266" y="30"/>
                </a:lnTo>
                <a:lnTo>
                  <a:pt x="266" y="30"/>
                </a:lnTo>
                <a:lnTo>
                  <a:pt x="268" y="30"/>
                </a:lnTo>
                <a:lnTo>
                  <a:pt x="268" y="30"/>
                </a:lnTo>
                <a:lnTo>
                  <a:pt x="270" y="34"/>
                </a:lnTo>
                <a:lnTo>
                  <a:pt x="270" y="34"/>
                </a:lnTo>
                <a:lnTo>
                  <a:pt x="262" y="28"/>
                </a:lnTo>
                <a:lnTo>
                  <a:pt x="262" y="28"/>
                </a:lnTo>
                <a:lnTo>
                  <a:pt x="258" y="26"/>
                </a:lnTo>
                <a:lnTo>
                  <a:pt x="256" y="26"/>
                </a:lnTo>
                <a:lnTo>
                  <a:pt x="250" y="28"/>
                </a:lnTo>
                <a:lnTo>
                  <a:pt x="250" y="28"/>
                </a:lnTo>
                <a:lnTo>
                  <a:pt x="242" y="28"/>
                </a:lnTo>
                <a:lnTo>
                  <a:pt x="242" y="28"/>
                </a:lnTo>
                <a:lnTo>
                  <a:pt x="242" y="30"/>
                </a:lnTo>
                <a:lnTo>
                  <a:pt x="242" y="30"/>
                </a:lnTo>
                <a:lnTo>
                  <a:pt x="244" y="32"/>
                </a:lnTo>
                <a:lnTo>
                  <a:pt x="244" y="32"/>
                </a:lnTo>
                <a:lnTo>
                  <a:pt x="246" y="36"/>
                </a:lnTo>
                <a:lnTo>
                  <a:pt x="246" y="36"/>
                </a:lnTo>
                <a:lnTo>
                  <a:pt x="248" y="36"/>
                </a:lnTo>
                <a:lnTo>
                  <a:pt x="248" y="36"/>
                </a:lnTo>
                <a:lnTo>
                  <a:pt x="250" y="40"/>
                </a:lnTo>
                <a:lnTo>
                  <a:pt x="250" y="40"/>
                </a:lnTo>
                <a:lnTo>
                  <a:pt x="256" y="44"/>
                </a:lnTo>
                <a:lnTo>
                  <a:pt x="256" y="44"/>
                </a:lnTo>
                <a:lnTo>
                  <a:pt x="260" y="48"/>
                </a:lnTo>
                <a:lnTo>
                  <a:pt x="260" y="48"/>
                </a:lnTo>
                <a:lnTo>
                  <a:pt x="266" y="50"/>
                </a:lnTo>
                <a:lnTo>
                  <a:pt x="272" y="52"/>
                </a:lnTo>
                <a:lnTo>
                  <a:pt x="272" y="52"/>
                </a:lnTo>
                <a:lnTo>
                  <a:pt x="274" y="56"/>
                </a:lnTo>
                <a:lnTo>
                  <a:pt x="274" y="56"/>
                </a:lnTo>
                <a:lnTo>
                  <a:pt x="270" y="52"/>
                </a:lnTo>
                <a:lnTo>
                  <a:pt x="270" y="52"/>
                </a:lnTo>
                <a:lnTo>
                  <a:pt x="266" y="54"/>
                </a:lnTo>
                <a:lnTo>
                  <a:pt x="264" y="52"/>
                </a:lnTo>
                <a:lnTo>
                  <a:pt x="264" y="52"/>
                </a:lnTo>
                <a:lnTo>
                  <a:pt x="262" y="52"/>
                </a:lnTo>
                <a:lnTo>
                  <a:pt x="260" y="52"/>
                </a:lnTo>
                <a:lnTo>
                  <a:pt x="256" y="58"/>
                </a:lnTo>
                <a:lnTo>
                  <a:pt x="256" y="58"/>
                </a:lnTo>
                <a:lnTo>
                  <a:pt x="252" y="56"/>
                </a:lnTo>
                <a:lnTo>
                  <a:pt x="252" y="56"/>
                </a:lnTo>
                <a:lnTo>
                  <a:pt x="250" y="54"/>
                </a:lnTo>
                <a:lnTo>
                  <a:pt x="250" y="54"/>
                </a:lnTo>
                <a:lnTo>
                  <a:pt x="248" y="54"/>
                </a:lnTo>
                <a:lnTo>
                  <a:pt x="246" y="54"/>
                </a:lnTo>
                <a:lnTo>
                  <a:pt x="246" y="54"/>
                </a:lnTo>
                <a:lnTo>
                  <a:pt x="238" y="46"/>
                </a:lnTo>
                <a:lnTo>
                  <a:pt x="238" y="46"/>
                </a:lnTo>
                <a:lnTo>
                  <a:pt x="238" y="40"/>
                </a:lnTo>
                <a:lnTo>
                  <a:pt x="236" y="40"/>
                </a:lnTo>
                <a:lnTo>
                  <a:pt x="236" y="40"/>
                </a:lnTo>
                <a:lnTo>
                  <a:pt x="232" y="36"/>
                </a:lnTo>
                <a:lnTo>
                  <a:pt x="226" y="30"/>
                </a:lnTo>
                <a:lnTo>
                  <a:pt x="226" y="30"/>
                </a:lnTo>
                <a:lnTo>
                  <a:pt x="216" y="28"/>
                </a:lnTo>
                <a:lnTo>
                  <a:pt x="216" y="28"/>
                </a:lnTo>
                <a:lnTo>
                  <a:pt x="214" y="28"/>
                </a:lnTo>
                <a:lnTo>
                  <a:pt x="214" y="28"/>
                </a:lnTo>
                <a:lnTo>
                  <a:pt x="214" y="36"/>
                </a:lnTo>
                <a:lnTo>
                  <a:pt x="214" y="36"/>
                </a:lnTo>
                <a:lnTo>
                  <a:pt x="216" y="40"/>
                </a:lnTo>
                <a:lnTo>
                  <a:pt x="216" y="40"/>
                </a:lnTo>
                <a:lnTo>
                  <a:pt x="216" y="42"/>
                </a:lnTo>
                <a:lnTo>
                  <a:pt x="214" y="42"/>
                </a:lnTo>
                <a:lnTo>
                  <a:pt x="214" y="42"/>
                </a:lnTo>
                <a:lnTo>
                  <a:pt x="214" y="42"/>
                </a:lnTo>
                <a:lnTo>
                  <a:pt x="214" y="40"/>
                </a:lnTo>
                <a:lnTo>
                  <a:pt x="212" y="40"/>
                </a:lnTo>
                <a:lnTo>
                  <a:pt x="212" y="40"/>
                </a:lnTo>
                <a:lnTo>
                  <a:pt x="212" y="44"/>
                </a:lnTo>
                <a:lnTo>
                  <a:pt x="212" y="44"/>
                </a:lnTo>
                <a:lnTo>
                  <a:pt x="214" y="46"/>
                </a:lnTo>
                <a:lnTo>
                  <a:pt x="214" y="46"/>
                </a:lnTo>
                <a:lnTo>
                  <a:pt x="214" y="50"/>
                </a:lnTo>
                <a:lnTo>
                  <a:pt x="214" y="52"/>
                </a:lnTo>
                <a:lnTo>
                  <a:pt x="214" y="52"/>
                </a:lnTo>
                <a:lnTo>
                  <a:pt x="212" y="54"/>
                </a:lnTo>
                <a:lnTo>
                  <a:pt x="212" y="54"/>
                </a:lnTo>
                <a:lnTo>
                  <a:pt x="210" y="54"/>
                </a:lnTo>
                <a:lnTo>
                  <a:pt x="210" y="54"/>
                </a:lnTo>
                <a:lnTo>
                  <a:pt x="206" y="50"/>
                </a:lnTo>
                <a:lnTo>
                  <a:pt x="200" y="48"/>
                </a:lnTo>
                <a:lnTo>
                  <a:pt x="200" y="48"/>
                </a:lnTo>
                <a:lnTo>
                  <a:pt x="198" y="48"/>
                </a:lnTo>
                <a:lnTo>
                  <a:pt x="198" y="46"/>
                </a:lnTo>
                <a:lnTo>
                  <a:pt x="198" y="46"/>
                </a:lnTo>
                <a:lnTo>
                  <a:pt x="196" y="46"/>
                </a:lnTo>
                <a:lnTo>
                  <a:pt x="196" y="48"/>
                </a:lnTo>
                <a:lnTo>
                  <a:pt x="196" y="48"/>
                </a:lnTo>
                <a:lnTo>
                  <a:pt x="194" y="48"/>
                </a:lnTo>
                <a:lnTo>
                  <a:pt x="192" y="46"/>
                </a:lnTo>
                <a:lnTo>
                  <a:pt x="188" y="44"/>
                </a:lnTo>
                <a:lnTo>
                  <a:pt x="188" y="44"/>
                </a:lnTo>
                <a:lnTo>
                  <a:pt x="186" y="46"/>
                </a:lnTo>
                <a:lnTo>
                  <a:pt x="186" y="46"/>
                </a:lnTo>
                <a:lnTo>
                  <a:pt x="180" y="52"/>
                </a:lnTo>
                <a:lnTo>
                  <a:pt x="180" y="52"/>
                </a:lnTo>
                <a:lnTo>
                  <a:pt x="180" y="52"/>
                </a:lnTo>
                <a:lnTo>
                  <a:pt x="180" y="54"/>
                </a:lnTo>
                <a:lnTo>
                  <a:pt x="180" y="54"/>
                </a:lnTo>
                <a:lnTo>
                  <a:pt x="180" y="54"/>
                </a:lnTo>
                <a:lnTo>
                  <a:pt x="178" y="40"/>
                </a:lnTo>
                <a:lnTo>
                  <a:pt x="176" y="36"/>
                </a:lnTo>
                <a:lnTo>
                  <a:pt x="174" y="34"/>
                </a:lnTo>
                <a:lnTo>
                  <a:pt x="170" y="32"/>
                </a:lnTo>
                <a:lnTo>
                  <a:pt x="170" y="32"/>
                </a:lnTo>
                <a:lnTo>
                  <a:pt x="164" y="36"/>
                </a:lnTo>
                <a:lnTo>
                  <a:pt x="164" y="40"/>
                </a:lnTo>
                <a:lnTo>
                  <a:pt x="164" y="40"/>
                </a:lnTo>
                <a:lnTo>
                  <a:pt x="160" y="36"/>
                </a:lnTo>
                <a:lnTo>
                  <a:pt x="160" y="36"/>
                </a:lnTo>
                <a:lnTo>
                  <a:pt x="158" y="36"/>
                </a:lnTo>
                <a:lnTo>
                  <a:pt x="158" y="36"/>
                </a:lnTo>
                <a:lnTo>
                  <a:pt x="158" y="36"/>
                </a:lnTo>
                <a:lnTo>
                  <a:pt x="156" y="40"/>
                </a:lnTo>
                <a:lnTo>
                  <a:pt x="156" y="40"/>
                </a:lnTo>
                <a:lnTo>
                  <a:pt x="154" y="40"/>
                </a:lnTo>
                <a:lnTo>
                  <a:pt x="154" y="40"/>
                </a:lnTo>
                <a:lnTo>
                  <a:pt x="154" y="38"/>
                </a:lnTo>
                <a:lnTo>
                  <a:pt x="152" y="36"/>
                </a:lnTo>
                <a:lnTo>
                  <a:pt x="152" y="36"/>
                </a:lnTo>
                <a:lnTo>
                  <a:pt x="146" y="38"/>
                </a:lnTo>
                <a:lnTo>
                  <a:pt x="140" y="38"/>
                </a:lnTo>
                <a:lnTo>
                  <a:pt x="140" y="38"/>
                </a:lnTo>
                <a:lnTo>
                  <a:pt x="134" y="40"/>
                </a:lnTo>
                <a:lnTo>
                  <a:pt x="126" y="40"/>
                </a:lnTo>
                <a:lnTo>
                  <a:pt x="126" y="40"/>
                </a:lnTo>
                <a:lnTo>
                  <a:pt x="120" y="44"/>
                </a:lnTo>
                <a:lnTo>
                  <a:pt x="120" y="44"/>
                </a:lnTo>
                <a:lnTo>
                  <a:pt x="116" y="44"/>
                </a:lnTo>
                <a:lnTo>
                  <a:pt x="116" y="44"/>
                </a:lnTo>
                <a:lnTo>
                  <a:pt x="118" y="46"/>
                </a:lnTo>
                <a:lnTo>
                  <a:pt x="118" y="46"/>
                </a:lnTo>
                <a:lnTo>
                  <a:pt x="120" y="50"/>
                </a:lnTo>
                <a:lnTo>
                  <a:pt x="120" y="54"/>
                </a:lnTo>
                <a:lnTo>
                  <a:pt x="120" y="54"/>
                </a:lnTo>
                <a:lnTo>
                  <a:pt x="122" y="56"/>
                </a:lnTo>
                <a:lnTo>
                  <a:pt x="122" y="56"/>
                </a:lnTo>
                <a:lnTo>
                  <a:pt x="118" y="52"/>
                </a:lnTo>
                <a:lnTo>
                  <a:pt x="118" y="52"/>
                </a:lnTo>
                <a:lnTo>
                  <a:pt x="116" y="48"/>
                </a:lnTo>
                <a:lnTo>
                  <a:pt x="114" y="46"/>
                </a:lnTo>
                <a:lnTo>
                  <a:pt x="114" y="46"/>
                </a:lnTo>
                <a:lnTo>
                  <a:pt x="110" y="44"/>
                </a:lnTo>
                <a:lnTo>
                  <a:pt x="110" y="44"/>
                </a:lnTo>
                <a:lnTo>
                  <a:pt x="108" y="44"/>
                </a:lnTo>
                <a:lnTo>
                  <a:pt x="106" y="46"/>
                </a:lnTo>
                <a:lnTo>
                  <a:pt x="106" y="46"/>
                </a:lnTo>
                <a:lnTo>
                  <a:pt x="102" y="54"/>
                </a:lnTo>
                <a:lnTo>
                  <a:pt x="102" y="54"/>
                </a:lnTo>
                <a:lnTo>
                  <a:pt x="102" y="54"/>
                </a:lnTo>
                <a:lnTo>
                  <a:pt x="102" y="56"/>
                </a:lnTo>
                <a:lnTo>
                  <a:pt x="102" y="56"/>
                </a:lnTo>
                <a:lnTo>
                  <a:pt x="106" y="60"/>
                </a:lnTo>
                <a:lnTo>
                  <a:pt x="106" y="60"/>
                </a:lnTo>
                <a:lnTo>
                  <a:pt x="104" y="62"/>
                </a:lnTo>
                <a:lnTo>
                  <a:pt x="104" y="62"/>
                </a:lnTo>
                <a:lnTo>
                  <a:pt x="102" y="62"/>
                </a:lnTo>
                <a:lnTo>
                  <a:pt x="102" y="62"/>
                </a:lnTo>
                <a:lnTo>
                  <a:pt x="102" y="60"/>
                </a:lnTo>
                <a:lnTo>
                  <a:pt x="100" y="58"/>
                </a:lnTo>
                <a:lnTo>
                  <a:pt x="100" y="58"/>
                </a:lnTo>
                <a:lnTo>
                  <a:pt x="90" y="56"/>
                </a:lnTo>
                <a:lnTo>
                  <a:pt x="90" y="56"/>
                </a:lnTo>
                <a:lnTo>
                  <a:pt x="84" y="58"/>
                </a:lnTo>
                <a:lnTo>
                  <a:pt x="78" y="60"/>
                </a:lnTo>
                <a:lnTo>
                  <a:pt x="68" y="66"/>
                </a:lnTo>
                <a:lnTo>
                  <a:pt x="68" y="66"/>
                </a:lnTo>
                <a:lnTo>
                  <a:pt x="58" y="68"/>
                </a:lnTo>
                <a:lnTo>
                  <a:pt x="54" y="68"/>
                </a:lnTo>
                <a:lnTo>
                  <a:pt x="52" y="70"/>
                </a:lnTo>
                <a:lnTo>
                  <a:pt x="52" y="70"/>
                </a:lnTo>
                <a:lnTo>
                  <a:pt x="50" y="74"/>
                </a:lnTo>
                <a:lnTo>
                  <a:pt x="50" y="74"/>
                </a:lnTo>
                <a:lnTo>
                  <a:pt x="48" y="78"/>
                </a:lnTo>
                <a:lnTo>
                  <a:pt x="50" y="80"/>
                </a:lnTo>
                <a:lnTo>
                  <a:pt x="50" y="80"/>
                </a:lnTo>
                <a:lnTo>
                  <a:pt x="56" y="78"/>
                </a:lnTo>
                <a:lnTo>
                  <a:pt x="62" y="78"/>
                </a:lnTo>
                <a:lnTo>
                  <a:pt x="62" y="78"/>
                </a:lnTo>
                <a:lnTo>
                  <a:pt x="66" y="82"/>
                </a:lnTo>
                <a:lnTo>
                  <a:pt x="66" y="82"/>
                </a:lnTo>
                <a:lnTo>
                  <a:pt x="70" y="78"/>
                </a:lnTo>
                <a:lnTo>
                  <a:pt x="70" y="78"/>
                </a:lnTo>
                <a:lnTo>
                  <a:pt x="74" y="80"/>
                </a:lnTo>
                <a:lnTo>
                  <a:pt x="74" y="80"/>
                </a:lnTo>
                <a:lnTo>
                  <a:pt x="82" y="78"/>
                </a:lnTo>
                <a:lnTo>
                  <a:pt x="82" y="78"/>
                </a:lnTo>
                <a:lnTo>
                  <a:pt x="80" y="80"/>
                </a:lnTo>
                <a:lnTo>
                  <a:pt x="82" y="84"/>
                </a:lnTo>
                <a:lnTo>
                  <a:pt x="82" y="84"/>
                </a:lnTo>
                <a:lnTo>
                  <a:pt x="80" y="86"/>
                </a:lnTo>
                <a:lnTo>
                  <a:pt x="78" y="86"/>
                </a:lnTo>
                <a:lnTo>
                  <a:pt x="78" y="86"/>
                </a:lnTo>
                <a:lnTo>
                  <a:pt x="80" y="88"/>
                </a:lnTo>
                <a:lnTo>
                  <a:pt x="80" y="92"/>
                </a:lnTo>
                <a:lnTo>
                  <a:pt x="70" y="100"/>
                </a:lnTo>
                <a:lnTo>
                  <a:pt x="70" y="100"/>
                </a:lnTo>
                <a:lnTo>
                  <a:pt x="68" y="100"/>
                </a:lnTo>
                <a:lnTo>
                  <a:pt x="68" y="100"/>
                </a:lnTo>
                <a:lnTo>
                  <a:pt x="66" y="104"/>
                </a:lnTo>
                <a:lnTo>
                  <a:pt x="66" y="104"/>
                </a:lnTo>
                <a:lnTo>
                  <a:pt x="64" y="102"/>
                </a:lnTo>
                <a:lnTo>
                  <a:pt x="62" y="100"/>
                </a:lnTo>
                <a:lnTo>
                  <a:pt x="62" y="100"/>
                </a:lnTo>
                <a:lnTo>
                  <a:pt x="50" y="100"/>
                </a:lnTo>
                <a:lnTo>
                  <a:pt x="50" y="100"/>
                </a:lnTo>
                <a:lnTo>
                  <a:pt x="44" y="104"/>
                </a:lnTo>
                <a:lnTo>
                  <a:pt x="38" y="106"/>
                </a:lnTo>
                <a:lnTo>
                  <a:pt x="38" y="106"/>
                </a:lnTo>
                <a:lnTo>
                  <a:pt x="32" y="104"/>
                </a:lnTo>
                <a:lnTo>
                  <a:pt x="32" y="104"/>
                </a:lnTo>
                <a:lnTo>
                  <a:pt x="22" y="106"/>
                </a:lnTo>
                <a:lnTo>
                  <a:pt x="22" y="106"/>
                </a:lnTo>
                <a:lnTo>
                  <a:pt x="16" y="106"/>
                </a:lnTo>
                <a:lnTo>
                  <a:pt x="16" y="108"/>
                </a:lnTo>
                <a:lnTo>
                  <a:pt x="16" y="108"/>
                </a:lnTo>
                <a:lnTo>
                  <a:pt x="12" y="108"/>
                </a:lnTo>
                <a:lnTo>
                  <a:pt x="6" y="108"/>
                </a:lnTo>
                <a:lnTo>
                  <a:pt x="6" y="108"/>
                </a:lnTo>
                <a:lnTo>
                  <a:pt x="2" y="114"/>
                </a:lnTo>
                <a:lnTo>
                  <a:pt x="2" y="114"/>
                </a:lnTo>
                <a:lnTo>
                  <a:pt x="2" y="116"/>
                </a:lnTo>
                <a:lnTo>
                  <a:pt x="2" y="116"/>
                </a:lnTo>
                <a:lnTo>
                  <a:pt x="4" y="116"/>
                </a:lnTo>
                <a:lnTo>
                  <a:pt x="4" y="116"/>
                </a:lnTo>
                <a:lnTo>
                  <a:pt x="6" y="120"/>
                </a:lnTo>
                <a:lnTo>
                  <a:pt x="6" y="120"/>
                </a:lnTo>
                <a:lnTo>
                  <a:pt x="8" y="122"/>
                </a:lnTo>
                <a:lnTo>
                  <a:pt x="8" y="122"/>
                </a:lnTo>
                <a:lnTo>
                  <a:pt x="8" y="124"/>
                </a:lnTo>
                <a:lnTo>
                  <a:pt x="8" y="124"/>
                </a:lnTo>
                <a:lnTo>
                  <a:pt x="14" y="124"/>
                </a:lnTo>
                <a:lnTo>
                  <a:pt x="14" y="126"/>
                </a:lnTo>
                <a:lnTo>
                  <a:pt x="14" y="126"/>
                </a:lnTo>
                <a:lnTo>
                  <a:pt x="14" y="126"/>
                </a:lnTo>
                <a:lnTo>
                  <a:pt x="16" y="126"/>
                </a:lnTo>
                <a:lnTo>
                  <a:pt x="16" y="126"/>
                </a:lnTo>
                <a:lnTo>
                  <a:pt x="16" y="128"/>
                </a:lnTo>
                <a:lnTo>
                  <a:pt x="16" y="128"/>
                </a:lnTo>
                <a:lnTo>
                  <a:pt x="22" y="128"/>
                </a:lnTo>
                <a:lnTo>
                  <a:pt x="22" y="128"/>
                </a:lnTo>
                <a:lnTo>
                  <a:pt x="30" y="130"/>
                </a:lnTo>
                <a:lnTo>
                  <a:pt x="30" y="128"/>
                </a:lnTo>
                <a:lnTo>
                  <a:pt x="32" y="124"/>
                </a:lnTo>
                <a:lnTo>
                  <a:pt x="32" y="124"/>
                </a:lnTo>
                <a:lnTo>
                  <a:pt x="36" y="124"/>
                </a:lnTo>
                <a:lnTo>
                  <a:pt x="36" y="124"/>
                </a:lnTo>
                <a:lnTo>
                  <a:pt x="38" y="130"/>
                </a:lnTo>
                <a:lnTo>
                  <a:pt x="38" y="130"/>
                </a:lnTo>
                <a:lnTo>
                  <a:pt x="50" y="128"/>
                </a:lnTo>
                <a:lnTo>
                  <a:pt x="64" y="128"/>
                </a:lnTo>
                <a:lnTo>
                  <a:pt x="64" y="128"/>
                </a:lnTo>
                <a:lnTo>
                  <a:pt x="66" y="132"/>
                </a:lnTo>
                <a:lnTo>
                  <a:pt x="66" y="132"/>
                </a:lnTo>
                <a:lnTo>
                  <a:pt x="62" y="132"/>
                </a:lnTo>
                <a:lnTo>
                  <a:pt x="62" y="134"/>
                </a:lnTo>
                <a:lnTo>
                  <a:pt x="60" y="134"/>
                </a:lnTo>
                <a:lnTo>
                  <a:pt x="60" y="134"/>
                </a:lnTo>
                <a:lnTo>
                  <a:pt x="58" y="132"/>
                </a:lnTo>
                <a:lnTo>
                  <a:pt x="58" y="132"/>
                </a:lnTo>
                <a:lnTo>
                  <a:pt x="46" y="132"/>
                </a:lnTo>
                <a:lnTo>
                  <a:pt x="46" y="134"/>
                </a:lnTo>
                <a:lnTo>
                  <a:pt x="46" y="134"/>
                </a:lnTo>
                <a:lnTo>
                  <a:pt x="38" y="132"/>
                </a:lnTo>
                <a:lnTo>
                  <a:pt x="38" y="132"/>
                </a:lnTo>
                <a:lnTo>
                  <a:pt x="24" y="138"/>
                </a:lnTo>
                <a:lnTo>
                  <a:pt x="24" y="138"/>
                </a:lnTo>
                <a:lnTo>
                  <a:pt x="24" y="140"/>
                </a:lnTo>
                <a:lnTo>
                  <a:pt x="24" y="140"/>
                </a:lnTo>
                <a:lnTo>
                  <a:pt x="28" y="140"/>
                </a:lnTo>
                <a:lnTo>
                  <a:pt x="28" y="140"/>
                </a:lnTo>
                <a:lnTo>
                  <a:pt x="20" y="140"/>
                </a:lnTo>
                <a:lnTo>
                  <a:pt x="20" y="140"/>
                </a:lnTo>
                <a:lnTo>
                  <a:pt x="16" y="140"/>
                </a:lnTo>
                <a:lnTo>
                  <a:pt x="16" y="138"/>
                </a:lnTo>
                <a:lnTo>
                  <a:pt x="14" y="138"/>
                </a:lnTo>
                <a:lnTo>
                  <a:pt x="8" y="140"/>
                </a:lnTo>
                <a:lnTo>
                  <a:pt x="8" y="140"/>
                </a:lnTo>
                <a:lnTo>
                  <a:pt x="12" y="146"/>
                </a:lnTo>
                <a:lnTo>
                  <a:pt x="12" y="146"/>
                </a:lnTo>
                <a:lnTo>
                  <a:pt x="14" y="146"/>
                </a:lnTo>
                <a:lnTo>
                  <a:pt x="16" y="146"/>
                </a:lnTo>
                <a:lnTo>
                  <a:pt x="16" y="146"/>
                </a:lnTo>
                <a:lnTo>
                  <a:pt x="18" y="148"/>
                </a:lnTo>
                <a:lnTo>
                  <a:pt x="18" y="148"/>
                </a:lnTo>
                <a:lnTo>
                  <a:pt x="22" y="148"/>
                </a:lnTo>
                <a:lnTo>
                  <a:pt x="26" y="148"/>
                </a:lnTo>
                <a:lnTo>
                  <a:pt x="26" y="148"/>
                </a:lnTo>
                <a:lnTo>
                  <a:pt x="22" y="152"/>
                </a:lnTo>
                <a:lnTo>
                  <a:pt x="22" y="152"/>
                </a:lnTo>
                <a:lnTo>
                  <a:pt x="26" y="156"/>
                </a:lnTo>
                <a:lnTo>
                  <a:pt x="28" y="158"/>
                </a:lnTo>
                <a:lnTo>
                  <a:pt x="30" y="160"/>
                </a:lnTo>
                <a:lnTo>
                  <a:pt x="30" y="160"/>
                </a:lnTo>
                <a:lnTo>
                  <a:pt x="32" y="160"/>
                </a:lnTo>
                <a:lnTo>
                  <a:pt x="36" y="160"/>
                </a:lnTo>
                <a:lnTo>
                  <a:pt x="36" y="160"/>
                </a:lnTo>
                <a:lnTo>
                  <a:pt x="46" y="162"/>
                </a:lnTo>
                <a:lnTo>
                  <a:pt x="46" y="162"/>
                </a:lnTo>
                <a:lnTo>
                  <a:pt x="44" y="156"/>
                </a:lnTo>
                <a:lnTo>
                  <a:pt x="46" y="152"/>
                </a:lnTo>
                <a:lnTo>
                  <a:pt x="46" y="152"/>
                </a:lnTo>
                <a:lnTo>
                  <a:pt x="54" y="156"/>
                </a:lnTo>
                <a:lnTo>
                  <a:pt x="54" y="156"/>
                </a:lnTo>
                <a:lnTo>
                  <a:pt x="54" y="154"/>
                </a:lnTo>
                <a:lnTo>
                  <a:pt x="54" y="154"/>
                </a:lnTo>
                <a:lnTo>
                  <a:pt x="58" y="152"/>
                </a:lnTo>
                <a:lnTo>
                  <a:pt x="64" y="152"/>
                </a:lnTo>
                <a:lnTo>
                  <a:pt x="64" y="152"/>
                </a:lnTo>
                <a:lnTo>
                  <a:pt x="64" y="154"/>
                </a:lnTo>
                <a:lnTo>
                  <a:pt x="64" y="154"/>
                </a:lnTo>
                <a:lnTo>
                  <a:pt x="66" y="156"/>
                </a:lnTo>
                <a:lnTo>
                  <a:pt x="68" y="158"/>
                </a:lnTo>
                <a:lnTo>
                  <a:pt x="68" y="158"/>
                </a:lnTo>
                <a:lnTo>
                  <a:pt x="70" y="154"/>
                </a:lnTo>
                <a:lnTo>
                  <a:pt x="70" y="154"/>
                </a:lnTo>
                <a:lnTo>
                  <a:pt x="74" y="154"/>
                </a:lnTo>
                <a:lnTo>
                  <a:pt x="74" y="154"/>
                </a:lnTo>
                <a:lnTo>
                  <a:pt x="76" y="154"/>
                </a:lnTo>
                <a:lnTo>
                  <a:pt x="76" y="154"/>
                </a:lnTo>
                <a:lnTo>
                  <a:pt x="80" y="154"/>
                </a:lnTo>
                <a:lnTo>
                  <a:pt x="84" y="154"/>
                </a:lnTo>
                <a:lnTo>
                  <a:pt x="84" y="154"/>
                </a:lnTo>
                <a:lnTo>
                  <a:pt x="84" y="152"/>
                </a:lnTo>
                <a:lnTo>
                  <a:pt x="84" y="152"/>
                </a:lnTo>
                <a:lnTo>
                  <a:pt x="90" y="148"/>
                </a:lnTo>
                <a:lnTo>
                  <a:pt x="90" y="148"/>
                </a:lnTo>
                <a:lnTo>
                  <a:pt x="90" y="152"/>
                </a:lnTo>
                <a:lnTo>
                  <a:pt x="90" y="152"/>
                </a:lnTo>
                <a:lnTo>
                  <a:pt x="90" y="156"/>
                </a:lnTo>
                <a:lnTo>
                  <a:pt x="90" y="156"/>
                </a:lnTo>
                <a:lnTo>
                  <a:pt x="96" y="150"/>
                </a:lnTo>
                <a:lnTo>
                  <a:pt x="96" y="150"/>
                </a:lnTo>
                <a:lnTo>
                  <a:pt x="100" y="150"/>
                </a:lnTo>
                <a:lnTo>
                  <a:pt x="102" y="154"/>
                </a:lnTo>
                <a:lnTo>
                  <a:pt x="102" y="154"/>
                </a:lnTo>
                <a:lnTo>
                  <a:pt x="108" y="154"/>
                </a:lnTo>
                <a:lnTo>
                  <a:pt x="116" y="156"/>
                </a:lnTo>
                <a:lnTo>
                  <a:pt x="116" y="156"/>
                </a:lnTo>
                <a:lnTo>
                  <a:pt x="116" y="158"/>
                </a:lnTo>
                <a:lnTo>
                  <a:pt x="116" y="158"/>
                </a:lnTo>
                <a:lnTo>
                  <a:pt x="122" y="162"/>
                </a:lnTo>
                <a:lnTo>
                  <a:pt x="122" y="162"/>
                </a:lnTo>
                <a:lnTo>
                  <a:pt x="124" y="164"/>
                </a:lnTo>
                <a:lnTo>
                  <a:pt x="124" y="164"/>
                </a:lnTo>
                <a:lnTo>
                  <a:pt x="128" y="164"/>
                </a:lnTo>
                <a:lnTo>
                  <a:pt x="132" y="164"/>
                </a:lnTo>
                <a:lnTo>
                  <a:pt x="132" y="164"/>
                </a:lnTo>
                <a:lnTo>
                  <a:pt x="138" y="168"/>
                </a:lnTo>
                <a:lnTo>
                  <a:pt x="138" y="168"/>
                </a:lnTo>
                <a:lnTo>
                  <a:pt x="138" y="170"/>
                </a:lnTo>
                <a:lnTo>
                  <a:pt x="138" y="172"/>
                </a:lnTo>
                <a:lnTo>
                  <a:pt x="138" y="172"/>
                </a:lnTo>
                <a:lnTo>
                  <a:pt x="140" y="172"/>
                </a:lnTo>
                <a:lnTo>
                  <a:pt x="140" y="172"/>
                </a:lnTo>
                <a:lnTo>
                  <a:pt x="146" y="176"/>
                </a:lnTo>
                <a:lnTo>
                  <a:pt x="146" y="176"/>
                </a:lnTo>
                <a:lnTo>
                  <a:pt x="150" y="182"/>
                </a:lnTo>
                <a:lnTo>
                  <a:pt x="150" y="182"/>
                </a:lnTo>
                <a:lnTo>
                  <a:pt x="154" y="182"/>
                </a:lnTo>
                <a:lnTo>
                  <a:pt x="154" y="182"/>
                </a:lnTo>
                <a:lnTo>
                  <a:pt x="156" y="184"/>
                </a:lnTo>
                <a:lnTo>
                  <a:pt x="156" y="184"/>
                </a:lnTo>
                <a:lnTo>
                  <a:pt x="156" y="184"/>
                </a:lnTo>
                <a:lnTo>
                  <a:pt x="156" y="184"/>
                </a:lnTo>
                <a:lnTo>
                  <a:pt x="156" y="184"/>
                </a:lnTo>
                <a:lnTo>
                  <a:pt x="156" y="184"/>
                </a:lnTo>
                <a:lnTo>
                  <a:pt x="156" y="186"/>
                </a:lnTo>
                <a:lnTo>
                  <a:pt x="156" y="186"/>
                </a:lnTo>
                <a:lnTo>
                  <a:pt x="154" y="186"/>
                </a:lnTo>
                <a:lnTo>
                  <a:pt x="154" y="186"/>
                </a:lnTo>
                <a:lnTo>
                  <a:pt x="156" y="190"/>
                </a:lnTo>
                <a:lnTo>
                  <a:pt x="156" y="190"/>
                </a:lnTo>
                <a:lnTo>
                  <a:pt x="154" y="192"/>
                </a:lnTo>
                <a:lnTo>
                  <a:pt x="154" y="192"/>
                </a:lnTo>
                <a:lnTo>
                  <a:pt x="150" y="192"/>
                </a:lnTo>
                <a:lnTo>
                  <a:pt x="150" y="192"/>
                </a:lnTo>
                <a:lnTo>
                  <a:pt x="150" y="194"/>
                </a:lnTo>
                <a:lnTo>
                  <a:pt x="150" y="194"/>
                </a:lnTo>
                <a:lnTo>
                  <a:pt x="156" y="192"/>
                </a:lnTo>
                <a:lnTo>
                  <a:pt x="156" y="192"/>
                </a:lnTo>
                <a:lnTo>
                  <a:pt x="156" y="194"/>
                </a:lnTo>
                <a:lnTo>
                  <a:pt x="156" y="194"/>
                </a:lnTo>
                <a:lnTo>
                  <a:pt x="164" y="202"/>
                </a:lnTo>
                <a:lnTo>
                  <a:pt x="164" y="202"/>
                </a:lnTo>
                <a:lnTo>
                  <a:pt x="164" y="204"/>
                </a:lnTo>
                <a:lnTo>
                  <a:pt x="162" y="204"/>
                </a:lnTo>
                <a:lnTo>
                  <a:pt x="162" y="206"/>
                </a:lnTo>
                <a:lnTo>
                  <a:pt x="162" y="206"/>
                </a:lnTo>
                <a:lnTo>
                  <a:pt x="166" y="208"/>
                </a:lnTo>
                <a:lnTo>
                  <a:pt x="168" y="210"/>
                </a:lnTo>
                <a:lnTo>
                  <a:pt x="168" y="210"/>
                </a:lnTo>
                <a:lnTo>
                  <a:pt x="166" y="214"/>
                </a:lnTo>
                <a:lnTo>
                  <a:pt x="166" y="214"/>
                </a:lnTo>
                <a:lnTo>
                  <a:pt x="170" y="214"/>
                </a:lnTo>
                <a:lnTo>
                  <a:pt x="170" y="214"/>
                </a:lnTo>
                <a:lnTo>
                  <a:pt x="170" y="214"/>
                </a:lnTo>
                <a:lnTo>
                  <a:pt x="170" y="216"/>
                </a:lnTo>
                <a:lnTo>
                  <a:pt x="170" y="216"/>
                </a:lnTo>
                <a:lnTo>
                  <a:pt x="170" y="216"/>
                </a:lnTo>
                <a:lnTo>
                  <a:pt x="170" y="218"/>
                </a:lnTo>
                <a:lnTo>
                  <a:pt x="170" y="218"/>
                </a:lnTo>
                <a:lnTo>
                  <a:pt x="168" y="220"/>
                </a:lnTo>
                <a:lnTo>
                  <a:pt x="170" y="222"/>
                </a:lnTo>
                <a:lnTo>
                  <a:pt x="170" y="222"/>
                </a:lnTo>
                <a:lnTo>
                  <a:pt x="170" y="222"/>
                </a:lnTo>
                <a:lnTo>
                  <a:pt x="162" y="224"/>
                </a:lnTo>
                <a:lnTo>
                  <a:pt x="162" y="224"/>
                </a:lnTo>
                <a:lnTo>
                  <a:pt x="162" y="224"/>
                </a:lnTo>
                <a:lnTo>
                  <a:pt x="164" y="224"/>
                </a:lnTo>
                <a:lnTo>
                  <a:pt x="164" y="224"/>
                </a:lnTo>
                <a:lnTo>
                  <a:pt x="164" y="228"/>
                </a:lnTo>
                <a:lnTo>
                  <a:pt x="162" y="230"/>
                </a:lnTo>
                <a:lnTo>
                  <a:pt x="162" y="230"/>
                </a:lnTo>
                <a:lnTo>
                  <a:pt x="160" y="232"/>
                </a:lnTo>
                <a:lnTo>
                  <a:pt x="160" y="232"/>
                </a:lnTo>
                <a:lnTo>
                  <a:pt x="160" y="234"/>
                </a:lnTo>
                <a:lnTo>
                  <a:pt x="160" y="234"/>
                </a:lnTo>
                <a:lnTo>
                  <a:pt x="164" y="234"/>
                </a:lnTo>
                <a:lnTo>
                  <a:pt x="164" y="234"/>
                </a:lnTo>
                <a:lnTo>
                  <a:pt x="162" y="238"/>
                </a:lnTo>
                <a:lnTo>
                  <a:pt x="162" y="238"/>
                </a:lnTo>
                <a:lnTo>
                  <a:pt x="160" y="238"/>
                </a:lnTo>
                <a:lnTo>
                  <a:pt x="160" y="240"/>
                </a:lnTo>
                <a:lnTo>
                  <a:pt x="160" y="240"/>
                </a:lnTo>
                <a:lnTo>
                  <a:pt x="166" y="244"/>
                </a:lnTo>
                <a:lnTo>
                  <a:pt x="168" y="244"/>
                </a:lnTo>
                <a:lnTo>
                  <a:pt x="172" y="242"/>
                </a:lnTo>
                <a:lnTo>
                  <a:pt x="172" y="242"/>
                </a:lnTo>
                <a:lnTo>
                  <a:pt x="174" y="236"/>
                </a:lnTo>
                <a:lnTo>
                  <a:pt x="176" y="236"/>
                </a:lnTo>
                <a:lnTo>
                  <a:pt x="176" y="236"/>
                </a:lnTo>
                <a:lnTo>
                  <a:pt x="176" y="240"/>
                </a:lnTo>
                <a:lnTo>
                  <a:pt x="176" y="240"/>
                </a:lnTo>
                <a:lnTo>
                  <a:pt x="184" y="240"/>
                </a:lnTo>
                <a:lnTo>
                  <a:pt x="192" y="242"/>
                </a:lnTo>
                <a:lnTo>
                  <a:pt x="192" y="242"/>
                </a:lnTo>
                <a:lnTo>
                  <a:pt x="192" y="242"/>
                </a:lnTo>
                <a:lnTo>
                  <a:pt x="192" y="242"/>
                </a:lnTo>
                <a:lnTo>
                  <a:pt x="192" y="244"/>
                </a:lnTo>
                <a:lnTo>
                  <a:pt x="192" y="244"/>
                </a:lnTo>
                <a:lnTo>
                  <a:pt x="200" y="244"/>
                </a:lnTo>
                <a:lnTo>
                  <a:pt x="200" y="244"/>
                </a:lnTo>
                <a:lnTo>
                  <a:pt x="202" y="242"/>
                </a:lnTo>
                <a:lnTo>
                  <a:pt x="202" y="242"/>
                </a:lnTo>
                <a:lnTo>
                  <a:pt x="204" y="242"/>
                </a:lnTo>
                <a:lnTo>
                  <a:pt x="204" y="242"/>
                </a:lnTo>
                <a:lnTo>
                  <a:pt x="200" y="246"/>
                </a:lnTo>
                <a:lnTo>
                  <a:pt x="200" y="246"/>
                </a:lnTo>
                <a:lnTo>
                  <a:pt x="198" y="246"/>
                </a:lnTo>
                <a:lnTo>
                  <a:pt x="202" y="248"/>
                </a:lnTo>
                <a:lnTo>
                  <a:pt x="208" y="248"/>
                </a:lnTo>
                <a:lnTo>
                  <a:pt x="208" y="248"/>
                </a:lnTo>
                <a:lnTo>
                  <a:pt x="208" y="250"/>
                </a:lnTo>
                <a:lnTo>
                  <a:pt x="208" y="250"/>
                </a:lnTo>
                <a:lnTo>
                  <a:pt x="202" y="250"/>
                </a:lnTo>
                <a:lnTo>
                  <a:pt x="202" y="250"/>
                </a:lnTo>
                <a:lnTo>
                  <a:pt x="206" y="252"/>
                </a:lnTo>
                <a:lnTo>
                  <a:pt x="206" y="252"/>
                </a:lnTo>
                <a:lnTo>
                  <a:pt x="208" y="254"/>
                </a:lnTo>
                <a:lnTo>
                  <a:pt x="206" y="254"/>
                </a:lnTo>
                <a:lnTo>
                  <a:pt x="202" y="254"/>
                </a:lnTo>
                <a:lnTo>
                  <a:pt x="202" y="256"/>
                </a:lnTo>
                <a:lnTo>
                  <a:pt x="202" y="256"/>
                </a:lnTo>
                <a:lnTo>
                  <a:pt x="202" y="256"/>
                </a:lnTo>
                <a:lnTo>
                  <a:pt x="202" y="256"/>
                </a:lnTo>
                <a:lnTo>
                  <a:pt x="206" y="256"/>
                </a:lnTo>
                <a:lnTo>
                  <a:pt x="206" y="256"/>
                </a:lnTo>
                <a:lnTo>
                  <a:pt x="208" y="258"/>
                </a:lnTo>
                <a:lnTo>
                  <a:pt x="208" y="258"/>
                </a:lnTo>
                <a:lnTo>
                  <a:pt x="208" y="258"/>
                </a:lnTo>
                <a:lnTo>
                  <a:pt x="204" y="260"/>
                </a:lnTo>
                <a:lnTo>
                  <a:pt x="202" y="260"/>
                </a:lnTo>
                <a:lnTo>
                  <a:pt x="208" y="264"/>
                </a:lnTo>
                <a:lnTo>
                  <a:pt x="208" y="264"/>
                </a:lnTo>
                <a:lnTo>
                  <a:pt x="208" y="266"/>
                </a:lnTo>
                <a:lnTo>
                  <a:pt x="208" y="266"/>
                </a:lnTo>
                <a:lnTo>
                  <a:pt x="200" y="264"/>
                </a:lnTo>
                <a:lnTo>
                  <a:pt x="194" y="260"/>
                </a:lnTo>
                <a:lnTo>
                  <a:pt x="194" y="260"/>
                </a:lnTo>
                <a:lnTo>
                  <a:pt x="190" y="258"/>
                </a:lnTo>
                <a:lnTo>
                  <a:pt x="190" y="258"/>
                </a:lnTo>
                <a:lnTo>
                  <a:pt x="180" y="256"/>
                </a:lnTo>
                <a:lnTo>
                  <a:pt x="170" y="256"/>
                </a:lnTo>
                <a:lnTo>
                  <a:pt x="170" y="256"/>
                </a:lnTo>
                <a:lnTo>
                  <a:pt x="168" y="258"/>
                </a:lnTo>
                <a:lnTo>
                  <a:pt x="168" y="258"/>
                </a:lnTo>
                <a:lnTo>
                  <a:pt x="170" y="262"/>
                </a:lnTo>
                <a:lnTo>
                  <a:pt x="170" y="262"/>
                </a:lnTo>
                <a:lnTo>
                  <a:pt x="174" y="262"/>
                </a:lnTo>
                <a:lnTo>
                  <a:pt x="174" y="262"/>
                </a:lnTo>
                <a:lnTo>
                  <a:pt x="174" y="262"/>
                </a:lnTo>
                <a:lnTo>
                  <a:pt x="178" y="264"/>
                </a:lnTo>
                <a:lnTo>
                  <a:pt x="178" y="266"/>
                </a:lnTo>
                <a:lnTo>
                  <a:pt x="178" y="266"/>
                </a:lnTo>
                <a:lnTo>
                  <a:pt x="178" y="266"/>
                </a:lnTo>
                <a:lnTo>
                  <a:pt x="176" y="268"/>
                </a:lnTo>
                <a:lnTo>
                  <a:pt x="172" y="266"/>
                </a:lnTo>
                <a:lnTo>
                  <a:pt x="172" y="266"/>
                </a:lnTo>
                <a:lnTo>
                  <a:pt x="168" y="266"/>
                </a:lnTo>
                <a:lnTo>
                  <a:pt x="168" y="266"/>
                </a:lnTo>
                <a:lnTo>
                  <a:pt x="166" y="268"/>
                </a:lnTo>
                <a:lnTo>
                  <a:pt x="166" y="268"/>
                </a:lnTo>
                <a:lnTo>
                  <a:pt x="168" y="274"/>
                </a:lnTo>
                <a:lnTo>
                  <a:pt x="164" y="276"/>
                </a:lnTo>
                <a:lnTo>
                  <a:pt x="164" y="276"/>
                </a:lnTo>
                <a:lnTo>
                  <a:pt x="164" y="280"/>
                </a:lnTo>
                <a:lnTo>
                  <a:pt x="164" y="280"/>
                </a:lnTo>
                <a:lnTo>
                  <a:pt x="162" y="280"/>
                </a:lnTo>
                <a:lnTo>
                  <a:pt x="162" y="282"/>
                </a:lnTo>
                <a:lnTo>
                  <a:pt x="162" y="282"/>
                </a:lnTo>
                <a:lnTo>
                  <a:pt x="164" y="284"/>
                </a:lnTo>
                <a:lnTo>
                  <a:pt x="164" y="284"/>
                </a:lnTo>
                <a:lnTo>
                  <a:pt x="168" y="284"/>
                </a:lnTo>
                <a:lnTo>
                  <a:pt x="170" y="284"/>
                </a:lnTo>
                <a:lnTo>
                  <a:pt x="170" y="284"/>
                </a:lnTo>
                <a:lnTo>
                  <a:pt x="172" y="284"/>
                </a:lnTo>
                <a:lnTo>
                  <a:pt x="174" y="284"/>
                </a:lnTo>
                <a:lnTo>
                  <a:pt x="174" y="284"/>
                </a:lnTo>
                <a:lnTo>
                  <a:pt x="174" y="284"/>
                </a:lnTo>
                <a:lnTo>
                  <a:pt x="176" y="284"/>
                </a:lnTo>
                <a:lnTo>
                  <a:pt x="176" y="284"/>
                </a:lnTo>
                <a:lnTo>
                  <a:pt x="176" y="286"/>
                </a:lnTo>
                <a:lnTo>
                  <a:pt x="168" y="286"/>
                </a:lnTo>
                <a:lnTo>
                  <a:pt x="168" y="288"/>
                </a:lnTo>
                <a:lnTo>
                  <a:pt x="168" y="288"/>
                </a:lnTo>
                <a:lnTo>
                  <a:pt x="172" y="292"/>
                </a:lnTo>
                <a:lnTo>
                  <a:pt x="172" y="292"/>
                </a:lnTo>
                <a:lnTo>
                  <a:pt x="178" y="290"/>
                </a:lnTo>
                <a:lnTo>
                  <a:pt x="180" y="290"/>
                </a:lnTo>
                <a:lnTo>
                  <a:pt x="180" y="290"/>
                </a:lnTo>
                <a:lnTo>
                  <a:pt x="186" y="288"/>
                </a:lnTo>
                <a:lnTo>
                  <a:pt x="194" y="284"/>
                </a:lnTo>
                <a:lnTo>
                  <a:pt x="194" y="284"/>
                </a:lnTo>
                <a:lnTo>
                  <a:pt x="194" y="280"/>
                </a:lnTo>
                <a:lnTo>
                  <a:pt x="194" y="280"/>
                </a:lnTo>
                <a:lnTo>
                  <a:pt x="188" y="276"/>
                </a:lnTo>
                <a:lnTo>
                  <a:pt x="188" y="276"/>
                </a:lnTo>
                <a:lnTo>
                  <a:pt x="186" y="270"/>
                </a:lnTo>
                <a:lnTo>
                  <a:pt x="186" y="270"/>
                </a:lnTo>
                <a:lnTo>
                  <a:pt x="180" y="268"/>
                </a:lnTo>
                <a:lnTo>
                  <a:pt x="180" y="268"/>
                </a:lnTo>
                <a:lnTo>
                  <a:pt x="180" y="266"/>
                </a:lnTo>
                <a:lnTo>
                  <a:pt x="178" y="264"/>
                </a:lnTo>
                <a:lnTo>
                  <a:pt x="178" y="264"/>
                </a:lnTo>
                <a:lnTo>
                  <a:pt x="184" y="266"/>
                </a:lnTo>
                <a:lnTo>
                  <a:pt x="188" y="268"/>
                </a:lnTo>
                <a:lnTo>
                  <a:pt x="188" y="268"/>
                </a:lnTo>
                <a:lnTo>
                  <a:pt x="192" y="272"/>
                </a:lnTo>
                <a:lnTo>
                  <a:pt x="194" y="272"/>
                </a:lnTo>
                <a:lnTo>
                  <a:pt x="198" y="272"/>
                </a:lnTo>
                <a:lnTo>
                  <a:pt x="198" y="272"/>
                </a:lnTo>
                <a:lnTo>
                  <a:pt x="200" y="270"/>
                </a:lnTo>
                <a:lnTo>
                  <a:pt x="202" y="272"/>
                </a:lnTo>
                <a:lnTo>
                  <a:pt x="202" y="272"/>
                </a:lnTo>
                <a:lnTo>
                  <a:pt x="208" y="272"/>
                </a:lnTo>
                <a:lnTo>
                  <a:pt x="208" y="272"/>
                </a:lnTo>
                <a:lnTo>
                  <a:pt x="208" y="272"/>
                </a:lnTo>
                <a:lnTo>
                  <a:pt x="208" y="274"/>
                </a:lnTo>
                <a:lnTo>
                  <a:pt x="208" y="274"/>
                </a:lnTo>
                <a:lnTo>
                  <a:pt x="208" y="276"/>
                </a:lnTo>
                <a:lnTo>
                  <a:pt x="208" y="278"/>
                </a:lnTo>
                <a:lnTo>
                  <a:pt x="208" y="278"/>
                </a:lnTo>
                <a:lnTo>
                  <a:pt x="206" y="278"/>
                </a:lnTo>
                <a:lnTo>
                  <a:pt x="206" y="278"/>
                </a:lnTo>
                <a:lnTo>
                  <a:pt x="206" y="282"/>
                </a:lnTo>
                <a:lnTo>
                  <a:pt x="206" y="282"/>
                </a:lnTo>
                <a:lnTo>
                  <a:pt x="208" y="282"/>
                </a:lnTo>
                <a:lnTo>
                  <a:pt x="208" y="282"/>
                </a:lnTo>
                <a:lnTo>
                  <a:pt x="206" y="284"/>
                </a:lnTo>
                <a:lnTo>
                  <a:pt x="206" y="286"/>
                </a:lnTo>
                <a:lnTo>
                  <a:pt x="206" y="286"/>
                </a:lnTo>
                <a:lnTo>
                  <a:pt x="210" y="286"/>
                </a:lnTo>
                <a:lnTo>
                  <a:pt x="210" y="290"/>
                </a:lnTo>
                <a:lnTo>
                  <a:pt x="210" y="290"/>
                </a:lnTo>
                <a:lnTo>
                  <a:pt x="212" y="290"/>
                </a:lnTo>
                <a:lnTo>
                  <a:pt x="212" y="290"/>
                </a:lnTo>
                <a:lnTo>
                  <a:pt x="212" y="292"/>
                </a:lnTo>
                <a:lnTo>
                  <a:pt x="212" y="292"/>
                </a:lnTo>
                <a:lnTo>
                  <a:pt x="210" y="294"/>
                </a:lnTo>
                <a:lnTo>
                  <a:pt x="210" y="296"/>
                </a:lnTo>
                <a:lnTo>
                  <a:pt x="208" y="294"/>
                </a:lnTo>
                <a:lnTo>
                  <a:pt x="208" y="294"/>
                </a:lnTo>
                <a:lnTo>
                  <a:pt x="208" y="292"/>
                </a:lnTo>
                <a:lnTo>
                  <a:pt x="208" y="290"/>
                </a:lnTo>
                <a:lnTo>
                  <a:pt x="208" y="290"/>
                </a:lnTo>
                <a:lnTo>
                  <a:pt x="204" y="290"/>
                </a:lnTo>
                <a:lnTo>
                  <a:pt x="204" y="290"/>
                </a:lnTo>
                <a:lnTo>
                  <a:pt x="204" y="298"/>
                </a:lnTo>
                <a:lnTo>
                  <a:pt x="204" y="298"/>
                </a:lnTo>
                <a:lnTo>
                  <a:pt x="204" y="298"/>
                </a:lnTo>
                <a:lnTo>
                  <a:pt x="206" y="300"/>
                </a:lnTo>
                <a:lnTo>
                  <a:pt x="206" y="300"/>
                </a:lnTo>
                <a:lnTo>
                  <a:pt x="206" y="304"/>
                </a:lnTo>
                <a:lnTo>
                  <a:pt x="206" y="304"/>
                </a:lnTo>
                <a:lnTo>
                  <a:pt x="202" y="304"/>
                </a:lnTo>
                <a:lnTo>
                  <a:pt x="196" y="304"/>
                </a:lnTo>
                <a:lnTo>
                  <a:pt x="196" y="304"/>
                </a:lnTo>
                <a:lnTo>
                  <a:pt x="194" y="304"/>
                </a:lnTo>
                <a:lnTo>
                  <a:pt x="194" y="304"/>
                </a:lnTo>
                <a:lnTo>
                  <a:pt x="194" y="304"/>
                </a:lnTo>
                <a:lnTo>
                  <a:pt x="194" y="306"/>
                </a:lnTo>
                <a:lnTo>
                  <a:pt x="194" y="306"/>
                </a:lnTo>
                <a:lnTo>
                  <a:pt x="190" y="308"/>
                </a:lnTo>
                <a:lnTo>
                  <a:pt x="190" y="308"/>
                </a:lnTo>
                <a:lnTo>
                  <a:pt x="186" y="308"/>
                </a:lnTo>
                <a:lnTo>
                  <a:pt x="186" y="310"/>
                </a:lnTo>
                <a:lnTo>
                  <a:pt x="186" y="310"/>
                </a:lnTo>
                <a:lnTo>
                  <a:pt x="198" y="310"/>
                </a:lnTo>
                <a:lnTo>
                  <a:pt x="202" y="308"/>
                </a:lnTo>
                <a:lnTo>
                  <a:pt x="206" y="306"/>
                </a:lnTo>
                <a:lnTo>
                  <a:pt x="206" y="306"/>
                </a:lnTo>
                <a:lnTo>
                  <a:pt x="208" y="312"/>
                </a:lnTo>
                <a:lnTo>
                  <a:pt x="202" y="312"/>
                </a:lnTo>
                <a:lnTo>
                  <a:pt x="202" y="312"/>
                </a:lnTo>
                <a:lnTo>
                  <a:pt x="198" y="312"/>
                </a:lnTo>
                <a:lnTo>
                  <a:pt x="194" y="312"/>
                </a:lnTo>
                <a:lnTo>
                  <a:pt x="194" y="312"/>
                </a:lnTo>
                <a:lnTo>
                  <a:pt x="192" y="310"/>
                </a:lnTo>
                <a:lnTo>
                  <a:pt x="192" y="310"/>
                </a:lnTo>
                <a:lnTo>
                  <a:pt x="188" y="310"/>
                </a:lnTo>
                <a:lnTo>
                  <a:pt x="188" y="312"/>
                </a:lnTo>
                <a:lnTo>
                  <a:pt x="188" y="312"/>
                </a:lnTo>
                <a:lnTo>
                  <a:pt x="192" y="314"/>
                </a:lnTo>
                <a:lnTo>
                  <a:pt x="194" y="316"/>
                </a:lnTo>
                <a:lnTo>
                  <a:pt x="194" y="316"/>
                </a:lnTo>
                <a:lnTo>
                  <a:pt x="194" y="316"/>
                </a:lnTo>
                <a:lnTo>
                  <a:pt x="192" y="316"/>
                </a:lnTo>
                <a:lnTo>
                  <a:pt x="192" y="316"/>
                </a:lnTo>
                <a:lnTo>
                  <a:pt x="188" y="314"/>
                </a:lnTo>
                <a:lnTo>
                  <a:pt x="188" y="314"/>
                </a:lnTo>
                <a:lnTo>
                  <a:pt x="186" y="314"/>
                </a:lnTo>
                <a:lnTo>
                  <a:pt x="184" y="314"/>
                </a:lnTo>
                <a:lnTo>
                  <a:pt x="182" y="318"/>
                </a:lnTo>
                <a:lnTo>
                  <a:pt x="182" y="318"/>
                </a:lnTo>
                <a:lnTo>
                  <a:pt x="180" y="320"/>
                </a:lnTo>
                <a:lnTo>
                  <a:pt x="180" y="320"/>
                </a:lnTo>
                <a:lnTo>
                  <a:pt x="180" y="324"/>
                </a:lnTo>
                <a:lnTo>
                  <a:pt x="180" y="324"/>
                </a:lnTo>
                <a:lnTo>
                  <a:pt x="186" y="320"/>
                </a:lnTo>
                <a:lnTo>
                  <a:pt x="186" y="318"/>
                </a:lnTo>
                <a:lnTo>
                  <a:pt x="186" y="318"/>
                </a:lnTo>
                <a:lnTo>
                  <a:pt x="190" y="320"/>
                </a:lnTo>
                <a:lnTo>
                  <a:pt x="190" y="320"/>
                </a:lnTo>
                <a:lnTo>
                  <a:pt x="198" y="316"/>
                </a:lnTo>
                <a:lnTo>
                  <a:pt x="198" y="316"/>
                </a:lnTo>
                <a:lnTo>
                  <a:pt x="196" y="318"/>
                </a:lnTo>
                <a:lnTo>
                  <a:pt x="200" y="320"/>
                </a:lnTo>
                <a:lnTo>
                  <a:pt x="200" y="322"/>
                </a:lnTo>
                <a:lnTo>
                  <a:pt x="200" y="322"/>
                </a:lnTo>
                <a:lnTo>
                  <a:pt x="206" y="320"/>
                </a:lnTo>
                <a:lnTo>
                  <a:pt x="206" y="320"/>
                </a:lnTo>
                <a:lnTo>
                  <a:pt x="204" y="316"/>
                </a:lnTo>
                <a:lnTo>
                  <a:pt x="204" y="316"/>
                </a:lnTo>
                <a:lnTo>
                  <a:pt x="210" y="316"/>
                </a:lnTo>
                <a:lnTo>
                  <a:pt x="210" y="316"/>
                </a:lnTo>
                <a:lnTo>
                  <a:pt x="208" y="318"/>
                </a:lnTo>
                <a:lnTo>
                  <a:pt x="208" y="320"/>
                </a:lnTo>
                <a:lnTo>
                  <a:pt x="208" y="318"/>
                </a:lnTo>
                <a:lnTo>
                  <a:pt x="208" y="318"/>
                </a:lnTo>
                <a:lnTo>
                  <a:pt x="208" y="320"/>
                </a:lnTo>
                <a:lnTo>
                  <a:pt x="208" y="320"/>
                </a:lnTo>
                <a:lnTo>
                  <a:pt x="208" y="320"/>
                </a:lnTo>
                <a:lnTo>
                  <a:pt x="206" y="324"/>
                </a:lnTo>
                <a:lnTo>
                  <a:pt x="206" y="324"/>
                </a:lnTo>
                <a:lnTo>
                  <a:pt x="200" y="324"/>
                </a:lnTo>
                <a:lnTo>
                  <a:pt x="200" y="324"/>
                </a:lnTo>
                <a:lnTo>
                  <a:pt x="194" y="322"/>
                </a:lnTo>
                <a:lnTo>
                  <a:pt x="190" y="320"/>
                </a:lnTo>
                <a:lnTo>
                  <a:pt x="186" y="320"/>
                </a:lnTo>
                <a:lnTo>
                  <a:pt x="186" y="320"/>
                </a:lnTo>
                <a:lnTo>
                  <a:pt x="186" y="320"/>
                </a:lnTo>
                <a:lnTo>
                  <a:pt x="184" y="324"/>
                </a:lnTo>
                <a:lnTo>
                  <a:pt x="184" y="326"/>
                </a:lnTo>
                <a:lnTo>
                  <a:pt x="184" y="326"/>
                </a:lnTo>
                <a:lnTo>
                  <a:pt x="180" y="326"/>
                </a:lnTo>
                <a:lnTo>
                  <a:pt x="180" y="326"/>
                </a:lnTo>
                <a:lnTo>
                  <a:pt x="178" y="328"/>
                </a:lnTo>
                <a:lnTo>
                  <a:pt x="178" y="328"/>
                </a:lnTo>
                <a:lnTo>
                  <a:pt x="180" y="330"/>
                </a:lnTo>
                <a:lnTo>
                  <a:pt x="180" y="330"/>
                </a:lnTo>
                <a:lnTo>
                  <a:pt x="180" y="332"/>
                </a:lnTo>
                <a:lnTo>
                  <a:pt x="180" y="332"/>
                </a:lnTo>
                <a:lnTo>
                  <a:pt x="182" y="334"/>
                </a:lnTo>
                <a:lnTo>
                  <a:pt x="184" y="334"/>
                </a:lnTo>
                <a:lnTo>
                  <a:pt x="184" y="334"/>
                </a:lnTo>
                <a:lnTo>
                  <a:pt x="184" y="336"/>
                </a:lnTo>
                <a:lnTo>
                  <a:pt x="186" y="336"/>
                </a:lnTo>
                <a:lnTo>
                  <a:pt x="186" y="336"/>
                </a:lnTo>
                <a:lnTo>
                  <a:pt x="184" y="340"/>
                </a:lnTo>
                <a:lnTo>
                  <a:pt x="184" y="340"/>
                </a:lnTo>
                <a:lnTo>
                  <a:pt x="182" y="340"/>
                </a:lnTo>
                <a:lnTo>
                  <a:pt x="182" y="340"/>
                </a:lnTo>
                <a:lnTo>
                  <a:pt x="182" y="342"/>
                </a:lnTo>
                <a:lnTo>
                  <a:pt x="182" y="344"/>
                </a:lnTo>
                <a:lnTo>
                  <a:pt x="182" y="344"/>
                </a:lnTo>
                <a:lnTo>
                  <a:pt x="184" y="342"/>
                </a:lnTo>
                <a:lnTo>
                  <a:pt x="184" y="342"/>
                </a:lnTo>
                <a:lnTo>
                  <a:pt x="184" y="344"/>
                </a:lnTo>
                <a:lnTo>
                  <a:pt x="184" y="344"/>
                </a:lnTo>
                <a:lnTo>
                  <a:pt x="180" y="344"/>
                </a:lnTo>
                <a:lnTo>
                  <a:pt x="180" y="346"/>
                </a:lnTo>
                <a:lnTo>
                  <a:pt x="180" y="346"/>
                </a:lnTo>
                <a:lnTo>
                  <a:pt x="182" y="350"/>
                </a:lnTo>
                <a:lnTo>
                  <a:pt x="182" y="350"/>
                </a:lnTo>
                <a:lnTo>
                  <a:pt x="188" y="348"/>
                </a:lnTo>
                <a:lnTo>
                  <a:pt x="188" y="348"/>
                </a:lnTo>
                <a:lnTo>
                  <a:pt x="184" y="350"/>
                </a:lnTo>
                <a:lnTo>
                  <a:pt x="184" y="350"/>
                </a:lnTo>
                <a:lnTo>
                  <a:pt x="184" y="354"/>
                </a:lnTo>
                <a:lnTo>
                  <a:pt x="184" y="354"/>
                </a:lnTo>
                <a:lnTo>
                  <a:pt x="188" y="352"/>
                </a:lnTo>
                <a:lnTo>
                  <a:pt x="188" y="352"/>
                </a:lnTo>
                <a:lnTo>
                  <a:pt x="190" y="354"/>
                </a:lnTo>
                <a:lnTo>
                  <a:pt x="192" y="354"/>
                </a:lnTo>
                <a:lnTo>
                  <a:pt x="192" y="354"/>
                </a:lnTo>
                <a:lnTo>
                  <a:pt x="192" y="352"/>
                </a:lnTo>
                <a:lnTo>
                  <a:pt x="192" y="352"/>
                </a:lnTo>
                <a:lnTo>
                  <a:pt x="196" y="350"/>
                </a:lnTo>
                <a:lnTo>
                  <a:pt x="196" y="350"/>
                </a:lnTo>
                <a:lnTo>
                  <a:pt x="190" y="356"/>
                </a:lnTo>
                <a:lnTo>
                  <a:pt x="190" y="356"/>
                </a:lnTo>
                <a:lnTo>
                  <a:pt x="194" y="358"/>
                </a:lnTo>
                <a:lnTo>
                  <a:pt x="194" y="360"/>
                </a:lnTo>
                <a:lnTo>
                  <a:pt x="194" y="360"/>
                </a:lnTo>
                <a:lnTo>
                  <a:pt x="192" y="360"/>
                </a:lnTo>
                <a:lnTo>
                  <a:pt x="192" y="360"/>
                </a:lnTo>
                <a:lnTo>
                  <a:pt x="192" y="364"/>
                </a:lnTo>
                <a:lnTo>
                  <a:pt x="192" y="364"/>
                </a:lnTo>
                <a:lnTo>
                  <a:pt x="196" y="364"/>
                </a:lnTo>
                <a:lnTo>
                  <a:pt x="196" y="364"/>
                </a:lnTo>
                <a:lnTo>
                  <a:pt x="196" y="366"/>
                </a:lnTo>
                <a:lnTo>
                  <a:pt x="196" y="366"/>
                </a:lnTo>
                <a:lnTo>
                  <a:pt x="198" y="366"/>
                </a:lnTo>
                <a:lnTo>
                  <a:pt x="198" y="366"/>
                </a:lnTo>
                <a:lnTo>
                  <a:pt x="196" y="370"/>
                </a:lnTo>
                <a:lnTo>
                  <a:pt x="196" y="374"/>
                </a:lnTo>
                <a:lnTo>
                  <a:pt x="202" y="368"/>
                </a:lnTo>
                <a:lnTo>
                  <a:pt x="202" y="368"/>
                </a:lnTo>
                <a:lnTo>
                  <a:pt x="204" y="368"/>
                </a:lnTo>
                <a:lnTo>
                  <a:pt x="206" y="368"/>
                </a:lnTo>
                <a:lnTo>
                  <a:pt x="206" y="368"/>
                </a:lnTo>
                <a:lnTo>
                  <a:pt x="206" y="366"/>
                </a:lnTo>
                <a:lnTo>
                  <a:pt x="206" y="366"/>
                </a:lnTo>
                <a:lnTo>
                  <a:pt x="208" y="366"/>
                </a:lnTo>
                <a:lnTo>
                  <a:pt x="210" y="366"/>
                </a:lnTo>
                <a:lnTo>
                  <a:pt x="210" y="366"/>
                </a:lnTo>
                <a:lnTo>
                  <a:pt x="210" y="370"/>
                </a:lnTo>
                <a:lnTo>
                  <a:pt x="210" y="372"/>
                </a:lnTo>
                <a:lnTo>
                  <a:pt x="210" y="372"/>
                </a:lnTo>
                <a:lnTo>
                  <a:pt x="208" y="372"/>
                </a:lnTo>
                <a:lnTo>
                  <a:pt x="206" y="370"/>
                </a:lnTo>
                <a:lnTo>
                  <a:pt x="206" y="370"/>
                </a:lnTo>
                <a:lnTo>
                  <a:pt x="206" y="372"/>
                </a:lnTo>
                <a:lnTo>
                  <a:pt x="206" y="372"/>
                </a:lnTo>
                <a:lnTo>
                  <a:pt x="208" y="374"/>
                </a:lnTo>
                <a:lnTo>
                  <a:pt x="208" y="374"/>
                </a:lnTo>
                <a:lnTo>
                  <a:pt x="208" y="374"/>
                </a:lnTo>
                <a:lnTo>
                  <a:pt x="198" y="376"/>
                </a:lnTo>
                <a:lnTo>
                  <a:pt x="198" y="378"/>
                </a:lnTo>
                <a:lnTo>
                  <a:pt x="198" y="378"/>
                </a:lnTo>
                <a:lnTo>
                  <a:pt x="204" y="378"/>
                </a:lnTo>
                <a:lnTo>
                  <a:pt x="204" y="380"/>
                </a:lnTo>
                <a:lnTo>
                  <a:pt x="204" y="380"/>
                </a:lnTo>
                <a:lnTo>
                  <a:pt x="200" y="380"/>
                </a:lnTo>
                <a:lnTo>
                  <a:pt x="200" y="380"/>
                </a:lnTo>
                <a:lnTo>
                  <a:pt x="198" y="380"/>
                </a:lnTo>
                <a:lnTo>
                  <a:pt x="198" y="380"/>
                </a:lnTo>
                <a:lnTo>
                  <a:pt x="198" y="380"/>
                </a:lnTo>
                <a:lnTo>
                  <a:pt x="198" y="380"/>
                </a:lnTo>
                <a:lnTo>
                  <a:pt x="200" y="382"/>
                </a:lnTo>
                <a:lnTo>
                  <a:pt x="200" y="382"/>
                </a:lnTo>
                <a:lnTo>
                  <a:pt x="200" y="382"/>
                </a:lnTo>
                <a:lnTo>
                  <a:pt x="202" y="382"/>
                </a:lnTo>
                <a:lnTo>
                  <a:pt x="200" y="386"/>
                </a:lnTo>
                <a:lnTo>
                  <a:pt x="200" y="386"/>
                </a:lnTo>
                <a:lnTo>
                  <a:pt x="200" y="386"/>
                </a:lnTo>
                <a:lnTo>
                  <a:pt x="202" y="388"/>
                </a:lnTo>
                <a:lnTo>
                  <a:pt x="206" y="386"/>
                </a:lnTo>
                <a:lnTo>
                  <a:pt x="206" y="386"/>
                </a:lnTo>
                <a:lnTo>
                  <a:pt x="206" y="390"/>
                </a:lnTo>
                <a:lnTo>
                  <a:pt x="206" y="390"/>
                </a:lnTo>
                <a:lnTo>
                  <a:pt x="204" y="390"/>
                </a:lnTo>
                <a:lnTo>
                  <a:pt x="204" y="392"/>
                </a:lnTo>
                <a:lnTo>
                  <a:pt x="204" y="392"/>
                </a:lnTo>
                <a:lnTo>
                  <a:pt x="204" y="392"/>
                </a:lnTo>
                <a:lnTo>
                  <a:pt x="208" y="392"/>
                </a:lnTo>
                <a:lnTo>
                  <a:pt x="208" y="392"/>
                </a:lnTo>
                <a:lnTo>
                  <a:pt x="206" y="394"/>
                </a:lnTo>
                <a:lnTo>
                  <a:pt x="206" y="394"/>
                </a:lnTo>
                <a:lnTo>
                  <a:pt x="206" y="398"/>
                </a:lnTo>
                <a:lnTo>
                  <a:pt x="206" y="398"/>
                </a:lnTo>
                <a:lnTo>
                  <a:pt x="208" y="396"/>
                </a:lnTo>
                <a:lnTo>
                  <a:pt x="208" y="396"/>
                </a:lnTo>
                <a:lnTo>
                  <a:pt x="208" y="396"/>
                </a:lnTo>
                <a:lnTo>
                  <a:pt x="208" y="396"/>
                </a:lnTo>
                <a:lnTo>
                  <a:pt x="208" y="394"/>
                </a:lnTo>
                <a:lnTo>
                  <a:pt x="208" y="394"/>
                </a:lnTo>
                <a:lnTo>
                  <a:pt x="212" y="394"/>
                </a:lnTo>
                <a:lnTo>
                  <a:pt x="212" y="394"/>
                </a:lnTo>
                <a:lnTo>
                  <a:pt x="212" y="400"/>
                </a:lnTo>
                <a:lnTo>
                  <a:pt x="212" y="402"/>
                </a:lnTo>
                <a:lnTo>
                  <a:pt x="216" y="400"/>
                </a:lnTo>
                <a:lnTo>
                  <a:pt x="216" y="400"/>
                </a:lnTo>
                <a:lnTo>
                  <a:pt x="216" y="404"/>
                </a:lnTo>
                <a:lnTo>
                  <a:pt x="216" y="406"/>
                </a:lnTo>
                <a:lnTo>
                  <a:pt x="216" y="406"/>
                </a:lnTo>
                <a:lnTo>
                  <a:pt x="218" y="406"/>
                </a:lnTo>
                <a:lnTo>
                  <a:pt x="222" y="404"/>
                </a:lnTo>
                <a:lnTo>
                  <a:pt x="222" y="404"/>
                </a:lnTo>
                <a:lnTo>
                  <a:pt x="224" y="404"/>
                </a:lnTo>
                <a:lnTo>
                  <a:pt x="224" y="404"/>
                </a:lnTo>
                <a:lnTo>
                  <a:pt x="224" y="406"/>
                </a:lnTo>
                <a:lnTo>
                  <a:pt x="224" y="408"/>
                </a:lnTo>
                <a:lnTo>
                  <a:pt x="224" y="408"/>
                </a:lnTo>
                <a:lnTo>
                  <a:pt x="224" y="408"/>
                </a:lnTo>
                <a:lnTo>
                  <a:pt x="224" y="408"/>
                </a:lnTo>
                <a:lnTo>
                  <a:pt x="224" y="410"/>
                </a:lnTo>
                <a:lnTo>
                  <a:pt x="224" y="410"/>
                </a:lnTo>
                <a:lnTo>
                  <a:pt x="228" y="408"/>
                </a:lnTo>
                <a:lnTo>
                  <a:pt x="228" y="408"/>
                </a:lnTo>
                <a:lnTo>
                  <a:pt x="228" y="410"/>
                </a:lnTo>
                <a:lnTo>
                  <a:pt x="228" y="410"/>
                </a:lnTo>
                <a:lnTo>
                  <a:pt x="226" y="412"/>
                </a:lnTo>
                <a:lnTo>
                  <a:pt x="226" y="412"/>
                </a:lnTo>
                <a:lnTo>
                  <a:pt x="226" y="412"/>
                </a:lnTo>
                <a:lnTo>
                  <a:pt x="228" y="412"/>
                </a:lnTo>
                <a:lnTo>
                  <a:pt x="230" y="412"/>
                </a:lnTo>
                <a:lnTo>
                  <a:pt x="230" y="416"/>
                </a:lnTo>
                <a:lnTo>
                  <a:pt x="230" y="416"/>
                </a:lnTo>
                <a:lnTo>
                  <a:pt x="228" y="418"/>
                </a:lnTo>
                <a:lnTo>
                  <a:pt x="228" y="418"/>
                </a:lnTo>
                <a:lnTo>
                  <a:pt x="230" y="420"/>
                </a:lnTo>
                <a:lnTo>
                  <a:pt x="230" y="420"/>
                </a:lnTo>
                <a:lnTo>
                  <a:pt x="232" y="416"/>
                </a:lnTo>
                <a:lnTo>
                  <a:pt x="232" y="416"/>
                </a:lnTo>
                <a:lnTo>
                  <a:pt x="234" y="418"/>
                </a:lnTo>
                <a:lnTo>
                  <a:pt x="234" y="418"/>
                </a:lnTo>
                <a:lnTo>
                  <a:pt x="234" y="418"/>
                </a:lnTo>
                <a:lnTo>
                  <a:pt x="234" y="418"/>
                </a:lnTo>
                <a:lnTo>
                  <a:pt x="234" y="418"/>
                </a:lnTo>
                <a:lnTo>
                  <a:pt x="234" y="418"/>
                </a:lnTo>
                <a:lnTo>
                  <a:pt x="232" y="418"/>
                </a:lnTo>
                <a:lnTo>
                  <a:pt x="234" y="420"/>
                </a:lnTo>
                <a:lnTo>
                  <a:pt x="234" y="420"/>
                </a:lnTo>
                <a:lnTo>
                  <a:pt x="232" y="420"/>
                </a:lnTo>
                <a:lnTo>
                  <a:pt x="230" y="420"/>
                </a:lnTo>
                <a:lnTo>
                  <a:pt x="230" y="422"/>
                </a:lnTo>
                <a:lnTo>
                  <a:pt x="230" y="422"/>
                </a:lnTo>
                <a:lnTo>
                  <a:pt x="234" y="422"/>
                </a:lnTo>
                <a:lnTo>
                  <a:pt x="234" y="422"/>
                </a:lnTo>
                <a:lnTo>
                  <a:pt x="234" y="422"/>
                </a:lnTo>
                <a:lnTo>
                  <a:pt x="232" y="424"/>
                </a:lnTo>
                <a:lnTo>
                  <a:pt x="232" y="424"/>
                </a:lnTo>
                <a:lnTo>
                  <a:pt x="232" y="426"/>
                </a:lnTo>
                <a:lnTo>
                  <a:pt x="232" y="426"/>
                </a:lnTo>
                <a:lnTo>
                  <a:pt x="236" y="426"/>
                </a:lnTo>
                <a:lnTo>
                  <a:pt x="236" y="430"/>
                </a:lnTo>
                <a:lnTo>
                  <a:pt x="236" y="430"/>
                </a:lnTo>
                <a:lnTo>
                  <a:pt x="238" y="430"/>
                </a:lnTo>
                <a:lnTo>
                  <a:pt x="238" y="430"/>
                </a:lnTo>
                <a:lnTo>
                  <a:pt x="240" y="430"/>
                </a:lnTo>
                <a:lnTo>
                  <a:pt x="240" y="428"/>
                </a:lnTo>
                <a:lnTo>
                  <a:pt x="240" y="426"/>
                </a:lnTo>
                <a:lnTo>
                  <a:pt x="240" y="426"/>
                </a:lnTo>
                <a:lnTo>
                  <a:pt x="242" y="428"/>
                </a:lnTo>
                <a:lnTo>
                  <a:pt x="242" y="428"/>
                </a:lnTo>
                <a:lnTo>
                  <a:pt x="242" y="428"/>
                </a:lnTo>
                <a:lnTo>
                  <a:pt x="248" y="426"/>
                </a:lnTo>
                <a:lnTo>
                  <a:pt x="248" y="426"/>
                </a:lnTo>
                <a:lnTo>
                  <a:pt x="252" y="420"/>
                </a:lnTo>
                <a:lnTo>
                  <a:pt x="252" y="420"/>
                </a:lnTo>
                <a:lnTo>
                  <a:pt x="254" y="420"/>
                </a:lnTo>
                <a:lnTo>
                  <a:pt x="254" y="420"/>
                </a:lnTo>
                <a:lnTo>
                  <a:pt x="252" y="426"/>
                </a:lnTo>
                <a:lnTo>
                  <a:pt x="252" y="426"/>
                </a:lnTo>
                <a:lnTo>
                  <a:pt x="254" y="426"/>
                </a:lnTo>
                <a:lnTo>
                  <a:pt x="254" y="428"/>
                </a:lnTo>
                <a:lnTo>
                  <a:pt x="254" y="428"/>
                </a:lnTo>
                <a:lnTo>
                  <a:pt x="252" y="428"/>
                </a:lnTo>
                <a:lnTo>
                  <a:pt x="252" y="428"/>
                </a:lnTo>
                <a:lnTo>
                  <a:pt x="256" y="428"/>
                </a:lnTo>
                <a:lnTo>
                  <a:pt x="256" y="428"/>
                </a:lnTo>
                <a:lnTo>
                  <a:pt x="258" y="428"/>
                </a:lnTo>
                <a:lnTo>
                  <a:pt x="258" y="428"/>
                </a:lnTo>
                <a:lnTo>
                  <a:pt x="256" y="432"/>
                </a:lnTo>
                <a:lnTo>
                  <a:pt x="256" y="432"/>
                </a:lnTo>
                <a:lnTo>
                  <a:pt x="258" y="432"/>
                </a:lnTo>
                <a:lnTo>
                  <a:pt x="258" y="432"/>
                </a:lnTo>
                <a:lnTo>
                  <a:pt x="260" y="432"/>
                </a:lnTo>
                <a:lnTo>
                  <a:pt x="260" y="432"/>
                </a:lnTo>
                <a:lnTo>
                  <a:pt x="262" y="428"/>
                </a:lnTo>
                <a:lnTo>
                  <a:pt x="262" y="428"/>
                </a:lnTo>
                <a:lnTo>
                  <a:pt x="262" y="428"/>
                </a:lnTo>
                <a:lnTo>
                  <a:pt x="264" y="430"/>
                </a:lnTo>
                <a:lnTo>
                  <a:pt x="264" y="430"/>
                </a:lnTo>
                <a:lnTo>
                  <a:pt x="264" y="430"/>
                </a:lnTo>
                <a:lnTo>
                  <a:pt x="266" y="428"/>
                </a:lnTo>
                <a:lnTo>
                  <a:pt x="266" y="428"/>
                </a:lnTo>
                <a:lnTo>
                  <a:pt x="266" y="432"/>
                </a:lnTo>
                <a:lnTo>
                  <a:pt x="266" y="432"/>
                </a:lnTo>
                <a:lnTo>
                  <a:pt x="264" y="434"/>
                </a:lnTo>
                <a:lnTo>
                  <a:pt x="264" y="434"/>
                </a:lnTo>
                <a:lnTo>
                  <a:pt x="264" y="436"/>
                </a:lnTo>
                <a:lnTo>
                  <a:pt x="264" y="436"/>
                </a:lnTo>
                <a:lnTo>
                  <a:pt x="268" y="432"/>
                </a:lnTo>
                <a:lnTo>
                  <a:pt x="268" y="432"/>
                </a:lnTo>
                <a:lnTo>
                  <a:pt x="268" y="436"/>
                </a:lnTo>
                <a:lnTo>
                  <a:pt x="268" y="438"/>
                </a:lnTo>
                <a:lnTo>
                  <a:pt x="268" y="438"/>
                </a:lnTo>
                <a:lnTo>
                  <a:pt x="268" y="438"/>
                </a:lnTo>
                <a:lnTo>
                  <a:pt x="270" y="438"/>
                </a:lnTo>
                <a:lnTo>
                  <a:pt x="270" y="438"/>
                </a:lnTo>
                <a:lnTo>
                  <a:pt x="272" y="434"/>
                </a:lnTo>
                <a:lnTo>
                  <a:pt x="272" y="434"/>
                </a:lnTo>
                <a:lnTo>
                  <a:pt x="272" y="434"/>
                </a:lnTo>
                <a:lnTo>
                  <a:pt x="274" y="436"/>
                </a:lnTo>
                <a:lnTo>
                  <a:pt x="274" y="436"/>
                </a:lnTo>
                <a:lnTo>
                  <a:pt x="272" y="436"/>
                </a:lnTo>
                <a:lnTo>
                  <a:pt x="272" y="436"/>
                </a:lnTo>
                <a:lnTo>
                  <a:pt x="272" y="440"/>
                </a:lnTo>
                <a:lnTo>
                  <a:pt x="272" y="440"/>
                </a:lnTo>
                <a:lnTo>
                  <a:pt x="278" y="442"/>
                </a:lnTo>
                <a:lnTo>
                  <a:pt x="278" y="442"/>
                </a:lnTo>
                <a:lnTo>
                  <a:pt x="280" y="440"/>
                </a:lnTo>
                <a:lnTo>
                  <a:pt x="280" y="440"/>
                </a:lnTo>
                <a:lnTo>
                  <a:pt x="282" y="440"/>
                </a:lnTo>
                <a:lnTo>
                  <a:pt x="282" y="440"/>
                </a:lnTo>
                <a:lnTo>
                  <a:pt x="280" y="440"/>
                </a:lnTo>
                <a:lnTo>
                  <a:pt x="280" y="440"/>
                </a:lnTo>
                <a:lnTo>
                  <a:pt x="284" y="438"/>
                </a:lnTo>
                <a:lnTo>
                  <a:pt x="284" y="438"/>
                </a:lnTo>
                <a:lnTo>
                  <a:pt x="282" y="436"/>
                </a:lnTo>
                <a:lnTo>
                  <a:pt x="282" y="436"/>
                </a:lnTo>
                <a:lnTo>
                  <a:pt x="280" y="436"/>
                </a:lnTo>
                <a:lnTo>
                  <a:pt x="280" y="434"/>
                </a:lnTo>
                <a:lnTo>
                  <a:pt x="280" y="434"/>
                </a:lnTo>
                <a:lnTo>
                  <a:pt x="280" y="434"/>
                </a:lnTo>
                <a:lnTo>
                  <a:pt x="282" y="432"/>
                </a:lnTo>
                <a:lnTo>
                  <a:pt x="280" y="430"/>
                </a:lnTo>
                <a:lnTo>
                  <a:pt x="280" y="430"/>
                </a:lnTo>
                <a:lnTo>
                  <a:pt x="280" y="430"/>
                </a:lnTo>
                <a:lnTo>
                  <a:pt x="276" y="430"/>
                </a:lnTo>
                <a:lnTo>
                  <a:pt x="276" y="428"/>
                </a:lnTo>
                <a:lnTo>
                  <a:pt x="276" y="428"/>
                </a:lnTo>
                <a:lnTo>
                  <a:pt x="280" y="428"/>
                </a:lnTo>
                <a:lnTo>
                  <a:pt x="280" y="428"/>
                </a:lnTo>
                <a:lnTo>
                  <a:pt x="282" y="426"/>
                </a:lnTo>
                <a:lnTo>
                  <a:pt x="280" y="426"/>
                </a:lnTo>
                <a:lnTo>
                  <a:pt x="282" y="426"/>
                </a:lnTo>
                <a:lnTo>
                  <a:pt x="282" y="426"/>
                </a:lnTo>
                <a:lnTo>
                  <a:pt x="282" y="422"/>
                </a:lnTo>
                <a:lnTo>
                  <a:pt x="282" y="420"/>
                </a:lnTo>
                <a:lnTo>
                  <a:pt x="286" y="418"/>
                </a:lnTo>
                <a:lnTo>
                  <a:pt x="286" y="418"/>
                </a:lnTo>
                <a:lnTo>
                  <a:pt x="286" y="416"/>
                </a:lnTo>
                <a:lnTo>
                  <a:pt x="284" y="414"/>
                </a:lnTo>
                <a:lnTo>
                  <a:pt x="284" y="414"/>
                </a:lnTo>
                <a:lnTo>
                  <a:pt x="288" y="412"/>
                </a:lnTo>
                <a:lnTo>
                  <a:pt x="288" y="412"/>
                </a:lnTo>
                <a:lnTo>
                  <a:pt x="290" y="408"/>
                </a:lnTo>
                <a:lnTo>
                  <a:pt x="290" y="408"/>
                </a:lnTo>
                <a:lnTo>
                  <a:pt x="288" y="406"/>
                </a:lnTo>
                <a:lnTo>
                  <a:pt x="288" y="406"/>
                </a:lnTo>
                <a:lnTo>
                  <a:pt x="288" y="406"/>
                </a:lnTo>
                <a:lnTo>
                  <a:pt x="288" y="400"/>
                </a:lnTo>
                <a:lnTo>
                  <a:pt x="288" y="400"/>
                </a:lnTo>
                <a:lnTo>
                  <a:pt x="290" y="400"/>
                </a:lnTo>
                <a:lnTo>
                  <a:pt x="290" y="400"/>
                </a:lnTo>
                <a:lnTo>
                  <a:pt x="290" y="402"/>
                </a:lnTo>
                <a:lnTo>
                  <a:pt x="292" y="402"/>
                </a:lnTo>
                <a:lnTo>
                  <a:pt x="292" y="402"/>
                </a:lnTo>
                <a:lnTo>
                  <a:pt x="292" y="400"/>
                </a:lnTo>
                <a:lnTo>
                  <a:pt x="292" y="398"/>
                </a:lnTo>
                <a:lnTo>
                  <a:pt x="292" y="398"/>
                </a:lnTo>
                <a:lnTo>
                  <a:pt x="292" y="396"/>
                </a:lnTo>
                <a:lnTo>
                  <a:pt x="292" y="396"/>
                </a:lnTo>
                <a:lnTo>
                  <a:pt x="290" y="396"/>
                </a:lnTo>
                <a:lnTo>
                  <a:pt x="290" y="396"/>
                </a:lnTo>
                <a:lnTo>
                  <a:pt x="290" y="394"/>
                </a:lnTo>
                <a:lnTo>
                  <a:pt x="290" y="394"/>
                </a:lnTo>
                <a:lnTo>
                  <a:pt x="292" y="394"/>
                </a:lnTo>
                <a:lnTo>
                  <a:pt x="292" y="392"/>
                </a:lnTo>
                <a:lnTo>
                  <a:pt x="292" y="392"/>
                </a:lnTo>
                <a:lnTo>
                  <a:pt x="298" y="394"/>
                </a:lnTo>
                <a:lnTo>
                  <a:pt x="298" y="394"/>
                </a:lnTo>
                <a:lnTo>
                  <a:pt x="296" y="390"/>
                </a:lnTo>
                <a:lnTo>
                  <a:pt x="298" y="390"/>
                </a:lnTo>
                <a:lnTo>
                  <a:pt x="298" y="390"/>
                </a:lnTo>
                <a:lnTo>
                  <a:pt x="298" y="386"/>
                </a:lnTo>
                <a:lnTo>
                  <a:pt x="296" y="382"/>
                </a:lnTo>
                <a:lnTo>
                  <a:pt x="296" y="382"/>
                </a:lnTo>
                <a:lnTo>
                  <a:pt x="298" y="382"/>
                </a:lnTo>
                <a:lnTo>
                  <a:pt x="298" y="382"/>
                </a:lnTo>
                <a:lnTo>
                  <a:pt x="300" y="386"/>
                </a:lnTo>
                <a:lnTo>
                  <a:pt x="300" y="386"/>
                </a:lnTo>
                <a:lnTo>
                  <a:pt x="302" y="386"/>
                </a:lnTo>
                <a:lnTo>
                  <a:pt x="302" y="384"/>
                </a:lnTo>
                <a:lnTo>
                  <a:pt x="302" y="382"/>
                </a:lnTo>
                <a:lnTo>
                  <a:pt x="302" y="382"/>
                </a:lnTo>
                <a:lnTo>
                  <a:pt x="302" y="378"/>
                </a:lnTo>
                <a:lnTo>
                  <a:pt x="304" y="374"/>
                </a:lnTo>
                <a:lnTo>
                  <a:pt x="304" y="374"/>
                </a:lnTo>
                <a:lnTo>
                  <a:pt x="296" y="372"/>
                </a:lnTo>
                <a:lnTo>
                  <a:pt x="296" y="370"/>
                </a:lnTo>
                <a:lnTo>
                  <a:pt x="296" y="370"/>
                </a:lnTo>
                <a:lnTo>
                  <a:pt x="300" y="372"/>
                </a:lnTo>
                <a:lnTo>
                  <a:pt x="300" y="372"/>
                </a:lnTo>
                <a:lnTo>
                  <a:pt x="306" y="372"/>
                </a:lnTo>
                <a:lnTo>
                  <a:pt x="306" y="372"/>
                </a:lnTo>
                <a:lnTo>
                  <a:pt x="306" y="364"/>
                </a:lnTo>
                <a:lnTo>
                  <a:pt x="304" y="360"/>
                </a:lnTo>
                <a:lnTo>
                  <a:pt x="302" y="358"/>
                </a:lnTo>
                <a:lnTo>
                  <a:pt x="302" y="356"/>
                </a:lnTo>
                <a:lnTo>
                  <a:pt x="302" y="356"/>
                </a:lnTo>
                <a:lnTo>
                  <a:pt x="304" y="356"/>
                </a:lnTo>
                <a:lnTo>
                  <a:pt x="304" y="356"/>
                </a:lnTo>
                <a:lnTo>
                  <a:pt x="304" y="356"/>
                </a:lnTo>
                <a:lnTo>
                  <a:pt x="306" y="356"/>
                </a:lnTo>
                <a:lnTo>
                  <a:pt x="306" y="356"/>
                </a:lnTo>
                <a:lnTo>
                  <a:pt x="308" y="356"/>
                </a:lnTo>
                <a:lnTo>
                  <a:pt x="308" y="356"/>
                </a:lnTo>
                <a:lnTo>
                  <a:pt x="310" y="354"/>
                </a:lnTo>
                <a:lnTo>
                  <a:pt x="310" y="354"/>
                </a:lnTo>
                <a:lnTo>
                  <a:pt x="310" y="350"/>
                </a:lnTo>
                <a:lnTo>
                  <a:pt x="310" y="350"/>
                </a:lnTo>
                <a:lnTo>
                  <a:pt x="310" y="350"/>
                </a:lnTo>
                <a:lnTo>
                  <a:pt x="314" y="350"/>
                </a:lnTo>
                <a:lnTo>
                  <a:pt x="316" y="350"/>
                </a:lnTo>
                <a:lnTo>
                  <a:pt x="316" y="350"/>
                </a:lnTo>
                <a:lnTo>
                  <a:pt x="318" y="350"/>
                </a:lnTo>
                <a:lnTo>
                  <a:pt x="318" y="350"/>
                </a:lnTo>
                <a:lnTo>
                  <a:pt x="316" y="350"/>
                </a:lnTo>
                <a:lnTo>
                  <a:pt x="318" y="348"/>
                </a:lnTo>
                <a:lnTo>
                  <a:pt x="318" y="348"/>
                </a:lnTo>
                <a:lnTo>
                  <a:pt x="322" y="348"/>
                </a:lnTo>
                <a:lnTo>
                  <a:pt x="326" y="350"/>
                </a:lnTo>
                <a:lnTo>
                  <a:pt x="326" y="350"/>
                </a:lnTo>
                <a:lnTo>
                  <a:pt x="328" y="348"/>
                </a:lnTo>
                <a:lnTo>
                  <a:pt x="330" y="346"/>
                </a:lnTo>
                <a:lnTo>
                  <a:pt x="330" y="346"/>
                </a:lnTo>
                <a:lnTo>
                  <a:pt x="334" y="344"/>
                </a:lnTo>
                <a:lnTo>
                  <a:pt x="334" y="344"/>
                </a:lnTo>
                <a:lnTo>
                  <a:pt x="336" y="350"/>
                </a:lnTo>
                <a:lnTo>
                  <a:pt x="336" y="352"/>
                </a:lnTo>
                <a:lnTo>
                  <a:pt x="336" y="352"/>
                </a:lnTo>
                <a:lnTo>
                  <a:pt x="338" y="352"/>
                </a:lnTo>
                <a:lnTo>
                  <a:pt x="336" y="350"/>
                </a:lnTo>
                <a:lnTo>
                  <a:pt x="336" y="350"/>
                </a:lnTo>
                <a:lnTo>
                  <a:pt x="338" y="350"/>
                </a:lnTo>
                <a:lnTo>
                  <a:pt x="338" y="350"/>
                </a:lnTo>
                <a:lnTo>
                  <a:pt x="338" y="350"/>
                </a:lnTo>
                <a:lnTo>
                  <a:pt x="340" y="348"/>
                </a:lnTo>
                <a:lnTo>
                  <a:pt x="340" y="348"/>
                </a:lnTo>
                <a:lnTo>
                  <a:pt x="342" y="344"/>
                </a:lnTo>
                <a:lnTo>
                  <a:pt x="342" y="344"/>
                </a:lnTo>
                <a:lnTo>
                  <a:pt x="346" y="344"/>
                </a:lnTo>
                <a:lnTo>
                  <a:pt x="346" y="344"/>
                </a:lnTo>
                <a:lnTo>
                  <a:pt x="346" y="344"/>
                </a:lnTo>
                <a:lnTo>
                  <a:pt x="348" y="346"/>
                </a:lnTo>
                <a:lnTo>
                  <a:pt x="348" y="346"/>
                </a:lnTo>
                <a:lnTo>
                  <a:pt x="348" y="346"/>
                </a:lnTo>
                <a:lnTo>
                  <a:pt x="348" y="346"/>
                </a:lnTo>
                <a:lnTo>
                  <a:pt x="350" y="344"/>
                </a:lnTo>
                <a:lnTo>
                  <a:pt x="350" y="344"/>
                </a:lnTo>
                <a:lnTo>
                  <a:pt x="350" y="340"/>
                </a:lnTo>
                <a:lnTo>
                  <a:pt x="350" y="340"/>
                </a:lnTo>
                <a:lnTo>
                  <a:pt x="354" y="338"/>
                </a:lnTo>
                <a:lnTo>
                  <a:pt x="354" y="338"/>
                </a:lnTo>
                <a:lnTo>
                  <a:pt x="356" y="336"/>
                </a:lnTo>
                <a:lnTo>
                  <a:pt x="356" y="332"/>
                </a:lnTo>
                <a:lnTo>
                  <a:pt x="356" y="332"/>
                </a:lnTo>
                <a:lnTo>
                  <a:pt x="360" y="332"/>
                </a:lnTo>
                <a:lnTo>
                  <a:pt x="360" y="332"/>
                </a:lnTo>
                <a:lnTo>
                  <a:pt x="364" y="328"/>
                </a:lnTo>
                <a:lnTo>
                  <a:pt x="364" y="328"/>
                </a:lnTo>
                <a:lnTo>
                  <a:pt x="370" y="326"/>
                </a:lnTo>
                <a:lnTo>
                  <a:pt x="370" y="326"/>
                </a:lnTo>
                <a:lnTo>
                  <a:pt x="374" y="322"/>
                </a:lnTo>
                <a:lnTo>
                  <a:pt x="374" y="318"/>
                </a:lnTo>
                <a:lnTo>
                  <a:pt x="378" y="316"/>
                </a:lnTo>
                <a:lnTo>
                  <a:pt x="378" y="316"/>
                </a:lnTo>
                <a:lnTo>
                  <a:pt x="378" y="316"/>
                </a:lnTo>
                <a:lnTo>
                  <a:pt x="380" y="318"/>
                </a:lnTo>
                <a:lnTo>
                  <a:pt x="382" y="316"/>
                </a:lnTo>
                <a:lnTo>
                  <a:pt x="382" y="314"/>
                </a:lnTo>
                <a:lnTo>
                  <a:pt x="382" y="314"/>
                </a:lnTo>
                <a:lnTo>
                  <a:pt x="382" y="310"/>
                </a:lnTo>
                <a:lnTo>
                  <a:pt x="382" y="310"/>
                </a:lnTo>
                <a:lnTo>
                  <a:pt x="380" y="308"/>
                </a:lnTo>
                <a:lnTo>
                  <a:pt x="380" y="308"/>
                </a:lnTo>
                <a:lnTo>
                  <a:pt x="378" y="304"/>
                </a:lnTo>
                <a:lnTo>
                  <a:pt x="378" y="298"/>
                </a:lnTo>
                <a:lnTo>
                  <a:pt x="378" y="298"/>
                </a:lnTo>
                <a:lnTo>
                  <a:pt x="380" y="304"/>
                </a:lnTo>
                <a:lnTo>
                  <a:pt x="384" y="306"/>
                </a:lnTo>
                <a:lnTo>
                  <a:pt x="390" y="308"/>
                </a:lnTo>
                <a:lnTo>
                  <a:pt x="396" y="308"/>
                </a:lnTo>
                <a:lnTo>
                  <a:pt x="396" y="306"/>
                </a:lnTo>
                <a:lnTo>
                  <a:pt x="396" y="306"/>
                </a:lnTo>
                <a:lnTo>
                  <a:pt x="400" y="306"/>
                </a:lnTo>
                <a:lnTo>
                  <a:pt x="400" y="306"/>
                </a:lnTo>
                <a:lnTo>
                  <a:pt x="400" y="304"/>
                </a:lnTo>
                <a:lnTo>
                  <a:pt x="400" y="302"/>
                </a:lnTo>
                <a:lnTo>
                  <a:pt x="400" y="302"/>
                </a:lnTo>
                <a:lnTo>
                  <a:pt x="402" y="302"/>
                </a:lnTo>
                <a:lnTo>
                  <a:pt x="402" y="302"/>
                </a:lnTo>
                <a:lnTo>
                  <a:pt x="402" y="306"/>
                </a:lnTo>
                <a:lnTo>
                  <a:pt x="402" y="306"/>
                </a:lnTo>
                <a:lnTo>
                  <a:pt x="406" y="304"/>
                </a:lnTo>
                <a:lnTo>
                  <a:pt x="406" y="304"/>
                </a:lnTo>
                <a:lnTo>
                  <a:pt x="408" y="304"/>
                </a:lnTo>
                <a:lnTo>
                  <a:pt x="408" y="304"/>
                </a:lnTo>
                <a:lnTo>
                  <a:pt x="410" y="302"/>
                </a:lnTo>
                <a:lnTo>
                  <a:pt x="410" y="302"/>
                </a:lnTo>
                <a:lnTo>
                  <a:pt x="412" y="302"/>
                </a:lnTo>
                <a:lnTo>
                  <a:pt x="412" y="302"/>
                </a:lnTo>
                <a:lnTo>
                  <a:pt x="412" y="304"/>
                </a:lnTo>
                <a:lnTo>
                  <a:pt x="412" y="304"/>
                </a:lnTo>
                <a:lnTo>
                  <a:pt x="416" y="302"/>
                </a:lnTo>
                <a:lnTo>
                  <a:pt x="420" y="302"/>
                </a:lnTo>
                <a:lnTo>
                  <a:pt x="420" y="300"/>
                </a:lnTo>
                <a:lnTo>
                  <a:pt x="420" y="300"/>
                </a:lnTo>
                <a:lnTo>
                  <a:pt x="422" y="300"/>
                </a:lnTo>
                <a:lnTo>
                  <a:pt x="424" y="302"/>
                </a:lnTo>
                <a:lnTo>
                  <a:pt x="424" y="302"/>
                </a:lnTo>
                <a:lnTo>
                  <a:pt x="428" y="298"/>
                </a:lnTo>
                <a:lnTo>
                  <a:pt x="428" y="298"/>
                </a:lnTo>
                <a:lnTo>
                  <a:pt x="430" y="298"/>
                </a:lnTo>
                <a:lnTo>
                  <a:pt x="430" y="298"/>
                </a:lnTo>
                <a:lnTo>
                  <a:pt x="438" y="296"/>
                </a:lnTo>
                <a:lnTo>
                  <a:pt x="438" y="290"/>
                </a:lnTo>
                <a:lnTo>
                  <a:pt x="438" y="290"/>
                </a:lnTo>
                <a:lnTo>
                  <a:pt x="440" y="290"/>
                </a:lnTo>
                <a:lnTo>
                  <a:pt x="442" y="292"/>
                </a:lnTo>
                <a:lnTo>
                  <a:pt x="442" y="292"/>
                </a:lnTo>
                <a:lnTo>
                  <a:pt x="444" y="292"/>
                </a:lnTo>
                <a:lnTo>
                  <a:pt x="444" y="292"/>
                </a:lnTo>
                <a:lnTo>
                  <a:pt x="448" y="286"/>
                </a:lnTo>
                <a:lnTo>
                  <a:pt x="448" y="286"/>
                </a:lnTo>
                <a:lnTo>
                  <a:pt x="452" y="286"/>
                </a:lnTo>
                <a:lnTo>
                  <a:pt x="452" y="286"/>
                </a:lnTo>
                <a:lnTo>
                  <a:pt x="452" y="288"/>
                </a:lnTo>
                <a:lnTo>
                  <a:pt x="452" y="288"/>
                </a:lnTo>
                <a:lnTo>
                  <a:pt x="454" y="286"/>
                </a:lnTo>
                <a:lnTo>
                  <a:pt x="454" y="286"/>
                </a:lnTo>
                <a:lnTo>
                  <a:pt x="456" y="286"/>
                </a:lnTo>
                <a:lnTo>
                  <a:pt x="456" y="286"/>
                </a:lnTo>
                <a:lnTo>
                  <a:pt x="458" y="284"/>
                </a:lnTo>
                <a:lnTo>
                  <a:pt x="458" y="284"/>
                </a:lnTo>
                <a:lnTo>
                  <a:pt x="460" y="284"/>
                </a:lnTo>
                <a:lnTo>
                  <a:pt x="462" y="284"/>
                </a:lnTo>
                <a:lnTo>
                  <a:pt x="462" y="284"/>
                </a:lnTo>
                <a:lnTo>
                  <a:pt x="466" y="282"/>
                </a:lnTo>
                <a:lnTo>
                  <a:pt x="466" y="282"/>
                </a:lnTo>
                <a:lnTo>
                  <a:pt x="470" y="282"/>
                </a:lnTo>
                <a:lnTo>
                  <a:pt x="470" y="282"/>
                </a:lnTo>
                <a:lnTo>
                  <a:pt x="470" y="278"/>
                </a:lnTo>
                <a:lnTo>
                  <a:pt x="474" y="278"/>
                </a:lnTo>
                <a:lnTo>
                  <a:pt x="474" y="278"/>
                </a:lnTo>
                <a:lnTo>
                  <a:pt x="474" y="274"/>
                </a:lnTo>
                <a:lnTo>
                  <a:pt x="474" y="274"/>
                </a:lnTo>
                <a:lnTo>
                  <a:pt x="476" y="270"/>
                </a:lnTo>
                <a:lnTo>
                  <a:pt x="476" y="270"/>
                </a:lnTo>
                <a:lnTo>
                  <a:pt x="480" y="270"/>
                </a:lnTo>
                <a:lnTo>
                  <a:pt x="480" y="270"/>
                </a:lnTo>
                <a:lnTo>
                  <a:pt x="482" y="268"/>
                </a:lnTo>
                <a:lnTo>
                  <a:pt x="482" y="268"/>
                </a:lnTo>
                <a:lnTo>
                  <a:pt x="482" y="268"/>
                </a:lnTo>
                <a:lnTo>
                  <a:pt x="474" y="268"/>
                </a:lnTo>
                <a:lnTo>
                  <a:pt x="466" y="266"/>
                </a:lnTo>
                <a:lnTo>
                  <a:pt x="466" y="266"/>
                </a:lnTo>
                <a:lnTo>
                  <a:pt x="462" y="264"/>
                </a:lnTo>
                <a:lnTo>
                  <a:pt x="462" y="264"/>
                </a:lnTo>
                <a:lnTo>
                  <a:pt x="460" y="264"/>
                </a:lnTo>
                <a:lnTo>
                  <a:pt x="458" y="264"/>
                </a:lnTo>
                <a:lnTo>
                  <a:pt x="458" y="262"/>
                </a:lnTo>
                <a:lnTo>
                  <a:pt x="458" y="262"/>
                </a:lnTo>
                <a:lnTo>
                  <a:pt x="454" y="264"/>
                </a:lnTo>
                <a:lnTo>
                  <a:pt x="450" y="266"/>
                </a:lnTo>
                <a:lnTo>
                  <a:pt x="450" y="266"/>
                </a:lnTo>
                <a:lnTo>
                  <a:pt x="438" y="266"/>
                </a:lnTo>
                <a:lnTo>
                  <a:pt x="438" y="266"/>
                </a:lnTo>
                <a:lnTo>
                  <a:pt x="440" y="264"/>
                </a:lnTo>
                <a:lnTo>
                  <a:pt x="442" y="262"/>
                </a:lnTo>
                <a:lnTo>
                  <a:pt x="436" y="260"/>
                </a:lnTo>
                <a:lnTo>
                  <a:pt x="422" y="262"/>
                </a:lnTo>
                <a:lnTo>
                  <a:pt x="422" y="262"/>
                </a:lnTo>
                <a:lnTo>
                  <a:pt x="420" y="258"/>
                </a:lnTo>
                <a:lnTo>
                  <a:pt x="420" y="258"/>
                </a:lnTo>
                <a:lnTo>
                  <a:pt x="420" y="258"/>
                </a:lnTo>
                <a:lnTo>
                  <a:pt x="420" y="256"/>
                </a:lnTo>
                <a:lnTo>
                  <a:pt x="420" y="256"/>
                </a:lnTo>
                <a:lnTo>
                  <a:pt x="422" y="256"/>
                </a:lnTo>
                <a:lnTo>
                  <a:pt x="422" y="256"/>
                </a:lnTo>
                <a:lnTo>
                  <a:pt x="422" y="256"/>
                </a:lnTo>
                <a:lnTo>
                  <a:pt x="422" y="262"/>
                </a:lnTo>
                <a:lnTo>
                  <a:pt x="422" y="262"/>
                </a:lnTo>
                <a:lnTo>
                  <a:pt x="432" y="260"/>
                </a:lnTo>
                <a:lnTo>
                  <a:pt x="442" y="258"/>
                </a:lnTo>
                <a:lnTo>
                  <a:pt x="442" y="258"/>
                </a:lnTo>
                <a:lnTo>
                  <a:pt x="444" y="260"/>
                </a:lnTo>
                <a:lnTo>
                  <a:pt x="448" y="260"/>
                </a:lnTo>
                <a:lnTo>
                  <a:pt x="448" y="260"/>
                </a:lnTo>
                <a:lnTo>
                  <a:pt x="450" y="258"/>
                </a:lnTo>
                <a:lnTo>
                  <a:pt x="450" y="258"/>
                </a:lnTo>
                <a:lnTo>
                  <a:pt x="448" y="254"/>
                </a:lnTo>
                <a:lnTo>
                  <a:pt x="448" y="254"/>
                </a:lnTo>
                <a:lnTo>
                  <a:pt x="440" y="254"/>
                </a:lnTo>
                <a:lnTo>
                  <a:pt x="430" y="254"/>
                </a:lnTo>
                <a:lnTo>
                  <a:pt x="430" y="254"/>
                </a:lnTo>
                <a:lnTo>
                  <a:pt x="426" y="256"/>
                </a:lnTo>
                <a:lnTo>
                  <a:pt x="422" y="256"/>
                </a:lnTo>
                <a:lnTo>
                  <a:pt x="424" y="254"/>
                </a:lnTo>
                <a:lnTo>
                  <a:pt x="424" y="254"/>
                </a:lnTo>
                <a:lnTo>
                  <a:pt x="426" y="252"/>
                </a:lnTo>
                <a:lnTo>
                  <a:pt x="426" y="250"/>
                </a:lnTo>
                <a:lnTo>
                  <a:pt x="426" y="250"/>
                </a:lnTo>
                <a:lnTo>
                  <a:pt x="428" y="252"/>
                </a:lnTo>
                <a:lnTo>
                  <a:pt x="428" y="252"/>
                </a:lnTo>
                <a:lnTo>
                  <a:pt x="428" y="252"/>
                </a:lnTo>
                <a:lnTo>
                  <a:pt x="442" y="254"/>
                </a:lnTo>
                <a:lnTo>
                  <a:pt x="442" y="254"/>
                </a:lnTo>
                <a:lnTo>
                  <a:pt x="444" y="250"/>
                </a:lnTo>
                <a:lnTo>
                  <a:pt x="444" y="250"/>
                </a:lnTo>
                <a:lnTo>
                  <a:pt x="450" y="250"/>
                </a:lnTo>
                <a:lnTo>
                  <a:pt x="450" y="250"/>
                </a:lnTo>
                <a:lnTo>
                  <a:pt x="450" y="250"/>
                </a:lnTo>
                <a:lnTo>
                  <a:pt x="450" y="248"/>
                </a:lnTo>
                <a:lnTo>
                  <a:pt x="450" y="246"/>
                </a:lnTo>
                <a:lnTo>
                  <a:pt x="450" y="246"/>
                </a:lnTo>
                <a:lnTo>
                  <a:pt x="442" y="244"/>
                </a:lnTo>
                <a:lnTo>
                  <a:pt x="442" y="242"/>
                </a:lnTo>
                <a:lnTo>
                  <a:pt x="442" y="242"/>
                </a:lnTo>
                <a:lnTo>
                  <a:pt x="432" y="244"/>
                </a:lnTo>
                <a:lnTo>
                  <a:pt x="422" y="244"/>
                </a:lnTo>
                <a:lnTo>
                  <a:pt x="420" y="244"/>
                </a:lnTo>
                <a:lnTo>
                  <a:pt x="420" y="244"/>
                </a:lnTo>
                <a:lnTo>
                  <a:pt x="426" y="242"/>
                </a:lnTo>
                <a:lnTo>
                  <a:pt x="426" y="242"/>
                </a:lnTo>
                <a:lnTo>
                  <a:pt x="426" y="242"/>
                </a:lnTo>
                <a:lnTo>
                  <a:pt x="426" y="240"/>
                </a:lnTo>
                <a:lnTo>
                  <a:pt x="422" y="238"/>
                </a:lnTo>
                <a:lnTo>
                  <a:pt x="422" y="238"/>
                </a:lnTo>
                <a:lnTo>
                  <a:pt x="424" y="238"/>
                </a:lnTo>
                <a:lnTo>
                  <a:pt x="424" y="236"/>
                </a:lnTo>
                <a:lnTo>
                  <a:pt x="424" y="236"/>
                </a:lnTo>
                <a:lnTo>
                  <a:pt x="428" y="240"/>
                </a:lnTo>
                <a:lnTo>
                  <a:pt x="428" y="240"/>
                </a:lnTo>
                <a:lnTo>
                  <a:pt x="434" y="240"/>
                </a:lnTo>
                <a:lnTo>
                  <a:pt x="442" y="240"/>
                </a:lnTo>
                <a:lnTo>
                  <a:pt x="442" y="242"/>
                </a:lnTo>
                <a:lnTo>
                  <a:pt x="442" y="242"/>
                </a:lnTo>
                <a:lnTo>
                  <a:pt x="446" y="242"/>
                </a:lnTo>
                <a:lnTo>
                  <a:pt x="446" y="242"/>
                </a:lnTo>
                <a:lnTo>
                  <a:pt x="450" y="244"/>
                </a:lnTo>
                <a:lnTo>
                  <a:pt x="450" y="244"/>
                </a:lnTo>
                <a:lnTo>
                  <a:pt x="454" y="246"/>
                </a:lnTo>
                <a:lnTo>
                  <a:pt x="458" y="246"/>
                </a:lnTo>
                <a:lnTo>
                  <a:pt x="458" y="246"/>
                </a:lnTo>
                <a:lnTo>
                  <a:pt x="458" y="250"/>
                </a:lnTo>
                <a:lnTo>
                  <a:pt x="458" y="250"/>
                </a:lnTo>
                <a:lnTo>
                  <a:pt x="462" y="256"/>
                </a:lnTo>
                <a:lnTo>
                  <a:pt x="468" y="262"/>
                </a:lnTo>
                <a:lnTo>
                  <a:pt x="468" y="262"/>
                </a:lnTo>
                <a:lnTo>
                  <a:pt x="474" y="264"/>
                </a:lnTo>
                <a:lnTo>
                  <a:pt x="474" y="264"/>
                </a:lnTo>
                <a:lnTo>
                  <a:pt x="474" y="264"/>
                </a:lnTo>
                <a:lnTo>
                  <a:pt x="476" y="264"/>
                </a:lnTo>
                <a:lnTo>
                  <a:pt x="476" y="262"/>
                </a:lnTo>
                <a:lnTo>
                  <a:pt x="476" y="262"/>
                </a:lnTo>
                <a:lnTo>
                  <a:pt x="480" y="264"/>
                </a:lnTo>
                <a:lnTo>
                  <a:pt x="484" y="266"/>
                </a:lnTo>
                <a:lnTo>
                  <a:pt x="486" y="266"/>
                </a:lnTo>
                <a:lnTo>
                  <a:pt x="486" y="266"/>
                </a:lnTo>
                <a:lnTo>
                  <a:pt x="488" y="264"/>
                </a:lnTo>
                <a:lnTo>
                  <a:pt x="488" y="262"/>
                </a:lnTo>
                <a:lnTo>
                  <a:pt x="484" y="260"/>
                </a:lnTo>
                <a:lnTo>
                  <a:pt x="484" y="260"/>
                </a:lnTo>
                <a:lnTo>
                  <a:pt x="486" y="258"/>
                </a:lnTo>
                <a:lnTo>
                  <a:pt x="486" y="258"/>
                </a:lnTo>
                <a:lnTo>
                  <a:pt x="486" y="258"/>
                </a:lnTo>
                <a:lnTo>
                  <a:pt x="486" y="258"/>
                </a:lnTo>
                <a:lnTo>
                  <a:pt x="486" y="258"/>
                </a:lnTo>
                <a:lnTo>
                  <a:pt x="486" y="256"/>
                </a:lnTo>
                <a:lnTo>
                  <a:pt x="486" y="252"/>
                </a:lnTo>
                <a:lnTo>
                  <a:pt x="484" y="248"/>
                </a:lnTo>
                <a:lnTo>
                  <a:pt x="482" y="248"/>
                </a:lnTo>
                <a:lnTo>
                  <a:pt x="482" y="248"/>
                </a:lnTo>
                <a:lnTo>
                  <a:pt x="482" y="244"/>
                </a:lnTo>
                <a:lnTo>
                  <a:pt x="482" y="244"/>
                </a:lnTo>
                <a:lnTo>
                  <a:pt x="480" y="244"/>
                </a:lnTo>
                <a:lnTo>
                  <a:pt x="480" y="244"/>
                </a:lnTo>
                <a:lnTo>
                  <a:pt x="480" y="246"/>
                </a:lnTo>
                <a:lnTo>
                  <a:pt x="478" y="246"/>
                </a:lnTo>
                <a:lnTo>
                  <a:pt x="478" y="246"/>
                </a:lnTo>
                <a:lnTo>
                  <a:pt x="478" y="242"/>
                </a:lnTo>
                <a:lnTo>
                  <a:pt x="478" y="242"/>
                </a:lnTo>
                <a:lnTo>
                  <a:pt x="480" y="242"/>
                </a:lnTo>
                <a:lnTo>
                  <a:pt x="480" y="242"/>
                </a:lnTo>
                <a:lnTo>
                  <a:pt x="480" y="242"/>
                </a:lnTo>
                <a:lnTo>
                  <a:pt x="476" y="242"/>
                </a:lnTo>
                <a:lnTo>
                  <a:pt x="476" y="242"/>
                </a:lnTo>
                <a:lnTo>
                  <a:pt x="476" y="240"/>
                </a:lnTo>
                <a:lnTo>
                  <a:pt x="476" y="238"/>
                </a:lnTo>
                <a:lnTo>
                  <a:pt x="476" y="238"/>
                </a:lnTo>
                <a:lnTo>
                  <a:pt x="472" y="236"/>
                </a:lnTo>
                <a:lnTo>
                  <a:pt x="472" y="236"/>
                </a:lnTo>
                <a:lnTo>
                  <a:pt x="468" y="234"/>
                </a:lnTo>
                <a:lnTo>
                  <a:pt x="468" y="234"/>
                </a:lnTo>
                <a:lnTo>
                  <a:pt x="466" y="232"/>
                </a:lnTo>
                <a:lnTo>
                  <a:pt x="462" y="230"/>
                </a:lnTo>
                <a:lnTo>
                  <a:pt x="462" y="230"/>
                </a:lnTo>
                <a:lnTo>
                  <a:pt x="456" y="230"/>
                </a:lnTo>
                <a:lnTo>
                  <a:pt x="452" y="230"/>
                </a:lnTo>
                <a:lnTo>
                  <a:pt x="452" y="230"/>
                </a:lnTo>
                <a:lnTo>
                  <a:pt x="452" y="230"/>
                </a:lnTo>
                <a:lnTo>
                  <a:pt x="458" y="228"/>
                </a:lnTo>
                <a:lnTo>
                  <a:pt x="458" y="228"/>
                </a:lnTo>
                <a:lnTo>
                  <a:pt x="456" y="224"/>
                </a:lnTo>
                <a:lnTo>
                  <a:pt x="452" y="222"/>
                </a:lnTo>
                <a:lnTo>
                  <a:pt x="452" y="222"/>
                </a:lnTo>
                <a:lnTo>
                  <a:pt x="452" y="224"/>
                </a:lnTo>
                <a:lnTo>
                  <a:pt x="452" y="224"/>
                </a:lnTo>
                <a:lnTo>
                  <a:pt x="450" y="226"/>
                </a:lnTo>
                <a:lnTo>
                  <a:pt x="450" y="226"/>
                </a:lnTo>
                <a:lnTo>
                  <a:pt x="444" y="226"/>
                </a:lnTo>
                <a:lnTo>
                  <a:pt x="444" y="226"/>
                </a:lnTo>
                <a:lnTo>
                  <a:pt x="444" y="228"/>
                </a:lnTo>
                <a:lnTo>
                  <a:pt x="444" y="228"/>
                </a:lnTo>
                <a:lnTo>
                  <a:pt x="440" y="228"/>
                </a:lnTo>
                <a:lnTo>
                  <a:pt x="440" y="228"/>
                </a:lnTo>
                <a:lnTo>
                  <a:pt x="442" y="224"/>
                </a:lnTo>
                <a:lnTo>
                  <a:pt x="442" y="224"/>
                </a:lnTo>
                <a:lnTo>
                  <a:pt x="438" y="224"/>
                </a:lnTo>
                <a:lnTo>
                  <a:pt x="438" y="224"/>
                </a:lnTo>
                <a:lnTo>
                  <a:pt x="436" y="224"/>
                </a:lnTo>
                <a:lnTo>
                  <a:pt x="436" y="224"/>
                </a:lnTo>
                <a:lnTo>
                  <a:pt x="436" y="222"/>
                </a:lnTo>
                <a:lnTo>
                  <a:pt x="436" y="222"/>
                </a:lnTo>
                <a:lnTo>
                  <a:pt x="434" y="220"/>
                </a:lnTo>
                <a:lnTo>
                  <a:pt x="434" y="220"/>
                </a:lnTo>
                <a:lnTo>
                  <a:pt x="434" y="220"/>
                </a:lnTo>
                <a:lnTo>
                  <a:pt x="434" y="218"/>
                </a:lnTo>
                <a:lnTo>
                  <a:pt x="434" y="218"/>
                </a:lnTo>
                <a:lnTo>
                  <a:pt x="434" y="218"/>
                </a:lnTo>
                <a:lnTo>
                  <a:pt x="436" y="216"/>
                </a:lnTo>
                <a:lnTo>
                  <a:pt x="436" y="216"/>
                </a:lnTo>
                <a:lnTo>
                  <a:pt x="438" y="216"/>
                </a:lnTo>
                <a:lnTo>
                  <a:pt x="438" y="214"/>
                </a:lnTo>
                <a:lnTo>
                  <a:pt x="438" y="214"/>
                </a:lnTo>
                <a:lnTo>
                  <a:pt x="436" y="214"/>
                </a:lnTo>
                <a:lnTo>
                  <a:pt x="436" y="214"/>
                </a:lnTo>
                <a:lnTo>
                  <a:pt x="436" y="214"/>
                </a:lnTo>
                <a:lnTo>
                  <a:pt x="446" y="214"/>
                </a:lnTo>
                <a:lnTo>
                  <a:pt x="446" y="214"/>
                </a:lnTo>
                <a:lnTo>
                  <a:pt x="450" y="210"/>
                </a:lnTo>
                <a:lnTo>
                  <a:pt x="450" y="210"/>
                </a:lnTo>
                <a:lnTo>
                  <a:pt x="452" y="210"/>
                </a:lnTo>
                <a:lnTo>
                  <a:pt x="452" y="210"/>
                </a:lnTo>
                <a:lnTo>
                  <a:pt x="454" y="208"/>
                </a:lnTo>
                <a:lnTo>
                  <a:pt x="454" y="208"/>
                </a:lnTo>
                <a:lnTo>
                  <a:pt x="458" y="208"/>
                </a:lnTo>
                <a:lnTo>
                  <a:pt x="458" y="208"/>
                </a:lnTo>
                <a:lnTo>
                  <a:pt x="458" y="202"/>
                </a:lnTo>
                <a:lnTo>
                  <a:pt x="458" y="202"/>
                </a:lnTo>
                <a:lnTo>
                  <a:pt x="462" y="202"/>
                </a:lnTo>
                <a:lnTo>
                  <a:pt x="462" y="202"/>
                </a:lnTo>
                <a:lnTo>
                  <a:pt x="460" y="206"/>
                </a:lnTo>
                <a:lnTo>
                  <a:pt x="460" y="208"/>
                </a:lnTo>
                <a:lnTo>
                  <a:pt x="462" y="208"/>
                </a:lnTo>
                <a:lnTo>
                  <a:pt x="462" y="208"/>
                </a:lnTo>
                <a:lnTo>
                  <a:pt x="464" y="210"/>
                </a:lnTo>
                <a:lnTo>
                  <a:pt x="468" y="210"/>
                </a:lnTo>
                <a:lnTo>
                  <a:pt x="470" y="210"/>
                </a:lnTo>
                <a:lnTo>
                  <a:pt x="470" y="210"/>
                </a:lnTo>
                <a:lnTo>
                  <a:pt x="476" y="210"/>
                </a:lnTo>
                <a:lnTo>
                  <a:pt x="476" y="210"/>
                </a:lnTo>
                <a:lnTo>
                  <a:pt x="478" y="214"/>
                </a:lnTo>
                <a:lnTo>
                  <a:pt x="478" y="214"/>
                </a:lnTo>
                <a:lnTo>
                  <a:pt x="484" y="212"/>
                </a:lnTo>
                <a:lnTo>
                  <a:pt x="488" y="210"/>
                </a:lnTo>
                <a:lnTo>
                  <a:pt x="488" y="210"/>
                </a:lnTo>
                <a:lnTo>
                  <a:pt x="488" y="208"/>
                </a:lnTo>
                <a:lnTo>
                  <a:pt x="488" y="208"/>
                </a:lnTo>
                <a:lnTo>
                  <a:pt x="496" y="206"/>
                </a:lnTo>
                <a:lnTo>
                  <a:pt x="496" y="206"/>
                </a:lnTo>
                <a:lnTo>
                  <a:pt x="496" y="202"/>
                </a:lnTo>
                <a:lnTo>
                  <a:pt x="496" y="200"/>
                </a:lnTo>
                <a:lnTo>
                  <a:pt x="496" y="200"/>
                </a:lnTo>
                <a:lnTo>
                  <a:pt x="492" y="200"/>
                </a:lnTo>
                <a:lnTo>
                  <a:pt x="492" y="200"/>
                </a:lnTo>
                <a:lnTo>
                  <a:pt x="486" y="198"/>
                </a:lnTo>
                <a:lnTo>
                  <a:pt x="486" y="200"/>
                </a:lnTo>
                <a:lnTo>
                  <a:pt x="484" y="202"/>
                </a:lnTo>
                <a:lnTo>
                  <a:pt x="484" y="202"/>
                </a:lnTo>
                <a:lnTo>
                  <a:pt x="482" y="198"/>
                </a:lnTo>
                <a:lnTo>
                  <a:pt x="482" y="198"/>
                </a:lnTo>
                <a:lnTo>
                  <a:pt x="480" y="198"/>
                </a:lnTo>
                <a:lnTo>
                  <a:pt x="480" y="198"/>
                </a:lnTo>
                <a:lnTo>
                  <a:pt x="478" y="198"/>
                </a:lnTo>
                <a:lnTo>
                  <a:pt x="478" y="196"/>
                </a:lnTo>
                <a:lnTo>
                  <a:pt x="480" y="192"/>
                </a:lnTo>
                <a:lnTo>
                  <a:pt x="480" y="192"/>
                </a:lnTo>
                <a:lnTo>
                  <a:pt x="480" y="188"/>
                </a:lnTo>
                <a:lnTo>
                  <a:pt x="480" y="188"/>
                </a:lnTo>
                <a:lnTo>
                  <a:pt x="486" y="190"/>
                </a:lnTo>
                <a:lnTo>
                  <a:pt x="486" y="190"/>
                </a:lnTo>
                <a:lnTo>
                  <a:pt x="492" y="190"/>
                </a:lnTo>
                <a:lnTo>
                  <a:pt x="498" y="192"/>
                </a:lnTo>
                <a:lnTo>
                  <a:pt x="498" y="192"/>
                </a:lnTo>
                <a:lnTo>
                  <a:pt x="502" y="194"/>
                </a:lnTo>
                <a:lnTo>
                  <a:pt x="504" y="194"/>
                </a:lnTo>
                <a:lnTo>
                  <a:pt x="506" y="194"/>
                </a:lnTo>
                <a:lnTo>
                  <a:pt x="506" y="194"/>
                </a:lnTo>
                <a:lnTo>
                  <a:pt x="508" y="192"/>
                </a:lnTo>
                <a:lnTo>
                  <a:pt x="508" y="192"/>
                </a:lnTo>
                <a:lnTo>
                  <a:pt x="510" y="192"/>
                </a:lnTo>
                <a:lnTo>
                  <a:pt x="510" y="190"/>
                </a:lnTo>
                <a:lnTo>
                  <a:pt x="510" y="190"/>
                </a:lnTo>
                <a:lnTo>
                  <a:pt x="504" y="188"/>
                </a:lnTo>
                <a:lnTo>
                  <a:pt x="502" y="190"/>
                </a:lnTo>
                <a:lnTo>
                  <a:pt x="502" y="190"/>
                </a:lnTo>
                <a:lnTo>
                  <a:pt x="492" y="190"/>
                </a:lnTo>
                <a:lnTo>
                  <a:pt x="494" y="188"/>
                </a:lnTo>
                <a:lnTo>
                  <a:pt x="494" y="188"/>
                </a:lnTo>
                <a:lnTo>
                  <a:pt x="494" y="186"/>
                </a:lnTo>
                <a:lnTo>
                  <a:pt x="496" y="184"/>
                </a:lnTo>
                <a:lnTo>
                  <a:pt x="494" y="184"/>
                </a:lnTo>
                <a:lnTo>
                  <a:pt x="490" y="184"/>
                </a:lnTo>
                <a:lnTo>
                  <a:pt x="490" y="186"/>
                </a:lnTo>
                <a:lnTo>
                  <a:pt x="490" y="186"/>
                </a:lnTo>
                <a:lnTo>
                  <a:pt x="486" y="186"/>
                </a:lnTo>
                <a:lnTo>
                  <a:pt x="486" y="186"/>
                </a:lnTo>
                <a:lnTo>
                  <a:pt x="488" y="184"/>
                </a:lnTo>
                <a:lnTo>
                  <a:pt x="490" y="182"/>
                </a:lnTo>
                <a:lnTo>
                  <a:pt x="490" y="182"/>
                </a:lnTo>
                <a:lnTo>
                  <a:pt x="492" y="180"/>
                </a:lnTo>
                <a:lnTo>
                  <a:pt x="492" y="180"/>
                </a:lnTo>
                <a:lnTo>
                  <a:pt x="488" y="176"/>
                </a:lnTo>
                <a:lnTo>
                  <a:pt x="482" y="174"/>
                </a:lnTo>
                <a:lnTo>
                  <a:pt x="484" y="172"/>
                </a:lnTo>
                <a:lnTo>
                  <a:pt x="484" y="172"/>
                </a:lnTo>
                <a:lnTo>
                  <a:pt x="484" y="172"/>
                </a:lnTo>
                <a:lnTo>
                  <a:pt x="486" y="172"/>
                </a:lnTo>
                <a:lnTo>
                  <a:pt x="486" y="172"/>
                </a:lnTo>
                <a:lnTo>
                  <a:pt x="488" y="174"/>
                </a:lnTo>
                <a:lnTo>
                  <a:pt x="488" y="174"/>
                </a:lnTo>
                <a:lnTo>
                  <a:pt x="494" y="174"/>
                </a:lnTo>
                <a:lnTo>
                  <a:pt x="494" y="174"/>
                </a:lnTo>
                <a:lnTo>
                  <a:pt x="496" y="172"/>
                </a:lnTo>
                <a:lnTo>
                  <a:pt x="498" y="172"/>
                </a:lnTo>
                <a:lnTo>
                  <a:pt x="498" y="172"/>
                </a:lnTo>
                <a:lnTo>
                  <a:pt x="498" y="174"/>
                </a:lnTo>
                <a:lnTo>
                  <a:pt x="498" y="176"/>
                </a:lnTo>
                <a:lnTo>
                  <a:pt x="498" y="176"/>
                </a:lnTo>
                <a:lnTo>
                  <a:pt x="498" y="176"/>
                </a:lnTo>
                <a:lnTo>
                  <a:pt x="502" y="176"/>
                </a:lnTo>
                <a:lnTo>
                  <a:pt x="502" y="176"/>
                </a:lnTo>
                <a:lnTo>
                  <a:pt x="502" y="168"/>
                </a:lnTo>
                <a:lnTo>
                  <a:pt x="500" y="160"/>
                </a:lnTo>
                <a:lnTo>
                  <a:pt x="498" y="160"/>
                </a:lnTo>
                <a:lnTo>
                  <a:pt x="498" y="160"/>
                </a:lnTo>
                <a:lnTo>
                  <a:pt x="498" y="158"/>
                </a:lnTo>
                <a:lnTo>
                  <a:pt x="500" y="158"/>
                </a:lnTo>
                <a:lnTo>
                  <a:pt x="500" y="158"/>
                </a:lnTo>
                <a:lnTo>
                  <a:pt x="500" y="156"/>
                </a:lnTo>
                <a:lnTo>
                  <a:pt x="498" y="154"/>
                </a:lnTo>
                <a:lnTo>
                  <a:pt x="498" y="154"/>
                </a:lnTo>
                <a:lnTo>
                  <a:pt x="494" y="154"/>
                </a:lnTo>
                <a:lnTo>
                  <a:pt x="490" y="158"/>
                </a:lnTo>
                <a:lnTo>
                  <a:pt x="490" y="158"/>
                </a:lnTo>
                <a:lnTo>
                  <a:pt x="488" y="156"/>
                </a:lnTo>
                <a:lnTo>
                  <a:pt x="488" y="156"/>
                </a:lnTo>
                <a:lnTo>
                  <a:pt x="488" y="156"/>
                </a:lnTo>
                <a:lnTo>
                  <a:pt x="484" y="156"/>
                </a:lnTo>
                <a:lnTo>
                  <a:pt x="484" y="156"/>
                </a:lnTo>
                <a:lnTo>
                  <a:pt x="484" y="152"/>
                </a:lnTo>
                <a:lnTo>
                  <a:pt x="484" y="152"/>
                </a:lnTo>
                <a:lnTo>
                  <a:pt x="488" y="154"/>
                </a:lnTo>
                <a:lnTo>
                  <a:pt x="488" y="154"/>
                </a:lnTo>
                <a:lnTo>
                  <a:pt x="490" y="152"/>
                </a:lnTo>
                <a:lnTo>
                  <a:pt x="490" y="152"/>
                </a:lnTo>
                <a:lnTo>
                  <a:pt x="492" y="150"/>
                </a:lnTo>
                <a:lnTo>
                  <a:pt x="490" y="146"/>
                </a:lnTo>
                <a:lnTo>
                  <a:pt x="490" y="146"/>
                </a:lnTo>
                <a:lnTo>
                  <a:pt x="492" y="146"/>
                </a:lnTo>
                <a:lnTo>
                  <a:pt x="490" y="146"/>
                </a:lnTo>
                <a:lnTo>
                  <a:pt x="490" y="146"/>
                </a:lnTo>
                <a:lnTo>
                  <a:pt x="490" y="142"/>
                </a:lnTo>
                <a:lnTo>
                  <a:pt x="490" y="142"/>
                </a:lnTo>
                <a:lnTo>
                  <a:pt x="498" y="144"/>
                </a:lnTo>
                <a:lnTo>
                  <a:pt x="504" y="144"/>
                </a:lnTo>
                <a:lnTo>
                  <a:pt x="504" y="144"/>
                </a:lnTo>
                <a:lnTo>
                  <a:pt x="508" y="148"/>
                </a:lnTo>
                <a:lnTo>
                  <a:pt x="508" y="148"/>
                </a:lnTo>
                <a:lnTo>
                  <a:pt x="516" y="146"/>
                </a:lnTo>
                <a:lnTo>
                  <a:pt x="514" y="146"/>
                </a:lnTo>
                <a:lnTo>
                  <a:pt x="514" y="146"/>
                </a:lnTo>
                <a:lnTo>
                  <a:pt x="514" y="142"/>
                </a:lnTo>
                <a:lnTo>
                  <a:pt x="514" y="140"/>
                </a:lnTo>
                <a:lnTo>
                  <a:pt x="514" y="140"/>
                </a:lnTo>
                <a:lnTo>
                  <a:pt x="512" y="136"/>
                </a:lnTo>
                <a:lnTo>
                  <a:pt x="512" y="136"/>
                </a:lnTo>
                <a:lnTo>
                  <a:pt x="510" y="134"/>
                </a:lnTo>
                <a:lnTo>
                  <a:pt x="510" y="134"/>
                </a:lnTo>
                <a:lnTo>
                  <a:pt x="508" y="132"/>
                </a:lnTo>
                <a:lnTo>
                  <a:pt x="508" y="132"/>
                </a:lnTo>
                <a:lnTo>
                  <a:pt x="506" y="132"/>
                </a:lnTo>
                <a:lnTo>
                  <a:pt x="506" y="132"/>
                </a:lnTo>
                <a:lnTo>
                  <a:pt x="506" y="136"/>
                </a:lnTo>
                <a:lnTo>
                  <a:pt x="506" y="136"/>
                </a:lnTo>
                <a:lnTo>
                  <a:pt x="504" y="136"/>
                </a:lnTo>
                <a:lnTo>
                  <a:pt x="502" y="134"/>
                </a:lnTo>
                <a:lnTo>
                  <a:pt x="502" y="134"/>
                </a:lnTo>
                <a:lnTo>
                  <a:pt x="496" y="136"/>
                </a:lnTo>
                <a:lnTo>
                  <a:pt x="496" y="136"/>
                </a:lnTo>
                <a:lnTo>
                  <a:pt x="496" y="128"/>
                </a:lnTo>
                <a:lnTo>
                  <a:pt x="496" y="128"/>
                </a:lnTo>
                <a:lnTo>
                  <a:pt x="504" y="128"/>
                </a:lnTo>
                <a:lnTo>
                  <a:pt x="504" y="128"/>
                </a:lnTo>
                <a:lnTo>
                  <a:pt x="506" y="128"/>
                </a:lnTo>
                <a:lnTo>
                  <a:pt x="506" y="126"/>
                </a:lnTo>
                <a:lnTo>
                  <a:pt x="500" y="124"/>
                </a:lnTo>
                <a:lnTo>
                  <a:pt x="500" y="124"/>
                </a:lnTo>
                <a:lnTo>
                  <a:pt x="498" y="122"/>
                </a:lnTo>
                <a:lnTo>
                  <a:pt x="498" y="122"/>
                </a:lnTo>
                <a:lnTo>
                  <a:pt x="496" y="122"/>
                </a:lnTo>
                <a:lnTo>
                  <a:pt x="494" y="124"/>
                </a:lnTo>
                <a:lnTo>
                  <a:pt x="494" y="124"/>
                </a:lnTo>
                <a:lnTo>
                  <a:pt x="490" y="122"/>
                </a:lnTo>
                <a:lnTo>
                  <a:pt x="486" y="120"/>
                </a:lnTo>
                <a:lnTo>
                  <a:pt x="486" y="120"/>
                </a:lnTo>
                <a:lnTo>
                  <a:pt x="484" y="122"/>
                </a:lnTo>
                <a:lnTo>
                  <a:pt x="484" y="122"/>
                </a:lnTo>
                <a:lnTo>
                  <a:pt x="482" y="120"/>
                </a:lnTo>
                <a:lnTo>
                  <a:pt x="484" y="120"/>
                </a:lnTo>
                <a:lnTo>
                  <a:pt x="484" y="120"/>
                </a:lnTo>
                <a:lnTo>
                  <a:pt x="484" y="116"/>
                </a:lnTo>
                <a:lnTo>
                  <a:pt x="484" y="116"/>
                </a:lnTo>
                <a:lnTo>
                  <a:pt x="492" y="118"/>
                </a:lnTo>
                <a:lnTo>
                  <a:pt x="498" y="120"/>
                </a:lnTo>
                <a:lnTo>
                  <a:pt x="498" y="120"/>
                </a:lnTo>
                <a:lnTo>
                  <a:pt x="500" y="114"/>
                </a:lnTo>
                <a:lnTo>
                  <a:pt x="500" y="114"/>
                </a:lnTo>
                <a:lnTo>
                  <a:pt x="502" y="112"/>
                </a:lnTo>
                <a:lnTo>
                  <a:pt x="506" y="110"/>
                </a:lnTo>
                <a:lnTo>
                  <a:pt x="506" y="110"/>
                </a:lnTo>
                <a:lnTo>
                  <a:pt x="506" y="108"/>
                </a:lnTo>
                <a:lnTo>
                  <a:pt x="506" y="106"/>
                </a:lnTo>
                <a:lnTo>
                  <a:pt x="506" y="106"/>
                </a:lnTo>
                <a:lnTo>
                  <a:pt x="506" y="106"/>
                </a:lnTo>
                <a:lnTo>
                  <a:pt x="506" y="104"/>
                </a:lnTo>
                <a:lnTo>
                  <a:pt x="506" y="104"/>
                </a:lnTo>
                <a:lnTo>
                  <a:pt x="510" y="98"/>
                </a:lnTo>
                <a:lnTo>
                  <a:pt x="508" y="98"/>
                </a:lnTo>
                <a:lnTo>
                  <a:pt x="506" y="94"/>
                </a:lnTo>
                <a:lnTo>
                  <a:pt x="506" y="94"/>
                </a:lnTo>
                <a:lnTo>
                  <a:pt x="520" y="94"/>
                </a:lnTo>
                <a:lnTo>
                  <a:pt x="520" y="94"/>
                </a:lnTo>
                <a:lnTo>
                  <a:pt x="520" y="90"/>
                </a:lnTo>
                <a:lnTo>
                  <a:pt x="520" y="90"/>
                </a:lnTo>
                <a:lnTo>
                  <a:pt x="524" y="86"/>
                </a:lnTo>
                <a:lnTo>
                  <a:pt x="524" y="84"/>
                </a:lnTo>
                <a:lnTo>
                  <a:pt x="524" y="82"/>
                </a:lnTo>
                <a:lnTo>
                  <a:pt x="518" y="80"/>
                </a:lnTo>
                <a:lnTo>
                  <a:pt x="518" y="80"/>
                </a:lnTo>
                <a:lnTo>
                  <a:pt x="514" y="80"/>
                </a:lnTo>
                <a:lnTo>
                  <a:pt x="508" y="80"/>
                </a:lnTo>
                <a:lnTo>
                  <a:pt x="508" y="80"/>
                </a:lnTo>
                <a:lnTo>
                  <a:pt x="506" y="82"/>
                </a:lnTo>
                <a:lnTo>
                  <a:pt x="506" y="82"/>
                </a:lnTo>
                <a:lnTo>
                  <a:pt x="498" y="86"/>
                </a:lnTo>
                <a:lnTo>
                  <a:pt x="498" y="86"/>
                </a:lnTo>
                <a:lnTo>
                  <a:pt x="498" y="82"/>
                </a:lnTo>
                <a:lnTo>
                  <a:pt x="498" y="82"/>
                </a:lnTo>
                <a:lnTo>
                  <a:pt x="496" y="80"/>
                </a:lnTo>
                <a:lnTo>
                  <a:pt x="496" y="78"/>
                </a:lnTo>
                <a:lnTo>
                  <a:pt x="498" y="76"/>
                </a:lnTo>
                <a:lnTo>
                  <a:pt x="498" y="76"/>
                </a:lnTo>
                <a:lnTo>
                  <a:pt x="502" y="74"/>
                </a:lnTo>
                <a:lnTo>
                  <a:pt x="508" y="76"/>
                </a:lnTo>
                <a:lnTo>
                  <a:pt x="520" y="78"/>
                </a:lnTo>
                <a:lnTo>
                  <a:pt x="520" y="78"/>
                </a:lnTo>
                <a:lnTo>
                  <a:pt x="528" y="78"/>
                </a:lnTo>
                <a:lnTo>
                  <a:pt x="528" y="78"/>
                </a:lnTo>
                <a:lnTo>
                  <a:pt x="530" y="78"/>
                </a:lnTo>
                <a:lnTo>
                  <a:pt x="530" y="78"/>
                </a:lnTo>
                <a:lnTo>
                  <a:pt x="540" y="70"/>
                </a:lnTo>
                <a:lnTo>
                  <a:pt x="540" y="70"/>
                </a:lnTo>
                <a:lnTo>
                  <a:pt x="540" y="68"/>
                </a:lnTo>
                <a:lnTo>
                  <a:pt x="540" y="66"/>
                </a:lnTo>
                <a:lnTo>
                  <a:pt x="540" y="66"/>
                </a:lnTo>
                <a:lnTo>
                  <a:pt x="532" y="66"/>
                </a:lnTo>
                <a:lnTo>
                  <a:pt x="532" y="66"/>
                </a:lnTo>
                <a:lnTo>
                  <a:pt x="530" y="70"/>
                </a:lnTo>
                <a:lnTo>
                  <a:pt x="530" y="70"/>
                </a:lnTo>
                <a:lnTo>
                  <a:pt x="524" y="68"/>
                </a:lnTo>
                <a:lnTo>
                  <a:pt x="524" y="68"/>
                </a:lnTo>
                <a:lnTo>
                  <a:pt x="520" y="70"/>
                </a:lnTo>
                <a:lnTo>
                  <a:pt x="514" y="70"/>
                </a:lnTo>
                <a:lnTo>
                  <a:pt x="514" y="70"/>
                </a:lnTo>
                <a:lnTo>
                  <a:pt x="508" y="66"/>
                </a:lnTo>
                <a:lnTo>
                  <a:pt x="508" y="66"/>
                </a:lnTo>
                <a:lnTo>
                  <a:pt x="514" y="66"/>
                </a:lnTo>
                <a:lnTo>
                  <a:pt x="518" y="66"/>
                </a:lnTo>
                <a:lnTo>
                  <a:pt x="518" y="66"/>
                </a:lnTo>
                <a:lnTo>
                  <a:pt x="520" y="64"/>
                </a:lnTo>
                <a:lnTo>
                  <a:pt x="520" y="64"/>
                </a:lnTo>
                <a:lnTo>
                  <a:pt x="526" y="64"/>
                </a:lnTo>
                <a:lnTo>
                  <a:pt x="532" y="66"/>
                </a:lnTo>
                <a:lnTo>
                  <a:pt x="532" y="66"/>
                </a:lnTo>
                <a:lnTo>
                  <a:pt x="536" y="64"/>
                </a:lnTo>
                <a:lnTo>
                  <a:pt x="536" y="64"/>
                </a:lnTo>
                <a:lnTo>
                  <a:pt x="540" y="64"/>
                </a:lnTo>
                <a:lnTo>
                  <a:pt x="544" y="66"/>
                </a:lnTo>
                <a:lnTo>
                  <a:pt x="544" y="66"/>
                </a:lnTo>
                <a:lnTo>
                  <a:pt x="544" y="62"/>
                </a:lnTo>
                <a:lnTo>
                  <a:pt x="544" y="62"/>
                </a:lnTo>
                <a:lnTo>
                  <a:pt x="554" y="62"/>
                </a:lnTo>
                <a:lnTo>
                  <a:pt x="554" y="62"/>
                </a:lnTo>
                <a:lnTo>
                  <a:pt x="554" y="58"/>
                </a:lnTo>
                <a:lnTo>
                  <a:pt x="554" y="58"/>
                </a:lnTo>
                <a:lnTo>
                  <a:pt x="554" y="58"/>
                </a:lnTo>
                <a:lnTo>
                  <a:pt x="558" y="58"/>
                </a:lnTo>
                <a:lnTo>
                  <a:pt x="558" y="58"/>
                </a:lnTo>
                <a:lnTo>
                  <a:pt x="562" y="54"/>
                </a:lnTo>
                <a:lnTo>
                  <a:pt x="562" y="54"/>
                </a:lnTo>
                <a:lnTo>
                  <a:pt x="566" y="54"/>
                </a:lnTo>
                <a:lnTo>
                  <a:pt x="568" y="54"/>
                </a:lnTo>
                <a:lnTo>
                  <a:pt x="568" y="54"/>
                </a:lnTo>
                <a:lnTo>
                  <a:pt x="570" y="52"/>
                </a:lnTo>
                <a:lnTo>
                  <a:pt x="570" y="52"/>
                </a:lnTo>
                <a:lnTo>
                  <a:pt x="568" y="50"/>
                </a:lnTo>
                <a:lnTo>
                  <a:pt x="566" y="46"/>
                </a:lnTo>
                <a:lnTo>
                  <a:pt x="566" y="46"/>
                </a:lnTo>
                <a:lnTo>
                  <a:pt x="560" y="48"/>
                </a:lnTo>
                <a:lnTo>
                  <a:pt x="554" y="48"/>
                </a:lnTo>
                <a:lnTo>
                  <a:pt x="554" y="48"/>
                </a:lnTo>
                <a:lnTo>
                  <a:pt x="538" y="44"/>
                </a:lnTo>
                <a:lnTo>
                  <a:pt x="538" y="44"/>
                </a:lnTo>
                <a:lnTo>
                  <a:pt x="534" y="44"/>
                </a:lnTo>
                <a:lnTo>
                  <a:pt x="528" y="46"/>
                </a:lnTo>
                <a:lnTo>
                  <a:pt x="528" y="46"/>
                </a:lnTo>
                <a:lnTo>
                  <a:pt x="524" y="44"/>
                </a:lnTo>
                <a:lnTo>
                  <a:pt x="520" y="44"/>
                </a:lnTo>
                <a:lnTo>
                  <a:pt x="520" y="48"/>
                </a:lnTo>
                <a:lnTo>
                  <a:pt x="520" y="48"/>
                </a:lnTo>
                <a:lnTo>
                  <a:pt x="510" y="50"/>
                </a:lnTo>
                <a:lnTo>
                  <a:pt x="510" y="50"/>
                </a:lnTo>
                <a:lnTo>
                  <a:pt x="510" y="52"/>
                </a:lnTo>
                <a:lnTo>
                  <a:pt x="510" y="52"/>
                </a:lnTo>
                <a:lnTo>
                  <a:pt x="508" y="52"/>
                </a:lnTo>
                <a:lnTo>
                  <a:pt x="506" y="52"/>
                </a:lnTo>
                <a:lnTo>
                  <a:pt x="506" y="52"/>
                </a:lnTo>
                <a:lnTo>
                  <a:pt x="502" y="50"/>
                </a:lnTo>
                <a:lnTo>
                  <a:pt x="500" y="52"/>
                </a:lnTo>
                <a:lnTo>
                  <a:pt x="500" y="52"/>
                </a:lnTo>
                <a:lnTo>
                  <a:pt x="496" y="46"/>
                </a:lnTo>
                <a:lnTo>
                  <a:pt x="496" y="46"/>
                </a:lnTo>
                <a:lnTo>
                  <a:pt x="492" y="52"/>
                </a:lnTo>
                <a:lnTo>
                  <a:pt x="488" y="54"/>
                </a:lnTo>
                <a:lnTo>
                  <a:pt x="488" y="54"/>
                </a:lnTo>
                <a:lnTo>
                  <a:pt x="484" y="54"/>
                </a:lnTo>
                <a:lnTo>
                  <a:pt x="484" y="54"/>
                </a:lnTo>
                <a:lnTo>
                  <a:pt x="480" y="58"/>
                </a:lnTo>
                <a:lnTo>
                  <a:pt x="480" y="58"/>
                </a:lnTo>
                <a:lnTo>
                  <a:pt x="474" y="60"/>
                </a:lnTo>
                <a:lnTo>
                  <a:pt x="466" y="62"/>
                </a:lnTo>
                <a:lnTo>
                  <a:pt x="466" y="62"/>
                </a:lnTo>
                <a:lnTo>
                  <a:pt x="462" y="60"/>
                </a:lnTo>
                <a:lnTo>
                  <a:pt x="462" y="60"/>
                </a:lnTo>
                <a:lnTo>
                  <a:pt x="460" y="62"/>
                </a:lnTo>
                <a:lnTo>
                  <a:pt x="460" y="62"/>
                </a:lnTo>
                <a:lnTo>
                  <a:pt x="456" y="60"/>
                </a:lnTo>
                <a:lnTo>
                  <a:pt x="456" y="60"/>
                </a:lnTo>
                <a:lnTo>
                  <a:pt x="460" y="58"/>
                </a:lnTo>
                <a:lnTo>
                  <a:pt x="464" y="56"/>
                </a:lnTo>
                <a:lnTo>
                  <a:pt x="464" y="56"/>
                </a:lnTo>
                <a:lnTo>
                  <a:pt x="468" y="56"/>
                </a:lnTo>
                <a:lnTo>
                  <a:pt x="468" y="56"/>
                </a:lnTo>
                <a:lnTo>
                  <a:pt x="468" y="54"/>
                </a:lnTo>
                <a:lnTo>
                  <a:pt x="468" y="54"/>
                </a:lnTo>
                <a:lnTo>
                  <a:pt x="474" y="52"/>
                </a:lnTo>
                <a:lnTo>
                  <a:pt x="474" y="52"/>
                </a:lnTo>
                <a:lnTo>
                  <a:pt x="480" y="44"/>
                </a:lnTo>
                <a:lnTo>
                  <a:pt x="480" y="44"/>
                </a:lnTo>
                <a:lnTo>
                  <a:pt x="480" y="42"/>
                </a:lnTo>
                <a:lnTo>
                  <a:pt x="480" y="40"/>
                </a:lnTo>
                <a:lnTo>
                  <a:pt x="480" y="40"/>
                </a:lnTo>
                <a:lnTo>
                  <a:pt x="468" y="42"/>
                </a:lnTo>
                <a:lnTo>
                  <a:pt x="468" y="42"/>
                </a:lnTo>
                <a:lnTo>
                  <a:pt x="466" y="40"/>
                </a:lnTo>
                <a:lnTo>
                  <a:pt x="462" y="40"/>
                </a:lnTo>
                <a:lnTo>
                  <a:pt x="462" y="40"/>
                </a:lnTo>
                <a:lnTo>
                  <a:pt x="460" y="42"/>
                </a:lnTo>
                <a:lnTo>
                  <a:pt x="460" y="42"/>
                </a:lnTo>
                <a:lnTo>
                  <a:pt x="460" y="48"/>
                </a:lnTo>
                <a:lnTo>
                  <a:pt x="460" y="48"/>
                </a:lnTo>
                <a:lnTo>
                  <a:pt x="438" y="48"/>
                </a:lnTo>
                <a:lnTo>
                  <a:pt x="438" y="48"/>
                </a:lnTo>
                <a:lnTo>
                  <a:pt x="440" y="46"/>
                </a:lnTo>
                <a:lnTo>
                  <a:pt x="440" y="46"/>
                </a:lnTo>
                <a:lnTo>
                  <a:pt x="440" y="42"/>
                </a:lnTo>
                <a:lnTo>
                  <a:pt x="440" y="42"/>
                </a:lnTo>
                <a:lnTo>
                  <a:pt x="440" y="42"/>
                </a:lnTo>
                <a:lnTo>
                  <a:pt x="438" y="40"/>
                </a:lnTo>
                <a:lnTo>
                  <a:pt x="438" y="40"/>
                </a:lnTo>
                <a:lnTo>
                  <a:pt x="414" y="42"/>
                </a:lnTo>
                <a:lnTo>
                  <a:pt x="414" y="42"/>
                </a:lnTo>
                <a:lnTo>
                  <a:pt x="410" y="42"/>
                </a:lnTo>
                <a:lnTo>
                  <a:pt x="410" y="42"/>
                </a:lnTo>
                <a:lnTo>
                  <a:pt x="406" y="42"/>
                </a:lnTo>
                <a:lnTo>
                  <a:pt x="404" y="42"/>
                </a:lnTo>
                <a:lnTo>
                  <a:pt x="404" y="42"/>
                </a:lnTo>
                <a:lnTo>
                  <a:pt x="400" y="42"/>
                </a:lnTo>
                <a:lnTo>
                  <a:pt x="398" y="42"/>
                </a:lnTo>
                <a:lnTo>
                  <a:pt x="398" y="42"/>
                </a:lnTo>
                <a:lnTo>
                  <a:pt x="398" y="42"/>
                </a:lnTo>
                <a:lnTo>
                  <a:pt x="396" y="42"/>
                </a:lnTo>
                <a:lnTo>
                  <a:pt x="396" y="42"/>
                </a:lnTo>
                <a:lnTo>
                  <a:pt x="390" y="44"/>
                </a:lnTo>
                <a:lnTo>
                  <a:pt x="384" y="46"/>
                </a:lnTo>
                <a:lnTo>
                  <a:pt x="384" y="46"/>
                </a:lnTo>
                <a:lnTo>
                  <a:pt x="380" y="46"/>
                </a:lnTo>
                <a:lnTo>
                  <a:pt x="376" y="46"/>
                </a:lnTo>
                <a:lnTo>
                  <a:pt x="376" y="46"/>
                </a:lnTo>
                <a:lnTo>
                  <a:pt x="374" y="48"/>
                </a:lnTo>
                <a:lnTo>
                  <a:pt x="374" y="50"/>
                </a:lnTo>
                <a:lnTo>
                  <a:pt x="374" y="50"/>
                </a:lnTo>
                <a:lnTo>
                  <a:pt x="370" y="50"/>
                </a:lnTo>
                <a:lnTo>
                  <a:pt x="370" y="50"/>
                </a:lnTo>
                <a:lnTo>
                  <a:pt x="372" y="46"/>
                </a:lnTo>
                <a:lnTo>
                  <a:pt x="372" y="46"/>
                </a:lnTo>
                <a:lnTo>
                  <a:pt x="378" y="46"/>
                </a:lnTo>
                <a:lnTo>
                  <a:pt x="384" y="44"/>
                </a:lnTo>
                <a:lnTo>
                  <a:pt x="384" y="44"/>
                </a:lnTo>
                <a:lnTo>
                  <a:pt x="386" y="42"/>
                </a:lnTo>
                <a:lnTo>
                  <a:pt x="386" y="42"/>
                </a:lnTo>
                <a:lnTo>
                  <a:pt x="386" y="42"/>
                </a:lnTo>
                <a:lnTo>
                  <a:pt x="390" y="42"/>
                </a:lnTo>
                <a:lnTo>
                  <a:pt x="394" y="42"/>
                </a:lnTo>
                <a:lnTo>
                  <a:pt x="394" y="42"/>
                </a:lnTo>
                <a:lnTo>
                  <a:pt x="394" y="38"/>
                </a:lnTo>
                <a:lnTo>
                  <a:pt x="394" y="38"/>
                </a:lnTo>
                <a:lnTo>
                  <a:pt x="400" y="36"/>
                </a:lnTo>
                <a:lnTo>
                  <a:pt x="400" y="36"/>
                </a:lnTo>
                <a:lnTo>
                  <a:pt x="408" y="36"/>
                </a:lnTo>
                <a:lnTo>
                  <a:pt x="408" y="36"/>
                </a:lnTo>
                <a:lnTo>
                  <a:pt x="424" y="36"/>
                </a:lnTo>
                <a:lnTo>
                  <a:pt x="428" y="38"/>
                </a:lnTo>
                <a:lnTo>
                  <a:pt x="428" y="38"/>
                </a:lnTo>
                <a:lnTo>
                  <a:pt x="440" y="36"/>
                </a:lnTo>
                <a:lnTo>
                  <a:pt x="454" y="36"/>
                </a:lnTo>
                <a:lnTo>
                  <a:pt x="454" y="36"/>
                </a:lnTo>
                <a:lnTo>
                  <a:pt x="458" y="38"/>
                </a:lnTo>
                <a:lnTo>
                  <a:pt x="464" y="38"/>
                </a:lnTo>
                <a:lnTo>
                  <a:pt x="464" y="38"/>
                </a:lnTo>
                <a:lnTo>
                  <a:pt x="472" y="36"/>
                </a:lnTo>
                <a:lnTo>
                  <a:pt x="472" y="36"/>
                </a:lnTo>
                <a:lnTo>
                  <a:pt x="478" y="36"/>
                </a:lnTo>
                <a:lnTo>
                  <a:pt x="482" y="36"/>
                </a:lnTo>
                <a:lnTo>
                  <a:pt x="482"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9" name="Freeform 123">
            <a:extLst>
              <a:ext uri="{FF2B5EF4-FFF2-40B4-BE49-F238E27FC236}">
                <a16:creationId xmlns:a16="http://schemas.microsoft.com/office/drawing/2014/main" id="{74111564-CF28-492E-86A0-E0CD63A74852}"/>
              </a:ext>
            </a:extLst>
          </p:cNvPr>
          <p:cNvSpPr>
            <a:spLocks/>
          </p:cNvSpPr>
          <p:nvPr userDrawn="1"/>
        </p:nvSpPr>
        <p:spPr bwMode="auto">
          <a:xfrm>
            <a:off x="8651435" y="2393658"/>
            <a:ext cx="134163" cy="192190"/>
          </a:xfrm>
          <a:custGeom>
            <a:avLst/>
            <a:gdLst>
              <a:gd name="T0" fmla="*/ 50 w 80"/>
              <a:gd name="T1" fmla="*/ 100 h 112"/>
              <a:gd name="T2" fmla="*/ 46 w 80"/>
              <a:gd name="T3" fmla="*/ 96 h 112"/>
              <a:gd name="T4" fmla="*/ 46 w 80"/>
              <a:gd name="T5" fmla="*/ 88 h 112"/>
              <a:gd name="T6" fmla="*/ 32 w 80"/>
              <a:gd name="T7" fmla="*/ 82 h 112"/>
              <a:gd name="T8" fmla="*/ 34 w 80"/>
              <a:gd name="T9" fmla="*/ 78 h 112"/>
              <a:gd name="T10" fmla="*/ 36 w 80"/>
              <a:gd name="T11" fmla="*/ 76 h 112"/>
              <a:gd name="T12" fmla="*/ 36 w 80"/>
              <a:gd name="T13" fmla="*/ 68 h 112"/>
              <a:gd name="T14" fmla="*/ 40 w 80"/>
              <a:gd name="T15" fmla="*/ 66 h 112"/>
              <a:gd name="T16" fmla="*/ 46 w 80"/>
              <a:gd name="T17" fmla="*/ 64 h 112"/>
              <a:gd name="T18" fmla="*/ 52 w 80"/>
              <a:gd name="T19" fmla="*/ 54 h 112"/>
              <a:gd name="T20" fmla="*/ 56 w 80"/>
              <a:gd name="T21" fmla="*/ 54 h 112"/>
              <a:gd name="T22" fmla="*/ 58 w 80"/>
              <a:gd name="T23" fmla="*/ 54 h 112"/>
              <a:gd name="T24" fmla="*/ 62 w 80"/>
              <a:gd name="T25" fmla="*/ 48 h 112"/>
              <a:gd name="T26" fmla="*/ 66 w 80"/>
              <a:gd name="T27" fmla="*/ 48 h 112"/>
              <a:gd name="T28" fmla="*/ 66 w 80"/>
              <a:gd name="T29" fmla="*/ 44 h 112"/>
              <a:gd name="T30" fmla="*/ 62 w 80"/>
              <a:gd name="T31" fmla="*/ 34 h 112"/>
              <a:gd name="T32" fmla="*/ 64 w 80"/>
              <a:gd name="T33" fmla="*/ 30 h 112"/>
              <a:gd name="T34" fmla="*/ 66 w 80"/>
              <a:gd name="T35" fmla="*/ 28 h 112"/>
              <a:gd name="T36" fmla="*/ 68 w 80"/>
              <a:gd name="T37" fmla="*/ 24 h 112"/>
              <a:gd name="T38" fmla="*/ 70 w 80"/>
              <a:gd name="T39" fmla="*/ 24 h 112"/>
              <a:gd name="T40" fmla="*/ 72 w 80"/>
              <a:gd name="T41" fmla="*/ 24 h 112"/>
              <a:gd name="T42" fmla="*/ 80 w 80"/>
              <a:gd name="T43" fmla="*/ 14 h 112"/>
              <a:gd name="T44" fmla="*/ 70 w 80"/>
              <a:gd name="T45" fmla="*/ 10 h 112"/>
              <a:gd name="T46" fmla="*/ 64 w 80"/>
              <a:gd name="T47" fmla="*/ 16 h 112"/>
              <a:gd name="T48" fmla="*/ 54 w 80"/>
              <a:gd name="T49" fmla="*/ 18 h 112"/>
              <a:gd name="T50" fmla="*/ 50 w 80"/>
              <a:gd name="T51" fmla="*/ 26 h 112"/>
              <a:gd name="T52" fmla="*/ 42 w 80"/>
              <a:gd name="T53" fmla="*/ 30 h 112"/>
              <a:gd name="T54" fmla="*/ 34 w 80"/>
              <a:gd name="T55" fmla="*/ 22 h 112"/>
              <a:gd name="T56" fmla="*/ 28 w 80"/>
              <a:gd name="T57" fmla="*/ 32 h 112"/>
              <a:gd name="T58" fmla="*/ 16 w 80"/>
              <a:gd name="T59" fmla="*/ 46 h 112"/>
              <a:gd name="T60" fmla="*/ 6 w 80"/>
              <a:gd name="T61" fmla="*/ 60 h 112"/>
              <a:gd name="T62" fmla="*/ 0 w 80"/>
              <a:gd name="T63" fmla="*/ 70 h 112"/>
              <a:gd name="T64" fmla="*/ 2 w 80"/>
              <a:gd name="T65" fmla="*/ 72 h 112"/>
              <a:gd name="T66" fmla="*/ 8 w 80"/>
              <a:gd name="T67" fmla="*/ 76 h 112"/>
              <a:gd name="T68" fmla="*/ 10 w 80"/>
              <a:gd name="T69" fmla="*/ 88 h 112"/>
              <a:gd name="T70" fmla="*/ 6 w 80"/>
              <a:gd name="T71" fmla="*/ 90 h 112"/>
              <a:gd name="T72" fmla="*/ 0 w 80"/>
              <a:gd name="T73" fmla="*/ 100 h 112"/>
              <a:gd name="T74" fmla="*/ 8 w 80"/>
              <a:gd name="T75" fmla="*/ 102 h 112"/>
              <a:gd name="T76" fmla="*/ 6 w 80"/>
              <a:gd name="T77" fmla="*/ 106 h 112"/>
              <a:gd name="T78" fmla="*/ 10 w 80"/>
              <a:gd name="T79" fmla="*/ 112 h 112"/>
              <a:gd name="T80" fmla="*/ 14 w 80"/>
              <a:gd name="T81" fmla="*/ 110 h 112"/>
              <a:gd name="T82" fmla="*/ 16 w 80"/>
              <a:gd name="T83" fmla="*/ 108 h 112"/>
              <a:gd name="T84" fmla="*/ 24 w 80"/>
              <a:gd name="T85" fmla="*/ 108 h 112"/>
              <a:gd name="T86" fmla="*/ 36 w 80"/>
              <a:gd name="T87" fmla="*/ 98 h 112"/>
              <a:gd name="T88" fmla="*/ 42 w 80"/>
              <a:gd name="T89" fmla="*/ 102 h 112"/>
              <a:gd name="T90" fmla="*/ 50 w 80"/>
              <a:gd name="T91" fmla="*/ 10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112">
                <a:moveTo>
                  <a:pt x="50" y="100"/>
                </a:moveTo>
                <a:lnTo>
                  <a:pt x="50" y="100"/>
                </a:lnTo>
                <a:lnTo>
                  <a:pt x="46" y="96"/>
                </a:lnTo>
                <a:lnTo>
                  <a:pt x="46" y="96"/>
                </a:lnTo>
                <a:lnTo>
                  <a:pt x="46" y="88"/>
                </a:lnTo>
                <a:lnTo>
                  <a:pt x="46" y="88"/>
                </a:lnTo>
                <a:lnTo>
                  <a:pt x="40" y="84"/>
                </a:lnTo>
                <a:lnTo>
                  <a:pt x="32" y="82"/>
                </a:lnTo>
                <a:lnTo>
                  <a:pt x="32" y="82"/>
                </a:lnTo>
                <a:lnTo>
                  <a:pt x="34" y="78"/>
                </a:lnTo>
                <a:lnTo>
                  <a:pt x="36" y="76"/>
                </a:lnTo>
                <a:lnTo>
                  <a:pt x="36" y="76"/>
                </a:lnTo>
                <a:lnTo>
                  <a:pt x="36" y="72"/>
                </a:lnTo>
                <a:lnTo>
                  <a:pt x="36" y="68"/>
                </a:lnTo>
                <a:lnTo>
                  <a:pt x="36" y="68"/>
                </a:lnTo>
                <a:lnTo>
                  <a:pt x="40" y="66"/>
                </a:lnTo>
                <a:lnTo>
                  <a:pt x="46" y="64"/>
                </a:lnTo>
                <a:lnTo>
                  <a:pt x="46" y="64"/>
                </a:lnTo>
                <a:lnTo>
                  <a:pt x="50" y="60"/>
                </a:lnTo>
                <a:lnTo>
                  <a:pt x="52" y="54"/>
                </a:lnTo>
                <a:lnTo>
                  <a:pt x="52" y="54"/>
                </a:lnTo>
                <a:lnTo>
                  <a:pt x="56" y="54"/>
                </a:lnTo>
                <a:lnTo>
                  <a:pt x="58" y="54"/>
                </a:lnTo>
                <a:lnTo>
                  <a:pt x="58" y="54"/>
                </a:lnTo>
                <a:lnTo>
                  <a:pt x="60" y="50"/>
                </a:lnTo>
                <a:lnTo>
                  <a:pt x="62" y="48"/>
                </a:lnTo>
                <a:lnTo>
                  <a:pt x="62" y="48"/>
                </a:lnTo>
                <a:lnTo>
                  <a:pt x="66" y="48"/>
                </a:lnTo>
                <a:lnTo>
                  <a:pt x="66" y="48"/>
                </a:lnTo>
                <a:lnTo>
                  <a:pt x="66" y="44"/>
                </a:lnTo>
                <a:lnTo>
                  <a:pt x="64" y="38"/>
                </a:lnTo>
                <a:lnTo>
                  <a:pt x="62" y="34"/>
                </a:lnTo>
                <a:lnTo>
                  <a:pt x="64" y="30"/>
                </a:lnTo>
                <a:lnTo>
                  <a:pt x="64" y="30"/>
                </a:lnTo>
                <a:lnTo>
                  <a:pt x="64" y="30"/>
                </a:lnTo>
                <a:lnTo>
                  <a:pt x="66" y="28"/>
                </a:lnTo>
                <a:lnTo>
                  <a:pt x="66" y="28"/>
                </a:lnTo>
                <a:lnTo>
                  <a:pt x="68" y="24"/>
                </a:lnTo>
                <a:lnTo>
                  <a:pt x="68" y="24"/>
                </a:lnTo>
                <a:lnTo>
                  <a:pt x="70" y="24"/>
                </a:lnTo>
                <a:lnTo>
                  <a:pt x="72" y="24"/>
                </a:lnTo>
                <a:lnTo>
                  <a:pt x="72" y="24"/>
                </a:lnTo>
                <a:lnTo>
                  <a:pt x="80" y="14"/>
                </a:lnTo>
                <a:lnTo>
                  <a:pt x="80" y="14"/>
                </a:lnTo>
                <a:lnTo>
                  <a:pt x="70" y="0"/>
                </a:lnTo>
                <a:lnTo>
                  <a:pt x="70" y="10"/>
                </a:lnTo>
                <a:lnTo>
                  <a:pt x="64" y="12"/>
                </a:lnTo>
                <a:lnTo>
                  <a:pt x="64" y="16"/>
                </a:lnTo>
                <a:lnTo>
                  <a:pt x="60" y="18"/>
                </a:lnTo>
                <a:lnTo>
                  <a:pt x="54" y="18"/>
                </a:lnTo>
                <a:lnTo>
                  <a:pt x="50" y="22"/>
                </a:lnTo>
                <a:lnTo>
                  <a:pt x="50" y="26"/>
                </a:lnTo>
                <a:lnTo>
                  <a:pt x="50" y="32"/>
                </a:lnTo>
                <a:lnTo>
                  <a:pt x="42" y="30"/>
                </a:lnTo>
                <a:lnTo>
                  <a:pt x="38" y="28"/>
                </a:lnTo>
                <a:lnTo>
                  <a:pt x="34" y="22"/>
                </a:lnTo>
                <a:lnTo>
                  <a:pt x="28" y="24"/>
                </a:lnTo>
                <a:lnTo>
                  <a:pt x="28" y="32"/>
                </a:lnTo>
                <a:lnTo>
                  <a:pt x="20" y="40"/>
                </a:lnTo>
                <a:lnTo>
                  <a:pt x="16" y="46"/>
                </a:lnTo>
                <a:lnTo>
                  <a:pt x="10" y="54"/>
                </a:lnTo>
                <a:lnTo>
                  <a:pt x="6" y="60"/>
                </a:lnTo>
                <a:lnTo>
                  <a:pt x="0" y="70"/>
                </a:lnTo>
                <a:lnTo>
                  <a:pt x="0" y="70"/>
                </a:lnTo>
                <a:lnTo>
                  <a:pt x="2" y="72"/>
                </a:lnTo>
                <a:lnTo>
                  <a:pt x="2" y="72"/>
                </a:lnTo>
                <a:lnTo>
                  <a:pt x="8" y="76"/>
                </a:lnTo>
                <a:lnTo>
                  <a:pt x="8" y="76"/>
                </a:lnTo>
                <a:lnTo>
                  <a:pt x="6" y="82"/>
                </a:lnTo>
                <a:lnTo>
                  <a:pt x="10" y="88"/>
                </a:lnTo>
                <a:lnTo>
                  <a:pt x="10" y="88"/>
                </a:lnTo>
                <a:lnTo>
                  <a:pt x="6" y="90"/>
                </a:lnTo>
                <a:lnTo>
                  <a:pt x="2" y="92"/>
                </a:lnTo>
                <a:lnTo>
                  <a:pt x="0" y="100"/>
                </a:lnTo>
                <a:lnTo>
                  <a:pt x="0" y="100"/>
                </a:lnTo>
                <a:lnTo>
                  <a:pt x="8" y="102"/>
                </a:lnTo>
                <a:lnTo>
                  <a:pt x="8" y="102"/>
                </a:lnTo>
                <a:lnTo>
                  <a:pt x="6" y="106"/>
                </a:lnTo>
                <a:lnTo>
                  <a:pt x="8" y="110"/>
                </a:lnTo>
                <a:lnTo>
                  <a:pt x="10" y="112"/>
                </a:lnTo>
                <a:lnTo>
                  <a:pt x="10" y="112"/>
                </a:lnTo>
                <a:lnTo>
                  <a:pt x="14" y="110"/>
                </a:lnTo>
                <a:lnTo>
                  <a:pt x="16" y="108"/>
                </a:lnTo>
                <a:lnTo>
                  <a:pt x="16" y="108"/>
                </a:lnTo>
                <a:lnTo>
                  <a:pt x="20" y="108"/>
                </a:lnTo>
                <a:lnTo>
                  <a:pt x="24" y="108"/>
                </a:lnTo>
                <a:lnTo>
                  <a:pt x="32" y="100"/>
                </a:lnTo>
                <a:lnTo>
                  <a:pt x="36" y="98"/>
                </a:lnTo>
                <a:lnTo>
                  <a:pt x="36" y="98"/>
                </a:lnTo>
                <a:lnTo>
                  <a:pt x="42" y="102"/>
                </a:lnTo>
                <a:lnTo>
                  <a:pt x="42" y="102"/>
                </a:lnTo>
                <a:lnTo>
                  <a:pt x="50" y="100"/>
                </a:lnTo>
                <a:lnTo>
                  <a:pt x="50"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0" name="Freeform 124">
            <a:extLst>
              <a:ext uri="{FF2B5EF4-FFF2-40B4-BE49-F238E27FC236}">
                <a16:creationId xmlns:a16="http://schemas.microsoft.com/office/drawing/2014/main" id="{A2315E0C-7357-4E90-B16A-A53B7FDB7310}"/>
              </a:ext>
            </a:extLst>
          </p:cNvPr>
          <p:cNvSpPr>
            <a:spLocks/>
          </p:cNvSpPr>
          <p:nvPr userDrawn="1"/>
        </p:nvSpPr>
        <p:spPr bwMode="auto">
          <a:xfrm>
            <a:off x="5909481" y="3275674"/>
            <a:ext cx="273357" cy="288286"/>
          </a:xfrm>
          <a:custGeom>
            <a:avLst/>
            <a:gdLst>
              <a:gd name="T0" fmla="*/ 80 w 163"/>
              <a:gd name="T1" fmla="*/ 150 h 168"/>
              <a:gd name="T2" fmla="*/ 78 w 163"/>
              <a:gd name="T3" fmla="*/ 142 h 168"/>
              <a:gd name="T4" fmla="*/ 80 w 163"/>
              <a:gd name="T5" fmla="*/ 138 h 168"/>
              <a:gd name="T6" fmla="*/ 86 w 163"/>
              <a:gd name="T7" fmla="*/ 130 h 168"/>
              <a:gd name="T8" fmla="*/ 96 w 163"/>
              <a:gd name="T9" fmla="*/ 126 h 168"/>
              <a:gd name="T10" fmla="*/ 102 w 163"/>
              <a:gd name="T11" fmla="*/ 128 h 168"/>
              <a:gd name="T12" fmla="*/ 106 w 163"/>
              <a:gd name="T13" fmla="*/ 136 h 168"/>
              <a:gd name="T14" fmla="*/ 113 w 163"/>
              <a:gd name="T15" fmla="*/ 128 h 168"/>
              <a:gd name="T16" fmla="*/ 113 w 163"/>
              <a:gd name="T17" fmla="*/ 122 h 168"/>
              <a:gd name="T18" fmla="*/ 119 w 163"/>
              <a:gd name="T19" fmla="*/ 110 h 168"/>
              <a:gd name="T20" fmla="*/ 125 w 163"/>
              <a:gd name="T21" fmla="*/ 98 h 168"/>
              <a:gd name="T22" fmla="*/ 127 w 163"/>
              <a:gd name="T23" fmla="*/ 90 h 168"/>
              <a:gd name="T24" fmla="*/ 141 w 163"/>
              <a:gd name="T25" fmla="*/ 80 h 168"/>
              <a:gd name="T26" fmla="*/ 141 w 163"/>
              <a:gd name="T27" fmla="*/ 72 h 168"/>
              <a:gd name="T28" fmla="*/ 143 w 163"/>
              <a:gd name="T29" fmla="*/ 66 h 168"/>
              <a:gd name="T30" fmla="*/ 147 w 163"/>
              <a:gd name="T31" fmla="*/ 56 h 168"/>
              <a:gd name="T32" fmla="*/ 151 w 163"/>
              <a:gd name="T33" fmla="*/ 50 h 168"/>
              <a:gd name="T34" fmla="*/ 157 w 163"/>
              <a:gd name="T35" fmla="*/ 42 h 168"/>
              <a:gd name="T36" fmla="*/ 163 w 163"/>
              <a:gd name="T37" fmla="*/ 30 h 168"/>
              <a:gd name="T38" fmla="*/ 159 w 163"/>
              <a:gd name="T39" fmla="*/ 14 h 168"/>
              <a:gd name="T40" fmla="*/ 141 w 163"/>
              <a:gd name="T41" fmla="*/ 6 h 168"/>
              <a:gd name="T42" fmla="*/ 129 w 163"/>
              <a:gd name="T43" fmla="*/ 10 h 168"/>
              <a:gd name="T44" fmla="*/ 106 w 163"/>
              <a:gd name="T45" fmla="*/ 8 h 168"/>
              <a:gd name="T46" fmla="*/ 98 w 163"/>
              <a:gd name="T47" fmla="*/ 14 h 168"/>
              <a:gd name="T48" fmla="*/ 84 w 163"/>
              <a:gd name="T49" fmla="*/ 14 h 168"/>
              <a:gd name="T50" fmla="*/ 76 w 163"/>
              <a:gd name="T51" fmla="*/ 8 h 168"/>
              <a:gd name="T52" fmla="*/ 62 w 163"/>
              <a:gd name="T53" fmla="*/ 12 h 168"/>
              <a:gd name="T54" fmla="*/ 54 w 163"/>
              <a:gd name="T55" fmla="*/ 6 h 168"/>
              <a:gd name="T56" fmla="*/ 46 w 163"/>
              <a:gd name="T57" fmla="*/ 0 h 168"/>
              <a:gd name="T58" fmla="*/ 34 w 163"/>
              <a:gd name="T59" fmla="*/ 2 h 168"/>
              <a:gd name="T60" fmla="*/ 20 w 163"/>
              <a:gd name="T61" fmla="*/ 16 h 168"/>
              <a:gd name="T62" fmla="*/ 10 w 163"/>
              <a:gd name="T63" fmla="*/ 36 h 168"/>
              <a:gd name="T64" fmla="*/ 10 w 163"/>
              <a:gd name="T65" fmla="*/ 44 h 168"/>
              <a:gd name="T66" fmla="*/ 14 w 163"/>
              <a:gd name="T67" fmla="*/ 52 h 168"/>
              <a:gd name="T68" fmla="*/ 12 w 163"/>
              <a:gd name="T69" fmla="*/ 62 h 168"/>
              <a:gd name="T70" fmla="*/ 10 w 163"/>
              <a:gd name="T71" fmla="*/ 66 h 168"/>
              <a:gd name="T72" fmla="*/ 8 w 163"/>
              <a:gd name="T73" fmla="*/ 78 h 168"/>
              <a:gd name="T74" fmla="*/ 6 w 163"/>
              <a:gd name="T75" fmla="*/ 84 h 168"/>
              <a:gd name="T76" fmla="*/ 4 w 163"/>
              <a:gd name="T77" fmla="*/ 88 h 168"/>
              <a:gd name="T78" fmla="*/ 2 w 163"/>
              <a:gd name="T79" fmla="*/ 94 h 168"/>
              <a:gd name="T80" fmla="*/ 2 w 163"/>
              <a:gd name="T81" fmla="*/ 112 h 168"/>
              <a:gd name="T82" fmla="*/ 4 w 163"/>
              <a:gd name="T83" fmla="*/ 122 h 168"/>
              <a:gd name="T84" fmla="*/ 12 w 163"/>
              <a:gd name="T85" fmla="*/ 130 h 168"/>
              <a:gd name="T86" fmla="*/ 26 w 163"/>
              <a:gd name="T87" fmla="*/ 132 h 168"/>
              <a:gd name="T88" fmla="*/ 34 w 163"/>
              <a:gd name="T89" fmla="*/ 142 h 168"/>
              <a:gd name="T90" fmla="*/ 40 w 163"/>
              <a:gd name="T91" fmla="*/ 146 h 168"/>
              <a:gd name="T92" fmla="*/ 42 w 163"/>
              <a:gd name="T93" fmla="*/ 152 h 168"/>
              <a:gd name="T94" fmla="*/ 46 w 163"/>
              <a:gd name="T95" fmla="*/ 168 h 168"/>
              <a:gd name="T96" fmla="*/ 58 w 163"/>
              <a:gd name="T97" fmla="*/ 166 h 168"/>
              <a:gd name="T98" fmla="*/ 64 w 163"/>
              <a:gd name="T99" fmla="*/ 164 h 168"/>
              <a:gd name="T100" fmla="*/ 68 w 163"/>
              <a:gd name="T101" fmla="*/ 164 h 168"/>
              <a:gd name="T102" fmla="*/ 74 w 163"/>
              <a:gd name="T103" fmla="*/ 160 h 168"/>
              <a:gd name="T104" fmla="*/ 76 w 163"/>
              <a:gd name="T105"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 h="168">
                <a:moveTo>
                  <a:pt x="78" y="160"/>
                </a:moveTo>
                <a:lnTo>
                  <a:pt x="78" y="156"/>
                </a:lnTo>
                <a:lnTo>
                  <a:pt x="80" y="150"/>
                </a:lnTo>
                <a:lnTo>
                  <a:pt x="80" y="150"/>
                </a:lnTo>
                <a:lnTo>
                  <a:pt x="78" y="148"/>
                </a:lnTo>
                <a:lnTo>
                  <a:pt x="78" y="146"/>
                </a:lnTo>
                <a:lnTo>
                  <a:pt x="78" y="146"/>
                </a:lnTo>
                <a:lnTo>
                  <a:pt x="78" y="142"/>
                </a:lnTo>
                <a:lnTo>
                  <a:pt x="78" y="142"/>
                </a:lnTo>
                <a:lnTo>
                  <a:pt x="78" y="142"/>
                </a:lnTo>
                <a:lnTo>
                  <a:pt x="80" y="140"/>
                </a:lnTo>
                <a:lnTo>
                  <a:pt x="80" y="138"/>
                </a:lnTo>
                <a:lnTo>
                  <a:pt x="82" y="132"/>
                </a:lnTo>
                <a:lnTo>
                  <a:pt x="82" y="132"/>
                </a:lnTo>
                <a:lnTo>
                  <a:pt x="84" y="130"/>
                </a:lnTo>
                <a:lnTo>
                  <a:pt x="86" y="130"/>
                </a:lnTo>
                <a:lnTo>
                  <a:pt x="92" y="128"/>
                </a:lnTo>
                <a:lnTo>
                  <a:pt x="92" y="128"/>
                </a:lnTo>
                <a:lnTo>
                  <a:pt x="96" y="126"/>
                </a:lnTo>
                <a:lnTo>
                  <a:pt x="96" y="126"/>
                </a:lnTo>
                <a:lnTo>
                  <a:pt x="96" y="126"/>
                </a:lnTo>
                <a:lnTo>
                  <a:pt x="102" y="128"/>
                </a:lnTo>
                <a:lnTo>
                  <a:pt x="102" y="128"/>
                </a:lnTo>
                <a:lnTo>
                  <a:pt x="102" y="128"/>
                </a:lnTo>
                <a:lnTo>
                  <a:pt x="104" y="130"/>
                </a:lnTo>
                <a:lnTo>
                  <a:pt x="102" y="136"/>
                </a:lnTo>
                <a:lnTo>
                  <a:pt x="102" y="136"/>
                </a:lnTo>
                <a:lnTo>
                  <a:pt x="106" y="136"/>
                </a:lnTo>
                <a:lnTo>
                  <a:pt x="108" y="134"/>
                </a:lnTo>
                <a:lnTo>
                  <a:pt x="110" y="130"/>
                </a:lnTo>
                <a:lnTo>
                  <a:pt x="113" y="128"/>
                </a:lnTo>
                <a:lnTo>
                  <a:pt x="113" y="128"/>
                </a:lnTo>
                <a:lnTo>
                  <a:pt x="115" y="126"/>
                </a:lnTo>
                <a:lnTo>
                  <a:pt x="115" y="126"/>
                </a:lnTo>
                <a:lnTo>
                  <a:pt x="113" y="122"/>
                </a:lnTo>
                <a:lnTo>
                  <a:pt x="113" y="122"/>
                </a:lnTo>
                <a:lnTo>
                  <a:pt x="115" y="116"/>
                </a:lnTo>
                <a:lnTo>
                  <a:pt x="117" y="112"/>
                </a:lnTo>
                <a:lnTo>
                  <a:pt x="117" y="112"/>
                </a:lnTo>
                <a:lnTo>
                  <a:pt x="119" y="110"/>
                </a:lnTo>
                <a:lnTo>
                  <a:pt x="123" y="106"/>
                </a:lnTo>
                <a:lnTo>
                  <a:pt x="123" y="106"/>
                </a:lnTo>
                <a:lnTo>
                  <a:pt x="123" y="102"/>
                </a:lnTo>
                <a:lnTo>
                  <a:pt x="125" y="98"/>
                </a:lnTo>
                <a:lnTo>
                  <a:pt x="125" y="98"/>
                </a:lnTo>
                <a:lnTo>
                  <a:pt x="127" y="94"/>
                </a:lnTo>
                <a:lnTo>
                  <a:pt x="127" y="90"/>
                </a:lnTo>
                <a:lnTo>
                  <a:pt x="127" y="90"/>
                </a:lnTo>
                <a:lnTo>
                  <a:pt x="129" y="86"/>
                </a:lnTo>
                <a:lnTo>
                  <a:pt x="131" y="84"/>
                </a:lnTo>
                <a:lnTo>
                  <a:pt x="131" y="84"/>
                </a:lnTo>
                <a:lnTo>
                  <a:pt x="141" y="80"/>
                </a:lnTo>
                <a:lnTo>
                  <a:pt x="141" y="80"/>
                </a:lnTo>
                <a:lnTo>
                  <a:pt x="143" y="78"/>
                </a:lnTo>
                <a:lnTo>
                  <a:pt x="143" y="76"/>
                </a:lnTo>
                <a:lnTo>
                  <a:pt x="141" y="72"/>
                </a:lnTo>
                <a:lnTo>
                  <a:pt x="141" y="72"/>
                </a:lnTo>
                <a:lnTo>
                  <a:pt x="141" y="70"/>
                </a:lnTo>
                <a:lnTo>
                  <a:pt x="143" y="66"/>
                </a:lnTo>
                <a:lnTo>
                  <a:pt x="143" y="66"/>
                </a:lnTo>
                <a:lnTo>
                  <a:pt x="145" y="64"/>
                </a:lnTo>
                <a:lnTo>
                  <a:pt x="147" y="60"/>
                </a:lnTo>
                <a:lnTo>
                  <a:pt x="147" y="60"/>
                </a:lnTo>
                <a:lnTo>
                  <a:pt x="147" y="56"/>
                </a:lnTo>
                <a:lnTo>
                  <a:pt x="147" y="56"/>
                </a:lnTo>
                <a:lnTo>
                  <a:pt x="147" y="54"/>
                </a:lnTo>
                <a:lnTo>
                  <a:pt x="147" y="54"/>
                </a:lnTo>
                <a:lnTo>
                  <a:pt x="151" y="50"/>
                </a:lnTo>
                <a:lnTo>
                  <a:pt x="153" y="46"/>
                </a:lnTo>
                <a:lnTo>
                  <a:pt x="153" y="46"/>
                </a:lnTo>
                <a:lnTo>
                  <a:pt x="155" y="44"/>
                </a:lnTo>
                <a:lnTo>
                  <a:pt x="157" y="42"/>
                </a:lnTo>
                <a:lnTo>
                  <a:pt x="157" y="42"/>
                </a:lnTo>
                <a:lnTo>
                  <a:pt x="159" y="42"/>
                </a:lnTo>
                <a:lnTo>
                  <a:pt x="161" y="38"/>
                </a:lnTo>
                <a:lnTo>
                  <a:pt x="163" y="30"/>
                </a:lnTo>
                <a:lnTo>
                  <a:pt x="163" y="30"/>
                </a:lnTo>
                <a:lnTo>
                  <a:pt x="161" y="28"/>
                </a:lnTo>
                <a:lnTo>
                  <a:pt x="159" y="26"/>
                </a:lnTo>
                <a:lnTo>
                  <a:pt x="159" y="14"/>
                </a:lnTo>
                <a:lnTo>
                  <a:pt x="153" y="0"/>
                </a:lnTo>
                <a:lnTo>
                  <a:pt x="143" y="4"/>
                </a:lnTo>
                <a:lnTo>
                  <a:pt x="143" y="4"/>
                </a:lnTo>
                <a:lnTo>
                  <a:pt x="141" y="6"/>
                </a:lnTo>
                <a:lnTo>
                  <a:pt x="139" y="8"/>
                </a:lnTo>
                <a:lnTo>
                  <a:pt x="137" y="10"/>
                </a:lnTo>
                <a:lnTo>
                  <a:pt x="137" y="10"/>
                </a:lnTo>
                <a:lnTo>
                  <a:pt x="129" y="10"/>
                </a:lnTo>
                <a:lnTo>
                  <a:pt x="121" y="10"/>
                </a:lnTo>
                <a:lnTo>
                  <a:pt x="121" y="10"/>
                </a:lnTo>
                <a:lnTo>
                  <a:pt x="113" y="8"/>
                </a:lnTo>
                <a:lnTo>
                  <a:pt x="106" y="8"/>
                </a:lnTo>
                <a:lnTo>
                  <a:pt x="106" y="8"/>
                </a:lnTo>
                <a:lnTo>
                  <a:pt x="100" y="10"/>
                </a:lnTo>
                <a:lnTo>
                  <a:pt x="98" y="14"/>
                </a:lnTo>
                <a:lnTo>
                  <a:pt x="98" y="14"/>
                </a:lnTo>
                <a:lnTo>
                  <a:pt x="96" y="14"/>
                </a:lnTo>
                <a:lnTo>
                  <a:pt x="94" y="14"/>
                </a:lnTo>
                <a:lnTo>
                  <a:pt x="84" y="14"/>
                </a:lnTo>
                <a:lnTo>
                  <a:pt x="84" y="14"/>
                </a:lnTo>
                <a:lnTo>
                  <a:pt x="78" y="12"/>
                </a:lnTo>
                <a:lnTo>
                  <a:pt x="78" y="10"/>
                </a:lnTo>
                <a:lnTo>
                  <a:pt x="78" y="10"/>
                </a:lnTo>
                <a:lnTo>
                  <a:pt x="76" y="8"/>
                </a:lnTo>
                <a:lnTo>
                  <a:pt x="72" y="8"/>
                </a:lnTo>
                <a:lnTo>
                  <a:pt x="68" y="12"/>
                </a:lnTo>
                <a:lnTo>
                  <a:pt x="68" y="12"/>
                </a:lnTo>
                <a:lnTo>
                  <a:pt x="62" y="12"/>
                </a:lnTo>
                <a:lnTo>
                  <a:pt x="58" y="12"/>
                </a:lnTo>
                <a:lnTo>
                  <a:pt x="58" y="12"/>
                </a:lnTo>
                <a:lnTo>
                  <a:pt x="56" y="8"/>
                </a:lnTo>
                <a:lnTo>
                  <a:pt x="54" y="6"/>
                </a:lnTo>
                <a:lnTo>
                  <a:pt x="52" y="4"/>
                </a:lnTo>
                <a:lnTo>
                  <a:pt x="52" y="4"/>
                </a:lnTo>
                <a:lnTo>
                  <a:pt x="48" y="2"/>
                </a:lnTo>
                <a:lnTo>
                  <a:pt x="46" y="0"/>
                </a:lnTo>
                <a:lnTo>
                  <a:pt x="46" y="0"/>
                </a:lnTo>
                <a:lnTo>
                  <a:pt x="40" y="2"/>
                </a:lnTo>
                <a:lnTo>
                  <a:pt x="34" y="2"/>
                </a:lnTo>
                <a:lnTo>
                  <a:pt x="34" y="2"/>
                </a:lnTo>
                <a:lnTo>
                  <a:pt x="20" y="10"/>
                </a:lnTo>
                <a:lnTo>
                  <a:pt x="20" y="10"/>
                </a:lnTo>
                <a:lnTo>
                  <a:pt x="20" y="16"/>
                </a:lnTo>
                <a:lnTo>
                  <a:pt x="20" y="16"/>
                </a:lnTo>
                <a:lnTo>
                  <a:pt x="18" y="22"/>
                </a:lnTo>
                <a:lnTo>
                  <a:pt x="14" y="24"/>
                </a:lnTo>
                <a:lnTo>
                  <a:pt x="10" y="36"/>
                </a:lnTo>
                <a:lnTo>
                  <a:pt x="10" y="36"/>
                </a:lnTo>
                <a:lnTo>
                  <a:pt x="10" y="38"/>
                </a:lnTo>
                <a:lnTo>
                  <a:pt x="10" y="42"/>
                </a:lnTo>
                <a:lnTo>
                  <a:pt x="10" y="44"/>
                </a:lnTo>
                <a:lnTo>
                  <a:pt x="10" y="44"/>
                </a:lnTo>
                <a:lnTo>
                  <a:pt x="8" y="46"/>
                </a:lnTo>
                <a:lnTo>
                  <a:pt x="12" y="48"/>
                </a:lnTo>
                <a:lnTo>
                  <a:pt x="12" y="48"/>
                </a:lnTo>
                <a:lnTo>
                  <a:pt x="14" y="52"/>
                </a:lnTo>
                <a:lnTo>
                  <a:pt x="12" y="56"/>
                </a:lnTo>
                <a:lnTo>
                  <a:pt x="12" y="56"/>
                </a:lnTo>
                <a:lnTo>
                  <a:pt x="12" y="60"/>
                </a:lnTo>
                <a:lnTo>
                  <a:pt x="12" y="62"/>
                </a:lnTo>
                <a:lnTo>
                  <a:pt x="14" y="64"/>
                </a:lnTo>
                <a:lnTo>
                  <a:pt x="12" y="64"/>
                </a:lnTo>
                <a:lnTo>
                  <a:pt x="12" y="64"/>
                </a:lnTo>
                <a:lnTo>
                  <a:pt x="10" y="66"/>
                </a:lnTo>
                <a:lnTo>
                  <a:pt x="10" y="70"/>
                </a:lnTo>
                <a:lnTo>
                  <a:pt x="10" y="70"/>
                </a:lnTo>
                <a:lnTo>
                  <a:pt x="10" y="74"/>
                </a:lnTo>
                <a:lnTo>
                  <a:pt x="8" y="78"/>
                </a:lnTo>
                <a:lnTo>
                  <a:pt x="8" y="78"/>
                </a:lnTo>
                <a:lnTo>
                  <a:pt x="6" y="80"/>
                </a:lnTo>
                <a:lnTo>
                  <a:pt x="6" y="84"/>
                </a:lnTo>
                <a:lnTo>
                  <a:pt x="6" y="84"/>
                </a:lnTo>
                <a:lnTo>
                  <a:pt x="6" y="88"/>
                </a:lnTo>
                <a:lnTo>
                  <a:pt x="6" y="88"/>
                </a:lnTo>
                <a:lnTo>
                  <a:pt x="4" y="88"/>
                </a:lnTo>
                <a:lnTo>
                  <a:pt x="4" y="88"/>
                </a:lnTo>
                <a:lnTo>
                  <a:pt x="2" y="88"/>
                </a:lnTo>
                <a:lnTo>
                  <a:pt x="2" y="90"/>
                </a:lnTo>
                <a:lnTo>
                  <a:pt x="2" y="94"/>
                </a:lnTo>
                <a:lnTo>
                  <a:pt x="2" y="94"/>
                </a:lnTo>
                <a:lnTo>
                  <a:pt x="2" y="98"/>
                </a:lnTo>
                <a:lnTo>
                  <a:pt x="2" y="102"/>
                </a:lnTo>
                <a:lnTo>
                  <a:pt x="0" y="108"/>
                </a:lnTo>
                <a:lnTo>
                  <a:pt x="2" y="112"/>
                </a:lnTo>
                <a:lnTo>
                  <a:pt x="2" y="112"/>
                </a:lnTo>
                <a:lnTo>
                  <a:pt x="4" y="116"/>
                </a:lnTo>
                <a:lnTo>
                  <a:pt x="4" y="122"/>
                </a:lnTo>
                <a:lnTo>
                  <a:pt x="4" y="122"/>
                </a:lnTo>
                <a:lnTo>
                  <a:pt x="2" y="132"/>
                </a:lnTo>
                <a:lnTo>
                  <a:pt x="2" y="132"/>
                </a:lnTo>
                <a:lnTo>
                  <a:pt x="12" y="130"/>
                </a:lnTo>
                <a:lnTo>
                  <a:pt x="12" y="130"/>
                </a:lnTo>
                <a:lnTo>
                  <a:pt x="10" y="132"/>
                </a:lnTo>
                <a:lnTo>
                  <a:pt x="10" y="132"/>
                </a:lnTo>
                <a:lnTo>
                  <a:pt x="18" y="132"/>
                </a:lnTo>
                <a:lnTo>
                  <a:pt x="26" y="132"/>
                </a:lnTo>
                <a:lnTo>
                  <a:pt x="26" y="132"/>
                </a:lnTo>
                <a:lnTo>
                  <a:pt x="30" y="136"/>
                </a:lnTo>
                <a:lnTo>
                  <a:pt x="34" y="142"/>
                </a:lnTo>
                <a:lnTo>
                  <a:pt x="34" y="142"/>
                </a:lnTo>
                <a:lnTo>
                  <a:pt x="38" y="142"/>
                </a:lnTo>
                <a:lnTo>
                  <a:pt x="38" y="142"/>
                </a:lnTo>
                <a:lnTo>
                  <a:pt x="38" y="146"/>
                </a:lnTo>
                <a:lnTo>
                  <a:pt x="40" y="146"/>
                </a:lnTo>
                <a:lnTo>
                  <a:pt x="40" y="146"/>
                </a:lnTo>
                <a:lnTo>
                  <a:pt x="42" y="152"/>
                </a:lnTo>
                <a:lnTo>
                  <a:pt x="42" y="152"/>
                </a:lnTo>
                <a:lnTo>
                  <a:pt x="42" y="152"/>
                </a:lnTo>
                <a:lnTo>
                  <a:pt x="42" y="152"/>
                </a:lnTo>
                <a:lnTo>
                  <a:pt x="38" y="154"/>
                </a:lnTo>
                <a:lnTo>
                  <a:pt x="38" y="154"/>
                </a:lnTo>
                <a:lnTo>
                  <a:pt x="46" y="168"/>
                </a:lnTo>
                <a:lnTo>
                  <a:pt x="46" y="168"/>
                </a:lnTo>
                <a:lnTo>
                  <a:pt x="58" y="168"/>
                </a:lnTo>
                <a:lnTo>
                  <a:pt x="58" y="166"/>
                </a:lnTo>
                <a:lnTo>
                  <a:pt x="58" y="166"/>
                </a:lnTo>
                <a:lnTo>
                  <a:pt x="60" y="166"/>
                </a:lnTo>
                <a:lnTo>
                  <a:pt x="62" y="166"/>
                </a:lnTo>
                <a:lnTo>
                  <a:pt x="64" y="164"/>
                </a:lnTo>
                <a:lnTo>
                  <a:pt x="64" y="164"/>
                </a:lnTo>
                <a:lnTo>
                  <a:pt x="64" y="166"/>
                </a:lnTo>
                <a:lnTo>
                  <a:pt x="66" y="166"/>
                </a:lnTo>
                <a:lnTo>
                  <a:pt x="66" y="166"/>
                </a:lnTo>
                <a:lnTo>
                  <a:pt x="68" y="164"/>
                </a:lnTo>
                <a:lnTo>
                  <a:pt x="70" y="160"/>
                </a:lnTo>
                <a:lnTo>
                  <a:pt x="70" y="160"/>
                </a:lnTo>
                <a:lnTo>
                  <a:pt x="74" y="160"/>
                </a:lnTo>
                <a:lnTo>
                  <a:pt x="74" y="160"/>
                </a:lnTo>
                <a:lnTo>
                  <a:pt x="76" y="164"/>
                </a:lnTo>
                <a:lnTo>
                  <a:pt x="76" y="164"/>
                </a:lnTo>
                <a:lnTo>
                  <a:pt x="76" y="162"/>
                </a:lnTo>
                <a:lnTo>
                  <a:pt x="76" y="160"/>
                </a:lnTo>
                <a:lnTo>
                  <a:pt x="78" y="160"/>
                </a:lnTo>
                <a:lnTo>
                  <a:pt x="78"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1" name="Freeform 125">
            <a:extLst>
              <a:ext uri="{FF2B5EF4-FFF2-40B4-BE49-F238E27FC236}">
                <a16:creationId xmlns:a16="http://schemas.microsoft.com/office/drawing/2014/main" id="{2B3360BE-FB59-46C4-BABB-2A4B0DF82C08}"/>
              </a:ext>
            </a:extLst>
          </p:cNvPr>
          <p:cNvSpPr>
            <a:spLocks/>
          </p:cNvSpPr>
          <p:nvPr userDrawn="1"/>
        </p:nvSpPr>
        <p:spPr bwMode="auto">
          <a:xfrm>
            <a:off x="5845753" y="3004549"/>
            <a:ext cx="360563" cy="332902"/>
          </a:xfrm>
          <a:custGeom>
            <a:avLst/>
            <a:gdLst>
              <a:gd name="T0" fmla="*/ 191 w 215"/>
              <a:gd name="T1" fmla="*/ 16 h 194"/>
              <a:gd name="T2" fmla="*/ 159 w 215"/>
              <a:gd name="T3" fmla="*/ 0 h 194"/>
              <a:gd name="T4" fmla="*/ 78 w 215"/>
              <a:gd name="T5" fmla="*/ 68 h 194"/>
              <a:gd name="T6" fmla="*/ 60 w 215"/>
              <a:gd name="T7" fmla="*/ 110 h 194"/>
              <a:gd name="T8" fmla="*/ 56 w 215"/>
              <a:gd name="T9" fmla="*/ 114 h 194"/>
              <a:gd name="T10" fmla="*/ 56 w 215"/>
              <a:gd name="T11" fmla="*/ 120 h 194"/>
              <a:gd name="T12" fmla="*/ 46 w 215"/>
              <a:gd name="T13" fmla="*/ 124 h 194"/>
              <a:gd name="T14" fmla="*/ 40 w 215"/>
              <a:gd name="T15" fmla="*/ 128 h 194"/>
              <a:gd name="T16" fmla="*/ 28 w 215"/>
              <a:gd name="T17" fmla="*/ 130 h 194"/>
              <a:gd name="T18" fmla="*/ 14 w 215"/>
              <a:gd name="T19" fmla="*/ 134 h 194"/>
              <a:gd name="T20" fmla="*/ 10 w 215"/>
              <a:gd name="T21" fmla="*/ 134 h 194"/>
              <a:gd name="T22" fmla="*/ 4 w 215"/>
              <a:gd name="T23" fmla="*/ 138 h 194"/>
              <a:gd name="T24" fmla="*/ 0 w 215"/>
              <a:gd name="T25" fmla="*/ 142 h 194"/>
              <a:gd name="T26" fmla="*/ 14 w 215"/>
              <a:gd name="T27" fmla="*/ 154 h 194"/>
              <a:gd name="T28" fmla="*/ 20 w 215"/>
              <a:gd name="T29" fmla="*/ 172 h 194"/>
              <a:gd name="T30" fmla="*/ 22 w 215"/>
              <a:gd name="T31" fmla="*/ 170 h 194"/>
              <a:gd name="T32" fmla="*/ 24 w 215"/>
              <a:gd name="T33" fmla="*/ 172 h 194"/>
              <a:gd name="T34" fmla="*/ 24 w 215"/>
              <a:gd name="T35" fmla="*/ 176 h 194"/>
              <a:gd name="T36" fmla="*/ 26 w 215"/>
              <a:gd name="T37" fmla="*/ 192 h 194"/>
              <a:gd name="T38" fmla="*/ 32 w 215"/>
              <a:gd name="T39" fmla="*/ 184 h 194"/>
              <a:gd name="T40" fmla="*/ 38 w 215"/>
              <a:gd name="T41" fmla="*/ 186 h 194"/>
              <a:gd name="T42" fmla="*/ 40 w 215"/>
              <a:gd name="T43" fmla="*/ 188 h 194"/>
              <a:gd name="T44" fmla="*/ 48 w 215"/>
              <a:gd name="T45" fmla="*/ 194 h 194"/>
              <a:gd name="T46" fmla="*/ 52 w 215"/>
              <a:gd name="T47" fmla="*/ 182 h 194"/>
              <a:gd name="T48" fmla="*/ 58 w 215"/>
              <a:gd name="T49" fmla="*/ 174 h 194"/>
              <a:gd name="T50" fmla="*/ 58 w 215"/>
              <a:gd name="T51" fmla="*/ 168 h 194"/>
              <a:gd name="T52" fmla="*/ 72 w 215"/>
              <a:gd name="T53" fmla="*/ 160 h 194"/>
              <a:gd name="T54" fmla="*/ 78 w 215"/>
              <a:gd name="T55" fmla="*/ 160 h 194"/>
              <a:gd name="T56" fmla="*/ 84 w 215"/>
              <a:gd name="T57" fmla="*/ 158 h 194"/>
              <a:gd name="T58" fmla="*/ 90 w 215"/>
              <a:gd name="T59" fmla="*/ 162 h 194"/>
              <a:gd name="T60" fmla="*/ 92 w 215"/>
              <a:gd name="T61" fmla="*/ 164 h 194"/>
              <a:gd name="T62" fmla="*/ 96 w 215"/>
              <a:gd name="T63" fmla="*/ 170 h 194"/>
              <a:gd name="T64" fmla="*/ 100 w 215"/>
              <a:gd name="T65" fmla="*/ 170 h 194"/>
              <a:gd name="T66" fmla="*/ 106 w 215"/>
              <a:gd name="T67" fmla="*/ 170 h 194"/>
              <a:gd name="T68" fmla="*/ 114 w 215"/>
              <a:gd name="T69" fmla="*/ 166 h 194"/>
              <a:gd name="T70" fmla="*/ 116 w 215"/>
              <a:gd name="T71" fmla="*/ 168 h 194"/>
              <a:gd name="T72" fmla="*/ 122 w 215"/>
              <a:gd name="T73" fmla="*/ 172 h 194"/>
              <a:gd name="T74" fmla="*/ 132 w 215"/>
              <a:gd name="T75" fmla="*/ 172 h 194"/>
              <a:gd name="T76" fmla="*/ 136 w 215"/>
              <a:gd name="T77" fmla="*/ 172 h 194"/>
              <a:gd name="T78" fmla="*/ 138 w 215"/>
              <a:gd name="T79" fmla="*/ 168 h 194"/>
              <a:gd name="T80" fmla="*/ 144 w 215"/>
              <a:gd name="T81" fmla="*/ 166 h 194"/>
              <a:gd name="T82" fmla="*/ 159 w 215"/>
              <a:gd name="T83" fmla="*/ 168 h 194"/>
              <a:gd name="T84" fmla="*/ 167 w 215"/>
              <a:gd name="T85" fmla="*/ 168 h 194"/>
              <a:gd name="T86" fmla="*/ 175 w 215"/>
              <a:gd name="T87" fmla="*/ 168 h 194"/>
              <a:gd name="T88" fmla="*/ 179 w 215"/>
              <a:gd name="T89" fmla="*/ 164 h 194"/>
              <a:gd name="T90" fmla="*/ 189 w 215"/>
              <a:gd name="T91" fmla="*/ 158 h 194"/>
              <a:gd name="T92" fmla="*/ 211 w 215"/>
              <a:gd name="T93" fmla="*/ 126 h 194"/>
              <a:gd name="T94" fmla="*/ 209 w 215"/>
              <a:gd name="T95" fmla="*/ 100 h 194"/>
              <a:gd name="T96" fmla="*/ 211 w 215"/>
              <a:gd name="T97" fmla="*/ 70 h 194"/>
              <a:gd name="T98" fmla="*/ 215 w 215"/>
              <a:gd name="T99" fmla="*/ 56 h 194"/>
              <a:gd name="T100" fmla="*/ 215 w 215"/>
              <a:gd name="T101" fmla="*/ 52 h 194"/>
              <a:gd name="T102" fmla="*/ 209 w 215"/>
              <a:gd name="T103" fmla="*/ 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5" h="194">
                <a:moveTo>
                  <a:pt x="201" y="8"/>
                </a:moveTo>
                <a:lnTo>
                  <a:pt x="191" y="16"/>
                </a:lnTo>
                <a:lnTo>
                  <a:pt x="191" y="18"/>
                </a:lnTo>
                <a:lnTo>
                  <a:pt x="159" y="0"/>
                </a:lnTo>
                <a:lnTo>
                  <a:pt x="86" y="54"/>
                </a:lnTo>
                <a:lnTo>
                  <a:pt x="78" y="68"/>
                </a:lnTo>
                <a:lnTo>
                  <a:pt x="58" y="72"/>
                </a:lnTo>
                <a:lnTo>
                  <a:pt x="60" y="110"/>
                </a:lnTo>
                <a:lnTo>
                  <a:pt x="56" y="114"/>
                </a:lnTo>
                <a:lnTo>
                  <a:pt x="56" y="114"/>
                </a:lnTo>
                <a:lnTo>
                  <a:pt x="56" y="120"/>
                </a:lnTo>
                <a:lnTo>
                  <a:pt x="56" y="120"/>
                </a:lnTo>
                <a:lnTo>
                  <a:pt x="54" y="124"/>
                </a:lnTo>
                <a:lnTo>
                  <a:pt x="46" y="124"/>
                </a:lnTo>
                <a:lnTo>
                  <a:pt x="46" y="124"/>
                </a:lnTo>
                <a:lnTo>
                  <a:pt x="40" y="128"/>
                </a:lnTo>
                <a:lnTo>
                  <a:pt x="28" y="130"/>
                </a:lnTo>
                <a:lnTo>
                  <a:pt x="28" y="130"/>
                </a:lnTo>
                <a:lnTo>
                  <a:pt x="22" y="132"/>
                </a:lnTo>
                <a:lnTo>
                  <a:pt x="14" y="134"/>
                </a:lnTo>
                <a:lnTo>
                  <a:pt x="14" y="134"/>
                </a:lnTo>
                <a:lnTo>
                  <a:pt x="10" y="134"/>
                </a:lnTo>
                <a:lnTo>
                  <a:pt x="6" y="134"/>
                </a:lnTo>
                <a:lnTo>
                  <a:pt x="4" y="138"/>
                </a:lnTo>
                <a:lnTo>
                  <a:pt x="2" y="136"/>
                </a:lnTo>
                <a:lnTo>
                  <a:pt x="0" y="142"/>
                </a:lnTo>
                <a:lnTo>
                  <a:pt x="4" y="148"/>
                </a:lnTo>
                <a:lnTo>
                  <a:pt x="14" y="154"/>
                </a:lnTo>
                <a:lnTo>
                  <a:pt x="14" y="158"/>
                </a:lnTo>
                <a:lnTo>
                  <a:pt x="20" y="172"/>
                </a:lnTo>
                <a:lnTo>
                  <a:pt x="20" y="172"/>
                </a:lnTo>
                <a:lnTo>
                  <a:pt x="22" y="170"/>
                </a:lnTo>
                <a:lnTo>
                  <a:pt x="24" y="172"/>
                </a:lnTo>
                <a:lnTo>
                  <a:pt x="24" y="172"/>
                </a:lnTo>
                <a:lnTo>
                  <a:pt x="24" y="172"/>
                </a:lnTo>
                <a:lnTo>
                  <a:pt x="24" y="176"/>
                </a:lnTo>
                <a:lnTo>
                  <a:pt x="22" y="178"/>
                </a:lnTo>
                <a:lnTo>
                  <a:pt x="26" y="192"/>
                </a:lnTo>
                <a:lnTo>
                  <a:pt x="32" y="184"/>
                </a:lnTo>
                <a:lnTo>
                  <a:pt x="32" y="184"/>
                </a:lnTo>
                <a:lnTo>
                  <a:pt x="34" y="184"/>
                </a:lnTo>
                <a:lnTo>
                  <a:pt x="38" y="186"/>
                </a:lnTo>
                <a:lnTo>
                  <a:pt x="38" y="186"/>
                </a:lnTo>
                <a:lnTo>
                  <a:pt x="40" y="188"/>
                </a:lnTo>
                <a:lnTo>
                  <a:pt x="40" y="190"/>
                </a:lnTo>
                <a:lnTo>
                  <a:pt x="48" y="194"/>
                </a:lnTo>
                <a:lnTo>
                  <a:pt x="52" y="182"/>
                </a:lnTo>
                <a:lnTo>
                  <a:pt x="52" y="182"/>
                </a:lnTo>
                <a:lnTo>
                  <a:pt x="56" y="180"/>
                </a:lnTo>
                <a:lnTo>
                  <a:pt x="58" y="174"/>
                </a:lnTo>
                <a:lnTo>
                  <a:pt x="58" y="174"/>
                </a:lnTo>
                <a:lnTo>
                  <a:pt x="58" y="168"/>
                </a:lnTo>
                <a:lnTo>
                  <a:pt x="58" y="168"/>
                </a:lnTo>
                <a:lnTo>
                  <a:pt x="72" y="160"/>
                </a:lnTo>
                <a:lnTo>
                  <a:pt x="72" y="160"/>
                </a:lnTo>
                <a:lnTo>
                  <a:pt x="78" y="160"/>
                </a:lnTo>
                <a:lnTo>
                  <a:pt x="84" y="158"/>
                </a:lnTo>
                <a:lnTo>
                  <a:pt x="84" y="158"/>
                </a:lnTo>
                <a:lnTo>
                  <a:pt x="86" y="160"/>
                </a:lnTo>
                <a:lnTo>
                  <a:pt x="90" y="162"/>
                </a:lnTo>
                <a:lnTo>
                  <a:pt x="90" y="162"/>
                </a:lnTo>
                <a:lnTo>
                  <a:pt x="92" y="164"/>
                </a:lnTo>
                <a:lnTo>
                  <a:pt x="94" y="166"/>
                </a:lnTo>
                <a:lnTo>
                  <a:pt x="96" y="170"/>
                </a:lnTo>
                <a:lnTo>
                  <a:pt x="96" y="170"/>
                </a:lnTo>
                <a:lnTo>
                  <a:pt x="100" y="170"/>
                </a:lnTo>
                <a:lnTo>
                  <a:pt x="106" y="170"/>
                </a:lnTo>
                <a:lnTo>
                  <a:pt x="106" y="170"/>
                </a:lnTo>
                <a:lnTo>
                  <a:pt x="110" y="166"/>
                </a:lnTo>
                <a:lnTo>
                  <a:pt x="114" y="166"/>
                </a:lnTo>
                <a:lnTo>
                  <a:pt x="116" y="168"/>
                </a:lnTo>
                <a:lnTo>
                  <a:pt x="116" y="168"/>
                </a:lnTo>
                <a:lnTo>
                  <a:pt x="116" y="170"/>
                </a:lnTo>
                <a:lnTo>
                  <a:pt x="122" y="172"/>
                </a:lnTo>
                <a:lnTo>
                  <a:pt x="122" y="172"/>
                </a:lnTo>
                <a:lnTo>
                  <a:pt x="132" y="172"/>
                </a:lnTo>
                <a:lnTo>
                  <a:pt x="134" y="172"/>
                </a:lnTo>
                <a:lnTo>
                  <a:pt x="136" y="172"/>
                </a:lnTo>
                <a:lnTo>
                  <a:pt x="136" y="172"/>
                </a:lnTo>
                <a:lnTo>
                  <a:pt x="138" y="168"/>
                </a:lnTo>
                <a:lnTo>
                  <a:pt x="144" y="166"/>
                </a:lnTo>
                <a:lnTo>
                  <a:pt x="144" y="166"/>
                </a:lnTo>
                <a:lnTo>
                  <a:pt x="151" y="166"/>
                </a:lnTo>
                <a:lnTo>
                  <a:pt x="159" y="168"/>
                </a:lnTo>
                <a:lnTo>
                  <a:pt x="159" y="168"/>
                </a:lnTo>
                <a:lnTo>
                  <a:pt x="167" y="168"/>
                </a:lnTo>
                <a:lnTo>
                  <a:pt x="175" y="168"/>
                </a:lnTo>
                <a:lnTo>
                  <a:pt x="175" y="168"/>
                </a:lnTo>
                <a:lnTo>
                  <a:pt x="177" y="166"/>
                </a:lnTo>
                <a:lnTo>
                  <a:pt x="179" y="164"/>
                </a:lnTo>
                <a:lnTo>
                  <a:pt x="181" y="162"/>
                </a:lnTo>
                <a:lnTo>
                  <a:pt x="189" y="158"/>
                </a:lnTo>
                <a:lnTo>
                  <a:pt x="189" y="144"/>
                </a:lnTo>
                <a:lnTo>
                  <a:pt x="211" y="126"/>
                </a:lnTo>
                <a:lnTo>
                  <a:pt x="211" y="126"/>
                </a:lnTo>
                <a:lnTo>
                  <a:pt x="209" y="100"/>
                </a:lnTo>
                <a:lnTo>
                  <a:pt x="211" y="70"/>
                </a:lnTo>
                <a:lnTo>
                  <a:pt x="211" y="70"/>
                </a:lnTo>
                <a:lnTo>
                  <a:pt x="211" y="62"/>
                </a:lnTo>
                <a:lnTo>
                  <a:pt x="215" y="56"/>
                </a:lnTo>
                <a:lnTo>
                  <a:pt x="215" y="56"/>
                </a:lnTo>
                <a:lnTo>
                  <a:pt x="215" y="52"/>
                </a:lnTo>
                <a:lnTo>
                  <a:pt x="213" y="48"/>
                </a:lnTo>
                <a:lnTo>
                  <a:pt x="209" y="42"/>
                </a:lnTo>
                <a:lnTo>
                  <a:pt x="201"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2" name="Freeform 126">
            <a:extLst>
              <a:ext uri="{FF2B5EF4-FFF2-40B4-BE49-F238E27FC236}">
                <a16:creationId xmlns:a16="http://schemas.microsoft.com/office/drawing/2014/main" id="{D9E33F6C-4872-4C72-9FB6-A02615D9375E}"/>
              </a:ext>
            </a:extLst>
          </p:cNvPr>
          <p:cNvSpPr>
            <a:spLocks/>
          </p:cNvSpPr>
          <p:nvPr userDrawn="1"/>
        </p:nvSpPr>
        <p:spPr bwMode="auto">
          <a:xfrm>
            <a:off x="3893683" y="3258514"/>
            <a:ext cx="93914" cy="109823"/>
          </a:xfrm>
          <a:custGeom>
            <a:avLst/>
            <a:gdLst>
              <a:gd name="T0" fmla="*/ 0 w 56"/>
              <a:gd name="T1" fmla="*/ 30 h 64"/>
              <a:gd name="T2" fmla="*/ 0 w 56"/>
              <a:gd name="T3" fmla="*/ 34 h 64"/>
              <a:gd name="T4" fmla="*/ 8 w 56"/>
              <a:gd name="T5" fmla="*/ 40 h 64"/>
              <a:gd name="T6" fmla="*/ 10 w 56"/>
              <a:gd name="T7" fmla="*/ 46 h 64"/>
              <a:gd name="T8" fmla="*/ 12 w 56"/>
              <a:gd name="T9" fmla="*/ 52 h 64"/>
              <a:gd name="T10" fmla="*/ 18 w 56"/>
              <a:gd name="T11" fmla="*/ 58 h 64"/>
              <a:gd name="T12" fmla="*/ 24 w 56"/>
              <a:gd name="T13" fmla="*/ 58 h 64"/>
              <a:gd name="T14" fmla="*/ 22 w 56"/>
              <a:gd name="T15" fmla="*/ 54 h 64"/>
              <a:gd name="T16" fmla="*/ 20 w 56"/>
              <a:gd name="T17" fmla="*/ 52 h 64"/>
              <a:gd name="T18" fmla="*/ 22 w 56"/>
              <a:gd name="T19" fmla="*/ 44 h 64"/>
              <a:gd name="T20" fmla="*/ 26 w 56"/>
              <a:gd name="T21" fmla="*/ 52 h 64"/>
              <a:gd name="T22" fmla="*/ 28 w 56"/>
              <a:gd name="T23" fmla="*/ 52 h 64"/>
              <a:gd name="T24" fmla="*/ 32 w 56"/>
              <a:gd name="T25" fmla="*/ 56 h 64"/>
              <a:gd name="T26" fmla="*/ 34 w 56"/>
              <a:gd name="T27" fmla="*/ 62 h 64"/>
              <a:gd name="T28" fmla="*/ 40 w 56"/>
              <a:gd name="T29" fmla="*/ 62 h 64"/>
              <a:gd name="T30" fmla="*/ 42 w 56"/>
              <a:gd name="T31" fmla="*/ 62 h 64"/>
              <a:gd name="T32" fmla="*/ 44 w 56"/>
              <a:gd name="T33" fmla="*/ 64 h 64"/>
              <a:gd name="T34" fmla="*/ 50 w 56"/>
              <a:gd name="T35" fmla="*/ 64 h 64"/>
              <a:gd name="T36" fmla="*/ 46 w 56"/>
              <a:gd name="T37" fmla="*/ 60 h 64"/>
              <a:gd name="T38" fmla="*/ 46 w 56"/>
              <a:gd name="T39" fmla="*/ 58 h 64"/>
              <a:gd name="T40" fmla="*/ 48 w 56"/>
              <a:gd name="T41" fmla="*/ 56 h 64"/>
              <a:gd name="T42" fmla="*/ 46 w 56"/>
              <a:gd name="T43" fmla="*/ 48 h 64"/>
              <a:gd name="T44" fmla="*/ 48 w 56"/>
              <a:gd name="T45" fmla="*/ 36 h 64"/>
              <a:gd name="T46" fmla="*/ 50 w 56"/>
              <a:gd name="T47" fmla="*/ 36 h 64"/>
              <a:gd name="T48" fmla="*/ 50 w 56"/>
              <a:gd name="T49" fmla="*/ 22 h 64"/>
              <a:gd name="T50" fmla="*/ 52 w 56"/>
              <a:gd name="T51" fmla="*/ 16 h 64"/>
              <a:gd name="T52" fmla="*/ 56 w 56"/>
              <a:gd name="T53" fmla="*/ 8 h 64"/>
              <a:gd name="T54" fmla="*/ 54 w 56"/>
              <a:gd name="T55" fmla="*/ 0 h 64"/>
              <a:gd name="T56" fmla="*/ 46 w 56"/>
              <a:gd name="T57" fmla="*/ 2 h 64"/>
              <a:gd name="T58" fmla="*/ 40 w 56"/>
              <a:gd name="T59" fmla="*/ 8 h 64"/>
              <a:gd name="T60" fmla="*/ 40 w 56"/>
              <a:gd name="T61" fmla="*/ 10 h 64"/>
              <a:gd name="T62" fmla="*/ 30 w 56"/>
              <a:gd name="T63" fmla="*/ 12 h 64"/>
              <a:gd name="T64" fmla="*/ 26 w 56"/>
              <a:gd name="T65" fmla="*/ 12 h 64"/>
              <a:gd name="T66" fmla="*/ 24 w 56"/>
              <a:gd name="T67" fmla="*/ 12 h 64"/>
              <a:gd name="T68" fmla="*/ 22 w 56"/>
              <a:gd name="T69" fmla="*/ 10 h 64"/>
              <a:gd name="T70" fmla="*/ 16 w 56"/>
              <a:gd name="T71" fmla="*/ 10 h 64"/>
              <a:gd name="T72" fmla="*/ 6 w 56"/>
              <a:gd name="T73" fmla="*/ 14 h 64"/>
              <a:gd name="T74" fmla="*/ 6 w 56"/>
              <a:gd name="T75" fmla="*/ 28 h 64"/>
              <a:gd name="T76" fmla="*/ 4 w 56"/>
              <a:gd name="T77" fmla="*/ 28 h 64"/>
              <a:gd name="T78" fmla="*/ 0 w 56"/>
              <a:gd name="T79"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4">
                <a:moveTo>
                  <a:pt x="0" y="30"/>
                </a:moveTo>
                <a:lnTo>
                  <a:pt x="0" y="30"/>
                </a:lnTo>
                <a:lnTo>
                  <a:pt x="0" y="34"/>
                </a:lnTo>
                <a:lnTo>
                  <a:pt x="0" y="34"/>
                </a:lnTo>
                <a:lnTo>
                  <a:pt x="4" y="36"/>
                </a:lnTo>
                <a:lnTo>
                  <a:pt x="8" y="40"/>
                </a:lnTo>
                <a:lnTo>
                  <a:pt x="8" y="40"/>
                </a:lnTo>
                <a:lnTo>
                  <a:pt x="10" y="46"/>
                </a:lnTo>
                <a:lnTo>
                  <a:pt x="12" y="52"/>
                </a:lnTo>
                <a:lnTo>
                  <a:pt x="12" y="52"/>
                </a:lnTo>
                <a:lnTo>
                  <a:pt x="18" y="58"/>
                </a:lnTo>
                <a:lnTo>
                  <a:pt x="18" y="58"/>
                </a:lnTo>
                <a:lnTo>
                  <a:pt x="20" y="56"/>
                </a:lnTo>
                <a:lnTo>
                  <a:pt x="24" y="58"/>
                </a:lnTo>
                <a:lnTo>
                  <a:pt x="24" y="58"/>
                </a:lnTo>
                <a:lnTo>
                  <a:pt x="22" y="54"/>
                </a:lnTo>
                <a:lnTo>
                  <a:pt x="22" y="54"/>
                </a:lnTo>
                <a:lnTo>
                  <a:pt x="20" y="52"/>
                </a:lnTo>
                <a:lnTo>
                  <a:pt x="20" y="48"/>
                </a:lnTo>
                <a:lnTo>
                  <a:pt x="22" y="44"/>
                </a:lnTo>
                <a:lnTo>
                  <a:pt x="22" y="44"/>
                </a:lnTo>
                <a:lnTo>
                  <a:pt x="26" y="52"/>
                </a:lnTo>
                <a:lnTo>
                  <a:pt x="26" y="52"/>
                </a:lnTo>
                <a:lnTo>
                  <a:pt x="28" y="52"/>
                </a:lnTo>
                <a:lnTo>
                  <a:pt x="32" y="56"/>
                </a:lnTo>
                <a:lnTo>
                  <a:pt x="32" y="56"/>
                </a:lnTo>
                <a:lnTo>
                  <a:pt x="34" y="62"/>
                </a:lnTo>
                <a:lnTo>
                  <a:pt x="34" y="62"/>
                </a:lnTo>
                <a:lnTo>
                  <a:pt x="38" y="62"/>
                </a:lnTo>
                <a:lnTo>
                  <a:pt x="40" y="62"/>
                </a:lnTo>
                <a:lnTo>
                  <a:pt x="40" y="62"/>
                </a:lnTo>
                <a:lnTo>
                  <a:pt x="42" y="62"/>
                </a:lnTo>
                <a:lnTo>
                  <a:pt x="44" y="64"/>
                </a:lnTo>
                <a:lnTo>
                  <a:pt x="44" y="64"/>
                </a:lnTo>
                <a:lnTo>
                  <a:pt x="50" y="64"/>
                </a:lnTo>
                <a:lnTo>
                  <a:pt x="50" y="64"/>
                </a:lnTo>
                <a:lnTo>
                  <a:pt x="48" y="62"/>
                </a:lnTo>
                <a:lnTo>
                  <a:pt x="46" y="60"/>
                </a:lnTo>
                <a:lnTo>
                  <a:pt x="46" y="60"/>
                </a:lnTo>
                <a:lnTo>
                  <a:pt x="46" y="58"/>
                </a:lnTo>
                <a:lnTo>
                  <a:pt x="48" y="56"/>
                </a:lnTo>
                <a:lnTo>
                  <a:pt x="48" y="56"/>
                </a:lnTo>
                <a:lnTo>
                  <a:pt x="48" y="52"/>
                </a:lnTo>
                <a:lnTo>
                  <a:pt x="46" y="48"/>
                </a:lnTo>
                <a:lnTo>
                  <a:pt x="46" y="48"/>
                </a:lnTo>
                <a:lnTo>
                  <a:pt x="48" y="36"/>
                </a:lnTo>
                <a:lnTo>
                  <a:pt x="50" y="36"/>
                </a:lnTo>
                <a:lnTo>
                  <a:pt x="50" y="36"/>
                </a:lnTo>
                <a:lnTo>
                  <a:pt x="50" y="26"/>
                </a:lnTo>
                <a:lnTo>
                  <a:pt x="50" y="22"/>
                </a:lnTo>
                <a:lnTo>
                  <a:pt x="52" y="16"/>
                </a:lnTo>
                <a:lnTo>
                  <a:pt x="52" y="16"/>
                </a:lnTo>
                <a:lnTo>
                  <a:pt x="54" y="12"/>
                </a:lnTo>
                <a:lnTo>
                  <a:pt x="56" y="8"/>
                </a:lnTo>
                <a:lnTo>
                  <a:pt x="56" y="8"/>
                </a:lnTo>
                <a:lnTo>
                  <a:pt x="54" y="0"/>
                </a:lnTo>
                <a:lnTo>
                  <a:pt x="46" y="2"/>
                </a:lnTo>
                <a:lnTo>
                  <a:pt x="46" y="2"/>
                </a:lnTo>
                <a:lnTo>
                  <a:pt x="42" y="4"/>
                </a:lnTo>
                <a:lnTo>
                  <a:pt x="40" y="8"/>
                </a:lnTo>
                <a:lnTo>
                  <a:pt x="40" y="8"/>
                </a:lnTo>
                <a:lnTo>
                  <a:pt x="40" y="10"/>
                </a:lnTo>
                <a:lnTo>
                  <a:pt x="36" y="10"/>
                </a:lnTo>
                <a:lnTo>
                  <a:pt x="30" y="12"/>
                </a:lnTo>
                <a:lnTo>
                  <a:pt x="30" y="12"/>
                </a:lnTo>
                <a:lnTo>
                  <a:pt x="26" y="12"/>
                </a:lnTo>
                <a:lnTo>
                  <a:pt x="26" y="14"/>
                </a:lnTo>
                <a:lnTo>
                  <a:pt x="24" y="12"/>
                </a:lnTo>
                <a:lnTo>
                  <a:pt x="24" y="12"/>
                </a:lnTo>
                <a:lnTo>
                  <a:pt x="22" y="10"/>
                </a:lnTo>
                <a:lnTo>
                  <a:pt x="16" y="10"/>
                </a:lnTo>
                <a:lnTo>
                  <a:pt x="16" y="10"/>
                </a:lnTo>
                <a:lnTo>
                  <a:pt x="6" y="14"/>
                </a:lnTo>
                <a:lnTo>
                  <a:pt x="6" y="14"/>
                </a:lnTo>
                <a:lnTo>
                  <a:pt x="6" y="20"/>
                </a:lnTo>
                <a:lnTo>
                  <a:pt x="6" y="28"/>
                </a:lnTo>
                <a:lnTo>
                  <a:pt x="6" y="28"/>
                </a:lnTo>
                <a:lnTo>
                  <a:pt x="4" y="28"/>
                </a:lnTo>
                <a:lnTo>
                  <a:pt x="2" y="30"/>
                </a:lnTo>
                <a:lnTo>
                  <a:pt x="0" y="30"/>
                </a:lnTo>
                <a:lnTo>
                  <a:pt x="0" y="3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3" name="Freeform 127">
            <a:extLst>
              <a:ext uri="{FF2B5EF4-FFF2-40B4-BE49-F238E27FC236}">
                <a16:creationId xmlns:a16="http://schemas.microsoft.com/office/drawing/2014/main" id="{AAE15A44-981C-4B53-97ED-1056CFDE8A0A}"/>
              </a:ext>
            </a:extLst>
          </p:cNvPr>
          <p:cNvSpPr>
            <a:spLocks/>
          </p:cNvSpPr>
          <p:nvPr userDrawn="1"/>
        </p:nvSpPr>
        <p:spPr bwMode="auto">
          <a:xfrm>
            <a:off x="9741508" y="4916158"/>
            <a:ext cx="3354" cy="3432"/>
          </a:xfrm>
          <a:custGeom>
            <a:avLst/>
            <a:gdLst>
              <a:gd name="T0" fmla="*/ 0 w 2"/>
              <a:gd name="T1" fmla="*/ 0 h 2"/>
              <a:gd name="T2" fmla="*/ 2 w 2"/>
              <a:gd name="T3" fmla="*/ 2 h 2"/>
              <a:gd name="T4" fmla="*/ 2 w 2"/>
              <a:gd name="T5" fmla="*/ 2 h 2"/>
              <a:gd name="T6" fmla="*/ 2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4" name="Freeform 128">
            <a:extLst>
              <a:ext uri="{FF2B5EF4-FFF2-40B4-BE49-F238E27FC236}">
                <a16:creationId xmlns:a16="http://schemas.microsoft.com/office/drawing/2014/main" id="{D705E208-4025-4429-AEFB-0BA8B4A5152A}"/>
              </a:ext>
            </a:extLst>
          </p:cNvPr>
          <p:cNvSpPr>
            <a:spLocks noEditPoints="1"/>
          </p:cNvSpPr>
          <p:nvPr userDrawn="1"/>
        </p:nvSpPr>
        <p:spPr bwMode="auto">
          <a:xfrm>
            <a:off x="9577158" y="4710239"/>
            <a:ext cx="278388" cy="418701"/>
          </a:xfrm>
          <a:custGeom>
            <a:avLst/>
            <a:gdLst>
              <a:gd name="T0" fmla="*/ 24 w 166"/>
              <a:gd name="T1" fmla="*/ 242 h 244"/>
              <a:gd name="T2" fmla="*/ 22 w 166"/>
              <a:gd name="T3" fmla="*/ 234 h 244"/>
              <a:gd name="T4" fmla="*/ 82 w 166"/>
              <a:gd name="T5" fmla="*/ 112 h 244"/>
              <a:gd name="T6" fmla="*/ 76 w 166"/>
              <a:gd name="T7" fmla="*/ 128 h 244"/>
              <a:gd name="T8" fmla="*/ 70 w 166"/>
              <a:gd name="T9" fmla="*/ 142 h 244"/>
              <a:gd name="T10" fmla="*/ 64 w 166"/>
              <a:gd name="T11" fmla="*/ 152 h 244"/>
              <a:gd name="T12" fmla="*/ 56 w 166"/>
              <a:gd name="T13" fmla="*/ 166 h 244"/>
              <a:gd name="T14" fmla="*/ 50 w 166"/>
              <a:gd name="T15" fmla="*/ 170 h 244"/>
              <a:gd name="T16" fmla="*/ 32 w 166"/>
              <a:gd name="T17" fmla="*/ 180 h 244"/>
              <a:gd name="T18" fmla="*/ 20 w 166"/>
              <a:gd name="T19" fmla="*/ 192 h 244"/>
              <a:gd name="T20" fmla="*/ 14 w 166"/>
              <a:gd name="T21" fmla="*/ 196 h 244"/>
              <a:gd name="T22" fmla="*/ 8 w 166"/>
              <a:gd name="T23" fmla="*/ 202 h 244"/>
              <a:gd name="T24" fmla="*/ 6 w 166"/>
              <a:gd name="T25" fmla="*/ 204 h 244"/>
              <a:gd name="T26" fmla="*/ 4 w 166"/>
              <a:gd name="T27" fmla="*/ 210 h 244"/>
              <a:gd name="T28" fmla="*/ 0 w 166"/>
              <a:gd name="T29" fmla="*/ 218 h 244"/>
              <a:gd name="T30" fmla="*/ 10 w 166"/>
              <a:gd name="T31" fmla="*/ 224 h 244"/>
              <a:gd name="T32" fmla="*/ 24 w 166"/>
              <a:gd name="T33" fmla="*/ 228 h 244"/>
              <a:gd name="T34" fmla="*/ 38 w 166"/>
              <a:gd name="T35" fmla="*/ 232 h 244"/>
              <a:gd name="T36" fmla="*/ 48 w 166"/>
              <a:gd name="T37" fmla="*/ 220 h 244"/>
              <a:gd name="T38" fmla="*/ 56 w 166"/>
              <a:gd name="T39" fmla="*/ 212 h 244"/>
              <a:gd name="T40" fmla="*/ 64 w 166"/>
              <a:gd name="T41" fmla="*/ 186 h 244"/>
              <a:gd name="T42" fmla="*/ 72 w 166"/>
              <a:gd name="T43" fmla="*/ 184 h 244"/>
              <a:gd name="T44" fmla="*/ 84 w 166"/>
              <a:gd name="T45" fmla="*/ 178 h 244"/>
              <a:gd name="T46" fmla="*/ 86 w 166"/>
              <a:gd name="T47" fmla="*/ 168 h 244"/>
              <a:gd name="T48" fmla="*/ 92 w 166"/>
              <a:gd name="T49" fmla="*/ 162 h 244"/>
              <a:gd name="T50" fmla="*/ 100 w 166"/>
              <a:gd name="T51" fmla="*/ 150 h 244"/>
              <a:gd name="T52" fmla="*/ 104 w 166"/>
              <a:gd name="T53" fmla="*/ 138 h 244"/>
              <a:gd name="T54" fmla="*/ 108 w 166"/>
              <a:gd name="T55" fmla="*/ 128 h 244"/>
              <a:gd name="T56" fmla="*/ 102 w 166"/>
              <a:gd name="T57" fmla="*/ 126 h 244"/>
              <a:gd name="T58" fmla="*/ 100 w 166"/>
              <a:gd name="T59" fmla="*/ 124 h 244"/>
              <a:gd name="T60" fmla="*/ 94 w 166"/>
              <a:gd name="T61" fmla="*/ 126 h 244"/>
              <a:gd name="T62" fmla="*/ 90 w 166"/>
              <a:gd name="T63" fmla="*/ 120 h 244"/>
              <a:gd name="T64" fmla="*/ 86 w 166"/>
              <a:gd name="T65" fmla="*/ 118 h 244"/>
              <a:gd name="T66" fmla="*/ 86 w 166"/>
              <a:gd name="T67" fmla="*/ 114 h 244"/>
              <a:gd name="T68" fmla="*/ 84 w 166"/>
              <a:gd name="T69" fmla="*/ 0 h 244"/>
              <a:gd name="T70" fmla="*/ 88 w 166"/>
              <a:gd name="T71" fmla="*/ 8 h 244"/>
              <a:gd name="T72" fmla="*/ 104 w 166"/>
              <a:gd name="T73" fmla="*/ 34 h 244"/>
              <a:gd name="T74" fmla="*/ 108 w 166"/>
              <a:gd name="T75" fmla="*/ 38 h 244"/>
              <a:gd name="T76" fmla="*/ 108 w 166"/>
              <a:gd name="T77" fmla="*/ 46 h 244"/>
              <a:gd name="T78" fmla="*/ 112 w 166"/>
              <a:gd name="T79" fmla="*/ 54 h 244"/>
              <a:gd name="T80" fmla="*/ 112 w 166"/>
              <a:gd name="T81" fmla="*/ 74 h 244"/>
              <a:gd name="T82" fmla="*/ 100 w 166"/>
              <a:gd name="T83" fmla="*/ 88 h 244"/>
              <a:gd name="T84" fmla="*/ 98 w 166"/>
              <a:gd name="T85" fmla="*/ 94 h 244"/>
              <a:gd name="T86" fmla="*/ 118 w 166"/>
              <a:gd name="T87" fmla="*/ 112 h 244"/>
              <a:gd name="T88" fmla="*/ 112 w 166"/>
              <a:gd name="T89" fmla="*/ 126 h 244"/>
              <a:gd name="T90" fmla="*/ 124 w 166"/>
              <a:gd name="T91" fmla="*/ 134 h 244"/>
              <a:gd name="T92" fmla="*/ 136 w 166"/>
              <a:gd name="T93" fmla="*/ 120 h 244"/>
              <a:gd name="T94" fmla="*/ 144 w 166"/>
              <a:gd name="T95" fmla="*/ 110 h 244"/>
              <a:gd name="T96" fmla="*/ 146 w 166"/>
              <a:gd name="T97" fmla="*/ 100 h 244"/>
              <a:gd name="T98" fmla="*/ 154 w 166"/>
              <a:gd name="T99" fmla="*/ 92 h 244"/>
              <a:gd name="T100" fmla="*/ 156 w 166"/>
              <a:gd name="T101" fmla="*/ 86 h 244"/>
              <a:gd name="T102" fmla="*/ 160 w 166"/>
              <a:gd name="T103" fmla="*/ 66 h 244"/>
              <a:gd name="T104" fmla="*/ 136 w 166"/>
              <a:gd name="T105" fmla="*/ 68 h 244"/>
              <a:gd name="T106" fmla="*/ 132 w 166"/>
              <a:gd name="T107" fmla="*/ 58 h 244"/>
              <a:gd name="T108" fmla="*/ 126 w 166"/>
              <a:gd name="T109" fmla="*/ 46 h 244"/>
              <a:gd name="T110" fmla="*/ 122 w 166"/>
              <a:gd name="T111" fmla="*/ 54 h 244"/>
              <a:gd name="T112" fmla="*/ 116 w 166"/>
              <a:gd name="T113" fmla="*/ 50 h 244"/>
              <a:gd name="T114" fmla="*/ 112 w 166"/>
              <a:gd name="T115" fmla="*/ 30 h 244"/>
              <a:gd name="T116" fmla="*/ 112 w 166"/>
              <a:gd name="T117" fmla="*/ 20 h 244"/>
              <a:gd name="T118" fmla="*/ 108 w 166"/>
              <a:gd name="T119" fmla="*/ 16 h 244"/>
              <a:gd name="T120" fmla="*/ 98 w 166"/>
              <a:gd name="T121" fmla="*/ 10 h 244"/>
              <a:gd name="T122" fmla="*/ 92 w 166"/>
              <a:gd name="T123" fmla="*/ 8 h 244"/>
              <a:gd name="T124" fmla="*/ 88 w 166"/>
              <a:gd name="T12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 h="244">
                <a:moveTo>
                  <a:pt x="16" y="230"/>
                </a:moveTo>
                <a:lnTo>
                  <a:pt x="16" y="230"/>
                </a:lnTo>
                <a:lnTo>
                  <a:pt x="14" y="244"/>
                </a:lnTo>
                <a:lnTo>
                  <a:pt x="14" y="244"/>
                </a:lnTo>
                <a:lnTo>
                  <a:pt x="24" y="242"/>
                </a:lnTo>
                <a:lnTo>
                  <a:pt x="24" y="242"/>
                </a:lnTo>
                <a:lnTo>
                  <a:pt x="26" y="238"/>
                </a:lnTo>
                <a:lnTo>
                  <a:pt x="22" y="238"/>
                </a:lnTo>
                <a:lnTo>
                  <a:pt x="22" y="238"/>
                </a:lnTo>
                <a:lnTo>
                  <a:pt x="22" y="234"/>
                </a:lnTo>
                <a:lnTo>
                  <a:pt x="22" y="234"/>
                </a:lnTo>
                <a:lnTo>
                  <a:pt x="16" y="230"/>
                </a:lnTo>
                <a:lnTo>
                  <a:pt x="16" y="230"/>
                </a:lnTo>
                <a:close/>
                <a:moveTo>
                  <a:pt x="82" y="112"/>
                </a:moveTo>
                <a:lnTo>
                  <a:pt x="82" y="112"/>
                </a:lnTo>
                <a:lnTo>
                  <a:pt x="80" y="116"/>
                </a:lnTo>
                <a:lnTo>
                  <a:pt x="80" y="116"/>
                </a:lnTo>
                <a:lnTo>
                  <a:pt x="76" y="122"/>
                </a:lnTo>
                <a:lnTo>
                  <a:pt x="76" y="124"/>
                </a:lnTo>
                <a:lnTo>
                  <a:pt x="76" y="128"/>
                </a:lnTo>
                <a:lnTo>
                  <a:pt x="74" y="134"/>
                </a:lnTo>
                <a:lnTo>
                  <a:pt x="74" y="134"/>
                </a:lnTo>
                <a:lnTo>
                  <a:pt x="70" y="138"/>
                </a:lnTo>
                <a:lnTo>
                  <a:pt x="70" y="138"/>
                </a:lnTo>
                <a:lnTo>
                  <a:pt x="70" y="142"/>
                </a:lnTo>
                <a:lnTo>
                  <a:pt x="70" y="142"/>
                </a:lnTo>
                <a:lnTo>
                  <a:pt x="66" y="144"/>
                </a:lnTo>
                <a:lnTo>
                  <a:pt x="66" y="144"/>
                </a:lnTo>
                <a:lnTo>
                  <a:pt x="64" y="152"/>
                </a:lnTo>
                <a:lnTo>
                  <a:pt x="64" y="152"/>
                </a:lnTo>
                <a:lnTo>
                  <a:pt x="62" y="152"/>
                </a:lnTo>
                <a:lnTo>
                  <a:pt x="62" y="152"/>
                </a:lnTo>
                <a:lnTo>
                  <a:pt x="60" y="160"/>
                </a:lnTo>
                <a:lnTo>
                  <a:pt x="56" y="166"/>
                </a:lnTo>
                <a:lnTo>
                  <a:pt x="56" y="166"/>
                </a:lnTo>
                <a:lnTo>
                  <a:pt x="54" y="166"/>
                </a:lnTo>
                <a:lnTo>
                  <a:pt x="50" y="168"/>
                </a:lnTo>
                <a:lnTo>
                  <a:pt x="50" y="168"/>
                </a:lnTo>
                <a:lnTo>
                  <a:pt x="50" y="170"/>
                </a:lnTo>
                <a:lnTo>
                  <a:pt x="50" y="170"/>
                </a:lnTo>
                <a:lnTo>
                  <a:pt x="40" y="176"/>
                </a:lnTo>
                <a:lnTo>
                  <a:pt x="40" y="176"/>
                </a:lnTo>
                <a:lnTo>
                  <a:pt x="38" y="180"/>
                </a:lnTo>
                <a:lnTo>
                  <a:pt x="38" y="180"/>
                </a:lnTo>
                <a:lnTo>
                  <a:pt x="32" y="180"/>
                </a:lnTo>
                <a:lnTo>
                  <a:pt x="28" y="182"/>
                </a:lnTo>
                <a:lnTo>
                  <a:pt x="28" y="182"/>
                </a:lnTo>
                <a:lnTo>
                  <a:pt x="24" y="186"/>
                </a:lnTo>
                <a:lnTo>
                  <a:pt x="20" y="192"/>
                </a:lnTo>
                <a:lnTo>
                  <a:pt x="20" y="192"/>
                </a:lnTo>
                <a:lnTo>
                  <a:pt x="18" y="192"/>
                </a:lnTo>
                <a:lnTo>
                  <a:pt x="14" y="192"/>
                </a:lnTo>
                <a:lnTo>
                  <a:pt x="14" y="192"/>
                </a:lnTo>
                <a:lnTo>
                  <a:pt x="14" y="196"/>
                </a:lnTo>
                <a:lnTo>
                  <a:pt x="14" y="196"/>
                </a:lnTo>
                <a:lnTo>
                  <a:pt x="10" y="198"/>
                </a:lnTo>
                <a:lnTo>
                  <a:pt x="10" y="198"/>
                </a:lnTo>
                <a:lnTo>
                  <a:pt x="8" y="200"/>
                </a:lnTo>
                <a:lnTo>
                  <a:pt x="8" y="202"/>
                </a:lnTo>
                <a:lnTo>
                  <a:pt x="8" y="202"/>
                </a:lnTo>
                <a:lnTo>
                  <a:pt x="4" y="202"/>
                </a:lnTo>
                <a:lnTo>
                  <a:pt x="4" y="202"/>
                </a:lnTo>
                <a:lnTo>
                  <a:pt x="4" y="204"/>
                </a:lnTo>
                <a:lnTo>
                  <a:pt x="4" y="204"/>
                </a:lnTo>
                <a:lnTo>
                  <a:pt x="6" y="204"/>
                </a:lnTo>
                <a:lnTo>
                  <a:pt x="6" y="204"/>
                </a:lnTo>
                <a:lnTo>
                  <a:pt x="6" y="206"/>
                </a:lnTo>
                <a:lnTo>
                  <a:pt x="6" y="206"/>
                </a:lnTo>
                <a:lnTo>
                  <a:pt x="4" y="210"/>
                </a:lnTo>
                <a:lnTo>
                  <a:pt x="4" y="210"/>
                </a:lnTo>
                <a:lnTo>
                  <a:pt x="4" y="214"/>
                </a:lnTo>
                <a:lnTo>
                  <a:pt x="0" y="214"/>
                </a:lnTo>
                <a:lnTo>
                  <a:pt x="0" y="214"/>
                </a:lnTo>
                <a:lnTo>
                  <a:pt x="0" y="218"/>
                </a:lnTo>
                <a:lnTo>
                  <a:pt x="0" y="218"/>
                </a:lnTo>
                <a:lnTo>
                  <a:pt x="2" y="220"/>
                </a:lnTo>
                <a:lnTo>
                  <a:pt x="6" y="222"/>
                </a:lnTo>
                <a:lnTo>
                  <a:pt x="8" y="224"/>
                </a:lnTo>
                <a:lnTo>
                  <a:pt x="8" y="224"/>
                </a:lnTo>
                <a:lnTo>
                  <a:pt x="10" y="224"/>
                </a:lnTo>
                <a:lnTo>
                  <a:pt x="12" y="222"/>
                </a:lnTo>
                <a:lnTo>
                  <a:pt x="16" y="222"/>
                </a:lnTo>
                <a:lnTo>
                  <a:pt x="18" y="228"/>
                </a:lnTo>
                <a:lnTo>
                  <a:pt x="18" y="228"/>
                </a:lnTo>
                <a:lnTo>
                  <a:pt x="24" y="228"/>
                </a:lnTo>
                <a:lnTo>
                  <a:pt x="24" y="228"/>
                </a:lnTo>
                <a:lnTo>
                  <a:pt x="26" y="230"/>
                </a:lnTo>
                <a:lnTo>
                  <a:pt x="26" y="230"/>
                </a:lnTo>
                <a:lnTo>
                  <a:pt x="38" y="232"/>
                </a:lnTo>
                <a:lnTo>
                  <a:pt x="38" y="232"/>
                </a:lnTo>
                <a:lnTo>
                  <a:pt x="44" y="226"/>
                </a:lnTo>
                <a:lnTo>
                  <a:pt x="44" y="224"/>
                </a:lnTo>
                <a:lnTo>
                  <a:pt x="44" y="224"/>
                </a:lnTo>
                <a:lnTo>
                  <a:pt x="48" y="222"/>
                </a:lnTo>
                <a:lnTo>
                  <a:pt x="48" y="220"/>
                </a:lnTo>
                <a:lnTo>
                  <a:pt x="48" y="220"/>
                </a:lnTo>
                <a:lnTo>
                  <a:pt x="52" y="218"/>
                </a:lnTo>
                <a:lnTo>
                  <a:pt x="54" y="216"/>
                </a:lnTo>
                <a:lnTo>
                  <a:pt x="54" y="216"/>
                </a:lnTo>
                <a:lnTo>
                  <a:pt x="56" y="212"/>
                </a:lnTo>
                <a:lnTo>
                  <a:pt x="56" y="208"/>
                </a:lnTo>
                <a:lnTo>
                  <a:pt x="56" y="208"/>
                </a:lnTo>
                <a:lnTo>
                  <a:pt x="60" y="198"/>
                </a:lnTo>
                <a:lnTo>
                  <a:pt x="64" y="186"/>
                </a:lnTo>
                <a:lnTo>
                  <a:pt x="64" y="186"/>
                </a:lnTo>
                <a:lnTo>
                  <a:pt x="64" y="186"/>
                </a:lnTo>
                <a:lnTo>
                  <a:pt x="66" y="184"/>
                </a:lnTo>
                <a:lnTo>
                  <a:pt x="66" y="184"/>
                </a:lnTo>
                <a:lnTo>
                  <a:pt x="70" y="184"/>
                </a:lnTo>
                <a:lnTo>
                  <a:pt x="72" y="184"/>
                </a:lnTo>
                <a:lnTo>
                  <a:pt x="76" y="182"/>
                </a:lnTo>
                <a:lnTo>
                  <a:pt x="76" y="182"/>
                </a:lnTo>
                <a:lnTo>
                  <a:pt x="78" y="178"/>
                </a:lnTo>
                <a:lnTo>
                  <a:pt x="78" y="178"/>
                </a:lnTo>
                <a:lnTo>
                  <a:pt x="84" y="178"/>
                </a:lnTo>
                <a:lnTo>
                  <a:pt x="90" y="178"/>
                </a:lnTo>
                <a:lnTo>
                  <a:pt x="90" y="178"/>
                </a:lnTo>
                <a:lnTo>
                  <a:pt x="84" y="178"/>
                </a:lnTo>
                <a:lnTo>
                  <a:pt x="84" y="178"/>
                </a:lnTo>
                <a:lnTo>
                  <a:pt x="86" y="168"/>
                </a:lnTo>
                <a:lnTo>
                  <a:pt x="86" y="166"/>
                </a:lnTo>
                <a:lnTo>
                  <a:pt x="90" y="164"/>
                </a:lnTo>
                <a:lnTo>
                  <a:pt x="90" y="164"/>
                </a:lnTo>
                <a:lnTo>
                  <a:pt x="92" y="162"/>
                </a:lnTo>
                <a:lnTo>
                  <a:pt x="92" y="162"/>
                </a:lnTo>
                <a:lnTo>
                  <a:pt x="92" y="162"/>
                </a:lnTo>
                <a:lnTo>
                  <a:pt x="94" y="158"/>
                </a:lnTo>
                <a:lnTo>
                  <a:pt x="96" y="154"/>
                </a:lnTo>
                <a:lnTo>
                  <a:pt x="96" y="154"/>
                </a:lnTo>
                <a:lnTo>
                  <a:pt x="100" y="150"/>
                </a:lnTo>
                <a:lnTo>
                  <a:pt x="100" y="150"/>
                </a:lnTo>
                <a:lnTo>
                  <a:pt x="104" y="142"/>
                </a:lnTo>
                <a:lnTo>
                  <a:pt x="106" y="142"/>
                </a:lnTo>
                <a:lnTo>
                  <a:pt x="106" y="142"/>
                </a:lnTo>
                <a:lnTo>
                  <a:pt x="104" y="138"/>
                </a:lnTo>
                <a:lnTo>
                  <a:pt x="104" y="134"/>
                </a:lnTo>
                <a:lnTo>
                  <a:pt x="104" y="134"/>
                </a:lnTo>
                <a:lnTo>
                  <a:pt x="106" y="132"/>
                </a:lnTo>
                <a:lnTo>
                  <a:pt x="106" y="132"/>
                </a:lnTo>
                <a:lnTo>
                  <a:pt x="108" y="128"/>
                </a:lnTo>
                <a:lnTo>
                  <a:pt x="106" y="124"/>
                </a:lnTo>
                <a:lnTo>
                  <a:pt x="106" y="124"/>
                </a:lnTo>
                <a:lnTo>
                  <a:pt x="102" y="126"/>
                </a:lnTo>
                <a:lnTo>
                  <a:pt x="102" y="126"/>
                </a:lnTo>
                <a:lnTo>
                  <a:pt x="102" y="126"/>
                </a:lnTo>
                <a:lnTo>
                  <a:pt x="102" y="126"/>
                </a:lnTo>
                <a:lnTo>
                  <a:pt x="100" y="128"/>
                </a:lnTo>
                <a:lnTo>
                  <a:pt x="100" y="128"/>
                </a:lnTo>
                <a:lnTo>
                  <a:pt x="100" y="126"/>
                </a:lnTo>
                <a:lnTo>
                  <a:pt x="100" y="124"/>
                </a:lnTo>
                <a:lnTo>
                  <a:pt x="100" y="124"/>
                </a:lnTo>
                <a:lnTo>
                  <a:pt x="96" y="124"/>
                </a:lnTo>
                <a:lnTo>
                  <a:pt x="96" y="126"/>
                </a:lnTo>
                <a:lnTo>
                  <a:pt x="96" y="126"/>
                </a:lnTo>
                <a:lnTo>
                  <a:pt x="94" y="126"/>
                </a:lnTo>
                <a:lnTo>
                  <a:pt x="96" y="128"/>
                </a:lnTo>
                <a:lnTo>
                  <a:pt x="96" y="128"/>
                </a:lnTo>
                <a:lnTo>
                  <a:pt x="90" y="128"/>
                </a:lnTo>
                <a:lnTo>
                  <a:pt x="90" y="128"/>
                </a:lnTo>
                <a:lnTo>
                  <a:pt x="90" y="120"/>
                </a:lnTo>
                <a:lnTo>
                  <a:pt x="88" y="120"/>
                </a:lnTo>
                <a:lnTo>
                  <a:pt x="88" y="120"/>
                </a:lnTo>
                <a:lnTo>
                  <a:pt x="88" y="120"/>
                </a:lnTo>
                <a:lnTo>
                  <a:pt x="86" y="118"/>
                </a:lnTo>
                <a:lnTo>
                  <a:pt x="86" y="118"/>
                </a:lnTo>
                <a:lnTo>
                  <a:pt x="86" y="118"/>
                </a:lnTo>
                <a:lnTo>
                  <a:pt x="84" y="118"/>
                </a:lnTo>
                <a:lnTo>
                  <a:pt x="84" y="116"/>
                </a:lnTo>
                <a:lnTo>
                  <a:pt x="84" y="116"/>
                </a:lnTo>
                <a:lnTo>
                  <a:pt x="86" y="114"/>
                </a:lnTo>
                <a:lnTo>
                  <a:pt x="88" y="112"/>
                </a:lnTo>
                <a:lnTo>
                  <a:pt x="88" y="112"/>
                </a:lnTo>
                <a:lnTo>
                  <a:pt x="82" y="112"/>
                </a:lnTo>
                <a:lnTo>
                  <a:pt x="82" y="112"/>
                </a:lnTo>
                <a:close/>
                <a:moveTo>
                  <a:pt x="84" y="0"/>
                </a:moveTo>
                <a:lnTo>
                  <a:pt x="84" y="0"/>
                </a:lnTo>
                <a:lnTo>
                  <a:pt x="84" y="2"/>
                </a:lnTo>
                <a:lnTo>
                  <a:pt x="84" y="4"/>
                </a:lnTo>
                <a:lnTo>
                  <a:pt x="84" y="4"/>
                </a:lnTo>
                <a:lnTo>
                  <a:pt x="88" y="8"/>
                </a:lnTo>
                <a:lnTo>
                  <a:pt x="92" y="12"/>
                </a:lnTo>
                <a:lnTo>
                  <a:pt x="92" y="12"/>
                </a:lnTo>
                <a:lnTo>
                  <a:pt x="96" y="24"/>
                </a:lnTo>
                <a:lnTo>
                  <a:pt x="96" y="24"/>
                </a:lnTo>
                <a:lnTo>
                  <a:pt x="104" y="34"/>
                </a:lnTo>
                <a:lnTo>
                  <a:pt x="104" y="34"/>
                </a:lnTo>
                <a:lnTo>
                  <a:pt x="104" y="36"/>
                </a:lnTo>
                <a:lnTo>
                  <a:pt x="104" y="36"/>
                </a:lnTo>
                <a:lnTo>
                  <a:pt x="104" y="36"/>
                </a:lnTo>
                <a:lnTo>
                  <a:pt x="108" y="38"/>
                </a:lnTo>
                <a:lnTo>
                  <a:pt x="108" y="38"/>
                </a:lnTo>
                <a:lnTo>
                  <a:pt x="110" y="42"/>
                </a:lnTo>
                <a:lnTo>
                  <a:pt x="110" y="42"/>
                </a:lnTo>
                <a:lnTo>
                  <a:pt x="108" y="44"/>
                </a:lnTo>
                <a:lnTo>
                  <a:pt x="108" y="46"/>
                </a:lnTo>
                <a:lnTo>
                  <a:pt x="108" y="50"/>
                </a:lnTo>
                <a:lnTo>
                  <a:pt x="108" y="50"/>
                </a:lnTo>
                <a:lnTo>
                  <a:pt x="114" y="52"/>
                </a:lnTo>
                <a:lnTo>
                  <a:pt x="114" y="52"/>
                </a:lnTo>
                <a:lnTo>
                  <a:pt x="112" y="54"/>
                </a:lnTo>
                <a:lnTo>
                  <a:pt x="112" y="54"/>
                </a:lnTo>
                <a:lnTo>
                  <a:pt x="114" y="64"/>
                </a:lnTo>
                <a:lnTo>
                  <a:pt x="114" y="70"/>
                </a:lnTo>
                <a:lnTo>
                  <a:pt x="112" y="74"/>
                </a:lnTo>
                <a:lnTo>
                  <a:pt x="112" y="74"/>
                </a:lnTo>
                <a:lnTo>
                  <a:pt x="110" y="78"/>
                </a:lnTo>
                <a:lnTo>
                  <a:pt x="110" y="78"/>
                </a:lnTo>
                <a:lnTo>
                  <a:pt x="108" y="86"/>
                </a:lnTo>
                <a:lnTo>
                  <a:pt x="108" y="86"/>
                </a:lnTo>
                <a:lnTo>
                  <a:pt x="100" y="88"/>
                </a:lnTo>
                <a:lnTo>
                  <a:pt x="100" y="88"/>
                </a:lnTo>
                <a:lnTo>
                  <a:pt x="100" y="90"/>
                </a:lnTo>
                <a:lnTo>
                  <a:pt x="98" y="90"/>
                </a:lnTo>
                <a:lnTo>
                  <a:pt x="98" y="90"/>
                </a:lnTo>
                <a:lnTo>
                  <a:pt x="98" y="94"/>
                </a:lnTo>
                <a:lnTo>
                  <a:pt x="98" y="94"/>
                </a:lnTo>
                <a:lnTo>
                  <a:pt x="104" y="96"/>
                </a:lnTo>
                <a:lnTo>
                  <a:pt x="112" y="102"/>
                </a:lnTo>
                <a:lnTo>
                  <a:pt x="116" y="108"/>
                </a:lnTo>
                <a:lnTo>
                  <a:pt x="118" y="112"/>
                </a:lnTo>
                <a:lnTo>
                  <a:pt x="118" y="118"/>
                </a:lnTo>
                <a:lnTo>
                  <a:pt x="118" y="118"/>
                </a:lnTo>
                <a:lnTo>
                  <a:pt x="116" y="122"/>
                </a:lnTo>
                <a:lnTo>
                  <a:pt x="112" y="126"/>
                </a:lnTo>
                <a:lnTo>
                  <a:pt x="112" y="126"/>
                </a:lnTo>
                <a:lnTo>
                  <a:pt x="112" y="128"/>
                </a:lnTo>
                <a:lnTo>
                  <a:pt x="112" y="128"/>
                </a:lnTo>
                <a:lnTo>
                  <a:pt x="120" y="130"/>
                </a:lnTo>
                <a:lnTo>
                  <a:pt x="120" y="130"/>
                </a:lnTo>
                <a:lnTo>
                  <a:pt x="124" y="134"/>
                </a:lnTo>
                <a:lnTo>
                  <a:pt x="124" y="134"/>
                </a:lnTo>
                <a:lnTo>
                  <a:pt x="130" y="130"/>
                </a:lnTo>
                <a:lnTo>
                  <a:pt x="132" y="126"/>
                </a:lnTo>
                <a:lnTo>
                  <a:pt x="132" y="126"/>
                </a:lnTo>
                <a:lnTo>
                  <a:pt x="136" y="120"/>
                </a:lnTo>
                <a:lnTo>
                  <a:pt x="136" y="120"/>
                </a:lnTo>
                <a:lnTo>
                  <a:pt x="136" y="116"/>
                </a:lnTo>
                <a:lnTo>
                  <a:pt x="136" y="116"/>
                </a:lnTo>
                <a:lnTo>
                  <a:pt x="140" y="114"/>
                </a:lnTo>
                <a:lnTo>
                  <a:pt x="144" y="110"/>
                </a:lnTo>
                <a:lnTo>
                  <a:pt x="144" y="110"/>
                </a:lnTo>
                <a:lnTo>
                  <a:pt x="144" y="108"/>
                </a:lnTo>
                <a:lnTo>
                  <a:pt x="144" y="104"/>
                </a:lnTo>
                <a:lnTo>
                  <a:pt x="144" y="104"/>
                </a:lnTo>
                <a:lnTo>
                  <a:pt x="146" y="100"/>
                </a:lnTo>
                <a:lnTo>
                  <a:pt x="146" y="100"/>
                </a:lnTo>
                <a:lnTo>
                  <a:pt x="144" y="96"/>
                </a:lnTo>
                <a:lnTo>
                  <a:pt x="144" y="96"/>
                </a:lnTo>
                <a:lnTo>
                  <a:pt x="150" y="92"/>
                </a:lnTo>
                <a:lnTo>
                  <a:pt x="154" y="92"/>
                </a:lnTo>
                <a:lnTo>
                  <a:pt x="158" y="94"/>
                </a:lnTo>
                <a:lnTo>
                  <a:pt x="158" y="94"/>
                </a:lnTo>
                <a:lnTo>
                  <a:pt x="156" y="90"/>
                </a:lnTo>
                <a:lnTo>
                  <a:pt x="156" y="86"/>
                </a:lnTo>
                <a:lnTo>
                  <a:pt x="156" y="86"/>
                </a:lnTo>
                <a:lnTo>
                  <a:pt x="158" y="84"/>
                </a:lnTo>
                <a:lnTo>
                  <a:pt x="158" y="84"/>
                </a:lnTo>
                <a:lnTo>
                  <a:pt x="166" y="70"/>
                </a:lnTo>
                <a:lnTo>
                  <a:pt x="166" y="70"/>
                </a:lnTo>
                <a:lnTo>
                  <a:pt x="160" y="66"/>
                </a:lnTo>
                <a:lnTo>
                  <a:pt x="158" y="64"/>
                </a:lnTo>
                <a:lnTo>
                  <a:pt x="148" y="70"/>
                </a:lnTo>
                <a:lnTo>
                  <a:pt x="146" y="72"/>
                </a:lnTo>
                <a:lnTo>
                  <a:pt x="146" y="72"/>
                </a:lnTo>
                <a:lnTo>
                  <a:pt x="136" y="68"/>
                </a:lnTo>
                <a:lnTo>
                  <a:pt x="136" y="68"/>
                </a:lnTo>
                <a:lnTo>
                  <a:pt x="134" y="66"/>
                </a:lnTo>
                <a:lnTo>
                  <a:pt x="132" y="64"/>
                </a:lnTo>
                <a:lnTo>
                  <a:pt x="132" y="58"/>
                </a:lnTo>
                <a:lnTo>
                  <a:pt x="132" y="58"/>
                </a:lnTo>
                <a:lnTo>
                  <a:pt x="130" y="48"/>
                </a:lnTo>
                <a:lnTo>
                  <a:pt x="130" y="48"/>
                </a:lnTo>
                <a:lnTo>
                  <a:pt x="126" y="50"/>
                </a:lnTo>
                <a:lnTo>
                  <a:pt x="126" y="50"/>
                </a:lnTo>
                <a:lnTo>
                  <a:pt x="126" y="46"/>
                </a:lnTo>
                <a:lnTo>
                  <a:pt x="126" y="42"/>
                </a:lnTo>
                <a:lnTo>
                  <a:pt x="124" y="42"/>
                </a:lnTo>
                <a:lnTo>
                  <a:pt x="124" y="42"/>
                </a:lnTo>
                <a:lnTo>
                  <a:pt x="122" y="54"/>
                </a:lnTo>
                <a:lnTo>
                  <a:pt x="122" y="54"/>
                </a:lnTo>
                <a:lnTo>
                  <a:pt x="120" y="54"/>
                </a:lnTo>
                <a:lnTo>
                  <a:pt x="120" y="52"/>
                </a:lnTo>
                <a:lnTo>
                  <a:pt x="120" y="52"/>
                </a:lnTo>
                <a:lnTo>
                  <a:pt x="116" y="50"/>
                </a:lnTo>
                <a:lnTo>
                  <a:pt x="116" y="50"/>
                </a:lnTo>
                <a:lnTo>
                  <a:pt x="116" y="38"/>
                </a:lnTo>
                <a:lnTo>
                  <a:pt x="116" y="38"/>
                </a:lnTo>
                <a:lnTo>
                  <a:pt x="114" y="34"/>
                </a:lnTo>
                <a:lnTo>
                  <a:pt x="112" y="30"/>
                </a:lnTo>
                <a:lnTo>
                  <a:pt x="112" y="30"/>
                </a:lnTo>
                <a:lnTo>
                  <a:pt x="114" y="28"/>
                </a:lnTo>
                <a:lnTo>
                  <a:pt x="114" y="28"/>
                </a:lnTo>
                <a:lnTo>
                  <a:pt x="114" y="24"/>
                </a:lnTo>
                <a:lnTo>
                  <a:pt x="112" y="20"/>
                </a:lnTo>
                <a:lnTo>
                  <a:pt x="112" y="20"/>
                </a:lnTo>
                <a:lnTo>
                  <a:pt x="110" y="20"/>
                </a:lnTo>
                <a:lnTo>
                  <a:pt x="108" y="22"/>
                </a:lnTo>
                <a:lnTo>
                  <a:pt x="108" y="22"/>
                </a:lnTo>
                <a:lnTo>
                  <a:pt x="108" y="16"/>
                </a:lnTo>
                <a:lnTo>
                  <a:pt x="108" y="16"/>
                </a:lnTo>
                <a:lnTo>
                  <a:pt x="104" y="12"/>
                </a:lnTo>
                <a:lnTo>
                  <a:pt x="104" y="12"/>
                </a:lnTo>
                <a:lnTo>
                  <a:pt x="100" y="12"/>
                </a:lnTo>
                <a:lnTo>
                  <a:pt x="100" y="12"/>
                </a:lnTo>
                <a:lnTo>
                  <a:pt x="98" y="10"/>
                </a:lnTo>
                <a:lnTo>
                  <a:pt x="98" y="8"/>
                </a:lnTo>
                <a:lnTo>
                  <a:pt x="98" y="8"/>
                </a:lnTo>
                <a:lnTo>
                  <a:pt x="96" y="10"/>
                </a:lnTo>
                <a:lnTo>
                  <a:pt x="96" y="12"/>
                </a:lnTo>
                <a:lnTo>
                  <a:pt x="92" y="8"/>
                </a:lnTo>
                <a:lnTo>
                  <a:pt x="92" y="8"/>
                </a:lnTo>
                <a:lnTo>
                  <a:pt x="88" y="4"/>
                </a:lnTo>
                <a:lnTo>
                  <a:pt x="88" y="4"/>
                </a:lnTo>
                <a:lnTo>
                  <a:pt x="88" y="2"/>
                </a:lnTo>
                <a:lnTo>
                  <a:pt x="88" y="0"/>
                </a:lnTo>
                <a:lnTo>
                  <a:pt x="88" y="0"/>
                </a:lnTo>
                <a:lnTo>
                  <a:pt x="84" y="0"/>
                </a:lnTo>
                <a:lnTo>
                  <a:pt x="8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5" name="Freeform 129">
            <a:extLst>
              <a:ext uri="{FF2B5EF4-FFF2-40B4-BE49-F238E27FC236}">
                <a16:creationId xmlns:a16="http://schemas.microsoft.com/office/drawing/2014/main" id="{134E70F3-653C-47FE-97B1-B80E2E33C34E}"/>
              </a:ext>
            </a:extLst>
          </p:cNvPr>
          <p:cNvSpPr>
            <a:spLocks/>
          </p:cNvSpPr>
          <p:nvPr userDrawn="1"/>
        </p:nvSpPr>
        <p:spPr bwMode="auto">
          <a:xfrm>
            <a:off x="5929605" y="2060756"/>
            <a:ext cx="97269" cy="78935"/>
          </a:xfrm>
          <a:custGeom>
            <a:avLst/>
            <a:gdLst>
              <a:gd name="T0" fmla="*/ 58 w 58"/>
              <a:gd name="T1" fmla="*/ 8 h 46"/>
              <a:gd name="T2" fmla="*/ 54 w 58"/>
              <a:gd name="T3" fmla="*/ 6 h 46"/>
              <a:gd name="T4" fmla="*/ 54 w 58"/>
              <a:gd name="T5" fmla="*/ 2 h 46"/>
              <a:gd name="T6" fmla="*/ 46 w 58"/>
              <a:gd name="T7" fmla="*/ 0 h 46"/>
              <a:gd name="T8" fmla="*/ 44 w 58"/>
              <a:gd name="T9" fmla="*/ 2 h 46"/>
              <a:gd name="T10" fmla="*/ 42 w 58"/>
              <a:gd name="T11" fmla="*/ 0 h 46"/>
              <a:gd name="T12" fmla="*/ 36 w 58"/>
              <a:gd name="T13" fmla="*/ 0 h 46"/>
              <a:gd name="T14" fmla="*/ 32 w 58"/>
              <a:gd name="T15" fmla="*/ 2 h 46"/>
              <a:gd name="T16" fmla="*/ 32 w 58"/>
              <a:gd name="T17" fmla="*/ 4 h 46"/>
              <a:gd name="T18" fmla="*/ 30 w 58"/>
              <a:gd name="T19" fmla="*/ 6 h 46"/>
              <a:gd name="T20" fmla="*/ 22 w 58"/>
              <a:gd name="T21" fmla="*/ 8 h 46"/>
              <a:gd name="T22" fmla="*/ 18 w 58"/>
              <a:gd name="T23" fmla="*/ 14 h 46"/>
              <a:gd name="T24" fmla="*/ 16 w 58"/>
              <a:gd name="T25" fmla="*/ 22 h 46"/>
              <a:gd name="T26" fmla="*/ 16 w 58"/>
              <a:gd name="T27" fmla="*/ 22 h 46"/>
              <a:gd name="T28" fmla="*/ 18 w 58"/>
              <a:gd name="T29" fmla="*/ 26 h 46"/>
              <a:gd name="T30" fmla="*/ 14 w 58"/>
              <a:gd name="T31" fmla="*/ 30 h 46"/>
              <a:gd name="T32" fmla="*/ 14 w 58"/>
              <a:gd name="T33" fmla="*/ 34 h 46"/>
              <a:gd name="T34" fmla="*/ 14 w 58"/>
              <a:gd name="T35" fmla="*/ 34 h 46"/>
              <a:gd name="T36" fmla="*/ 12 w 58"/>
              <a:gd name="T37" fmla="*/ 36 h 46"/>
              <a:gd name="T38" fmla="*/ 6 w 58"/>
              <a:gd name="T39" fmla="*/ 36 h 46"/>
              <a:gd name="T40" fmla="*/ 0 w 58"/>
              <a:gd name="T41" fmla="*/ 34 h 46"/>
              <a:gd name="T42" fmla="*/ 0 w 58"/>
              <a:gd name="T43" fmla="*/ 34 h 46"/>
              <a:gd name="T44" fmla="*/ 6 w 58"/>
              <a:gd name="T45" fmla="*/ 42 h 46"/>
              <a:gd name="T46" fmla="*/ 10 w 58"/>
              <a:gd name="T47" fmla="*/ 44 h 46"/>
              <a:gd name="T48" fmla="*/ 14 w 58"/>
              <a:gd name="T49" fmla="*/ 42 h 46"/>
              <a:gd name="T50" fmla="*/ 18 w 58"/>
              <a:gd name="T51" fmla="*/ 40 h 46"/>
              <a:gd name="T52" fmla="*/ 24 w 58"/>
              <a:gd name="T53" fmla="*/ 40 h 46"/>
              <a:gd name="T54" fmla="*/ 24 w 58"/>
              <a:gd name="T55" fmla="*/ 42 h 46"/>
              <a:gd name="T56" fmla="*/ 28 w 58"/>
              <a:gd name="T57" fmla="*/ 46 h 46"/>
              <a:gd name="T58" fmla="*/ 30 w 58"/>
              <a:gd name="T59" fmla="*/ 46 h 46"/>
              <a:gd name="T60" fmla="*/ 34 w 58"/>
              <a:gd name="T61" fmla="*/ 32 h 46"/>
              <a:gd name="T62" fmla="*/ 38 w 58"/>
              <a:gd name="T63" fmla="*/ 28 h 46"/>
              <a:gd name="T64" fmla="*/ 42 w 58"/>
              <a:gd name="T65" fmla="*/ 28 h 46"/>
              <a:gd name="T66" fmla="*/ 48 w 58"/>
              <a:gd name="T67" fmla="*/ 28 h 46"/>
              <a:gd name="T68" fmla="*/ 48 w 58"/>
              <a:gd name="T69" fmla="*/ 26 h 46"/>
              <a:gd name="T70" fmla="*/ 54 w 58"/>
              <a:gd name="T71" fmla="*/ 24 h 46"/>
              <a:gd name="T72" fmla="*/ 54 w 58"/>
              <a:gd name="T73" fmla="*/ 22 h 46"/>
              <a:gd name="T74" fmla="*/ 52 w 58"/>
              <a:gd name="T75" fmla="*/ 18 h 46"/>
              <a:gd name="T76" fmla="*/ 54 w 58"/>
              <a:gd name="T77" fmla="*/ 18 h 46"/>
              <a:gd name="T78" fmla="*/ 58 w 58"/>
              <a:gd name="T79" fmla="*/ 14 h 46"/>
              <a:gd name="T80" fmla="*/ 58 w 58"/>
              <a:gd name="T81"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46">
                <a:moveTo>
                  <a:pt x="58" y="8"/>
                </a:moveTo>
                <a:lnTo>
                  <a:pt x="58" y="8"/>
                </a:lnTo>
                <a:lnTo>
                  <a:pt x="54" y="6"/>
                </a:lnTo>
                <a:lnTo>
                  <a:pt x="54" y="6"/>
                </a:lnTo>
                <a:lnTo>
                  <a:pt x="54" y="2"/>
                </a:lnTo>
                <a:lnTo>
                  <a:pt x="54" y="2"/>
                </a:lnTo>
                <a:lnTo>
                  <a:pt x="50" y="0"/>
                </a:lnTo>
                <a:lnTo>
                  <a:pt x="46" y="0"/>
                </a:lnTo>
                <a:lnTo>
                  <a:pt x="46" y="0"/>
                </a:lnTo>
                <a:lnTo>
                  <a:pt x="44" y="2"/>
                </a:lnTo>
                <a:lnTo>
                  <a:pt x="42" y="0"/>
                </a:lnTo>
                <a:lnTo>
                  <a:pt x="42" y="0"/>
                </a:lnTo>
                <a:lnTo>
                  <a:pt x="38" y="0"/>
                </a:lnTo>
                <a:lnTo>
                  <a:pt x="36" y="0"/>
                </a:lnTo>
                <a:lnTo>
                  <a:pt x="36" y="0"/>
                </a:lnTo>
                <a:lnTo>
                  <a:pt x="32" y="2"/>
                </a:lnTo>
                <a:lnTo>
                  <a:pt x="32" y="2"/>
                </a:lnTo>
                <a:lnTo>
                  <a:pt x="32" y="4"/>
                </a:lnTo>
                <a:lnTo>
                  <a:pt x="30" y="6"/>
                </a:lnTo>
                <a:lnTo>
                  <a:pt x="30" y="6"/>
                </a:lnTo>
                <a:lnTo>
                  <a:pt x="26" y="8"/>
                </a:lnTo>
                <a:lnTo>
                  <a:pt x="22" y="8"/>
                </a:lnTo>
                <a:lnTo>
                  <a:pt x="22" y="8"/>
                </a:lnTo>
                <a:lnTo>
                  <a:pt x="18" y="14"/>
                </a:lnTo>
                <a:lnTo>
                  <a:pt x="18" y="18"/>
                </a:lnTo>
                <a:lnTo>
                  <a:pt x="16" y="22"/>
                </a:lnTo>
                <a:lnTo>
                  <a:pt x="16" y="22"/>
                </a:lnTo>
                <a:lnTo>
                  <a:pt x="16" y="22"/>
                </a:lnTo>
                <a:lnTo>
                  <a:pt x="16" y="24"/>
                </a:lnTo>
                <a:lnTo>
                  <a:pt x="18" y="26"/>
                </a:lnTo>
                <a:lnTo>
                  <a:pt x="18" y="26"/>
                </a:lnTo>
                <a:lnTo>
                  <a:pt x="14" y="30"/>
                </a:lnTo>
                <a:lnTo>
                  <a:pt x="14" y="30"/>
                </a:lnTo>
                <a:lnTo>
                  <a:pt x="14" y="34"/>
                </a:lnTo>
                <a:lnTo>
                  <a:pt x="14" y="34"/>
                </a:lnTo>
                <a:lnTo>
                  <a:pt x="14" y="34"/>
                </a:lnTo>
                <a:lnTo>
                  <a:pt x="12" y="36"/>
                </a:lnTo>
                <a:lnTo>
                  <a:pt x="12" y="36"/>
                </a:lnTo>
                <a:lnTo>
                  <a:pt x="6" y="36"/>
                </a:lnTo>
                <a:lnTo>
                  <a:pt x="6" y="36"/>
                </a:lnTo>
                <a:lnTo>
                  <a:pt x="4" y="36"/>
                </a:lnTo>
                <a:lnTo>
                  <a:pt x="0" y="34"/>
                </a:lnTo>
                <a:lnTo>
                  <a:pt x="0" y="34"/>
                </a:lnTo>
                <a:lnTo>
                  <a:pt x="0" y="34"/>
                </a:lnTo>
                <a:lnTo>
                  <a:pt x="2" y="38"/>
                </a:lnTo>
                <a:lnTo>
                  <a:pt x="6" y="42"/>
                </a:lnTo>
                <a:lnTo>
                  <a:pt x="10" y="44"/>
                </a:lnTo>
                <a:lnTo>
                  <a:pt x="10" y="44"/>
                </a:lnTo>
                <a:lnTo>
                  <a:pt x="12" y="44"/>
                </a:lnTo>
                <a:lnTo>
                  <a:pt x="14" y="42"/>
                </a:lnTo>
                <a:lnTo>
                  <a:pt x="18" y="40"/>
                </a:lnTo>
                <a:lnTo>
                  <a:pt x="18" y="40"/>
                </a:lnTo>
                <a:lnTo>
                  <a:pt x="22" y="40"/>
                </a:lnTo>
                <a:lnTo>
                  <a:pt x="24" y="40"/>
                </a:lnTo>
                <a:lnTo>
                  <a:pt x="24" y="42"/>
                </a:lnTo>
                <a:lnTo>
                  <a:pt x="24" y="42"/>
                </a:lnTo>
                <a:lnTo>
                  <a:pt x="26" y="44"/>
                </a:lnTo>
                <a:lnTo>
                  <a:pt x="28" y="46"/>
                </a:lnTo>
                <a:lnTo>
                  <a:pt x="30" y="46"/>
                </a:lnTo>
                <a:lnTo>
                  <a:pt x="30" y="46"/>
                </a:lnTo>
                <a:lnTo>
                  <a:pt x="34" y="32"/>
                </a:lnTo>
                <a:lnTo>
                  <a:pt x="34" y="32"/>
                </a:lnTo>
                <a:lnTo>
                  <a:pt x="36" y="28"/>
                </a:lnTo>
                <a:lnTo>
                  <a:pt x="38" y="28"/>
                </a:lnTo>
                <a:lnTo>
                  <a:pt x="42" y="28"/>
                </a:lnTo>
                <a:lnTo>
                  <a:pt x="42" y="28"/>
                </a:lnTo>
                <a:lnTo>
                  <a:pt x="46" y="30"/>
                </a:lnTo>
                <a:lnTo>
                  <a:pt x="48" y="28"/>
                </a:lnTo>
                <a:lnTo>
                  <a:pt x="48" y="26"/>
                </a:lnTo>
                <a:lnTo>
                  <a:pt x="48" y="26"/>
                </a:lnTo>
                <a:lnTo>
                  <a:pt x="52" y="24"/>
                </a:lnTo>
                <a:lnTo>
                  <a:pt x="54" y="24"/>
                </a:lnTo>
                <a:lnTo>
                  <a:pt x="54" y="22"/>
                </a:lnTo>
                <a:lnTo>
                  <a:pt x="54" y="22"/>
                </a:lnTo>
                <a:lnTo>
                  <a:pt x="52" y="18"/>
                </a:lnTo>
                <a:lnTo>
                  <a:pt x="52" y="18"/>
                </a:lnTo>
                <a:lnTo>
                  <a:pt x="54" y="18"/>
                </a:lnTo>
                <a:lnTo>
                  <a:pt x="54" y="18"/>
                </a:lnTo>
                <a:lnTo>
                  <a:pt x="56" y="16"/>
                </a:lnTo>
                <a:lnTo>
                  <a:pt x="58" y="14"/>
                </a:lnTo>
                <a:lnTo>
                  <a:pt x="58" y="8"/>
                </a:lnTo>
                <a:lnTo>
                  <a:pt x="58"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6" name="Freeform 130">
            <a:extLst>
              <a:ext uri="{FF2B5EF4-FFF2-40B4-BE49-F238E27FC236}">
                <a16:creationId xmlns:a16="http://schemas.microsoft.com/office/drawing/2014/main" id="{FA256FE9-DDC2-42F4-8DD9-B58436438A5E}"/>
              </a:ext>
            </a:extLst>
          </p:cNvPr>
          <p:cNvSpPr>
            <a:spLocks/>
          </p:cNvSpPr>
          <p:nvPr userDrawn="1"/>
        </p:nvSpPr>
        <p:spPr bwMode="auto">
          <a:xfrm>
            <a:off x="7651921" y="2819222"/>
            <a:ext cx="184474" cy="113255"/>
          </a:xfrm>
          <a:custGeom>
            <a:avLst/>
            <a:gdLst>
              <a:gd name="T0" fmla="*/ 108 w 110"/>
              <a:gd name="T1" fmla="*/ 42 h 66"/>
              <a:gd name="T2" fmla="*/ 98 w 110"/>
              <a:gd name="T3" fmla="*/ 40 h 66"/>
              <a:gd name="T4" fmla="*/ 86 w 110"/>
              <a:gd name="T5" fmla="*/ 38 h 66"/>
              <a:gd name="T6" fmla="*/ 80 w 110"/>
              <a:gd name="T7" fmla="*/ 34 h 66"/>
              <a:gd name="T8" fmla="*/ 74 w 110"/>
              <a:gd name="T9" fmla="*/ 34 h 66"/>
              <a:gd name="T10" fmla="*/ 70 w 110"/>
              <a:gd name="T11" fmla="*/ 30 h 66"/>
              <a:gd name="T12" fmla="*/ 64 w 110"/>
              <a:gd name="T13" fmla="*/ 24 h 66"/>
              <a:gd name="T14" fmla="*/ 58 w 110"/>
              <a:gd name="T15" fmla="*/ 20 h 66"/>
              <a:gd name="T16" fmla="*/ 58 w 110"/>
              <a:gd name="T17" fmla="*/ 14 h 66"/>
              <a:gd name="T18" fmla="*/ 52 w 110"/>
              <a:gd name="T19" fmla="*/ 10 h 66"/>
              <a:gd name="T20" fmla="*/ 46 w 110"/>
              <a:gd name="T21" fmla="*/ 12 h 66"/>
              <a:gd name="T22" fmla="*/ 40 w 110"/>
              <a:gd name="T23" fmla="*/ 12 h 66"/>
              <a:gd name="T24" fmla="*/ 34 w 110"/>
              <a:gd name="T25" fmla="*/ 2 h 66"/>
              <a:gd name="T26" fmla="*/ 28 w 110"/>
              <a:gd name="T27" fmla="*/ 0 h 66"/>
              <a:gd name="T28" fmla="*/ 22 w 110"/>
              <a:gd name="T29" fmla="*/ 0 h 66"/>
              <a:gd name="T30" fmla="*/ 16 w 110"/>
              <a:gd name="T31" fmla="*/ 0 h 66"/>
              <a:gd name="T32" fmla="*/ 12 w 110"/>
              <a:gd name="T33" fmla="*/ 0 h 66"/>
              <a:gd name="T34" fmla="*/ 4 w 110"/>
              <a:gd name="T35" fmla="*/ 6 h 66"/>
              <a:gd name="T36" fmla="*/ 0 w 110"/>
              <a:gd name="T37" fmla="*/ 14 h 66"/>
              <a:gd name="T38" fmla="*/ 2 w 110"/>
              <a:gd name="T39" fmla="*/ 22 h 66"/>
              <a:gd name="T40" fmla="*/ 10 w 110"/>
              <a:gd name="T41" fmla="*/ 26 h 66"/>
              <a:gd name="T42" fmla="*/ 10 w 110"/>
              <a:gd name="T43" fmla="*/ 30 h 66"/>
              <a:gd name="T44" fmla="*/ 18 w 110"/>
              <a:gd name="T45" fmla="*/ 34 h 66"/>
              <a:gd name="T46" fmla="*/ 26 w 110"/>
              <a:gd name="T47" fmla="*/ 36 h 66"/>
              <a:gd name="T48" fmla="*/ 34 w 110"/>
              <a:gd name="T49" fmla="*/ 42 h 66"/>
              <a:gd name="T50" fmla="*/ 42 w 110"/>
              <a:gd name="T51" fmla="*/ 42 h 66"/>
              <a:gd name="T52" fmla="*/ 48 w 110"/>
              <a:gd name="T53" fmla="*/ 46 h 66"/>
              <a:gd name="T54" fmla="*/ 52 w 110"/>
              <a:gd name="T55" fmla="*/ 50 h 66"/>
              <a:gd name="T56" fmla="*/ 58 w 110"/>
              <a:gd name="T57" fmla="*/ 52 h 66"/>
              <a:gd name="T58" fmla="*/ 64 w 110"/>
              <a:gd name="T59" fmla="*/ 58 h 66"/>
              <a:gd name="T60" fmla="*/ 74 w 110"/>
              <a:gd name="T61" fmla="*/ 58 h 66"/>
              <a:gd name="T62" fmla="*/ 86 w 110"/>
              <a:gd name="T63" fmla="*/ 64 h 66"/>
              <a:gd name="T64" fmla="*/ 94 w 110"/>
              <a:gd name="T65" fmla="*/ 64 h 66"/>
              <a:gd name="T66" fmla="*/ 100 w 110"/>
              <a:gd name="T67" fmla="*/ 66 h 66"/>
              <a:gd name="T68" fmla="*/ 106 w 110"/>
              <a:gd name="T69" fmla="*/ 64 h 66"/>
              <a:gd name="T70" fmla="*/ 108 w 110"/>
              <a:gd name="T71" fmla="*/ 62 h 66"/>
              <a:gd name="T72" fmla="*/ 110 w 110"/>
              <a:gd name="T73" fmla="*/ 58 h 66"/>
              <a:gd name="T74" fmla="*/ 106 w 110"/>
              <a:gd name="T75" fmla="*/ 54 h 66"/>
              <a:gd name="T76" fmla="*/ 108 w 110"/>
              <a:gd name="T77" fmla="*/ 50 h 66"/>
              <a:gd name="T78" fmla="*/ 108 w 110"/>
              <a:gd name="T79"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66">
                <a:moveTo>
                  <a:pt x="108" y="42"/>
                </a:moveTo>
                <a:lnTo>
                  <a:pt x="98" y="40"/>
                </a:lnTo>
                <a:lnTo>
                  <a:pt x="86" y="38"/>
                </a:lnTo>
                <a:lnTo>
                  <a:pt x="80" y="34"/>
                </a:lnTo>
                <a:lnTo>
                  <a:pt x="74" y="34"/>
                </a:lnTo>
                <a:lnTo>
                  <a:pt x="70" y="30"/>
                </a:lnTo>
                <a:lnTo>
                  <a:pt x="64" y="24"/>
                </a:lnTo>
                <a:lnTo>
                  <a:pt x="58" y="20"/>
                </a:lnTo>
                <a:lnTo>
                  <a:pt x="58" y="14"/>
                </a:lnTo>
                <a:lnTo>
                  <a:pt x="52" y="10"/>
                </a:lnTo>
                <a:lnTo>
                  <a:pt x="46" y="12"/>
                </a:lnTo>
                <a:lnTo>
                  <a:pt x="40" y="12"/>
                </a:lnTo>
                <a:lnTo>
                  <a:pt x="34" y="2"/>
                </a:lnTo>
                <a:lnTo>
                  <a:pt x="28" y="0"/>
                </a:lnTo>
                <a:lnTo>
                  <a:pt x="22" y="0"/>
                </a:lnTo>
                <a:lnTo>
                  <a:pt x="16" y="0"/>
                </a:lnTo>
                <a:lnTo>
                  <a:pt x="12" y="0"/>
                </a:lnTo>
                <a:lnTo>
                  <a:pt x="4" y="6"/>
                </a:lnTo>
                <a:lnTo>
                  <a:pt x="0" y="14"/>
                </a:lnTo>
                <a:lnTo>
                  <a:pt x="2" y="22"/>
                </a:lnTo>
                <a:lnTo>
                  <a:pt x="10" y="26"/>
                </a:lnTo>
                <a:lnTo>
                  <a:pt x="10" y="30"/>
                </a:lnTo>
                <a:lnTo>
                  <a:pt x="18" y="34"/>
                </a:lnTo>
                <a:lnTo>
                  <a:pt x="26" y="36"/>
                </a:lnTo>
                <a:lnTo>
                  <a:pt x="34" y="42"/>
                </a:lnTo>
                <a:lnTo>
                  <a:pt x="42" y="42"/>
                </a:lnTo>
                <a:lnTo>
                  <a:pt x="48" y="46"/>
                </a:lnTo>
                <a:lnTo>
                  <a:pt x="52" y="50"/>
                </a:lnTo>
                <a:lnTo>
                  <a:pt x="58" y="52"/>
                </a:lnTo>
                <a:lnTo>
                  <a:pt x="64" y="58"/>
                </a:lnTo>
                <a:lnTo>
                  <a:pt x="74" y="58"/>
                </a:lnTo>
                <a:lnTo>
                  <a:pt x="86" y="64"/>
                </a:lnTo>
                <a:lnTo>
                  <a:pt x="94" y="64"/>
                </a:lnTo>
                <a:lnTo>
                  <a:pt x="100" y="66"/>
                </a:lnTo>
                <a:lnTo>
                  <a:pt x="106" y="64"/>
                </a:lnTo>
                <a:lnTo>
                  <a:pt x="108" y="62"/>
                </a:lnTo>
                <a:lnTo>
                  <a:pt x="110" y="58"/>
                </a:lnTo>
                <a:lnTo>
                  <a:pt x="106" y="54"/>
                </a:lnTo>
                <a:lnTo>
                  <a:pt x="108" y="50"/>
                </a:lnTo>
                <a:lnTo>
                  <a:pt x="108" y="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7" name="Freeform 131">
            <a:extLst>
              <a:ext uri="{FF2B5EF4-FFF2-40B4-BE49-F238E27FC236}">
                <a16:creationId xmlns:a16="http://schemas.microsoft.com/office/drawing/2014/main" id="{B2B16D24-6192-4D31-A08F-B9EBF99CF84D}"/>
              </a:ext>
            </a:extLst>
          </p:cNvPr>
          <p:cNvSpPr>
            <a:spLocks/>
          </p:cNvSpPr>
          <p:nvPr userDrawn="1"/>
        </p:nvSpPr>
        <p:spPr bwMode="auto">
          <a:xfrm>
            <a:off x="6119110" y="4171420"/>
            <a:ext cx="298512" cy="350062"/>
          </a:xfrm>
          <a:custGeom>
            <a:avLst/>
            <a:gdLst>
              <a:gd name="T0" fmla="*/ 2 w 178"/>
              <a:gd name="T1" fmla="*/ 8 h 204"/>
              <a:gd name="T2" fmla="*/ 0 w 178"/>
              <a:gd name="T3" fmla="*/ 20 h 204"/>
              <a:gd name="T4" fmla="*/ 6 w 178"/>
              <a:gd name="T5" fmla="*/ 26 h 204"/>
              <a:gd name="T6" fmla="*/ 12 w 178"/>
              <a:gd name="T7" fmla="*/ 36 h 204"/>
              <a:gd name="T8" fmla="*/ 16 w 178"/>
              <a:gd name="T9" fmla="*/ 44 h 204"/>
              <a:gd name="T10" fmla="*/ 18 w 178"/>
              <a:gd name="T11" fmla="*/ 54 h 204"/>
              <a:gd name="T12" fmla="*/ 22 w 178"/>
              <a:gd name="T13" fmla="*/ 70 h 204"/>
              <a:gd name="T14" fmla="*/ 26 w 178"/>
              <a:gd name="T15" fmla="*/ 70 h 204"/>
              <a:gd name="T16" fmla="*/ 28 w 178"/>
              <a:gd name="T17" fmla="*/ 82 h 204"/>
              <a:gd name="T18" fmla="*/ 32 w 178"/>
              <a:gd name="T19" fmla="*/ 86 h 204"/>
              <a:gd name="T20" fmla="*/ 36 w 178"/>
              <a:gd name="T21" fmla="*/ 90 h 204"/>
              <a:gd name="T22" fmla="*/ 36 w 178"/>
              <a:gd name="T23" fmla="*/ 92 h 204"/>
              <a:gd name="T24" fmla="*/ 38 w 178"/>
              <a:gd name="T25" fmla="*/ 96 h 204"/>
              <a:gd name="T26" fmla="*/ 36 w 178"/>
              <a:gd name="T27" fmla="*/ 102 h 204"/>
              <a:gd name="T28" fmla="*/ 36 w 178"/>
              <a:gd name="T29" fmla="*/ 110 h 204"/>
              <a:gd name="T30" fmla="*/ 36 w 178"/>
              <a:gd name="T31" fmla="*/ 112 h 204"/>
              <a:gd name="T32" fmla="*/ 38 w 178"/>
              <a:gd name="T33" fmla="*/ 122 h 204"/>
              <a:gd name="T34" fmla="*/ 36 w 178"/>
              <a:gd name="T35" fmla="*/ 126 h 204"/>
              <a:gd name="T36" fmla="*/ 42 w 178"/>
              <a:gd name="T37" fmla="*/ 138 h 204"/>
              <a:gd name="T38" fmla="*/ 40 w 178"/>
              <a:gd name="T39" fmla="*/ 150 h 204"/>
              <a:gd name="T40" fmla="*/ 42 w 178"/>
              <a:gd name="T41" fmla="*/ 156 h 204"/>
              <a:gd name="T42" fmla="*/ 42 w 178"/>
              <a:gd name="T43" fmla="*/ 170 h 204"/>
              <a:gd name="T44" fmla="*/ 44 w 178"/>
              <a:gd name="T45" fmla="*/ 170 h 204"/>
              <a:gd name="T46" fmla="*/ 48 w 178"/>
              <a:gd name="T47" fmla="*/ 186 h 204"/>
              <a:gd name="T48" fmla="*/ 58 w 178"/>
              <a:gd name="T49" fmla="*/ 192 h 204"/>
              <a:gd name="T50" fmla="*/ 60 w 178"/>
              <a:gd name="T51" fmla="*/ 200 h 204"/>
              <a:gd name="T52" fmla="*/ 62 w 178"/>
              <a:gd name="T53" fmla="*/ 202 h 204"/>
              <a:gd name="T54" fmla="*/ 68 w 178"/>
              <a:gd name="T55" fmla="*/ 196 h 204"/>
              <a:gd name="T56" fmla="*/ 74 w 178"/>
              <a:gd name="T57" fmla="*/ 194 h 204"/>
              <a:gd name="T58" fmla="*/ 74 w 178"/>
              <a:gd name="T59" fmla="*/ 198 h 204"/>
              <a:gd name="T60" fmla="*/ 76 w 178"/>
              <a:gd name="T61" fmla="*/ 204 h 204"/>
              <a:gd name="T62" fmla="*/ 86 w 178"/>
              <a:gd name="T63" fmla="*/ 204 h 204"/>
              <a:gd name="T64" fmla="*/ 92 w 178"/>
              <a:gd name="T65" fmla="*/ 202 h 204"/>
              <a:gd name="T66" fmla="*/ 96 w 178"/>
              <a:gd name="T67" fmla="*/ 196 h 204"/>
              <a:gd name="T68" fmla="*/ 104 w 178"/>
              <a:gd name="T69" fmla="*/ 144 h 204"/>
              <a:gd name="T70" fmla="*/ 120 w 178"/>
              <a:gd name="T71" fmla="*/ 26 h 204"/>
              <a:gd name="T72" fmla="*/ 160 w 178"/>
              <a:gd name="T73" fmla="*/ 24 h 204"/>
              <a:gd name="T74" fmla="*/ 164 w 178"/>
              <a:gd name="T75" fmla="*/ 22 h 204"/>
              <a:gd name="T76" fmla="*/ 168 w 178"/>
              <a:gd name="T77" fmla="*/ 22 h 204"/>
              <a:gd name="T78" fmla="*/ 172 w 178"/>
              <a:gd name="T79" fmla="*/ 20 h 204"/>
              <a:gd name="T80" fmla="*/ 178 w 178"/>
              <a:gd name="T81" fmla="*/ 18 h 204"/>
              <a:gd name="T82" fmla="*/ 174 w 178"/>
              <a:gd name="T83" fmla="*/ 14 h 204"/>
              <a:gd name="T84" fmla="*/ 168 w 178"/>
              <a:gd name="T85" fmla="*/ 12 h 204"/>
              <a:gd name="T86" fmla="*/ 122 w 178"/>
              <a:gd name="T87" fmla="*/ 20 h 204"/>
              <a:gd name="T88" fmla="*/ 112 w 178"/>
              <a:gd name="T89" fmla="*/ 16 h 204"/>
              <a:gd name="T90" fmla="*/ 106 w 178"/>
              <a:gd name="T91" fmla="*/ 16 h 204"/>
              <a:gd name="T92" fmla="*/ 102 w 178"/>
              <a:gd name="T93" fmla="*/ 16 h 204"/>
              <a:gd name="T94" fmla="*/ 96 w 178"/>
              <a:gd name="T95" fmla="*/ 14 h 204"/>
              <a:gd name="T96" fmla="*/ 92 w 178"/>
              <a:gd name="T97" fmla="*/ 12 h 204"/>
              <a:gd name="T98" fmla="*/ 88 w 178"/>
              <a:gd name="T99" fmla="*/ 10 h 204"/>
              <a:gd name="T100" fmla="*/ 26 w 178"/>
              <a:gd name="T101" fmla="*/ 4 h 204"/>
              <a:gd name="T102" fmla="*/ 18 w 178"/>
              <a:gd name="T103" fmla="*/ 0 h 204"/>
              <a:gd name="T104" fmla="*/ 14 w 178"/>
              <a:gd name="T105" fmla="*/ 2 h 204"/>
              <a:gd name="T106" fmla="*/ 10 w 178"/>
              <a:gd name="T107" fmla="*/ 4 h 204"/>
              <a:gd name="T108" fmla="*/ 0 w 178"/>
              <a:gd name="T109" fmla="*/ 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204">
                <a:moveTo>
                  <a:pt x="0" y="4"/>
                </a:moveTo>
                <a:lnTo>
                  <a:pt x="0" y="4"/>
                </a:lnTo>
                <a:lnTo>
                  <a:pt x="2" y="8"/>
                </a:lnTo>
                <a:lnTo>
                  <a:pt x="2" y="8"/>
                </a:lnTo>
                <a:lnTo>
                  <a:pt x="0" y="12"/>
                </a:lnTo>
                <a:lnTo>
                  <a:pt x="0" y="20"/>
                </a:lnTo>
                <a:lnTo>
                  <a:pt x="0" y="24"/>
                </a:lnTo>
                <a:lnTo>
                  <a:pt x="0" y="24"/>
                </a:lnTo>
                <a:lnTo>
                  <a:pt x="6" y="26"/>
                </a:lnTo>
                <a:lnTo>
                  <a:pt x="6" y="26"/>
                </a:lnTo>
                <a:lnTo>
                  <a:pt x="12" y="36"/>
                </a:lnTo>
                <a:lnTo>
                  <a:pt x="12" y="36"/>
                </a:lnTo>
                <a:lnTo>
                  <a:pt x="16" y="38"/>
                </a:lnTo>
                <a:lnTo>
                  <a:pt x="16" y="38"/>
                </a:lnTo>
                <a:lnTo>
                  <a:pt x="16" y="44"/>
                </a:lnTo>
                <a:lnTo>
                  <a:pt x="14" y="46"/>
                </a:lnTo>
                <a:lnTo>
                  <a:pt x="14" y="46"/>
                </a:lnTo>
                <a:lnTo>
                  <a:pt x="18" y="54"/>
                </a:lnTo>
                <a:lnTo>
                  <a:pt x="18" y="54"/>
                </a:lnTo>
                <a:lnTo>
                  <a:pt x="18" y="60"/>
                </a:lnTo>
                <a:lnTo>
                  <a:pt x="22" y="70"/>
                </a:lnTo>
                <a:lnTo>
                  <a:pt x="22" y="70"/>
                </a:lnTo>
                <a:lnTo>
                  <a:pt x="26" y="70"/>
                </a:lnTo>
                <a:lnTo>
                  <a:pt x="26" y="70"/>
                </a:lnTo>
                <a:lnTo>
                  <a:pt x="28" y="74"/>
                </a:lnTo>
                <a:lnTo>
                  <a:pt x="28" y="76"/>
                </a:lnTo>
                <a:lnTo>
                  <a:pt x="28" y="82"/>
                </a:lnTo>
                <a:lnTo>
                  <a:pt x="30" y="82"/>
                </a:lnTo>
                <a:lnTo>
                  <a:pt x="30" y="82"/>
                </a:lnTo>
                <a:lnTo>
                  <a:pt x="32" y="86"/>
                </a:lnTo>
                <a:lnTo>
                  <a:pt x="32" y="86"/>
                </a:lnTo>
                <a:lnTo>
                  <a:pt x="36" y="90"/>
                </a:lnTo>
                <a:lnTo>
                  <a:pt x="36" y="90"/>
                </a:lnTo>
                <a:lnTo>
                  <a:pt x="36" y="92"/>
                </a:lnTo>
                <a:lnTo>
                  <a:pt x="36" y="92"/>
                </a:lnTo>
                <a:lnTo>
                  <a:pt x="36" y="92"/>
                </a:lnTo>
                <a:lnTo>
                  <a:pt x="36" y="94"/>
                </a:lnTo>
                <a:lnTo>
                  <a:pt x="38" y="96"/>
                </a:lnTo>
                <a:lnTo>
                  <a:pt x="38" y="96"/>
                </a:lnTo>
                <a:lnTo>
                  <a:pt x="34" y="100"/>
                </a:lnTo>
                <a:lnTo>
                  <a:pt x="34" y="100"/>
                </a:lnTo>
                <a:lnTo>
                  <a:pt x="36" y="102"/>
                </a:lnTo>
                <a:lnTo>
                  <a:pt x="36" y="102"/>
                </a:lnTo>
                <a:lnTo>
                  <a:pt x="36" y="104"/>
                </a:lnTo>
                <a:lnTo>
                  <a:pt x="36" y="110"/>
                </a:lnTo>
                <a:lnTo>
                  <a:pt x="36" y="110"/>
                </a:lnTo>
                <a:lnTo>
                  <a:pt x="38" y="112"/>
                </a:lnTo>
                <a:lnTo>
                  <a:pt x="36" y="112"/>
                </a:lnTo>
                <a:lnTo>
                  <a:pt x="36" y="112"/>
                </a:lnTo>
                <a:lnTo>
                  <a:pt x="38" y="122"/>
                </a:lnTo>
                <a:lnTo>
                  <a:pt x="38" y="122"/>
                </a:lnTo>
                <a:lnTo>
                  <a:pt x="36" y="124"/>
                </a:lnTo>
                <a:lnTo>
                  <a:pt x="36" y="126"/>
                </a:lnTo>
                <a:lnTo>
                  <a:pt x="36" y="126"/>
                </a:lnTo>
                <a:lnTo>
                  <a:pt x="38" y="132"/>
                </a:lnTo>
                <a:lnTo>
                  <a:pt x="42" y="138"/>
                </a:lnTo>
                <a:lnTo>
                  <a:pt x="42" y="138"/>
                </a:lnTo>
                <a:lnTo>
                  <a:pt x="42" y="148"/>
                </a:lnTo>
                <a:lnTo>
                  <a:pt x="42" y="148"/>
                </a:lnTo>
                <a:lnTo>
                  <a:pt x="40" y="150"/>
                </a:lnTo>
                <a:lnTo>
                  <a:pt x="40" y="150"/>
                </a:lnTo>
                <a:lnTo>
                  <a:pt x="40" y="152"/>
                </a:lnTo>
                <a:lnTo>
                  <a:pt x="42" y="156"/>
                </a:lnTo>
                <a:lnTo>
                  <a:pt x="42" y="156"/>
                </a:lnTo>
                <a:lnTo>
                  <a:pt x="42" y="162"/>
                </a:lnTo>
                <a:lnTo>
                  <a:pt x="42" y="170"/>
                </a:lnTo>
                <a:lnTo>
                  <a:pt x="42" y="170"/>
                </a:lnTo>
                <a:lnTo>
                  <a:pt x="44" y="170"/>
                </a:lnTo>
                <a:lnTo>
                  <a:pt x="44" y="170"/>
                </a:lnTo>
                <a:lnTo>
                  <a:pt x="46" y="180"/>
                </a:lnTo>
                <a:lnTo>
                  <a:pt x="46" y="180"/>
                </a:lnTo>
                <a:lnTo>
                  <a:pt x="48" y="186"/>
                </a:lnTo>
                <a:lnTo>
                  <a:pt x="54" y="192"/>
                </a:lnTo>
                <a:lnTo>
                  <a:pt x="54" y="192"/>
                </a:lnTo>
                <a:lnTo>
                  <a:pt x="58" y="192"/>
                </a:lnTo>
                <a:lnTo>
                  <a:pt x="58" y="192"/>
                </a:lnTo>
                <a:lnTo>
                  <a:pt x="60" y="196"/>
                </a:lnTo>
                <a:lnTo>
                  <a:pt x="60" y="200"/>
                </a:lnTo>
                <a:lnTo>
                  <a:pt x="60" y="200"/>
                </a:lnTo>
                <a:lnTo>
                  <a:pt x="62" y="202"/>
                </a:lnTo>
                <a:lnTo>
                  <a:pt x="62" y="202"/>
                </a:lnTo>
                <a:lnTo>
                  <a:pt x="64" y="200"/>
                </a:lnTo>
                <a:lnTo>
                  <a:pt x="68" y="196"/>
                </a:lnTo>
                <a:lnTo>
                  <a:pt x="68" y="196"/>
                </a:lnTo>
                <a:lnTo>
                  <a:pt x="70" y="194"/>
                </a:lnTo>
                <a:lnTo>
                  <a:pt x="74" y="194"/>
                </a:lnTo>
                <a:lnTo>
                  <a:pt x="74" y="194"/>
                </a:lnTo>
                <a:lnTo>
                  <a:pt x="74" y="196"/>
                </a:lnTo>
                <a:lnTo>
                  <a:pt x="74" y="196"/>
                </a:lnTo>
                <a:lnTo>
                  <a:pt x="74" y="198"/>
                </a:lnTo>
                <a:lnTo>
                  <a:pt x="74" y="200"/>
                </a:lnTo>
                <a:lnTo>
                  <a:pt x="74" y="200"/>
                </a:lnTo>
                <a:lnTo>
                  <a:pt x="76" y="204"/>
                </a:lnTo>
                <a:lnTo>
                  <a:pt x="82" y="204"/>
                </a:lnTo>
                <a:lnTo>
                  <a:pt x="82" y="204"/>
                </a:lnTo>
                <a:lnTo>
                  <a:pt x="86" y="204"/>
                </a:lnTo>
                <a:lnTo>
                  <a:pt x="88" y="204"/>
                </a:lnTo>
                <a:lnTo>
                  <a:pt x="88" y="204"/>
                </a:lnTo>
                <a:lnTo>
                  <a:pt x="92" y="202"/>
                </a:lnTo>
                <a:lnTo>
                  <a:pt x="94" y="198"/>
                </a:lnTo>
                <a:lnTo>
                  <a:pt x="94" y="198"/>
                </a:lnTo>
                <a:lnTo>
                  <a:pt x="96" y="196"/>
                </a:lnTo>
                <a:lnTo>
                  <a:pt x="100" y="196"/>
                </a:lnTo>
                <a:lnTo>
                  <a:pt x="102" y="196"/>
                </a:lnTo>
                <a:lnTo>
                  <a:pt x="104" y="144"/>
                </a:lnTo>
                <a:lnTo>
                  <a:pt x="104" y="84"/>
                </a:lnTo>
                <a:lnTo>
                  <a:pt x="120" y="84"/>
                </a:lnTo>
                <a:lnTo>
                  <a:pt x="120" y="26"/>
                </a:lnTo>
                <a:lnTo>
                  <a:pt x="130" y="26"/>
                </a:lnTo>
                <a:lnTo>
                  <a:pt x="160" y="24"/>
                </a:lnTo>
                <a:lnTo>
                  <a:pt x="160" y="24"/>
                </a:lnTo>
                <a:lnTo>
                  <a:pt x="162" y="24"/>
                </a:lnTo>
                <a:lnTo>
                  <a:pt x="164" y="24"/>
                </a:lnTo>
                <a:lnTo>
                  <a:pt x="164" y="22"/>
                </a:lnTo>
                <a:lnTo>
                  <a:pt x="164" y="22"/>
                </a:lnTo>
                <a:lnTo>
                  <a:pt x="166" y="20"/>
                </a:lnTo>
                <a:lnTo>
                  <a:pt x="168" y="22"/>
                </a:lnTo>
                <a:lnTo>
                  <a:pt x="170" y="22"/>
                </a:lnTo>
                <a:lnTo>
                  <a:pt x="172" y="20"/>
                </a:lnTo>
                <a:lnTo>
                  <a:pt x="172" y="20"/>
                </a:lnTo>
                <a:lnTo>
                  <a:pt x="174" y="18"/>
                </a:lnTo>
                <a:lnTo>
                  <a:pt x="176" y="18"/>
                </a:lnTo>
                <a:lnTo>
                  <a:pt x="178" y="18"/>
                </a:lnTo>
                <a:lnTo>
                  <a:pt x="178" y="18"/>
                </a:lnTo>
                <a:lnTo>
                  <a:pt x="176" y="16"/>
                </a:lnTo>
                <a:lnTo>
                  <a:pt x="174" y="14"/>
                </a:lnTo>
                <a:lnTo>
                  <a:pt x="174" y="14"/>
                </a:lnTo>
                <a:lnTo>
                  <a:pt x="172" y="12"/>
                </a:lnTo>
                <a:lnTo>
                  <a:pt x="168" y="12"/>
                </a:lnTo>
                <a:lnTo>
                  <a:pt x="152" y="14"/>
                </a:lnTo>
                <a:lnTo>
                  <a:pt x="122" y="20"/>
                </a:lnTo>
                <a:lnTo>
                  <a:pt x="122" y="20"/>
                </a:lnTo>
                <a:lnTo>
                  <a:pt x="118" y="18"/>
                </a:lnTo>
                <a:lnTo>
                  <a:pt x="112" y="16"/>
                </a:lnTo>
                <a:lnTo>
                  <a:pt x="112" y="16"/>
                </a:lnTo>
                <a:lnTo>
                  <a:pt x="110" y="16"/>
                </a:lnTo>
                <a:lnTo>
                  <a:pt x="110" y="16"/>
                </a:lnTo>
                <a:lnTo>
                  <a:pt x="106" y="16"/>
                </a:lnTo>
                <a:lnTo>
                  <a:pt x="106" y="16"/>
                </a:lnTo>
                <a:lnTo>
                  <a:pt x="104" y="16"/>
                </a:lnTo>
                <a:lnTo>
                  <a:pt x="102" y="16"/>
                </a:lnTo>
                <a:lnTo>
                  <a:pt x="100" y="14"/>
                </a:lnTo>
                <a:lnTo>
                  <a:pt x="96" y="14"/>
                </a:lnTo>
                <a:lnTo>
                  <a:pt x="96" y="14"/>
                </a:lnTo>
                <a:lnTo>
                  <a:pt x="94" y="14"/>
                </a:lnTo>
                <a:lnTo>
                  <a:pt x="92" y="14"/>
                </a:lnTo>
                <a:lnTo>
                  <a:pt x="92" y="12"/>
                </a:lnTo>
                <a:lnTo>
                  <a:pt x="90" y="12"/>
                </a:lnTo>
                <a:lnTo>
                  <a:pt x="90" y="12"/>
                </a:lnTo>
                <a:lnTo>
                  <a:pt x="88" y="10"/>
                </a:lnTo>
                <a:lnTo>
                  <a:pt x="86" y="8"/>
                </a:lnTo>
                <a:lnTo>
                  <a:pt x="84" y="6"/>
                </a:lnTo>
                <a:lnTo>
                  <a:pt x="26" y="4"/>
                </a:lnTo>
                <a:lnTo>
                  <a:pt x="26" y="4"/>
                </a:lnTo>
                <a:lnTo>
                  <a:pt x="22" y="2"/>
                </a:lnTo>
                <a:lnTo>
                  <a:pt x="18" y="0"/>
                </a:lnTo>
                <a:lnTo>
                  <a:pt x="18" y="0"/>
                </a:lnTo>
                <a:lnTo>
                  <a:pt x="16" y="2"/>
                </a:lnTo>
                <a:lnTo>
                  <a:pt x="14" y="2"/>
                </a:lnTo>
                <a:lnTo>
                  <a:pt x="12" y="4"/>
                </a:lnTo>
                <a:lnTo>
                  <a:pt x="10" y="4"/>
                </a:lnTo>
                <a:lnTo>
                  <a:pt x="10" y="4"/>
                </a:lnTo>
                <a:lnTo>
                  <a:pt x="4" y="4"/>
                </a:lnTo>
                <a:lnTo>
                  <a:pt x="0" y="4"/>
                </a:lnTo>
                <a:lnTo>
                  <a:pt x="0"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8" name="Freeform 132">
            <a:extLst>
              <a:ext uri="{FF2B5EF4-FFF2-40B4-BE49-F238E27FC236}">
                <a16:creationId xmlns:a16="http://schemas.microsoft.com/office/drawing/2014/main" id="{96B12CCD-CD75-4D53-B570-101EC92DE1A2}"/>
              </a:ext>
            </a:extLst>
          </p:cNvPr>
          <p:cNvSpPr>
            <a:spLocks/>
          </p:cNvSpPr>
          <p:nvPr userDrawn="1"/>
        </p:nvSpPr>
        <p:spPr bwMode="auto">
          <a:xfrm>
            <a:off x="6907317" y="2489753"/>
            <a:ext cx="20125" cy="24024"/>
          </a:xfrm>
          <a:custGeom>
            <a:avLst/>
            <a:gdLst>
              <a:gd name="T0" fmla="*/ 10 w 12"/>
              <a:gd name="T1" fmla="*/ 14 h 14"/>
              <a:gd name="T2" fmla="*/ 10 w 12"/>
              <a:gd name="T3" fmla="*/ 14 h 14"/>
              <a:gd name="T4" fmla="*/ 4 w 12"/>
              <a:gd name="T5" fmla="*/ 8 h 14"/>
              <a:gd name="T6" fmla="*/ 2 w 12"/>
              <a:gd name="T7" fmla="*/ 6 h 14"/>
              <a:gd name="T8" fmla="*/ 0 w 12"/>
              <a:gd name="T9" fmla="*/ 2 h 14"/>
              <a:gd name="T10" fmla="*/ 6 w 12"/>
              <a:gd name="T11" fmla="*/ 0 h 14"/>
              <a:gd name="T12" fmla="*/ 8 w 12"/>
              <a:gd name="T13" fmla="*/ 4 h 14"/>
              <a:gd name="T14" fmla="*/ 6 w 12"/>
              <a:gd name="T15" fmla="*/ 4 h 14"/>
              <a:gd name="T16" fmla="*/ 8 w 12"/>
              <a:gd name="T17" fmla="*/ 8 h 14"/>
              <a:gd name="T18" fmla="*/ 8 w 12"/>
              <a:gd name="T19" fmla="*/ 8 h 14"/>
              <a:gd name="T20" fmla="*/ 12 w 12"/>
              <a:gd name="T21" fmla="*/ 10 h 14"/>
              <a:gd name="T22" fmla="*/ 12 w 12"/>
              <a:gd name="T23" fmla="*/ 12 h 14"/>
              <a:gd name="T24" fmla="*/ 12 w 12"/>
              <a:gd name="T25" fmla="*/ 12 h 14"/>
              <a:gd name="T26" fmla="*/ 12 w 12"/>
              <a:gd name="T27" fmla="*/ 14 h 14"/>
              <a:gd name="T28" fmla="*/ 10 w 12"/>
              <a:gd name="T29" fmla="*/ 14 h 14"/>
              <a:gd name="T30" fmla="*/ 10 w 12"/>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4">
                <a:moveTo>
                  <a:pt x="10" y="14"/>
                </a:moveTo>
                <a:lnTo>
                  <a:pt x="10" y="14"/>
                </a:lnTo>
                <a:lnTo>
                  <a:pt x="4" y="8"/>
                </a:lnTo>
                <a:lnTo>
                  <a:pt x="2" y="6"/>
                </a:lnTo>
                <a:lnTo>
                  <a:pt x="0" y="2"/>
                </a:lnTo>
                <a:lnTo>
                  <a:pt x="6" y="0"/>
                </a:lnTo>
                <a:lnTo>
                  <a:pt x="8" y="4"/>
                </a:lnTo>
                <a:lnTo>
                  <a:pt x="6" y="4"/>
                </a:lnTo>
                <a:lnTo>
                  <a:pt x="8" y="8"/>
                </a:lnTo>
                <a:lnTo>
                  <a:pt x="8" y="8"/>
                </a:lnTo>
                <a:lnTo>
                  <a:pt x="12" y="10"/>
                </a:lnTo>
                <a:lnTo>
                  <a:pt x="12" y="12"/>
                </a:lnTo>
                <a:lnTo>
                  <a:pt x="12" y="12"/>
                </a:lnTo>
                <a:lnTo>
                  <a:pt x="12" y="14"/>
                </a:lnTo>
                <a:lnTo>
                  <a:pt x="10" y="14"/>
                </a:lnTo>
                <a:lnTo>
                  <a:pt x="10" y="14"/>
                </a:lnTo>
                <a:close/>
              </a:path>
            </a:pathLst>
          </a:custGeom>
          <a:solidFill>
            <a:srgbClr val="92D050"/>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9" name="Freeform 133">
            <a:extLst>
              <a:ext uri="{FF2B5EF4-FFF2-40B4-BE49-F238E27FC236}">
                <a16:creationId xmlns:a16="http://schemas.microsoft.com/office/drawing/2014/main" id="{914D8C4D-7087-4372-B8E0-761FCCB42A02}"/>
              </a:ext>
            </a:extLst>
          </p:cNvPr>
          <p:cNvSpPr>
            <a:spLocks/>
          </p:cNvSpPr>
          <p:nvPr userDrawn="1"/>
        </p:nvSpPr>
        <p:spPr bwMode="auto">
          <a:xfrm>
            <a:off x="6531661" y="3999821"/>
            <a:ext cx="238139" cy="456452"/>
          </a:xfrm>
          <a:custGeom>
            <a:avLst/>
            <a:gdLst>
              <a:gd name="T0" fmla="*/ 66 w 142"/>
              <a:gd name="T1" fmla="*/ 50 h 266"/>
              <a:gd name="T2" fmla="*/ 72 w 142"/>
              <a:gd name="T3" fmla="*/ 62 h 266"/>
              <a:gd name="T4" fmla="*/ 72 w 142"/>
              <a:gd name="T5" fmla="*/ 76 h 266"/>
              <a:gd name="T6" fmla="*/ 66 w 142"/>
              <a:gd name="T7" fmla="*/ 82 h 266"/>
              <a:gd name="T8" fmla="*/ 66 w 142"/>
              <a:gd name="T9" fmla="*/ 96 h 266"/>
              <a:gd name="T10" fmla="*/ 60 w 142"/>
              <a:gd name="T11" fmla="*/ 102 h 266"/>
              <a:gd name="T12" fmla="*/ 56 w 142"/>
              <a:gd name="T13" fmla="*/ 94 h 266"/>
              <a:gd name="T14" fmla="*/ 48 w 142"/>
              <a:gd name="T15" fmla="*/ 80 h 266"/>
              <a:gd name="T16" fmla="*/ 48 w 142"/>
              <a:gd name="T17" fmla="*/ 64 h 266"/>
              <a:gd name="T18" fmla="*/ 36 w 142"/>
              <a:gd name="T19" fmla="*/ 66 h 266"/>
              <a:gd name="T20" fmla="*/ 0 w 142"/>
              <a:gd name="T21" fmla="*/ 66 h 266"/>
              <a:gd name="T22" fmla="*/ 4 w 142"/>
              <a:gd name="T23" fmla="*/ 74 h 266"/>
              <a:gd name="T24" fmla="*/ 16 w 142"/>
              <a:gd name="T25" fmla="*/ 88 h 266"/>
              <a:gd name="T26" fmla="*/ 32 w 142"/>
              <a:gd name="T27" fmla="*/ 98 h 266"/>
              <a:gd name="T28" fmla="*/ 32 w 142"/>
              <a:gd name="T29" fmla="*/ 106 h 266"/>
              <a:gd name="T30" fmla="*/ 32 w 142"/>
              <a:gd name="T31" fmla="*/ 122 h 266"/>
              <a:gd name="T32" fmla="*/ 30 w 142"/>
              <a:gd name="T33" fmla="*/ 136 h 266"/>
              <a:gd name="T34" fmla="*/ 32 w 142"/>
              <a:gd name="T35" fmla="*/ 144 h 266"/>
              <a:gd name="T36" fmla="*/ 30 w 142"/>
              <a:gd name="T37" fmla="*/ 154 h 266"/>
              <a:gd name="T38" fmla="*/ 30 w 142"/>
              <a:gd name="T39" fmla="*/ 168 h 266"/>
              <a:gd name="T40" fmla="*/ 34 w 142"/>
              <a:gd name="T41" fmla="*/ 170 h 266"/>
              <a:gd name="T42" fmla="*/ 18 w 142"/>
              <a:gd name="T43" fmla="*/ 194 h 266"/>
              <a:gd name="T44" fmla="*/ 16 w 142"/>
              <a:gd name="T45" fmla="*/ 214 h 266"/>
              <a:gd name="T46" fmla="*/ 16 w 142"/>
              <a:gd name="T47" fmla="*/ 236 h 266"/>
              <a:gd name="T48" fmla="*/ 18 w 142"/>
              <a:gd name="T49" fmla="*/ 250 h 266"/>
              <a:gd name="T50" fmla="*/ 24 w 142"/>
              <a:gd name="T51" fmla="*/ 256 h 266"/>
              <a:gd name="T52" fmla="*/ 34 w 142"/>
              <a:gd name="T53" fmla="*/ 258 h 266"/>
              <a:gd name="T54" fmla="*/ 28 w 142"/>
              <a:gd name="T55" fmla="*/ 252 h 266"/>
              <a:gd name="T56" fmla="*/ 64 w 142"/>
              <a:gd name="T57" fmla="*/ 234 h 266"/>
              <a:gd name="T58" fmla="*/ 68 w 142"/>
              <a:gd name="T59" fmla="*/ 224 h 266"/>
              <a:gd name="T60" fmla="*/ 68 w 142"/>
              <a:gd name="T61" fmla="*/ 194 h 266"/>
              <a:gd name="T62" fmla="*/ 62 w 142"/>
              <a:gd name="T63" fmla="*/ 168 h 266"/>
              <a:gd name="T64" fmla="*/ 58 w 142"/>
              <a:gd name="T65" fmla="*/ 148 h 266"/>
              <a:gd name="T66" fmla="*/ 68 w 142"/>
              <a:gd name="T67" fmla="*/ 138 h 266"/>
              <a:gd name="T68" fmla="*/ 76 w 142"/>
              <a:gd name="T69" fmla="*/ 128 h 266"/>
              <a:gd name="T70" fmla="*/ 88 w 142"/>
              <a:gd name="T71" fmla="*/ 118 h 266"/>
              <a:gd name="T72" fmla="*/ 102 w 142"/>
              <a:gd name="T73" fmla="*/ 114 h 266"/>
              <a:gd name="T74" fmla="*/ 116 w 142"/>
              <a:gd name="T75" fmla="*/ 108 h 266"/>
              <a:gd name="T76" fmla="*/ 126 w 142"/>
              <a:gd name="T77" fmla="*/ 98 h 266"/>
              <a:gd name="T78" fmla="*/ 130 w 142"/>
              <a:gd name="T79" fmla="*/ 90 h 266"/>
              <a:gd name="T80" fmla="*/ 136 w 142"/>
              <a:gd name="T81" fmla="*/ 78 h 266"/>
              <a:gd name="T82" fmla="*/ 138 w 142"/>
              <a:gd name="T83" fmla="*/ 72 h 266"/>
              <a:gd name="T84" fmla="*/ 138 w 142"/>
              <a:gd name="T85" fmla="*/ 62 h 266"/>
              <a:gd name="T86" fmla="*/ 142 w 142"/>
              <a:gd name="T87" fmla="*/ 46 h 266"/>
              <a:gd name="T88" fmla="*/ 140 w 142"/>
              <a:gd name="T89" fmla="*/ 38 h 266"/>
              <a:gd name="T90" fmla="*/ 136 w 142"/>
              <a:gd name="T91" fmla="*/ 6 h 266"/>
              <a:gd name="T92" fmla="*/ 124 w 142"/>
              <a:gd name="T93" fmla="*/ 6 h 266"/>
              <a:gd name="T94" fmla="*/ 108 w 142"/>
              <a:gd name="T95" fmla="*/ 12 h 266"/>
              <a:gd name="T96" fmla="*/ 100 w 142"/>
              <a:gd name="T97" fmla="*/ 12 h 266"/>
              <a:gd name="T98" fmla="*/ 86 w 142"/>
              <a:gd name="T99" fmla="*/ 18 h 266"/>
              <a:gd name="T100" fmla="*/ 72 w 142"/>
              <a:gd name="T101" fmla="*/ 16 h 266"/>
              <a:gd name="T102" fmla="*/ 66 w 142"/>
              <a:gd name="T103" fmla="*/ 16 h 266"/>
              <a:gd name="T104" fmla="*/ 58 w 142"/>
              <a:gd name="T105" fmla="*/ 26 h 266"/>
              <a:gd name="T106" fmla="*/ 60 w 142"/>
              <a:gd name="T107" fmla="*/ 3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66">
                <a:moveTo>
                  <a:pt x="62" y="44"/>
                </a:moveTo>
                <a:lnTo>
                  <a:pt x="62" y="44"/>
                </a:lnTo>
                <a:lnTo>
                  <a:pt x="64" y="46"/>
                </a:lnTo>
                <a:lnTo>
                  <a:pt x="64" y="46"/>
                </a:lnTo>
                <a:lnTo>
                  <a:pt x="66" y="50"/>
                </a:lnTo>
                <a:lnTo>
                  <a:pt x="68" y="56"/>
                </a:lnTo>
                <a:lnTo>
                  <a:pt x="68" y="56"/>
                </a:lnTo>
                <a:lnTo>
                  <a:pt x="70" y="60"/>
                </a:lnTo>
                <a:lnTo>
                  <a:pt x="72" y="62"/>
                </a:lnTo>
                <a:lnTo>
                  <a:pt x="72" y="62"/>
                </a:lnTo>
                <a:lnTo>
                  <a:pt x="74" y="62"/>
                </a:lnTo>
                <a:lnTo>
                  <a:pt x="74" y="66"/>
                </a:lnTo>
                <a:lnTo>
                  <a:pt x="72" y="72"/>
                </a:lnTo>
                <a:lnTo>
                  <a:pt x="72" y="72"/>
                </a:lnTo>
                <a:lnTo>
                  <a:pt x="72" y="76"/>
                </a:lnTo>
                <a:lnTo>
                  <a:pt x="74" y="80"/>
                </a:lnTo>
                <a:lnTo>
                  <a:pt x="74" y="80"/>
                </a:lnTo>
                <a:lnTo>
                  <a:pt x="72" y="82"/>
                </a:lnTo>
                <a:lnTo>
                  <a:pt x="70" y="84"/>
                </a:lnTo>
                <a:lnTo>
                  <a:pt x="66" y="82"/>
                </a:lnTo>
                <a:lnTo>
                  <a:pt x="66" y="82"/>
                </a:lnTo>
                <a:lnTo>
                  <a:pt x="64" y="84"/>
                </a:lnTo>
                <a:lnTo>
                  <a:pt x="64" y="88"/>
                </a:lnTo>
                <a:lnTo>
                  <a:pt x="66" y="96"/>
                </a:lnTo>
                <a:lnTo>
                  <a:pt x="66" y="96"/>
                </a:lnTo>
                <a:lnTo>
                  <a:pt x="66" y="98"/>
                </a:lnTo>
                <a:lnTo>
                  <a:pt x="66" y="100"/>
                </a:lnTo>
                <a:lnTo>
                  <a:pt x="62" y="102"/>
                </a:lnTo>
                <a:lnTo>
                  <a:pt x="62" y="102"/>
                </a:lnTo>
                <a:lnTo>
                  <a:pt x="60" y="102"/>
                </a:lnTo>
                <a:lnTo>
                  <a:pt x="60" y="100"/>
                </a:lnTo>
                <a:lnTo>
                  <a:pt x="60" y="96"/>
                </a:lnTo>
                <a:lnTo>
                  <a:pt x="60" y="96"/>
                </a:lnTo>
                <a:lnTo>
                  <a:pt x="56" y="94"/>
                </a:lnTo>
                <a:lnTo>
                  <a:pt x="56" y="94"/>
                </a:lnTo>
                <a:lnTo>
                  <a:pt x="48" y="86"/>
                </a:lnTo>
                <a:lnTo>
                  <a:pt x="48" y="86"/>
                </a:lnTo>
                <a:lnTo>
                  <a:pt x="46" y="84"/>
                </a:lnTo>
                <a:lnTo>
                  <a:pt x="48" y="80"/>
                </a:lnTo>
                <a:lnTo>
                  <a:pt x="48" y="80"/>
                </a:lnTo>
                <a:lnTo>
                  <a:pt x="50" y="74"/>
                </a:lnTo>
                <a:lnTo>
                  <a:pt x="50" y="70"/>
                </a:lnTo>
                <a:lnTo>
                  <a:pt x="50" y="70"/>
                </a:lnTo>
                <a:lnTo>
                  <a:pt x="48" y="66"/>
                </a:lnTo>
                <a:lnTo>
                  <a:pt x="48" y="64"/>
                </a:lnTo>
                <a:lnTo>
                  <a:pt x="48" y="64"/>
                </a:lnTo>
                <a:lnTo>
                  <a:pt x="38" y="66"/>
                </a:lnTo>
                <a:lnTo>
                  <a:pt x="38" y="66"/>
                </a:lnTo>
                <a:lnTo>
                  <a:pt x="38" y="66"/>
                </a:lnTo>
                <a:lnTo>
                  <a:pt x="36" y="66"/>
                </a:lnTo>
                <a:lnTo>
                  <a:pt x="36" y="62"/>
                </a:lnTo>
                <a:lnTo>
                  <a:pt x="36" y="62"/>
                </a:lnTo>
                <a:lnTo>
                  <a:pt x="32" y="58"/>
                </a:lnTo>
                <a:lnTo>
                  <a:pt x="30" y="56"/>
                </a:lnTo>
                <a:lnTo>
                  <a:pt x="0" y="66"/>
                </a:lnTo>
                <a:lnTo>
                  <a:pt x="0" y="66"/>
                </a:lnTo>
                <a:lnTo>
                  <a:pt x="2" y="70"/>
                </a:lnTo>
                <a:lnTo>
                  <a:pt x="4" y="72"/>
                </a:lnTo>
                <a:lnTo>
                  <a:pt x="4" y="74"/>
                </a:lnTo>
                <a:lnTo>
                  <a:pt x="4" y="74"/>
                </a:lnTo>
                <a:lnTo>
                  <a:pt x="2" y="84"/>
                </a:lnTo>
                <a:lnTo>
                  <a:pt x="2" y="84"/>
                </a:lnTo>
                <a:lnTo>
                  <a:pt x="8" y="84"/>
                </a:lnTo>
                <a:lnTo>
                  <a:pt x="8" y="84"/>
                </a:lnTo>
                <a:lnTo>
                  <a:pt x="16" y="88"/>
                </a:lnTo>
                <a:lnTo>
                  <a:pt x="16" y="88"/>
                </a:lnTo>
                <a:lnTo>
                  <a:pt x="24" y="92"/>
                </a:lnTo>
                <a:lnTo>
                  <a:pt x="24" y="92"/>
                </a:lnTo>
                <a:lnTo>
                  <a:pt x="28" y="94"/>
                </a:lnTo>
                <a:lnTo>
                  <a:pt x="32" y="98"/>
                </a:lnTo>
                <a:lnTo>
                  <a:pt x="32" y="98"/>
                </a:lnTo>
                <a:lnTo>
                  <a:pt x="34" y="102"/>
                </a:lnTo>
                <a:lnTo>
                  <a:pt x="34" y="104"/>
                </a:lnTo>
                <a:lnTo>
                  <a:pt x="34" y="104"/>
                </a:lnTo>
                <a:lnTo>
                  <a:pt x="32" y="106"/>
                </a:lnTo>
                <a:lnTo>
                  <a:pt x="30" y="110"/>
                </a:lnTo>
                <a:lnTo>
                  <a:pt x="30" y="110"/>
                </a:lnTo>
                <a:lnTo>
                  <a:pt x="30" y="116"/>
                </a:lnTo>
                <a:lnTo>
                  <a:pt x="32" y="122"/>
                </a:lnTo>
                <a:lnTo>
                  <a:pt x="32" y="122"/>
                </a:lnTo>
                <a:lnTo>
                  <a:pt x="36" y="128"/>
                </a:lnTo>
                <a:lnTo>
                  <a:pt x="36" y="128"/>
                </a:lnTo>
                <a:lnTo>
                  <a:pt x="32" y="134"/>
                </a:lnTo>
                <a:lnTo>
                  <a:pt x="32" y="134"/>
                </a:lnTo>
                <a:lnTo>
                  <a:pt x="30" y="136"/>
                </a:lnTo>
                <a:lnTo>
                  <a:pt x="30" y="138"/>
                </a:lnTo>
                <a:lnTo>
                  <a:pt x="30" y="140"/>
                </a:lnTo>
                <a:lnTo>
                  <a:pt x="30" y="140"/>
                </a:lnTo>
                <a:lnTo>
                  <a:pt x="32" y="142"/>
                </a:lnTo>
                <a:lnTo>
                  <a:pt x="32" y="144"/>
                </a:lnTo>
                <a:lnTo>
                  <a:pt x="32" y="144"/>
                </a:lnTo>
                <a:lnTo>
                  <a:pt x="30" y="148"/>
                </a:lnTo>
                <a:lnTo>
                  <a:pt x="30" y="148"/>
                </a:lnTo>
                <a:lnTo>
                  <a:pt x="30" y="154"/>
                </a:lnTo>
                <a:lnTo>
                  <a:pt x="30" y="154"/>
                </a:lnTo>
                <a:lnTo>
                  <a:pt x="30" y="156"/>
                </a:lnTo>
                <a:lnTo>
                  <a:pt x="30" y="160"/>
                </a:lnTo>
                <a:lnTo>
                  <a:pt x="32" y="164"/>
                </a:lnTo>
                <a:lnTo>
                  <a:pt x="32" y="164"/>
                </a:lnTo>
                <a:lnTo>
                  <a:pt x="30" y="168"/>
                </a:lnTo>
                <a:lnTo>
                  <a:pt x="30" y="168"/>
                </a:lnTo>
                <a:lnTo>
                  <a:pt x="30" y="168"/>
                </a:lnTo>
                <a:lnTo>
                  <a:pt x="32" y="170"/>
                </a:lnTo>
                <a:lnTo>
                  <a:pt x="32" y="170"/>
                </a:lnTo>
                <a:lnTo>
                  <a:pt x="34" y="170"/>
                </a:lnTo>
                <a:lnTo>
                  <a:pt x="34" y="172"/>
                </a:lnTo>
                <a:lnTo>
                  <a:pt x="34" y="172"/>
                </a:lnTo>
                <a:lnTo>
                  <a:pt x="28" y="182"/>
                </a:lnTo>
                <a:lnTo>
                  <a:pt x="18" y="194"/>
                </a:lnTo>
                <a:lnTo>
                  <a:pt x="18" y="194"/>
                </a:lnTo>
                <a:lnTo>
                  <a:pt x="18" y="200"/>
                </a:lnTo>
                <a:lnTo>
                  <a:pt x="18" y="204"/>
                </a:lnTo>
                <a:lnTo>
                  <a:pt x="16" y="208"/>
                </a:lnTo>
                <a:lnTo>
                  <a:pt x="16" y="208"/>
                </a:lnTo>
                <a:lnTo>
                  <a:pt x="16" y="214"/>
                </a:lnTo>
                <a:lnTo>
                  <a:pt x="18" y="222"/>
                </a:lnTo>
                <a:lnTo>
                  <a:pt x="18" y="222"/>
                </a:lnTo>
                <a:lnTo>
                  <a:pt x="18" y="230"/>
                </a:lnTo>
                <a:lnTo>
                  <a:pt x="16" y="236"/>
                </a:lnTo>
                <a:lnTo>
                  <a:pt x="16" y="236"/>
                </a:lnTo>
                <a:lnTo>
                  <a:pt x="16" y="240"/>
                </a:lnTo>
                <a:lnTo>
                  <a:pt x="16" y="244"/>
                </a:lnTo>
                <a:lnTo>
                  <a:pt x="16" y="244"/>
                </a:lnTo>
                <a:lnTo>
                  <a:pt x="18" y="248"/>
                </a:lnTo>
                <a:lnTo>
                  <a:pt x="18" y="250"/>
                </a:lnTo>
                <a:lnTo>
                  <a:pt x="18" y="250"/>
                </a:lnTo>
                <a:lnTo>
                  <a:pt x="22" y="252"/>
                </a:lnTo>
                <a:lnTo>
                  <a:pt x="24" y="254"/>
                </a:lnTo>
                <a:lnTo>
                  <a:pt x="24" y="256"/>
                </a:lnTo>
                <a:lnTo>
                  <a:pt x="24" y="256"/>
                </a:lnTo>
                <a:lnTo>
                  <a:pt x="22" y="264"/>
                </a:lnTo>
                <a:lnTo>
                  <a:pt x="32" y="266"/>
                </a:lnTo>
                <a:lnTo>
                  <a:pt x="32" y="266"/>
                </a:lnTo>
                <a:lnTo>
                  <a:pt x="34" y="258"/>
                </a:lnTo>
                <a:lnTo>
                  <a:pt x="34" y="258"/>
                </a:lnTo>
                <a:lnTo>
                  <a:pt x="30" y="258"/>
                </a:lnTo>
                <a:lnTo>
                  <a:pt x="28" y="256"/>
                </a:lnTo>
                <a:lnTo>
                  <a:pt x="28" y="256"/>
                </a:lnTo>
                <a:lnTo>
                  <a:pt x="28" y="252"/>
                </a:lnTo>
                <a:lnTo>
                  <a:pt x="28" y="252"/>
                </a:lnTo>
                <a:lnTo>
                  <a:pt x="32" y="248"/>
                </a:lnTo>
                <a:lnTo>
                  <a:pt x="38" y="246"/>
                </a:lnTo>
                <a:lnTo>
                  <a:pt x="48" y="242"/>
                </a:lnTo>
                <a:lnTo>
                  <a:pt x="58" y="236"/>
                </a:lnTo>
                <a:lnTo>
                  <a:pt x="64" y="234"/>
                </a:lnTo>
                <a:lnTo>
                  <a:pt x="68" y="230"/>
                </a:lnTo>
                <a:lnTo>
                  <a:pt x="68" y="230"/>
                </a:lnTo>
                <a:lnTo>
                  <a:pt x="70" y="228"/>
                </a:lnTo>
                <a:lnTo>
                  <a:pt x="70" y="228"/>
                </a:lnTo>
                <a:lnTo>
                  <a:pt x="68" y="224"/>
                </a:lnTo>
                <a:lnTo>
                  <a:pt x="68" y="220"/>
                </a:lnTo>
                <a:lnTo>
                  <a:pt x="68" y="220"/>
                </a:lnTo>
                <a:lnTo>
                  <a:pt x="68" y="208"/>
                </a:lnTo>
                <a:lnTo>
                  <a:pt x="68" y="194"/>
                </a:lnTo>
                <a:lnTo>
                  <a:pt x="68" y="194"/>
                </a:lnTo>
                <a:lnTo>
                  <a:pt x="62" y="182"/>
                </a:lnTo>
                <a:lnTo>
                  <a:pt x="62" y="182"/>
                </a:lnTo>
                <a:lnTo>
                  <a:pt x="62" y="174"/>
                </a:lnTo>
                <a:lnTo>
                  <a:pt x="62" y="168"/>
                </a:lnTo>
                <a:lnTo>
                  <a:pt x="62" y="168"/>
                </a:lnTo>
                <a:lnTo>
                  <a:pt x="58" y="166"/>
                </a:lnTo>
                <a:lnTo>
                  <a:pt x="58" y="166"/>
                </a:lnTo>
                <a:lnTo>
                  <a:pt x="56" y="158"/>
                </a:lnTo>
                <a:lnTo>
                  <a:pt x="58" y="148"/>
                </a:lnTo>
                <a:lnTo>
                  <a:pt x="58" y="148"/>
                </a:lnTo>
                <a:lnTo>
                  <a:pt x="64" y="146"/>
                </a:lnTo>
                <a:lnTo>
                  <a:pt x="64" y="146"/>
                </a:lnTo>
                <a:lnTo>
                  <a:pt x="66" y="142"/>
                </a:lnTo>
                <a:lnTo>
                  <a:pt x="68" y="138"/>
                </a:lnTo>
                <a:lnTo>
                  <a:pt x="68" y="138"/>
                </a:lnTo>
                <a:lnTo>
                  <a:pt x="70" y="136"/>
                </a:lnTo>
                <a:lnTo>
                  <a:pt x="74" y="136"/>
                </a:lnTo>
                <a:lnTo>
                  <a:pt x="74" y="136"/>
                </a:lnTo>
                <a:lnTo>
                  <a:pt x="76" y="132"/>
                </a:lnTo>
                <a:lnTo>
                  <a:pt x="76" y="128"/>
                </a:lnTo>
                <a:lnTo>
                  <a:pt x="76" y="120"/>
                </a:lnTo>
                <a:lnTo>
                  <a:pt x="76" y="120"/>
                </a:lnTo>
                <a:lnTo>
                  <a:pt x="88" y="120"/>
                </a:lnTo>
                <a:lnTo>
                  <a:pt x="88" y="120"/>
                </a:lnTo>
                <a:lnTo>
                  <a:pt x="88" y="118"/>
                </a:lnTo>
                <a:lnTo>
                  <a:pt x="88" y="118"/>
                </a:lnTo>
                <a:lnTo>
                  <a:pt x="96" y="118"/>
                </a:lnTo>
                <a:lnTo>
                  <a:pt x="96" y="116"/>
                </a:lnTo>
                <a:lnTo>
                  <a:pt x="96" y="116"/>
                </a:lnTo>
                <a:lnTo>
                  <a:pt x="102" y="114"/>
                </a:lnTo>
                <a:lnTo>
                  <a:pt x="102" y="114"/>
                </a:lnTo>
                <a:lnTo>
                  <a:pt x="104" y="110"/>
                </a:lnTo>
                <a:lnTo>
                  <a:pt x="104" y="110"/>
                </a:lnTo>
                <a:lnTo>
                  <a:pt x="110" y="110"/>
                </a:lnTo>
                <a:lnTo>
                  <a:pt x="116" y="108"/>
                </a:lnTo>
                <a:lnTo>
                  <a:pt x="116" y="108"/>
                </a:lnTo>
                <a:lnTo>
                  <a:pt x="120" y="104"/>
                </a:lnTo>
                <a:lnTo>
                  <a:pt x="122" y="100"/>
                </a:lnTo>
                <a:lnTo>
                  <a:pt x="122" y="100"/>
                </a:lnTo>
                <a:lnTo>
                  <a:pt x="126" y="98"/>
                </a:lnTo>
                <a:lnTo>
                  <a:pt x="130" y="96"/>
                </a:lnTo>
                <a:lnTo>
                  <a:pt x="130" y="96"/>
                </a:lnTo>
                <a:lnTo>
                  <a:pt x="130" y="92"/>
                </a:lnTo>
                <a:lnTo>
                  <a:pt x="130" y="90"/>
                </a:lnTo>
                <a:lnTo>
                  <a:pt x="130" y="90"/>
                </a:lnTo>
                <a:lnTo>
                  <a:pt x="136" y="86"/>
                </a:lnTo>
                <a:lnTo>
                  <a:pt x="136" y="86"/>
                </a:lnTo>
                <a:lnTo>
                  <a:pt x="136" y="84"/>
                </a:lnTo>
                <a:lnTo>
                  <a:pt x="136" y="82"/>
                </a:lnTo>
                <a:lnTo>
                  <a:pt x="136" y="78"/>
                </a:lnTo>
                <a:lnTo>
                  <a:pt x="136" y="78"/>
                </a:lnTo>
                <a:lnTo>
                  <a:pt x="140" y="76"/>
                </a:lnTo>
                <a:lnTo>
                  <a:pt x="140" y="76"/>
                </a:lnTo>
                <a:lnTo>
                  <a:pt x="140" y="72"/>
                </a:lnTo>
                <a:lnTo>
                  <a:pt x="138" y="72"/>
                </a:lnTo>
                <a:lnTo>
                  <a:pt x="138" y="72"/>
                </a:lnTo>
                <a:lnTo>
                  <a:pt x="136" y="68"/>
                </a:lnTo>
                <a:lnTo>
                  <a:pt x="136" y="66"/>
                </a:lnTo>
                <a:lnTo>
                  <a:pt x="136" y="66"/>
                </a:lnTo>
                <a:lnTo>
                  <a:pt x="138" y="62"/>
                </a:lnTo>
                <a:lnTo>
                  <a:pt x="138" y="56"/>
                </a:lnTo>
                <a:lnTo>
                  <a:pt x="140" y="50"/>
                </a:lnTo>
                <a:lnTo>
                  <a:pt x="140" y="46"/>
                </a:lnTo>
                <a:lnTo>
                  <a:pt x="140" y="46"/>
                </a:lnTo>
                <a:lnTo>
                  <a:pt x="142" y="46"/>
                </a:lnTo>
                <a:lnTo>
                  <a:pt x="142" y="44"/>
                </a:lnTo>
                <a:lnTo>
                  <a:pt x="142" y="44"/>
                </a:lnTo>
                <a:lnTo>
                  <a:pt x="142" y="44"/>
                </a:lnTo>
                <a:lnTo>
                  <a:pt x="140" y="42"/>
                </a:lnTo>
                <a:lnTo>
                  <a:pt x="140" y="38"/>
                </a:lnTo>
                <a:lnTo>
                  <a:pt x="140" y="32"/>
                </a:lnTo>
                <a:lnTo>
                  <a:pt x="140" y="32"/>
                </a:lnTo>
                <a:lnTo>
                  <a:pt x="138" y="18"/>
                </a:lnTo>
                <a:lnTo>
                  <a:pt x="138" y="10"/>
                </a:lnTo>
                <a:lnTo>
                  <a:pt x="136" y="6"/>
                </a:lnTo>
                <a:lnTo>
                  <a:pt x="136" y="6"/>
                </a:lnTo>
                <a:lnTo>
                  <a:pt x="138" y="0"/>
                </a:lnTo>
                <a:lnTo>
                  <a:pt x="138" y="0"/>
                </a:lnTo>
                <a:lnTo>
                  <a:pt x="124" y="6"/>
                </a:lnTo>
                <a:lnTo>
                  <a:pt x="124" y="6"/>
                </a:lnTo>
                <a:lnTo>
                  <a:pt x="120" y="8"/>
                </a:lnTo>
                <a:lnTo>
                  <a:pt x="114" y="8"/>
                </a:lnTo>
                <a:lnTo>
                  <a:pt x="114" y="8"/>
                </a:lnTo>
                <a:lnTo>
                  <a:pt x="110" y="10"/>
                </a:lnTo>
                <a:lnTo>
                  <a:pt x="108" y="12"/>
                </a:lnTo>
                <a:lnTo>
                  <a:pt x="108" y="12"/>
                </a:lnTo>
                <a:lnTo>
                  <a:pt x="104" y="14"/>
                </a:lnTo>
                <a:lnTo>
                  <a:pt x="102" y="12"/>
                </a:lnTo>
                <a:lnTo>
                  <a:pt x="102" y="12"/>
                </a:lnTo>
                <a:lnTo>
                  <a:pt x="100" y="12"/>
                </a:lnTo>
                <a:lnTo>
                  <a:pt x="100" y="14"/>
                </a:lnTo>
                <a:lnTo>
                  <a:pt x="96" y="16"/>
                </a:lnTo>
                <a:lnTo>
                  <a:pt x="96" y="16"/>
                </a:lnTo>
                <a:lnTo>
                  <a:pt x="86" y="18"/>
                </a:lnTo>
                <a:lnTo>
                  <a:pt x="86" y="18"/>
                </a:lnTo>
                <a:lnTo>
                  <a:pt x="78" y="20"/>
                </a:lnTo>
                <a:lnTo>
                  <a:pt x="78" y="20"/>
                </a:lnTo>
                <a:lnTo>
                  <a:pt x="74" y="20"/>
                </a:lnTo>
                <a:lnTo>
                  <a:pt x="74" y="18"/>
                </a:lnTo>
                <a:lnTo>
                  <a:pt x="72" y="16"/>
                </a:lnTo>
                <a:lnTo>
                  <a:pt x="70" y="14"/>
                </a:lnTo>
                <a:lnTo>
                  <a:pt x="70" y="14"/>
                </a:lnTo>
                <a:lnTo>
                  <a:pt x="68" y="14"/>
                </a:lnTo>
                <a:lnTo>
                  <a:pt x="66" y="16"/>
                </a:lnTo>
                <a:lnTo>
                  <a:pt x="66" y="16"/>
                </a:lnTo>
                <a:lnTo>
                  <a:pt x="60" y="18"/>
                </a:lnTo>
                <a:lnTo>
                  <a:pt x="60" y="18"/>
                </a:lnTo>
                <a:lnTo>
                  <a:pt x="58" y="22"/>
                </a:lnTo>
                <a:lnTo>
                  <a:pt x="58" y="26"/>
                </a:lnTo>
                <a:lnTo>
                  <a:pt x="58" y="26"/>
                </a:lnTo>
                <a:lnTo>
                  <a:pt x="62" y="30"/>
                </a:lnTo>
                <a:lnTo>
                  <a:pt x="62" y="30"/>
                </a:lnTo>
                <a:lnTo>
                  <a:pt x="60" y="34"/>
                </a:lnTo>
                <a:lnTo>
                  <a:pt x="60" y="38"/>
                </a:lnTo>
                <a:lnTo>
                  <a:pt x="60" y="38"/>
                </a:lnTo>
                <a:lnTo>
                  <a:pt x="62" y="44"/>
                </a:lnTo>
                <a:lnTo>
                  <a:pt x="62" y="4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0" name="Freeform 134">
            <a:extLst>
              <a:ext uri="{FF2B5EF4-FFF2-40B4-BE49-F238E27FC236}">
                <a16:creationId xmlns:a16="http://schemas.microsoft.com/office/drawing/2014/main" id="{A32D23DC-3B28-4AAC-93CB-39EAB37965F7}"/>
              </a:ext>
            </a:extLst>
          </p:cNvPr>
          <p:cNvSpPr>
            <a:spLocks/>
          </p:cNvSpPr>
          <p:nvPr userDrawn="1"/>
        </p:nvSpPr>
        <p:spPr bwMode="auto">
          <a:xfrm>
            <a:off x="5574074" y="2630463"/>
            <a:ext cx="251555" cy="257398"/>
          </a:xfrm>
          <a:custGeom>
            <a:avLst/>
            <a:gdLst>
              <a:gd name="T0" fmla="*/ 136 w 150"/>
              <a:gd name="T1" fmla="*/ 14 h 150"/>
              <a:gd name="T2" fmla="*/ 130 w 150"/>
              <a:gd name="T3" fmla="*/ 8 h 150"/>
              <a:gd name="T4" fmla="*/ 126 w 150"/>
              <a:gd name="T5" fmla="*/ 10 h 150"/>
              <a:gd name="T6" fmla="*/ 118 w 150"/>
              <a:gd name="T7" fmla="*/ 12 h 150"/>
              <a:gd name="T8" fmla="*/ 108 w 150"/>
              <a:gd name="T9" fmla="*/ 12 h 150"/>
              <a:gd name="T10" fmla="*/ 100 w 150"/>
              <a:gd name="T11" fmla="*/ 12 h 150"/>
              <a:gd name="T12" fmla="*/ 96 w 150"/>
              <a:gd name="T13" fmla="*/ 0 h 150"/>
              <a:gd name="T14" fmla="*/ 86 w 150"/>
              <a:gd name="T15" fmla="*/ 6 h 150"/>
              <a:gd name="T16" fmla="*/ 84 w 150"/>
              <a:gd name="T17" fmla="*/ 14 h 150"/>
              <a:gd name="T18" fmla="*/ 82 w 150"/>
              <a:gd name="T19" fmla="*/ 22 h 150"/>
              <a:gd name="T20" fmla="*/ 76 w 150"/>
              <a:gd name="T21" fmla="*/ 30 h 150"/>
              <a:gd name="T22" fmla="*/ 74 w 150"/>
              <a:gd name="T23" fmla="*/ 36 h 150"/>
              <a:gd name="T24" fmla="*/ 58 w 150"/>
              <a:gd name="T25" fmla="*/ 48 h 150"/>
              <a:gd name="T26" fmla="*/ 46 w 150"/>
              <a:gd name="T27" fmla="*/ 54 h 150"/>
              <a:gd name="T28" fmla="*/ 40 w 150"/>
              <a:gd name="T29" fmla="*/ 68 h 150"/>
              <a:gd name="T30" fmla="*/ 34 w 150"/>
              <a:gd name="T31" fmla="*/ 76 h 150"/>
              <a:gd name="T32" fmla="*/ 34 w 150"/>
              <a:gd name="T33" fmla="*/ 86 h 150"/>
              <a:gd name="T34" fmla="*/ 36 w 150"/>
              <a:gd name="T35" fmla="*/ 110 h 150"/>
              <a:gd name="T36" fmla="*/ 32 w 150"/>
              <a:gd name="T37" fmla="*/ 118 h 150"/>
              <a:gd name="T38" fmla="*/ 22 w 150"/>
              <a:gd name="T39" fmla="*/ 134 h 150"/>
              <a:gd name="T40" fmla="*/ 18 w 150"/>
              <a:gd name="T41" fmla="*/ 134 h 150"/>
              <a:gd name="T42" fmla="*/ 10 w 150"/>
              <a:gd name="T43" fmla="*/ 144 h 150"/>
              <a:gd name="T44" fmla="*/ 0 w 150"/>
              <a:gd name="T45" fmla="*/ 150 h 150"/>
              <a:gd name="T46" fmla="*/ 58 w 150"/>
              <a:gd name="T47" fmla="*/ 134 h 150"/>
              <a:gd name="T48" fmla="*/ 62 w 150"/>
              <a:gd name="T49" fmla="*/ 130 h 150"/>
              <a:gd name="T50" fmla="*/ 72 w 150"/>
              <a:gd name="T51" fmla="*/ 120 h 150"/>
              <a:gd name="T52" fmla="*/ 86 w 150"/>
              <a:gd name="T53" fmla="*/ 116 h 150"/>
              <a:gd name="T54" fmla="*/ 92 w 150"/>
              <a:gd name="T55" fmla="*/ 112 h 150"/>
              <a:gd name="T56" fmla="*/ 100 w 150"/>
              <a:gd name="T57" fmla="*/ 108 h 150"/>
              <a:gd name="T58" fmla="*/ 110 w 150"/>
              <a:gd name="T59" fmla="*/ 104 h 150"/>
              <a:gd name="T60" fmla="*/ 120 w 150"/>
              <a:gd name="T61" fmla="*/ 88 h 150"/>
              <a:gd name="T62" fmla="*/ 128 w 150"/>
              <a:gd name="T63" fmla="*/ 84 h 150"/>
              <a:gd name="T64" fmla="*/ 132 w 150"/>
              <a:gd name="T65" fmla="*/ 76 h 150"/>
              <a:gd name="T66" fmla="*/ 134 w 150"/>
              <a:gd name="T67" fmla="*/ 72 h 150"/>
              <a:gd name="T68" fmla="*/ 138 w 150"/>
              <a:gd name="T69" fmla="*/ 68 h 150"/>
              <a:gd name="T70" fmla="*/ 148 w 150"/>
              <a:gd name="T71" fmla="*/ 60 h 150"/>
              <a:gd name="T72" fmla="*/ 148 w 150"/>
              <a:gd name="T73" fmla="*/ 56 h 150"/>
              <a:gd name="T74" fmla="*/ 144 w 150"/>
              <a:gd name="T75" fmla="*/ 48 h 150"/>
              <a:gd name="T76" fmla="*/ 142 w 150"/>
              <a:gd name="T77" fmla="*/ 40 h 150"/>
              <a:gd name="T78" fmla="*/ 138 w 150"/>
              <a:gd name="T79" fmla="*/ 34 h 150"/>
              <a:gd name="T80" fmla="*/ 140 w 150"/>
              <a:gd name="T81" fmla="*/ 24 h 150"/>
              <a:gd name="T82" fmla="*/ 138 w 150"/>
              <a:gd name="T83" fmla="*/ 1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50">
                <a:moveTo>
                  <a:pt x="136" y="14"/>
                </a:moveTo>
                <a:lnTo>
                  <a:pt x="136" y="14"/>
                </a:lnTo>
                <a:lnTo>
                  <a:pt x="136" y="14"/>
                </a:lnTo>
                <a:lnTo>
                  <a:pt x="130" y="12"/>
                </a:lnTo>
                <a:lnTo>
                  <a:pt x="130" y="12"/>
                </a:lnTo>
                <a:lnTo>
                  <a:pt x="130" y="8"/>
                </a:lnTo>
                <a:lnTo>
                  <a:pt x="128" y="8"/>
                </a:lnTo>
                <a:lnTo>
                  <a:pt x="128" y="8"/>
                </a:lnTo>
                <a:lnTo>
                  <a:pt x="126" y="10"/>
                </a:lnTo>
                <a:lnTo>
                  <a:pt x="124" y="12"/>
                </a:lnTo>
                <a:lnTo>
                  <a:pt x="124" y="12"/>
                </a:lnTo>
                <a:lnTo>
                  <a:pt x="118" y="12"/>
                </a:lnTo>
                <a:lnTo>
                  <a:pt x="112" y="12"/>
                </a:lnTo>
                <a:lnTo>
                  <a:pt x="112" y="12"/>
                </a:lnTo>
                <a:lnTo>
                  <a:pt x="108" y="12"/>
                </a:lnTo>
                <a:lnTo>
                  <a:pt x="104" y="14"/>
                </a:lnTo>
                <a:lnTo>
                  <a:pt x="104" y="14"/>
                </a:lnTo>
                <a:lnTo>
                  <a:pt x="100" y="12"/>
                </a:lnTo>
                <a:lnTo>
                  <a:pt x="98" y="8"/>
                </a:lnTo>
                <a:lnTo>
                  <a:pt x="96" y="0"/>
                </a:lnTo>
                <a:lnTo>
                  <a:pt x="96" y="0"/>
                </a:lnTo>
                <a:lnTo>
                  <a:pt x="92" y="0"/>
                </a:lnTo>
                <a:lnTo>
                  <a:pt x="92" y="0"/>
                </a:lnTo>
                <a:lnTo>
                  <a:pt x="86" y="6"/>
                </a:lnTo>
                <a:lnTo>
                  <a:pt x="86" y="6"/>
                </a:lnTo>
                <a:lnTo>
                  <a:pt x="86" y="10"/>
                </a:lnTo>
                <a:lnTo>
                  <a:pt x="84" y="14"/>
                </a:lnTo>
                <a:lnTo>
                  <a:pt x="82" y="16"/>
                </a:lnTo>
                <a:lnTo>
                  <a:pt x="82" y="16"/>
                </a:lnTo>
                <a:lnTo>
                  <a:pt x="82" y="22"/>
                </a:lnTo>
                <a:lnTo>
                  <a:pt x="82" y="22"/>
                </a:lnTo>
                <a:lnTo>
                  <a:pt x="80" y="26"/>
                </a:lnTo>
                <a:lnTo>
                  <a:pt x="76" y="30"/>
                </a:lnTo>
                <a:lnTo>
                  <a:pt x="76" y="30"/>
                </a:lnTo>
                <a:lnTo>
                  <a:pt x="74" y="36"/>
                </a:lnTo>
                <a:lnTo>
                  <a:pt x="74" y="36"/>
                </a:lnTo>
                <a:lnTo>
                  <a:pt x="68" y="42"/>
                </a:lnTo>
                <a:lnTo>
                  <a:pt x="58" y="48"/>
                </a:lnTo>
                <a:lnTo>
                  <a:pt x="58" y="48"/>
                </a:lnTo>
                <a:lnTo>
                  <a:pt x="54" y="48"/>
                </a:lnTo>
                <a:lnTo>
                  <a:pt x="54" y="48"/>
                </a:lnTo>
                <a:lnTo>
                  <a:pt x="46" y="54"/>
                </a:lnTo>
                <a:lnTo>
                  <a:pt x="40" y="60"/>
                </a:lnTo>
                <a:lnTo>
                  <a:pt x="40" y="60"/>
                </a:lnTo>
                <a:lnTo>
                  <a:pt x="40" y="68"/>
                </a:lnTo>
                <a:lnTo>
                  <a:pt x="40" y="68"/>
                </a:lnTo>
                <a:lnTo>
                  <a:pt x="38" y="72"/>
                </a:lnTo>
                <a:lnTo>
                  <a:pt x="34" y="76"/>
                </a:lnTo>
                <a:lnTo>
                  <a:pt x="34" y="76"/>
                </a:lnTo>
                <a:lnTo>
                  <a:pt x="34" y="80"/>
                </a:lnTo>
                <a:lnTo>
                  <a:pt x="34" y="86"/>
                </a:lnTo>
                <a:lnTo>
                  <a:pt x="36" y="96"/>
                </a:lnTo>
                <a:lnTo>
                  <a:pt x="36" y="106"/>
                </a:lnTo>
                <a:lnTo>
                  <a:pt x="36" y="110"/>
                </a:lnTo>
                <a:lnTo>
                  <a:pt x="34" y="116"/>
                </a:lnTo>
                <a:lnTo>
                  <a:pt x="34" y="116"/>
                </a:lnTo>
                <a:lnTo>
                  <a:pt x="32" y="118"/>
                </a:lnTo>
                <a:lnTo>
                  <a:pt x="32" y="118"/>
                </a:lnTo>
                <a:lnTo>
                  <a:pt x="26" y="126"/>
                </a:lnTo>
                <a:lnTo>
                  <a:pt x="22" y="134"/>
                </a:lnTo>
                <a:lnTo>
                  <a:pt x="22" y="134"/>
                </a:lnTo>
                <a:lnTo>
                  <a:pt x="18" y="134"/>
                </a:lnTo>
                <a:lnTo>
                  <a:pt x="18" y="134"/>
                </a:lnTo>
                <a:lnTo>
                  <a:pt x="14" y="140"/>
                </a:lnTo>
                <a:lnTo>
                  <a:pt x="10" y="144"/>
                </a:lnTo>
                <a:lnTo>
                  <a:pt x="10" y="144"/>
                </a:lnTo>
                <a:lnTo>
                  <a:pt x="4" y="146"/>
                </a:lnTo>
                <a:lnTo>
                  <a:pt x="4" y="146"/>
                </a:lnTo>
                <a:lnTo>
                  <a:pt x="0" y="150"/>
                </a:lnTo>
                <a:lnTo>
                  <a:pt x="58" y="148"/>
                </a:lnTo>
                <a:lnTo>
                  <a:pt x="58" y="134"/>
                </a:lnTo>
                <a:lnTo>
                  <a:pt x="58" y="134"/>
                </a:lnTo>
                <a:lnTo>
                  <a:pt x="58" y="134"/>
                </a:lnTo>
                <a:lnTo>
                  <a:pt x="62" y="130"/>
                </a:lnTo>
                <a:lnTo>
                  <a:pt x="62" y="130"/>
                </a:lnTo>
                <a:lnTo>
                  <a:pt x="68" y="122"/>
                </a:lnTo>
                <a:lnTo>
                  <a:pt x="68" y="122"/>
                </a:lnTo>
                <a:lnTo>
                  <a:pt x="72" y="120"/>
                </a:lnTo>
                <a:lnTo>
                  <a:pt x="78" y="118"/>
                </a:lnTo>
                <a:lnTo>
                  <a:pt x="78" y="118"/>
                </a:lnTo>
                <a:lnTo>
                  <a:pt x="86" y="116"/>
                </a:lnTo>
                <a:lnTo>
                  <a:pt x="90" y="114"/>
                </a:lnTo>
                <a:lnTo>
                  <a:pt x="92" y="112"/>
                </a:lnTo>
                <a:lnTo>
                  <a:pt x="92" y="112"/>
                </a:lnTo>
                <a:lnTo>
                  <a:pt x="96" y="108"/>
                </a:lnTo>
                <a:lnTo>
                  <a:pt x="100" y="108"/>
                </a:lnTo>
                <a:lnTo>
                  <a:pt x="100" y="108"/>
                </a:lnTo>
                <a:lnTo>
                  <a:pt x="106" y="106"/>
                </a:lnTo>
                <a:lnTo>
                  <a:pt x="110" y="104"/>
                </a:lnTo>
                <a:lnTo>
                  <a:pt x="110" y="104"/>
                </a:lnTo>
                <a:lnTo>
                  <a:pt x="114" y="100"/>
                </a:lnTo>
                <a:lnTo>
                  <a:pt x="116" y="94"/>
                </a:lnTo>
                <a:lnTo>
                  <a:pt x="120" y="88"/>
                </a:lnTo>
                <a:lnTo>
                  <a:pt x="120" y="88"/>
                </a:lnTo>
                <a:lnTo>
                  <a:pt x="122" y="88"/>
                </a:lnTo>
                <a:lnTo>
                  <a:pt x="128" y="84"/>
                </a:lnTo>
                <a:lnTo>
                  <a:pt x="128" y="84"/>
                </a:lnTo>
                <a:lnTo>
                  <a:pt x="132" y="80"/>
                </a:lnTo>
                <a:lnTo>
                  <a:pt x="132" y="76"/>
                </a:lnTo>
                <a:lnTo>
                  <a:pt x="132" y="76"/>
                </a:lnTo>
                <a:lnTo>
                  <a:pt x="132" y="74"/>
                </a:lnTo>
                <a:lnTo>
                  <a:pt x="134" y="72"/>
                </a:lnTo>
                <a:lnTo>
                  <a:pt x="136" y="70"/>
                </a:lnTo>
                <a:lnTo>
                  <a:pt x="138" y="68"/>
                </a:lnTo>
                <a:lnTo>
                  <a:pt x="138" y="68"/>
                </a:lnTo>
                <a:lnTo>
                  <a:pt x="140" y="66"/>
                </a:lnTo>
                <a:lnTo>
                  <a:pt x="142" y="64"/>
                </a:lnTo>
                <a:lnTo>
                  <a:pt x="148" y="60"/>
                </a:lnTo>
                <a:lnTo>
                  <a:pt x="148" y="60"/>
                </a:lnTo>
                <a:lnTo>
                  <a:pt x="150" y="58"/>
                </a:lnTo>
                <a:lnTo>
                  <a:pt x="148" y="56"/>
                </a:lnTo>
                <a:lnTo>
                  <a:pt x="146" y="52"/>
                </a:lnTo>
                <a:lnTo>
                  <a:pt x="146" y="52"/>
                </a:lnTo>
                <a:lnTo>
                  <a:pt x="144" y="48"/>
                </a:lnTo>
                <a:lnTo>
                  <a:pt x="144" y="42"/>
                </a:lnTo>
                <a:lnTo>
                  <a:pt x="144" y="42"/>
                </a:lnTo>
                <a:lnTo>
                  <a:pt x="142" y="40"/>
                </a:lnTo>
                <a:lnTo>
                  <a:pt x="140" y="38"/>
                </a:lnTo>
                <a:lnTo>
                  <a:pt x="140" y="38"/>
                </a:lnTo>
                <a:lnTo>
                  <a:pt x="138" y="34"/>
                </a:lnTo>
                <a:lnTo>
                  <a:pt x="138" y="34"/>
                </a:lnTo>
                <a:lnTo>
                  <a:pt x="140" y="28"/>
                </a:lnTo>
                <a:lnTo>
                  <a:pt x="140" y="24"/>
                </a:lnTo>
                <a:lnTo>
                  <a:pt x="140" y="24"/>
                </a:lnTo>
                <a:lnTo>
                  <a:pt x="140" y="20"/>
                </a:lnTo>
                <a:lnTo>
                  <a:pt x="138" y="16"/>
                </a:lnTo>
                <a:lnTo>
                  <a:pt x="136" y="14"/>
                </a:lnTo>
                <a:lnTo>
                  <a:pt x="136"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1" name="Freeform 135">
            <a:extLst>
              <a:ext uri="{FF2B5EF4-FFF2-40B4-BE49-F238E27FC236}">
                <a16:creationId xmlns:a16="http://schemas.microsoft.com/office/drawing/2014/main" id="{E5A305E6-7858-4458-8886-85047B385762}"/>
              </a:ext>
            </a:extLst>
          </p:cNvPr>
          <p:cNvSpPr>
            <a:spLocks/>
          </p:cNvSpPr>
          <p:nvPr userDrawn="1"/>
        </p:nvSpPr>
        <p:spPr bwMode="auto">
          <a:xfrm>
            <a:off x="7836395" y="2101940"/>
            <a:ext cx="707709" cy="350062"/>
          </a:xfrm>
          <a:custGeom>
            <a:avLst/>
            <a:gdLst>
              <a:gd name="T0" fmla="*/ 14 w 422"/>
              <a:gd name="T1" fmla="*/ 52 h 204"/>
              <a:gd name="T2" fmla="*/ 20 w 422"/>
              <a:gd name="T3" fmla="*/ 40 h 204"/>
              <a:gd name="T4" fmla="*/ 40 w 422"/>
              <a:gd name="T5" fmla="*/ 30 h 204"/>
              <a:gd name="T6" fmla="*/ 62 w 422"/>
              <a:gd name="T7" fmla="*/ 26 h 204"/>
              <a:gd name="T8" fmla="*/ 82 w 422"/>
              <a:gd name="T9" fmla="*/ 32 h 204"/>
              <a:gd name="T10" fmla="*/ 108 w 422"/>
              <a:gd name="T11" fmla="*/ 38 h 204"/>
              <a:gd name="T12" fmla="*/ 134 w 422"/>
              <a:gd name="T13" fmla="*/ 34 h 204"/>
              <a:gd name="T14" fmla="*/ 122 w 422"/>
              <a:gd name="T15" fmla="*/ 16 h 204"/>
              <a:gd name="T16" fmla="*/ 130 w 422"/>
              <a:gd name="T17" fmla="*/ 0 h 204"/>
              <a:gd name="T18" fmla="*/ 156 w 422"/>
              <a:gd name="T19" fmla="*/ 2 h 204"/>
              <a:gd name="T20" fmla="*/ 182 w 422"/>
              <a:gd name="T21" fmla="*/ 18 h 204"/>
              <a:gd name="T22" fmla="*/ 198 w 422"/>
              <a:gd name="T23" fmla="*/ 36 h 204"/>
              <a:gd name="T24" fmla="*/ 220 w 422"/>
              <a:gd name="T25" fmla="*/ 42 h 204"/>
              <a:gd name="T26" fmla="*/ 240 w 422"/>
              <a:gd name="T27" fmla="*/ 38 h 204"/>
              <a:gd name="T28" fmla="*/ 258 w 422"/>
              <a:gd name="T29" fmla="*/ 48 h 204"/>
              <a:gd name="T30" fmla="*/ 276 w 422"/>
              <a:gd name="T31" fmla="*/ 56 h 204"/>
              <a:gd name="T32" fmla="*/ 294 w 422"/>
              <a:gd name="T33" fmla="*/ 56 h 204"/>
              <a:gd name="T34" fmla="*/ 320 w 422"/>
              <a:gd name="T35" fmla="*/ 52 h 204"/>
              <a:gd name="T36" fmla="*/ 348 w 422"/>
              <a:gd name="T37" fmla="*/ 40 h 204"/>
              <a:gd name="T38" fmla="*/ 374 w 422"/>
              <a:gd name="T39" fmla="*/ 48 h 204"/>
              <a:gd name="T40" fmla="*/ 370 w 422"/>
              <a:gd name="T41" fmla="*/ 70 h 204"/>
              <a:gd name="T42" fmla="*/ 368 w 422"/>
              <a:gd name="T43" fmla="*/ 76 h 204"/>
              <a:gd name="T44" fmla="*/ 376 w 422"/>
              <a:gd name="T45" fmla="*/ 90 h 204"/>
              <a:gd name="T46" fmla="*/ 396 w 422"/>
              <a:gd name="T47" fmla="*/ 82 h 204"/>
              <a:gd name="T48" fmla="*/ 416 w 422"/>
              <a:gd name="T49" fmla="*/ 96 h 204"/>
              <a:gd name="T50" fmla="*/ 418 w 422"/>
              <a:gd name="T51" fmla="*/ 108 h 204"/>
              <a:gd name="T52" fmla="*/ 408 w 422"/>
              <a:gd name="T53" fmla="*/ 108 h 204"/>
              <a:gd name="T54" fmla="*/ 400 w 422"/>
              <a:gd name="T55" fmla="*/ 112 h 204"/>
              <a:gd name="T56" fmla="*/ 380 w 422"/>
              <a:gd name="T57" fmla="*/ 122 h 204"/>
              <a:gd name="T58" fmla="*/ 368 w 422"/>
              <a:gd name="T59" fmla="*/ 126 h 204"/>
              <a:gd name="T60" fmla="*/ 344 w 422"/>
              <a:gd name="T61" fmla="*/ 144 h 204"/>
              <a:gd name="T62" fmla="*/ 318 w 422"/>
              <a:gd name="T63" fmla="*/ 140 h 204"/>
              <a:gd name="T64" fmla="*/ 304 w 422"/>
              <a:gd name="T65" fmla="*/ 150 h 204"/>
              <a:gd name="T66" fmla="*/ 306 w 422"/>
              <a:gd name="T67" fmla="*/ 172 h 204"/>
              <a:gd name="T68" fmla="*/ 286 w 422"/>
              <a:gd name="T69" fmla="*/ 184 h 204"/>
              <a:gd name="T70" fmla="*/ 252 w 422"/>
              <a:gd name="T71" fmla="*/ 190 h 204"/>
              <a:gd name="T72" fmla="*/ 232 w 422"/>
              <a:gd name="T73" fmla="*/ 202 h 204"/>
              <a:gd name="T74" fmla="*/ 200 w 422"/>
              <a:gd name="T75" fmla="*/ 204 h 204"/>
              <a:gd name="T76" fmla="*/ 182 w 422"/>
              <a:gd name="T77" fmla="*/ 190 h 204"/>
              <a:gd name="T78" fmla="*/ 138 w 422"/>
              <a:gd name="T79" fmla="*/ 188 h 204"/>
              <a:gd name="T80" fmla="*/ 114 w 422"/>
              <a:gd name="T81" fmla="*/ 182 h 204"/>
              <a:gd name="T82" fmla="*/ 94 w 422"/>
              <a:gd name="T83" fmla="*/ 166 h 204"/>
              <a:gd name="T84" fmla="*/ 78 w 422"/>
              <a:gd name="T85" fmla="*/ 150 h 204"/>
              <a:gd name="T86" fmla="*/ 58 w 422"/>
              <a:gd name="T87" fmla="*/ 140 h 204"/>
              <a:gd name="T88" fmla="*/ 50 w 422"/>
              <a:gd name="T89" fmla="*/ 124 h 204"/>
              <a:gd name="T90" fmla="*/ 40 w 422"/>
              <a:gd name="T91" fmla="*/ 108 h 204"/>
              <a:gd name="T92" fmla="*/ 24 w 422"/>
              <a:gd name="T93" fmla="*/ 88 h 204"/>
              <a:gd name="T94" fmla="*/ 4 w 422"/>
              <a:gd name="T95" fmla="*/ 84 h 204"/>
              <a:gd name="T96" fmla="*/ 2 w 422"/>
              <a:gd name="T97"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2" h="204">
                <a:moveTo>
                  <a:pt x="2" y="56"/>
                </a:moveTo>
                <a:lnTo>
                  <a:pt x="8" y="54"/>
                </a:lnTo>
                <a:lnTo>
                  <a:pt x="14" y="52"/>
                </a:lnTo>
                <a:lnTo>
                  <a:pt x="16" y="48"/>
                </a:lnTo>
                <a:lnTo>
                  <a:pt x="16" y="44"/>
                </a:lnTo>
                <a:lnTo>
                  <a:pt x="20" y="40"/>
                </a:lnTo>
                <a:lnTo>
                  <a:pt x="24" y="36"/>
                </a:lnTo>
                <a:lnTo>
                  <a:pt x="32" y="34"/>
                </a:lnTo>
                <a:lnTo>
                  <a:pt x="40" y="30"/>
                </a:lnTo>
                <a:lnTo>
                  <a:pt x="44" y="26"/>
                </a:lnTo>
                <a:lnTo>
                  <a:pt x="54" y="26"/>
                </a:lnTo>
                <a:lnTo>
                  <a:pt x="62" y="26"/>
                </a:lnTo>
                <a:lnTo>
                  <a:pt x="64" y="30"/>
                </a:lnTo>
                <a:lnTo>
                  <a:pt x="72" y="28"/>
                </a:lnTo>
                <a:lnTo>
                  <a:pt x="82" y="32"/>
                </a:lnTo>
                <a:lnTo>
                  <a:pt x="90" y="36"/>
                </a:lnTo>
                <a:lnTo>
                  <a:pt x="98" y="38"/>
                </a:lnTo>
                <a:lnTo>
                  <a:pt x="108" y="38"/>
                </a:lnTo>
                <a:lnTo>
                  <a:pt x="120" y="38"/>
                </a:lnTo>
                <a:lnTo>
                  <a:pt x="130" y="38"/>
                </a:lnTo>
                <a:lnTo>
                  <a:pt x="134" y="34"/>
                </a:lnTo>
                <a:lnTo>
                  <a:pt x="132" y="26"/>
                </a:lnTo>
                <a:lnTo>
                  <a:pt x="128" y="20"/>
                </a:lnTo>
                <a:lnTo>
                  <a:pt x="122" y="16"/>
                </a:lnTo>
                <a:lnTo>
                  <a:pt x="124" y="10"/>
                </a:lnTo>
                <a:lnTo>
                  <a:pt x="128" y="4"/>
                </a:lnTo>
                <a:lnTo>
                  <a:pt x="130" y="0"/>
                </a:lnTo>
                <a:lnTo>
                  <a:pt x="140" y="0"/>
                </a:lnTo>
                <a:lnTo>
                  <a:pt x="146" y="2"/>
                </a:lnTo>
                <a:lnTo>
                  <a:pt x="156" y="2"/>
                </a:lnTo>
                <a:lnTo>
                  <a:pt x="160" y="6"/>
                </a:lnTo>
                <a:lnTo>
                  <a:pt x="170" y="8"/>
                </a:lnTo>
                <a:lnTo>
                  <a:pt x="182" y="18"/>
                </a:lnTo>
                <a:lnTo>
                  <a:pt x="190" y="24"/>
                </a:lnTo>
                <a:lnTo>
                  <a:pt x="194" y="34"/>
                </a:lnTo>
                <a:lnTo>
                  <a:pt x="198" y="36"/>
                </a:lnTo>
                <a:lnTo>
                  <a:pt x="208" y="42"/>
                </a:lnTo>
                <a:lnTo>
                  <a:pt x="214" y="42"/>
                </a:lnTo>
                <a:lnTo>
                  <a:pt x="220" y="42"/>
                </a:lnTo>
                <a:lnTo>
                  <a:pt x="226" y="40"/>
                </a:lnTo>
                <a:lnTo>
                  <a:pt x="232" y="36"/>
                </a:lnTo>
                <a:lnTo>
                  <a:pt x="240" y="38"/>
                </a:lnTo>
                <a:lnTo>
                  <a:pt x="252" y="42"/>
                </a:lnTo>
                <a:lnTo>
                  <a:pt x="258" y="42"/>
                </a:lnTo>
                <a:lnTo>
                  <a:pt x="258" y="48"/>
                </a:lnTo>
                <a:lnTo>
                  <a:pt x="264" y="52"/>
                </a:lnTo>
                <a:lnTo>
                  <a:pt x="270" y="52"/>
                </a:lnTo>
                <a:lnTo>
                  <a:pt x="276" y="56"/>
                </a:lnTo>
                <a:lnTo>
                  <a:pt x="282" y="56"/>
                </a:lnTo>
                <a:lnTo>
                  <a:pt x="288" y="54"/>
                </a:lnTo>
                <a:lnTo>
                  <a:pt x="294" y="56"/>
                </a:lnTo>
                <a:lnTo>
                  <a:pt x="304" y="58"/>
                </a:lnTo>
                <a:lnTo>
                  <a:pt x="314" y="56"/>
                </a:lnTo>
                <a:lnTo>
                  <a:pt x="320" y="52"/>
                </a:lnTo>
                <a:lnTo>
                  <a:pt x="332" y="50"/>
                </a:lnTo>
                <a:lnTo>
                  <a:pt x="344" y="42"/>
                </a:lnTo>
                <a:lnTo>
                  <a:pt x="348" y="40"/>
                </a:lnTo>
                <a:lnTo>
                  <a:pt x="358" y="46"/>
                </a:lnTo>
                <a:lnTo>
                  <a:pt x="364" y="46"/>
                </a:lnTo>
                <a:lnTo>
                  <a:pt x="374" y="48"/>
                </a:lnTo>
                <a:lnTo>
                  <a:pt x="368" y="64"/>
                </a:lnTo>
                <a:lnTo>
                  <a:pt x="368" y="64"/>
                </a:lnTo>
                <a:lnTo>
                  <a:pt x="370" y="70"/>
                </a:lnTo>
                <a:lnTo>
                  <a:pt x="370" y="70"/>
                </a:lnTo>
                <a:lnTo>
                  <a:pt x="370" y="74"/>
                </a:lnTo>
                <a:lnTo>
                  <a:pt x="368" y="76"/>
                </a:lnTo>
                <a:lnTo>
                  <a:pt x="366" y="80"/>
                </a:lnTo>
                <a:lnTo>
                  <a:pt x="366" y="86"/>
                </a:lnTo>
                <a:lnTo>
                  <a:pt x="376" y="90"/>
                </a:lnTo>
                <a:lnTo>
                  <a:pt x="386" y="88"/>
                </a:lnTo>
                <a:lnTo>
                  <a:pt x="392" y="82"/>
                </a:lnTo>
                <a:lnTo>
                  <a:pt x="396" y="82"/>
                </a:lnTo>
                <a:lnTo>
                  <a:pt x="400" y="86"/>
                </a:lnTo>
                <a:lnTo>
                  <a:pt x="406" y="92"/>
                </a:lnTo>
                <a:lnTo>
                  <a:pt x="416" y="96"/>
                </a:lnTo>
                <a:lnTo>
                  <a:pt x="422" y="102"/>
                </a:lnTo>
                <a:lnTo>
                  <a:pt x="418" y="108"/>
                </a:lnTo>
                <a:lnTo>
                  <a:pt x="418" y="108"/>
                </a:lnTo>
                <a:lnTo>
                  <a:pt x="414" y="106"/>
                </a:lnTo>
                <a:lnTo>
                  <a:pt x="410" y="106"/>
                </a:lnTo>
                <a:lnTo>
                  <a:pt x="408" y="108"/>
                </a:lnTo>
                <a:lnTo>
                  <a:pt x="408" y="108"/>
                </a:lnTo>
                <a:lnTo>
                  <a:pt x="404" y="110"/>
                </a:lnTo>
                <a:lnTo>
                  <a:pt x="400" y="112"/>
                </a:lnTo>
                <a:lnTo>
                  <a:pt x="398" y="116"/>
                </a:lnTo>
                <a:lnTo>
                  <a:pt x="390" y="114"/>
                </a:lnTo>
                <a:lnTo>
                  <a:pt x="380" y="122"/>
                </a:lnTo>
                <a:lnTo>
                  <a:pt x="374" y="118"/>
                </a:lnTo>
                <a:lnTo>
                  <a:pt x="370" y="118"/>
                </a:lnTo>
                <a:lnTo>
                  <a:pt x="368" y="126"/>
                </a:lnTo>
                <a:lnTo>
                  <a:pt x="364" y="130"/>
                </a:lnTo>
                <a:lnTo>
                  <a:pt x="346" y="134"/>
                </a:lnTo>
                <a:lnTo>
                  <a:pt x="344" y="144"/>
                </a:lnTo>
                <a:lnTo>
                  <a:pt x="332" y="150"/>
                </a:lnTo>
                <a:lnTo>
                  <a:pt x="324" y="146"/>
                </a:lnTo>
                <a:lnTo>
                  <a:pt x="318" y="140"/>
                </a:lnTo>
                <a:lnTo>
                  <a:pt x="312" y="138"/>
                </a:lnTo>
                <a:lnTo>
                  <a:pt x="306" y="142"/>
                </a:lnTo>
                <a:lnTo>
                  <a:pt x="304" y="150"/>
                </a:lnTo>
                <a:lnTo>
                  <a:pt x="302" y="156"/>
                </a:lnTo>
                <a:lnTo>
                  <a:pt x="304" y="166"/>
                </a:lnTo>
                <a:lnTo>
                  <a:pt x="306" y="172"/>
                </a:lnTo>
                <a:lnTo>
                  <a:pt x="302" y="178"/>
                </a:lnTo>
                <a:lnTo>
                  <a:pt x="296" y="182"/>
                </a:lnTo>
                <a:lnTo>
                  <a:pt x="286" y="184"/>
                </a:lnTo>
                <a:lnTo>
                  <a:pt x="272" y="188"/>
                </a:lnTo>
                <a:lnTo>
                  <a:pt x="260" y="188"/>
                </a:lnTo>
                <a:lnTo>
                  <a:pt x="252" y="190"/>
                </a:lnTo>
                <a:lnTo>
                  <a:pt x="248" y="190"/>
                </a:lnTo>
                <a:lnTo>
                  <a:pt x="240" y="198"/>
                </a:lnTo>
                <a:lnTo>
                  <a:pt x="232" y="202"/>
                </a:lnTo>
                <a:lnTo>
                  <a:pt x="222" y="202"/>
                </a:lnTo>
                <a:lnTo>
                  <a:pt x="212" y="204"/>
                </a:lnTo>
                <a:lnTo>
                  <a:pt x="200" y="204"/>
                </a:lnTo>
                <a:lnTo>
                  <a:pt x="192" y="200"/>
                </a:lnTo>
                <a:lnTo>
                  <a:pt x="186" y="192"/>
                </a:lnTo>
                <a:lnTo>
                  <a:pt x="182" y="190"/>
                </a:lnTo>
                <a:lnTo>
                  <a:pt x="162" y="190"/>
                </a:lnTo>
                <a:lnTo>
                  <a:pt x="150" y="188"/>
                </a:lnTo>
                <a:lnTo>
                  <a:pt x="138" y="188"/>
                </a:lnTo>
                <a:lnTo>
                  <a:pt x="128" y="188"/>
                </a:lnTo>
                <a:lnTo>
                  <a:pt x="120" y="188"/>
                </a:lnTo>
                <a:lnTo>
                  <a:pt x="114" y="182"/>
                </a:lnTo>
                <a:lnTo>
                  <a:pt x="106" y="176"/>
                </a:lnTo>
                <a:lnTo>
                  <a:pt x="98" y="170"/>
                </a:lnTo>
                <a:lnTo>
                  <a:pt x="94" y="166"/>
                </a:lnTo>
                <a:lnTo>
                  <a:pt x="92" y="158"/>
                </a:lnTo>
                <a:lnTo>
                  <a:pt x="86" y="152"/>
                </a:lnTo>
                <a:lnTo>
                  <a:pt x="78" y="150"/>
                </a:lnTo>
                <a:lnTo>
                  <a:pt x="74" y="146"/>
                </a:lnTo>
                <a:lnTo>
                  <a:pt x="66" y="142"/>
                </a:lnTo>
                <a:lnTo>
                  <a:pt x="58" y="140"/>
                </a:lnTo>
                <a:lnTo>
                  <a:pt x="50" y="138"/>
                </a:lnTo>
                <a:lnTo>
                  <a:pt x="48" y="132"/>
                </a:lnTo>
                <a:lnTo>
                  <a:pt x="50" y="124"/>
                </a:lnTo>
                <a:lnTo>
                  <a:pt x="52" y="118"/>
                </a:lnTo>
                <a:lnTo>
                  <a:pt x="48" y="110"/>
                </a:lnTo>
                <a:lnTo>
                  <a:pt x="40" y="108"/>
                </a:lnTo>
                <a:lnTo>
                  <a:pt x="40" y="102"/>
                </a:lnTo>
                <a:lnTo>
                  <a:pt x="32" y="94"/>
                </a:lnTo>
                <a:lnTo>
                  <a:pt x="24" y="88"/>
                </a:lnTo>
                <a:lnTo>
                  <a:pt x="16" y="90"/>
                </a:lnTo>
                <a:lnTo>
                  <a:pt x="8" y="88"/>
                </a:lnTo>
                <a:lnTo>
                  <a:pt x="4" y="84"/>
                </a:lnTo>
                <a:lnTo>
                  <a:pt x="2" y="80"/>
                </a:lnTo>
                <a:lnTo>
                  <a:pt x="0" y="70"/>
                </a:lnTo>
                <a:lnTo>
                  <a:pt x="2" y="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2" name="Freeform 136">
            <a:extLst>
              <a:ext uri="{FF2B5EF4-FFF2-40B4-BE49-F238E27FC236}">
                <a16:creationId xmlns:a16="http://schemas.microsoft.com/office/drawing/2014/main" id="{B943A684-20FE-495E-8DFF-A510AFC24D14}"/>
              </a:ext>
            </a:extLst>
          </p:cNvPr>
          <p:cNvSpPr>
            <a:spLocks/>
          </p:cNvSpPr>
          <p:nvPr userDrawn="1"/>
        </p:nvSpPr>
        <p:spPr bwMode="auto">
          <a:xfrm>
            <a:off x="6003394" y="2383361"/>
            <a:ext cx="10062" cy="6864"/>
          </a:xfrm>
          <a:custGeom>
            <a:avLst/>
            <a:gdLst>
              <a:gd name="T0" fmla="*/ 4 w 6"/>
              <a:gd name="T1" fmla="*/ 4 h 4"/>
              <a:gd name="T2" fmla="*/ 0 w 6"/>
              <a:gd name="T3" fmla="*/ 2 h 4"/>
              <a:gd name="T4" fmla="*/ 4 w 6"/>
              <a:gd name="T5" fmla="*/ 0 h 4"/>
              <a:gd name="T6" fmla="*/ 6 w 6"/>
              <a:gd name="T7" fmla="*/ 2 h 4"/>
              <a:gd name="T8" fmla="*/ 6 w 6"/>
              <a:gd name="T9" fmla="*/ 2 h 4"/>
              <a:gd name="T10" fmla="*/ 4 w 6"/>
              <a:gd name="T11" fmla="*/ 4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lnTo>
                  <a:pt x="0" y="2"/>
                </a:lnTo>
                <a:lnTo>
                  <a:pt x="4" y="0"/>
                </a:lnTo>
                <a:lnTo>
                  <a:pt x="6" y="2"/>
                </a:lnTo>
                <a:lnTo>
                  <a:pt x="6" y="2"/>
                </a:lnTo>
                <a:lnTo>
                  <a:pt x="4" y="4"/>
                </a:lnTo>
                <a:lnTo>
                  <a:pt x="4"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3" name="Freeform 137">
            <a:extLst>
              <a:ext uri="{FF2B5EF4-FFF2-40B4-BE49-F238E27FC236}">
                <a16:creationId xmlns:a16="http://schemas.microsoft.com/office/drawing/2014/main" id="{DE68418D-67B9-45CF-901F-D230DF45ECA4}"/>
              </a:ext>
            </a:extLst>
          </p:cNvPr>
          <p:cNvSpPr>
            <a:spLocks/>
          </p:cNvSpPr>
          <p:nvPr userDrawn="1"/>
        </p:nvSpPr>
        <p:spPr bwMode="auto">
          <a:xfrm>
            <a:off x="6457872" y="2215195"/>
            <a:ext cx="83852" cy="109823"/>
          </a:xfrm>
          <a:custGeom>
            <a:avLst/>
            <a:gdLst>
              <a:gd name="T0" fmla="*/ 24 w 50"/>
              <a:gd name="T1" fmla="*/ 64 h 64"/>
              <a:gd name="T2" fmla="*/ 30 w 50"/>
              <a:gd name="T3" fmla="*/ 56 h 64"/>
              <a:gd name="T4" fmla="*/ 32 w 50"/>
              <a:gd name="T5" fmla="*/ 52 h 64"/>
              <a:gd name="T6" fmla="*/ 36 w 50"/>
              <a:gd name="T7" fmla="*/ 48 h 64"/>
              <a:gd name="T8" fmla="*/ 36 w 50"/>
              <a:gd name="T9" fmla="*/ 48 h 64"/>
              <a:gd name="T10" fmla="*/ 42 w 50"/>
              <a:gd name="T11" fmla="*/ 50 h 64"/>
              <a:gd name="T12" fmla="*/ 48 w 50"/>
              <a:gd name="T13" fmla="*/ 52 h 64"/>
              <a:gd name="T14" fmla="*/ 42 w 50"/>
              <a:gd name="T15" fmla="*/ 42 h 64"/>
              <a:gd name="T16" fmla="*/ 40 w 50"/>
              <a:gd name="T17" fmla="*/ 40 h 64"/>
              <a:gd name="T18" fmla="*/ 38 w 50"/>
              <a:gd name="T19" fmla="*/ 34 h 64"/>
              <a:gd name="T20" fmla="*/ 38 w 50"/>
              <a:gd name="T21" fmla="*/ 30 h 64"/>
              <a:gd name="T22" fmla="*/ 36 w 50"/>
              <a:gd name="T23" fmla="*/ 26 h 64"/>
              <a:gd name="T24" fmla="*/ 34 w 50"/>
              <a:gd name="T25" fmla="*/ 20 h 64"/>
              <a:gd name="T26" fmla="*/ 32 w 50"/>
              <a:gd name="T27" fmla="*/ 14 h 64"/>
              <a:gd name="T28" fmla="*/ 28 w 50"/>
              <a:gd name="T29" fmla="*/ 10 h 64"/>
              <a:gd name="T30" fmla="*/ 22 w 50"/>
              <a:gd name="T31" fmla="*/ 6 h 64"/>
              <a:gd name="T32" fmla="*/ 16 w 50"/>
              <a:gd name="T33" fmla="*/ 2 h 64"/>
              <a:gd name="T34" fmla="*/ 8 w 50"/>
              <a:gd name="T35" fmla="*/ 2 h 64"/>
              <a:gd name="T36" fmla="*/ 4 w 50"/>
              <a:gd name="T37" fmla="*/ 2 h 64"/>
              <a:gd name="T38" fmla="*/ 0 w 50"/>
              <a:gd name="T39" fmla="*/ 6 h 64"/>
              <a:gd name="T40" fmla="*/ 4 w 50"/>
              <a:gd name="T41" fmla="*/ 8 h 64"/>
              <a:gd name="T42" fmla="*/ 10 w 50"/>
              <a:gd name="T43" fmla="*/ 16 h 64"/>
              <a:gd name="T44" fmla="*/ 14 w 50"/>
              <a:gd name="T45" fmla="*/ 24 h 64"/>
              <a:gd name="T46" fmla="*/ 18 w 50"/>
              <a:gd name="T47" fmla="*/ 30 h 64"/>
              <a:gd name="T48" fmla="*/ 20 w 50"/>
              <a:gd name="T49" fmla="*/ 34 h 64"/>
              <a:gd name="T50" fmla="*/ 20 w 50"/>
              <a:gd name="T51" fmla="*/ 38 h 64"/>
              <a:gd name="T52" fmla="*/ 20 w 50"/>
              <a:gd name="T53" fmla="*/ 42 h 64"/>
              <a:gd name="T54" fmla="*/ 22 w 50"/>
              <a:gd name="T55" fmla="*/ 44 h 64"/>
              <a:gd name="T56" fmla="*/ 20 w 50"/>
              <a:gd name="T57" fmla="*/ 46 h 64"/>
              <a:gd name="T58" fmla="*/ 20 w 50"/>
              <a:gd name="T59" fmla="*/ 48 h 64"/>
              <a:gd name="T60" fmla="*/ 20 w 50"/>
              <a:gd name="T61" fmla="*/ 56 h 64"/>
              <a:gd name="T62" fmla="*/ 20 w 50"/>
              <a:gd name="T63" fmla="*/ 56 h 64"/>
              <a:gd name="T64" fmla="*/ 20 w 50"/>
              <a:gd name="T65" fmla="*/ 60 h 64"/>
              <a:gd name="T66" fmla="*/ 22 w 50"/>
              <a:gd name="T67" fmla="*/ 64 h 64"/>
              <a:gd name="T68" fmla="*/ 24 w 50"/>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 h="64">
                <a:moveTo>
                  <a:pt x="24" y="64"/>
                </a:moveTo>
                <a:lnTo>
                  <a:pt x="24" y="64"/>
                </a:lnTo>
                <a:lnTo>
                  <a:pt x="28" y="62"/>
                </a:lnTo>
                <a:lnTo>
                  <a:pt x="30" y="56"/>
                </a:lnTo>
                <a:lnTo>
                  <a:pt x="30" y="56"/>
                </a:lnTo>
                <a:lnTo>
                  <a:pt x="32" y="52"/>
                </a:lnTo>
                <a:lnTo>
                  <a:pt x="34" y="50"/>
                </a:lnTo>
                <a:lnTo>
                  <a:pt x="36" y="48"/>
                </a:lnTo>
                <a:lnTo>
                  <a:pt x="36" y="48"/>
                </a:lnTo>
                <a:lnTo>
                  <a:pt x="36" y="48"/>
                </a:lnTo>
                <a:lnTo>
                  <a:pt x="38" y="48"/>
                </a:lnTo>
                <a:lnTo>
                  <a:pt x="42" y="50"/>
                </a:lnTo>
                <a:lnTo>
                  <a:pt x="42" y="50"/>
                </a:lnTo>
                <a:lnTo>
                  <a:pt x="48" y="52"/>
                </a:lnTo>
                <a:lnTo>
                  <a:pt x="50" y="54"/>
                </a:lnTo>
                <a:lnTo>
                  <a:pt x="42" y="42"/>
                </a:lnTo>
                <a:lnTo>
                  <a:pt x="42" y="42"/>
                </a:lnTo>
                <a:lnTo>
                  <a:pt x="40" y="40"/>
                </a:lnTo>
                <a:lnTo>
                  <a:pt x="38" y="38"/>
                </a:lnTo>
                <a:lnTo>
                  <a:pt x="38" y="34"/>
                </a:lnTo>
                <a:lnTo>
                  <a:pt x="38" y="34"/>
                </a:lnTo>
                <a:lnTo>
                  <a:pt x="38" y="30"/>
                </a:lnTo>
                <a:lnTo>
                  <a:pt x="36" y="26"/>
                </a:lnTo>
                <a:lnTo>
                  <a:pt x="36" y="26"/>
                </a:lnTo>
                <a:lnTo>
                  <a:pt x="34" y="24"/>
                </a:lnTo>
                <a:lnTo>
                  <a:pt x="34" y="20"/>
                </a:lnTo>
                <a:lnTo>
                  <a:pt x="34" y="20"/>
                </a:lnTo>
                <a:lnTo>
                  <a:pt x="32" y="14"/>
                </a:lnTo>
                <a:lnTo>
                  <a:pt x="28" y="10"/>
                </a:lnTo>
                <a:lnTo>
                  <a:pt x="28" y="10"/>
                </a:lnTo>
                <a:lnTo>
                  <a:pt x="22" y="6"/>
                </a:lnTo>
                <a:lnTo>
                  <a:pt x="22" y="6"/>
                </a:lnTo>
                <a:lnTo>
                  <a:pt x="16" y="2"/>
                </a:lnTo>
                <a:lnTo>
                  <a:pt x="16" y="2"/>
                </a:lnTo>
                <a:lnTo>
                  <a:pt x="12" y="0"/>
                </a:lnTo>
                <a:lnTo>
                  <a:pt x="8" y="2"/>
                </a:lnTo>
                <a:lnTo>
                  <a:pt x="8" y="2"/>
                </a:lnTo>
                <a:lnTo>
                  <a:pt x="4" y="2"/>
                </a:lnTo>
                <a:lnTo>
                  <a:pt x="0" y="4"/>
                </a:lnTo>
                <a:lnTo>
                  <a:pt x="0" y="6"/>
                </a:lnTo>
                <a:lnTo>
                  <a:pt x="0" y="6"/>
                </a:lnTo>
                <a:lnTo>
                  <a:pt x="4" y="8"/>
                </a:lnTo>
                <a:lnTo>
                  <a:pt x="10" y="16"/>
                </a:lnTo>
                <a:lnTo>
                  <a:pt x="10" y="16"/>
                </a:lnTo>
                <a:lnTo>
                  <a:pt x="10" y="20"/>
                </a:lnTo>
                <a:lnTo>
                  <a:pt x="14" y="24"/>
                </a:lnTo>
                <a:lnTo>
                  <a:pt x="14" y="24"/>
                </a:lnTo>
                <a:lnTo>
                  <a:pt x="18" y="30"/>
                </a:lnTo>
                <a:lnTo>
                  <a:pt x="20" y="34"/>
                </a:lnTo>
                <a:lnTo>
                  <a:pt x="20" y="34"/>
                </a:lnTo>
                <a:lnTo>
                  <a:pt x="20" y="36"/>
                </a:lnTo>
                <a:lnTo>
                  <a:pt x="20" y="38"/>
                </a:lnTo>
                <a:lnTo>
                  <a:pt x="20" y="40"/>
                </a:lnTo>
                <a:lnTo>
                  <a:pt x="20" y="42"/>
                </a:lnTo>
                <a:lnTo>
                  <a:pt x="20" y="42"/>
                </a:lnTo>
                <a:lnTo>
                  <a:pt x="22" y="44"/>
                </a:lnTo>
                <a:lnTo>
                  <a:pt x="22" y="44"/>
                </a:lnTo>
                <a:lnTo>
                  <a:pt x="20" y="46"/>
                </a:lnTo>
                <a:lnTo>
                  <a:pt x="20" y="48"/>
                </a:lnTo>
                <a:lnTo>
                  <a:pt x="20" y="48"/>
                </a:lnTo>
                <a:lnTo>
                  <a:pt x="20" y="54"/>
                </a:lnTo>
                <a:lnTo>
                  <a:pt x="20" y="56"/>
                </a:lnTo>
                <a:lnTo>
                  <a:pt x="20" y="56"/>
                </a:lnTo>
                <a:lnTo>
                  <a:pt x="20" y="56"/>
                </a:lnTo>
                <a:lnTo>
                  <a:pt x="22" y="58"/>
                </a:lnTo>
                <a:lnTo>
                  <a:pt x="20" y="60"/>
                </a:lnTo>
                <a:lnTo>
                  <a:pt x="20" y="62"/>
                </a:lnTo>
                <a:lnTo>
                  <a:pt x="22" y="64"/>
                </a:lnTo>
                <a:lnTo>
                  <a:pt x="22" y="64"/>
                </a:lnTo>
                <a:lnTo>
                  <a:pt x="24" y="64"/>
                </a:lnTo>
                <a:lnTo>
                  <a:pt x="24"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4" name="Freeform 138">
            <a:extLst>
              <a:ext uri="{FF2B5EF4-FFF2-40B4-BE49-F238E27FC236}">
                <a16:creationId xmlns:a16="http://schemas.microsoft.com/office/drawing/2014/main" id="{67C225B8-8EC2-44C4-8FA0-C166A3E3F279}"/>
              </a:ext>
            </a:extLst>
          </p:cNvPr>
          <p:cNvSpPr>
            <a:spLocks/>
          </p:cNvSpPr>
          <p:nvPr userDrawn="1"/>
        </p:nvSpPr>
        <p:spPr bwMode="auto">
          <a:xfrm>
            <a:off x="3226223" y="2723127"/>
            <a:ext cx="677522" cy="528524"/>
          </a:xfrm>
          <a:custGeom>
            <a:avLst/>
            <a:gdLst>
              <a:gd name="T0" fmla="*/ 6 w 404"/>
              <a:gd name="T1" fmla="*/ 18 h 308"/>
              <a:gd name="T2" fmla="*/ 16 w 404"/>
              <a:gd name="T3" fmla="*/ 36 h 308"/>
              <a:gd name="T4" fmla="*/ 26 w 404"/>
              <a:gd name="T5" fmla="*/ 46 h 308"/>
              <a:gd name="T6" fmla="*/ 38 w 404"/>
              <a:gd name="T7" fmla="*/ 68 h 308"/>
              <a:gd name="T8" fmla="*/ 34 w 404"/>
              <a:gd name="T9" fmla="*/ 92 h 308"/>
              <a:gd name="T10" fmla="*/ 48 w 404"/>
              <a:gd name="T11" fmla="*/ 102 h 308"/>
              <a:gd name="T12" fmla="*/ 64 w 404"/>
              <a:gd name="T13" fmla="*/ 126 h 308"/>
              <a:gd name="T14" fmla="*/ 78 w 404"/>
              <a:gd name="T15" fmla="*/ 148 h 308"/>
              <a:gd name="T16" fmla="*/ 94 w 404"/>
              <a:gd name="T17" fmla="*/ 168 h 308"/>
              <a:gd name="T18" fmla="*/ 90 w 404"/>
              <a:gd name="T19" fmla="*/ 152 h 308"/>
              <a:gd name="T20" fmla="*/ 82 w 404"/>
              <a:gd name="T21" fmla="*/ 142 h 308"/>
              <a:gd name="T22" fmla="*/ 74 w 404"/>
              <a:gd name="T23" fmla="*/ 118 h 308"/>
              <a:gd name="T24" fmla="*/ 60 w 404"/>
              <a:gd name="T25" fmla="*/ 90 h 308"/>
              <a:gd name="T26" fmla="*/ 52 w 404"/>
              <a:gd name="T27" fmla="*/ 70 h 308"/>
              <a:gd name="T28" fmla="*/ 46 w 404"/>
              <a:gd name="T29" fmla="*/ 64 h 308"/>
              <a:gd name="T30" fmla="*/ 38 w 404"/>
              <a:gd name="T31" fmla="*/ 48 h 308"/>
              <a:gd name="T32" fmla="*/ 26 w 404"/>
              <a:gd name="T33" fmla="*/ 26 h 308"/>
              <a:gd name="T34" fmla="*/ 32 w 404"/>
              <a:gd name="T35" fmla="*/ 14 h 308"/>
              <a:gd name="T36" fmla="*/ 48 w 404"/>
              <a:gd name="T37" fmla="*/ 16 h 308"/>
              <a:gd name="T38" fmla="*/ 60 w 404"/>
              <a:gd name="T39" fmla="*/ 52 h 308"/>
              <a:gd name="T40" fmla="*/ 72 w 404"/>
              <a:gd name="T41" fmla="*/ 70 h 308"/>
              <a:gd name="T42" fmla="*/ 90 w 404"/>
              <a:gd name="T43" fmla="*/ 86 h 308"/>
              <a:gd name="T44" fmla="*/ 100 w 404"/>
              <a:gd name="T45" fmla="*/ 102 h 308"/>
              <a:gd name="T46" fmla="*/ 102 w 404"/>
              <a:gd name="T47" fmla="*/ 112 h 308"/>
              <a:gd name="T48" fmla="*/ 114 w 404"/>
              <a:gd name="T49" fmla="*/ 128 h 308"/>
              <a:gd name="T50" fmla="*/ 132 w 404"/>
              <a:gd name="T51" fmla="*/ 150 h 308"/>
              <a:gd name="T52" fmla="*/ 142 w 404"/>
              <a:gd name="T53" fmla="*/ 164 h 308"/>
              <a:gd name="T54" fmla="*/ 156 w 404"/>
              <a:gd name="T55" fmla="*/ 196 h 308"/>
              <a:gd name="T56" fmla="*/ 156 w 404"/>
              <a:gd name="T57" fmla="*/ 214 h 308"/>
              <a:gd name="T58" fmla="*/ 158 w 404"/>
              <a:gd name="T59" fmla="*/ 232 h 308"/>
              <a:gd name="T60" fmla="*/ 180 w 404"/>
              <a:gd name="T61" fmla="*/ 248 h 308"/>
              <a:gd name="T62" fmla="*/ 202 w 404"/>
              <a:gd name="T63" fmla="*/ 262 h 308"/>
              <a:gd name="T64" fmla="*/ 222 w 404"/>
              <a:gd name="T65" fmla="*/ 278 h 308"/>
              <a:gd name="T66" fmla="*/ 246 w 404"/>
              <a:gd name="T67" fmla="*/ 284 h 308"/>
              <a:gd name="T68" fmla="*/ 260 w 404"/>
              <a:gd name="T69" fmla="*/ 290 h 308"/>
              <a:gd name="T70" fmla="*/ 274 w 404"/>
              <a:gd name="T71" fmla="*/ 296 h 308"/>
              <a:gd name="T72" fmla="*/ 298 w 404"/>
              <a:gd name="T73" fmla="*/ 288 h 308"/>
              <a:gd name="T74" fmla="*/ 322 w 404"/>
              <a:gd name="T75" fmla="*/ 296 h 308"/>
              <a:gd name="T76" fmla="*/ 330 w 404"/>
              <a:gd name="T77" fmla="*/ 300 h 308"/>
              <a:gd name="T78" fmla="*/ 350 w 404"/>
              <a:gd name="T79" fmla="*/ 278 h 308"/>
              <a:gd name="T80" fmla="*/ 380 w 404"/>
              <a:gd name="T81" fmla="*/ 254 h 308"/>
              <a:gd name="T82" fmla="*/ 394 w 404"/>
              <a:gd name="T83" fmla="*/ 256 h 308"/>
              <a:gd name="T84" fmla="*/ 398 w 404"/>
              <a:gd name="T85" fmla="*/ 218 h 308"/>
              <a:gd name="T86" fmla="*/ 388 w 404"/>
              <a:gd name="T87" fmla="*/ 194 h 308"/>
              <a:gd name="T88" fmla="*/ 364 w 404"/>
              <a:gd name="T89" fmla="*/ 206 h 308"/>
              <a:gd name="T90" fmla="*/ 354 w 404"/>
              <a:gd name="T91" fmla="*/ 236 h 308"/>
              <a:gd name="T92" fmla="*/ 338 w 404"/>
              <a:gd name="T93" fmla="*/ 250 h 308"/>
              <a:gd name="T94" fmla="*/ 314 w 404"/>
              <a:gd name="T95" fmla="*/ 254 h 308"/>
              <a:gd name="T96" fmla="*/ 284 w 404"/>
              <a:gd name="T97" fmla="*/ 248 h 308"/>
              <a:gd name="T98" fmla="*/ 274 w 404"/>
              <a:gd name="T99" fmla="*/ 228 h 308"/>
              <a:gd name="T100" fmla="*/ 260 w 404"/>
              <a:gd name="T101" fmla="*/ 206 h 308"/>
              <a:gd name="T102" fmla="*/ 260 w 404"/>
              <a:gd name="T103" fmla="*/ 182 h 308"/>
              <a:gd name="T104" fmla="*/ 258 w 404"/>
              <a:gd name="T105" fmla="*/ 152 h 308"/>
              <a:gd name="T106" fmla="*/ 260 w 404"/>
              <a:gd name="T107" fmla="*/ 136 h 308"/>
              <a:gd name="T108" fmla="*/ 266 w 404"/>
              <a:gd name="T109" fmla="*/ 122 h 308"/>
              <a:gd name="T110" fmla="*/ 230 w 404"/>
              <a:gd name="T111" fmla="*/ 90 h 308"/>
              <a:gd name="T112" fmla="*/ 202 w 404"/>
              <a:gd name="T113" fmla="*/ 54 h 308"/>
              <a:gd name="T114" fmla="*/ 168 w 404"/>
              <a:gd name="T115" fmla="*/ 48 h 308"/>
              <a:gd name="T116" fmla="*/ 72 w 404"/>
              <a:gd name="T117" fmla="*/ 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 h="308">
                <a:moveTo>
                  <a:pt x="0" y="4"/>
                </a:moveTo>
                <a:lnTo>
                  <a:pt x="0" y="4"/>
                </a:lnTo>
                <a:lnTo>
                  <a:pt x="0" y="6"/>
                </a:lnTo>
                <a:lnTo>
                  <a:pt x="2" y="10"/>
                </a:lnTo>
                <a:lnTo>
                  <a:pt x="2" y="10"/>
                </a:lnTo>
                <a:lnTo>
                  <a:pt x="6" y="14"/>
                </a:lnTo>
                <a:lnTo>
                  <a:pt x="6" y="14"/>
                </a:lnTo>
                <a:lnTo>
                  <a:pt x="6" y="18"/>
                </a:lnTo>
                <a:lnTo>
                  <a:pt x="6" y="18"/>
                </a:lnTo>
                <a:lnTo>
                  <a:pt x="8" y="20"/>
                </a:lnTo>
                <a:lnTo>
                  <a:pt x="10" y="24"/>
                </a:lnTo>
                <a:lnTo>
                  <a:pt x="10" y="24"/>
                </a:lnTo>
                <a:lnTo>
                  <a:pt x="10" y="28"/>
                </a:lnTo>
                <a:lnTo>
                  <a:pt x="10" y="32"/>
                </a:lnTo>
                <a:lnTo>
                  <a:pt x="12" y="36"/>
                </a:lnTo>
                <a:lnTo>
                  <a:pt x="12" y="36"/>
                </a:lnTo>
                <a:lnTo>
                  <a:pt x="16" y="36"/>
                </a:lnTo>
                <a:lnTo>
                  <a:pt x="16" y="36"/>
                </a:lnTo>
                <a:lnTo>
                  <a:pt x="16" y="40"/>
                </a:lnTo>
                <a:lnTo>
                  <a:pt x="16" y="40"/>
                </a:lnTo>
                <a:lnTo>
                  <a:pt x="20" y="42"/>
                </a:lnTo>
                <a:lnTo>
                  <a:pt x="20" y="42"/>
                </a:lnTo>
                <a:lnTo>
                  <a:pt x="22" y="46"/>
                </a:lnTo>
                <a:lnTo>
                  <a:pt x="22" y="46"/>
                </a:lnTo>
                <a:lnTo>
                  <a:pt x="24" y="46"/>
                </a:lnTo>
                <a:lnTo>
                  <a:pt x="26" y="46"/>
                </a:lnTo>
                <a:lnTo>
                  <a:pt x="26" y="46"/>
                </a:lnTo>
                <a:lnTo>
                  <a:pt x="28" y="50"/>
                </a:lnTo>
                <a:lnTo>
                  <a:pt x="28" y="50"/>
                </a:lnTo>
                <a:lnTo>
                  <a:pt x="32" y="52"/>
                </a:lnTo>
                <a:lnTo>
                  <a:pt x="32" y="52"/>
                </a:lnTo>
                <a:lnTo>
                  <a:pt x="34" y="56"/>
                </a:lnTo>
                <a:lnTo>
                  <a:pt x="34" y="58"/>
                </a:lnTo>
                <a:lnTo>
                  <a:pt x="36" y="64"/>
                </a:lnTo>
                <a:lnTo>
                  <a:pt x="36" y="64"/>
                </a:lnTo>
                <a:lnTo>
                  <a:pt x="38" y="68"/>
                </a:lnTo>
                <a:lnTo>
                  <a:pt x="38" y="68"/>
                </a:lnTo>
                <a:lnTo>
                  <a:pt x="38" y="76"/>
                </a:lnTo>
                <a:lnTo>
                  <a:pt x="36" y="84"/>
                </a:lnTo>
                <a:lnTo>
                  <a:pt x="36" y="84"/>
                </a:lnTo>
                <a:lnTo>
                  <a:pt x="26" y="84"/>
                </a:lnTo>
                <a:lnTo>
                  <a:pt x="26" y="86"/>
                </a:lnTo>
                <a:lnTo>
                  <a:pt x="26" y="86"/>
                </a:lnTo>
                <a:lnTo>
                  <a:pt x="34" y="92"/>
                </a:lnTo>
                <a:lnTo>
                  <a:pt x="34" y="92"/>
                </a:lnTo>
                <a:lnTo>
                  <a:pt x="36" y="94"/>
                </a:lnTo>
                <a:lnTo>
                  <a:pt x="38" y="98"/>
                </a:lnTo>
                <a:lnTo>
                  <a:pt x="38" y="98"/>
                </a:lnTo>
                <a:lnTo>
                  <a:pt x="42" y="98"/>
                </a:lnTo>
                <a:lnTo>
                  <a:pt x="42" y="98"/>
                </a:lnTo>
                <a:lnTo>
                  <a:pt x="42" y="100"/>
                </a:lnTo>
                <a:lnTo>
                  <a:pt x="42" y="102"/>
                </a:lnTo>
                <a:lnTo>
                  <a:pt x="42" y="102"/>
                </a:lnTo>
                <a:lnTo>
                  <a:pt x="48" y="102"/>
                </a:lnTo>
                <a:lnTo>
                  <a:pt x="48" y="102"/>
                </a:lnTo>
                <a:lnTo>
                  <a:pt x="56" y="108"/>
                </a:lnTo>
                <a:lnTo>
                  <a:pt x="62" y="114"/>
                </a:lnTo>
                <a:lnTo>
                  <a:pt x="62" y="114"/>
                </a:lnTo>
                <a:lnTo>
                  <a:pt x="62" y="116"/>
                </a:lnTo>
                <a:lnTo>
                  <a:pt x="62" y="118"/>
                </a:lnTo>
                <a:lnTo>
                  <a:pt x="62" y="118"/>
                </a:lnTo>
                <a:lnTo>
                  <a:pt x="64" y="126"/>
                </a:lnTo>
                <a:lnTo>
                  <a:pt x="64" y="126"/>
                </a:lnTo>
                <a:lnTo>
                  <a:pt x="64" y="132"/>
                </a:lnTo>
                <a:lnTo>
                  <a:pt x="64" y="138"/>
                </a:lnTo>
                <a:lnTo>
                  <a:pt x="64" y="138"/>
                </a:lnTo>
                <a:lnTo>
                  <a:pt x="68" y="140"/>
                </a:lnTo>
                <a:lnTo>
                  <a:pt x="72" y="140"/>
                </a:lnTo>
                <a:lnTo>
                  <a:pt x="72" y="140"/>
                </a:lnTo>
                <a:lnTo>
                  <a:pt x="72" y="144"/>
                </a:lnTo>
                <a:lnTo>
                  <a:pt x="72" y="144"/>
                </a:lnTo>
                <a:lnTo>
                  <a:pt x="78" y="148"/>
                </a:lnTo>
                <a:lnTo>
                  <a:pt x="78" y="148"/>
                </a:lnTo>
                <a:lnTo>
                  <a:pt x="90" y="164"/>
                </a:lnTo>
                <a:lnTo>
                  <a:pt x="90" y="164"/>
                </a:lnTo>
                <a:lnTo>
                  <a:pt x="90" y="170"/>
                </a:lnTo>
                <a:lnTo>
                  <a:pt x="94" y="170"/>
                </a:lnTo>
                <a:lnTo>
                  <a:pt x="94" y="170"/>
                </a:lnTo>
                <a:lnTo>
                  <a:pt x="94" y="168"/>
                </a:lnTo>
                <a:lnTo>
                  <a:pt x="94" y="168"/>
                </a:lnTo>
                <a:lnTo>
                  <a:pt x="94" y="168"/>
                </a:lnTo>
                <a:lnTo>
                  <a:pt x="94" y="168"/>
                </a:lnTo>
                <a:lnTo>
                  <a:pt x="96" y="166"/>
                </a:lnTo>
                <a:lnTo>
                  <a:pt x="98" y="164"/>
                </a:lnTo>
                <a:lnTo>
                  <a:pt x="98" y="164"/>
                </a:lnTo>
                <a:lnTo>
                  <a:pt x="98" y="162"/>
                </a:lnTo>
                <a:lnTo>
                  <a:pt x="96" y="158"/>
                </a:lnTo>
                <a:lnTo>
                  <a:pt x="96" y="158"/>
                </a:lnTo>
                <a:lnTo>
                  <a:pt x="90" y="152"/>
                </a:lnTo>
                <a:lnTo>
                  <a:pt x="90" y="152"/>
                </a:lnTo>
                <a:lnTo>
                  <a:pt x="90" y="148"/>
                </a:lnTo>
                <a:lnTo>
                  <a:pt x="90" y="148"/>
                </a:lnTo>
                <a:lnTo>
                  <a:pt x="88" y="146"/>
                </a:lnTo>
                <a:lnTo>
                  <a:pt x="88" y="146"/>
                </a:lnTo>
                <a:lnTo>
                  <a:pt x="84" y="146"/>
                </a:lnTo>
                <a:lnTo>
                  <a:pt x="84" y="146"/>
                </a:lnTo>
                <a:lnTo>
                  <a:pt x="82" y="144"/>
                </a:lnTo>
                <a:lnTo>
                  <a:pt x="82" y="144"/>
                </a:lnTo>
                <a:lnTo>
                  <a:pt x="82" y="142"/>
                </a:lnTo>
                <a:lnTo>
                  <a:pt x="84" y="138"/>
                </a:lnTo>
                <a:lnTo>
                  <a:pt x="84" y="138"/>
                </a:lnTo>
                <a:lnTo>
                  <a:pt x="80" y="134"/>
                </a:lnTo>
                <a:lnTo>
                  <a:pt x="80" y="134"/>
                </a:lnTo>
                <a:lnTo>
                  <a:pt x="80" y="130"/>
                </a:lnTo>
                <a:lnTo>
                  <a:pt x="80" y="128"/>
                </a:lnTo>
                <a:lnTo>
                  <a:pt x="80" y="128"/>
                </a:lnTo>
                <a:lnTo>
                  <a:pt x="74" y="118"/>
                </a:lnTo>
                <a:lnTo>
                  <a:pt x="74" y="118"/>
                </a:lnTo>
                <a:lnTo>
                  <a:pt x="74" y="114"/>
                </a:lnTo>
                <a:lnTo>
                  <a:pt x="74" y="114"/>
                </a:lnTo>
                <a:lnTo>
                  <a:pt x="70" y="106"/>
                </a:lnTo>
                <a:lnTo>
                  <a:pt x="64" y="100"/>
                </a:lnTo>
                <a:lnTo>
                  <a:pt x="64" y="100"/>
                </a:lnTo>
                <a:lnTo>
                  <a:pt x="64" y="96"/>
                </a:lnTo>
                <a:lnTo>
                  <a:pt x="64" y="92"/>
                </a:lnTo>
                <a:lnTo>
                  <a:pt x="64" y="92"/>
                </a:lnTo>
                <a:lnTo>
                  <a:pt x="60" y="90"/>
                </a:lnTo>
                <a:lnTo>
                  <a:pt x="60" y="90"/>
                </a:lnTo>
                <a:lnTo>
                  <a:pt x="60" y="86"/>
                </a:lnTo>
                <a:lnTo>
                  <a:pt x="60" y="86"/>
                </a:lnTo>
                <a:lnTo>
                  <a:pt x="58" y="84"/>
                </a:lnTo>
                <a:lnTo>
                  <a:pt x="56" y="82"/>
                </a:lnTo>
                <a:lnTo>
                  <a:pt x="56" y="82"/>
                </a:lnTo>
                <a:lnTo>
                  <a:pt x="56" y="76"/>
                </a:lnTo>
                <a:lnTo>
                  <a:pt x="54" y="70"/>
                </a:lnTo>
                <a:lnTo>
                  <a:pt x="52" y="70"/>
                </a:lnTo>
                <a:lnTo>
                  <a:pt x="52" y="70"/>
                </a:lnTo>
                <a:lnTo>
                  <a:pt x="52" y="66"/>
                </a:lnTo>
                <a:lnTo>
                  <a:pt x="52" y="66"/>
                </a:lnTo>
                <a:lnTo>
                  <a:pt x="50" y="66"/>
                </a:lnTo>
                <a:lnTo>
                  <a:pt x="50" y="66"/>
                </a:lnTo>
                <a:lnTo>
                  <a:pt x="50" y="66"/>
                </a:lnTo>
                <a:lnTo>
                  <a:pt x="50" y="66"/>
                </a:lnTo>
                <a:lnTo>
                  <a:pt x="48" y="66"/>
                </a:lnTo>
                <a:lnTo>
                  <a:pt x="46" y="64"/>
                </a:lnTo>
                <a:lnTo>
                  <a:pt x="46" y="64"/>
                </a:lnTo>
                <a:lnTo>
                  <a:pt x="46" y="62"/>
                </a:lnTo>
                <a:lnTo>
                  <a:pt x="46" y="60"/>
                </a:lnTo>
                <a:lnTo>
                  <a:pt x="48" y="60"/>
                </a:lnTo>
                <a:lnTo>
                  <a:pt x="48" y="58"/>
                </a:lnTo>
                <a:lnTo>
                  <a:pt x="44" y="50"/>
                </a:lnTo>
                <a:lnTo>
                  <a:pt x="44" y="50"/>
                </a:lnTo>
                <a:lnTo>
                  <a:pt x="40" y="50"/>
                </a:lnTo>
                <a:lnTo>
                  <a:pt x="38" y="48"/>
                </a:lnTo>
                <a:lnTo>
                  <a:pt x="38" y="48"/>
                </a:lnTo>
                <a:lnTo>
                  <a:pt x="38" y="46"/>
                </a:lnTo>
                <a:lnTo>
                  <a:pt x="38" y="46"/>
                </a:lnTo>
                <a:lnTo>
                  <a:pt x="34" y="40"/>
                </a:lnTo>
                <a:lnTo>
                  <a:pt x="34" y="40"/>
                </a:lnTo>
                <a:lnTo>
                  <a:pt x="32" y="36"/>
                </a:lnTo>
                <a:lnTo>
                  <a:pt x="30" y="30"/>
                </a:lnTo>
                <a:lnTo>
                  <a:pt x="30" y="30"/>
                </a:lnTo>
                <a:lnTo>
                  <a:pt x="26" y="26"/>
                </a:lnTo>
                <a:lnTo>
                  <a:pt x="26" y="26"/>
                </a:lnTo>
                <a:lnTo>
                  <a:pt x="26" y="20"/>
                </a:lnTo>
                <a:lnTo>
                  <a:pt x="28" y="16"/>
                </a:lnTo>
                <a:lnTo>
                  <a:pt x="28" y="16"/>
                </a:lnTo>
                <a:lnTo>
                  <a:pt x="26" y="16"/>
                </a:lnTo>
                <a:lnTo>
                  <a:pt x="26" y="14"/>
                </a:lnTo>
                <a:lnTo>
                  <a:pt x="26" y="14"/>
                </a:lnTo>
                <a:lnTo>
                  <a:pt x="32" y="14"/>
                </a:lnTo>
                <a:lnTo>
                  <a:pt x="32" y="14"/>
                </a:lnTo>
                <a:lnTo>
                  <a:pt x="36" y="18"/>
                </a:lnTo>
                <a:lnTo>
                  <a:pt x="36" y="18"/>
                </a:lnTo>
                <a:lnTo>
                  <a:pt x="40" y="20"/>
                </a:lnTo>
                <a:lnTo>
                  <a:pt x="40" y="20"/>
                </a:lnTo>
                <a:lnTo>
                  <a:pt x="42" y="18"/>
                </a:lnTo>
                <a:lnTo>
                  <a:pt x="42" y="18"/>
                </a:lnTo>
                <a:lnTo>
                  <a:pt x="44" y="16"/>
                </a:lnTo>
                <a:lnTo>
                  <a:pt x="48" y="16"/>
                </a:lnTo>
                <a:lnTo>
                  <a:pt x="48" y="16"/>
                </a:lnTo>
                <a:lnTo>
                  <a:pt x="48" y="20"/>
                </a:lnTo>
                <a:lnTo>
                  <a:pt x="52" y="24"/>
                </a:lnTo>
                <a:lnTo>
                  <a:pt x="52" y="24"/>
                </a:lnTo>
                <a:lnTo>
                  <a:pt x="52" y="34"/>
                </a:lnTo>
                <a:lnTo>
                  <a:pt x="56" y="40"/>
                </a:lnTo>
                <a:lnTo>
                  <a:pt x="58" y="40"/>
                </a:lnTo>
                <a:lnTo>
                  <a:pt x="58" y="40"/>
                </a:lnTo>
                <a:lnTo>
                  <a:pt x="60" y="46"/>
                </a:lnTo>
                <a:lnTo>
                  <a:pt x="60" y="52"/>
                </a:lnTo>
                <a:lnTo>
                  <a:pt x="60" y="52"/>
                </a:lnTo>
                <a:lnTo>
                  <a:pt x="68" y="62"/>
                </a:lnTo>
                <a:lnTo>
                  <a:pt x="68" y="62"/>
                </a:lnTo>
                <a:lnTo>
                  <a:pt x="72" y="62"/>
                </a:lnTo>
                <a:lnTo>
                  <a:pt x="72" y="62"/>
                </a:lnTo>
                <a:lnTo>
                  <a:pt x="72" y="66"/>
                </a:lnTo>
                <a:lnTo>
                  <a:pt x="72" y="68"/>
                </a:lnTo>
                <a:lnTo>
                  <a:pt x="72" y="70"/>
                </a:lnTo>
                <a:lnTo>
                  <a:pt x="72" y="70"/>
                </a:lnTo>
                <a:lnTo>
                  <a:pt x="78" y="72"/>
                </a:lnTo>
                <a:lnTo>
                  <a:pt x="78" y="72"/>
                </a:lnTo>
                <a:lnTo>
                  <a:pt x="80" y="78"/>
                </a:lnTo>
                <a:lnTo>
                  <a:pt x="82" y="82"/>
                </a:lnTo>
                <a:lnTo>
                  <a:pt x="84" y="84"/>
                </a:lnTo>
                <a:lnTo>
                  <a:pt x="84" y="84"/>
                </a:lnTo>
                <a:lnTo>
                  <a:pt x="88" y="84"/>
                </a:lnTo>
                <a:lnTo>
                  <a:pt x="88" y="84"/>
                </a:lnTo>
                <a:lnTo>
                  <a:pt x="90" y="86"/>
                </a:lnTo>
                <a:lnTo>
                  <a:pt x="90" y="88"/>
                </a:lnTo>
                <a:lnTo>
                  <a:pt x="88" y="92"/>
                </a:lnTo>
                <a:lnTo>
                  <a:pt x="88" y="92"/>
                </a:lnTo>
                <a:lnTo>
                  <a:pt x="92" y="94"/>
                </a:lnTo>
                <a:lnTo>
                  <a:pt x="96" y="96"/>
                </a:lnTo>
                <a:lnTo>
                  <a:pt x="96" y="96"/>
                </a:lnTo>
                <a:lnTo>
                  <a:pt x="96" y="102"/>
                </a:lnTo>
                <a:lnTo>
                  <a:pt x="96" y="102"/>
                </a:lnTo>
                <a:lnTo>
                  <a:pt x="100" y="102"/>
                </a:lnTo>
                <a:lnTo>
                  <a:pt x="102" y="102"/>
                </a:lnTo>
                <a:lnTo>
                  <a:pt x="102" y="102"/>
                </a:lnTo>
                <a:lnTo>
                  <a:pt x="104" y="104"/>
                </a:lnTo>
                <a:lnTo>
                  <a:pt x="106" y="106"/>
                </a:lnTo>
                <a:lnTo>
                  <a:pt x="108" y="106"/>
                </a:lnTo>
                <a:lnTo>
                  <a:pt x="108" y="106"/>
                </a:lnTo>
                <a:lnTo>
                  <a:pt x="106" y="110"/>
                </a:lnTo>
                <a:lnTo>
                  <a:pt x="106" y="110"/>
                </a:lnTo>
                <a:lnTo>
                  <a:pt x="102" y="112"/>
                </a:lnTo>
                <a:lnTo>
                  <a:pt x="102" y="112"/>
                </a:lnTo>
                <a:lnTo>
                  <a:pt x="102" y="118"/>
                </a:lnTo>
                <a:lnTo>
                  <a:pt x="102" y="118"/>
                </a:lnTo>
                <a:lnTo>
                  <a:pt x="108" y="120"/>
                </a:lnTo>
                <a:lnTo>
                  <a:pt x="108" y="120"/>
                </a:lnTo>
                <a:lnTo>
                  <a:pt x="108" y="124"/>
                </a:lnTo>
                <a:lnTo>
                  <a:pt x="108" y="124"/>
                </a:lnTo>
                <a:lnTo>
                  <a:pt x="112" y="126"/>
                </a:lnTo>
                <a:lnTo>
                  <a:pt x="114" y="128"/>
                </a:lnTo>
                <a:lnTo>
                  <a:pt x="114" y="128"/>
                </a:lnTo>
                <a:lnTo>
                  <a:pt x="122" y="138"/>
                </a:lnTo>
                <a:lnTo>
                  <a:pt x="122" y="138"/>
                </a:lnTo>
                <a:lnTo>
                  <a:pt x="124" y="142"/>
                </a:lnTo>
                <a:lnTo>
                  <a:pt x="124" y="142"/>
                </a:lnTo>
                <a:lnTo>
                  <a:pt x="126" y="144"/>
                </a:lnTo>
                <a:lnTo>
                  <a:pt x="128" y="146"/>
                </a:lnTo>
                <a:lnTo>
                  <a:pt x="128" y="146"/>
                </a:lnTo>
                <a:lnTo>
                  <a:pt x="132" y="150"/>
                </a:lnTo>
                <a:lnTo>
                  <a:pt x="132" y="150"/>
                </a:lnTo>
                <a:lnTo>
                  <a:pt x="132" y="154"/>
                </a:lnTo>
                <a:lnTo>
                  <a:pt x="132" y="154"/>
                </a:lnTo>
                <a:lnTo>
                  <a:pt x="140" y="160"/>
                </a:lnTo>
                <a:lnTo>
                  <a:pt x="140" y="160"/>
                </a:lnTo>
                <a:lnTo>
                  <a:pt x="140" y="162"/>
                </a:lnTo>
                <a:lnTo>
                  <a:pt x="140" y="162"/>
                </a:lnTo>
                <a:lnTo>
                  <a:pt x="142" y="164"/>
                </a:lnTo>
                <a:lnTo>
                  <a:pt x="142" y="164"/>
                </a:lnTo>
                <a:lnTo>
                  <a:pt x="144" y="172"/>
                </a:lnTo>
                <a:lnTo>
                  <a:pt x="144" y="172"/>
                </a:lnTo>
                <a:lnTo>
                  <a:pt x="148" y="178"/>
                </a:lnTo>
                <a:lnTo>
                  <a:pt x="152" y="184"/>
                </a:lnTo>
                <a:lnTo>
                  <a:pt x="154" y="186"/>
                </a:lnTo>
                <a:lnTo>
                  <a:pt x="154" y="186"/>
                </a:lnTo>
                <a:lnTo>
                  <a:pt x="154" y="194"/>
                </a:lnTo>
                <a:lnTo>
                  <a:pt x="154" y="194"/>
                </a:lnTo>
                <a:lnTo>
                  <a:pt x="156" y="196"/>
                </a:lnTo>
                <a:lnTo>
                  <a:pt x="158" y="200"/>
                </a:lnTo>
                <a:lnTo>
                  <a:pt x="158" y="204"/>
                </a:lnTo>
                <a:lnTo>
                  <a:pt x="158" y="204"/>
                </a:lnTo>
                <a:lnTo>
                  <a:pt x="154" y="210"/>
                </a:lnTo>
                <a:lnTo>
                  <a:pt x="154" y="210"/>
                </a:lnTo>
                <a:lnTo>
                  <a:pt x="152" y="212"/>
                </a:lnTo>
                <a:lnTo>
                  <a:pt x="154" y="212"/>
                </a:lnTo>
                <a:lnTo>
                  <a:pt x="156" y="214"/>
                </a:lnTo>
                <a:lnTo>
                  <a:pt x="156" y="214"/>
                </a:lnTo>
                <a:lnTo>
                  <a:pt x="154" y="216"/>
                </a:lnTo>
                <a:lnTo>
                  <a:pt x="152" y="218"/>
                </a:lnTo>
                <a:lnTo>
                  <a:pt x="152" y="220"/>
                </a:lnTo>
                <a:lnTo>
                  <a:pt x="152" y="220"/>
                </a:lnTo>
                <a:lnTo>
                  <a:pt x="156" y="228"/>
                </a:lnTo>
                <a:lnTo>
                  <a:pt x="158" y="228"/>
                </a:lnTo>
                <a:lnTo>
                  <a:pt x="158" y="228"/>
                </a:lnTo>
                <a:lnTo>
                  <a:pt x="158" y="232"/>
                </a:lnTo>
                <a:lnTo>
                  <a:pt x="158" y="232"/>
                </a:lnTo>
                <a:lnTo>
                  <a:pt x="166" y="240"/>
                </a:lnTo>
                <a:lnTo>
                  <a:pt x="166" y="240"/>
                </a:lnTo>
                <a:lnTo>
                  <a:pt x="172" y="240"/>
                </a:lnTo>
                <a:lnTo>
                  <a:pt x="172" y="240"/>
                </a:lnTo>
                <a:lnTo>
                  <a:pt x="172" y="242"/>
                </a:lnTo>
                <a:lnTo>
                  <a:pt x="174" y="244"/>
                </a:lnTo>
                <a:lnTo>
                  <a:pt x="174" y="244"/>
                </a:lnTo>
                <a:lnTo>
                  <a:pt x="176" y="246"/>
                </a:lnTo>
                <a:lnTo>
                  <a:pt x="180" y="248"/>
                </a:lnTo>
                <a:lnTo>
                  <a:pt x="180" y="248"/>
                </a:lnTo>
                <a:lnTo>
                  <a:pt x="184" y="254"/>
                </a:lnTo>
                <a:lnTo>
                  <a:pt x="184" y="254"/>
                </a:lnTo>
                <a:lnTo>
                  <a:pt x="188" y="260"/>
                </a:lnTo>
                <a:lnTo>
                  <a:pt x="188" y="260"/>
                </a:lnTo>
                <a:lnTo>
                  <a:pt x="192" y="262"/>
                </a:lnTo>
                <a:lnTo>
                  <a:pt x="194" y="262"/>
                </a:lnTo>
                <a:lnTo>
                  <a:pt x="198" y="262"/>
                </a:lnTo>
                <a:lnTo>
                  <a:pt x="202" y="262"/>
                </a:lnTo>
                <a:lnTo>
                  <a:pt x="202" y="262"/>
                </a:lnTo>
                <a:lnTo>
                  <a:pt x="204" y="266"/>
                </a:lnTo>
                <a:lnTo>
                  <a:pt x="208" y="268"/>
                </a:lnTo>
                <a:lnTo>
                  <a:pt x="208" y="268"/>
                </a:lnTo>
                <a:lnTo>
                  <a:pt x="214" y="272"/>
                </a:lnTo>
                <a:lnTo>
                  <a:pt x="220" y="274"/>
                </a:lnTo>
                <a:lnTo>
                  <a:pt x="220" y="274"/>
                </a:lnTo>
                <a:lnTo>
                  <a:pt x="222" y="278"/>
                </a:lnTo>
                <a:lnTo>
                  <a:pt x="222" y="278"/>
                </a:lnTo>
                <a:lnTo>
                  <a:pt x="230" y="280"/>
                </a:lnTo>
                <a:lnTo>
                  <a:pt x="236" y="280"/>
                </a:lnTo>
                <a:lnTo>
                  <a:pt x="238" y="282"/>
                </a:lnTo>
                <a:lnTo>
                  <a:pt x="238" y="282"/>
                </a:lnTo>
                <a:lnTo>
                  <a:pt x="242" y="282"/>
                </a:lnTo>
                <a:lnTo>
                  <a:pt x="244" y="282"/>
                </a:lnTo>
                <a:lnTo>
                  <a:pt x="244" y="282"/>
                </a:lnTo>
                <a:lnTo>
                  <a:pt x="246" y="284"/>
                </a:lnTo>
                <a:lnTo>
                  <a:pt x="246" y="284"/>
                </a:lnTo>
                <a:lnTo>
                  <a:pt x="250" y="284"/>
                </a:lnTo>
                <a:lnTo>
                  <a:pt x="250" y="284"/>
                </a:lnTo>
                <a:lnTo>
                  <a:pt x="254" y="288"/>
                </a:lnTo>
                <a:lnTo>
                  <a:pt x="254" y="292"/>
                </a:lnTo>
                <a:lnTo>
                  <a:pt x="254" y="292"/>
                </a:lnTo>
                <a:lnTo>
                  <a:pt x="256" y="290"/>
                </a:lnTo>
                <a:lnTo>
                  <a:pt x="258" y="290"/>
                </a:lnTo>
                <a:lnTo>
                  <a:pt x="258" y="290"/>
                </a:lnTo>
                <a:lnTo>
                  <a:pt x="260" y="290"/>
                </a:lnTo>
                <a:lnTo>
                  <a:pt x="262" y="292"/>
                </a:lnTo>
                <a:lnTo>
                  <a:pt x="262" y="292"/>
                </a:lnTo>
                <a:lnTo>
                  <a:pt x="266" y="292"/>
                </a:lnTo>
                <a:lnTo>
                  <a:pt x="270" y="292"/>
                </a:lnTo>
                <a:lnTo>
                  <a:pt x="270" y="292"/>
                </a:lnTo>
                <a:lnTo>
                  <a:pt x="270" y="294"/>
                </a:lnTo>
                <a:lnTo>
                  <a:pt x="270" y="294"/>
                </a:lnTo>
                <a:lnTo>
                  <a:pt x="274" y="296"/>
                </a:lnTo>
                <a:lnTo>
                  <a:pt x="274" y="296"/>
                </a:lnTo>
                <a:lnTo>
                  <a:pt x="278" y="296"/>
                </a:lnTo>
                <a:lnTo>
                  <a:pt x="280" y="294"/>
                </a:lnTo>
                <a:lnTo>
                  <a:pt x="284" y="292"/>
                </a:lnTo>
                <a:lnTo>
                  <a:pt x="284" y="292"/>
                </a:lnTo>
                <a:lnTo>
                  <a:pt x="290" y="290"/>
                </a:lnTo>
                <a:lnTo>
                  <a:pt x="294" y="292"/>
                </a:lnTo>
                <a:lnTo>
                  <a:pt x="294" y="292"/>
                </a:lnTo>
                <a:lnTo>
                  <a:pt x="298" y="288"/>
                </a:lnTo>
                <a:lnTo>
                  <a:pt x="298" y="288"/>
                </a:lnTo>
                <a:lnTo>
                  <a:pt x="300" y="288"/>
                </a:lnTo>
                <a:lnTo>
                  <a:pt x="302" y="290"/>
                </a:lnTo>
                <a:lnTo>
                  <a:pt x="302" y="290"/>
                </a:lnTo>
                <a:lnTo>
                  <a:pt x="308" y="290"/>
                </a:lnTo>
                <a:lnTo>
                  <a:pt x="314" y="292"/>
                </a:lnTo>
                <a:lnTo>
                  <a:pt x="314" y="292"/>
                </a:lnTo>
                <a:lnTo>
                  <a:pt x="318" y="296"/>
                </a:lnTo>
                <a:lnTo>
                  <a:pt x="318" y="296"/>
                </a:lnTo>
                <a:lnTo>
                  <a:pt x="322" y="296"/>
                </a:lnTo>
                <a:lnTo>
                  <a:pt x="322" y="296"/>
                </a:lnTo>
                <a:lnTo>
                  <a:pt x="326" y="300"/>
                </a:lnTo>
                <a:lnTo>
                  <a:pt x="328" y="306"/>
                </a:lnTo>
                <a:lnTo>
                  <a:pt x="328" y="308"/>
                </a:lnTo>
                <a:lnTo>
                  <a:pt x="328" y="308"/>
                </a:lnTo>
                <a:lnTo>
                  <a:pt x="330" y="304"/>
                </a:lnTo>
                <a:lnTo>
                  <a:pt x="330" y="302"/>
                </a:lnTo>
                <a:lnTo>
                  <a:pt x="330" y="300"/>
                </a:lnTo>
                <a:lnTo>
                  <a:pt x="330" y="300"/>
                </a:lnTo>
                <a:lnTo>
                  <a:pt x="330" y="296"/>
                </a:lnTo>
                <a:lnTo>
                  <a:pt x="332" y="292"/>
                </a:lnTo>
                <a:lnTo>
                  <a:pt x="338" y="286"/>
                </a:lnTo>
                <a:lnTo>
                  <a:pt x="354" y="288"/>
                </a:lnTo>
                <a:lnTo>
                  <a:pt x="354" y="288"/>
                </a:lnTo>
                <a:lnTo>
                  <a:pt x="354" y="284"/>
                </a:lnTo>
                <a:lnTo>
                  <a:pt x="352" y="282"/>
                </a:lnTo>
                <a:lnTo>
                  <a:pt x="350" y="278"/>
                </a:lnTo>
                <a:lnTo>
                  <a:pt x="350" y="278"/>
                </a:lnTo>
                <a:lnTo>
                  <a:pt x="346" y="274"/>
                </a:lnTo>
                <a:lnTo>
                  <a:pt x="344" y="270"/>
                </a:lnTo>
                <a:lnTo>
                  <a:pt x="344" y="266"/>
                </a:lnTo>
                <a:lnTo>
                  <a:pt x="348" y="266"/>
                </a:lnTo>
                <a:lnTo>
                  <a:pt x="350" y="258"/>
                </a:lnTo>
                <a:lnTo>
                  <a:pt x="372" y="258"/>
                </a:lnTo>
                <a:lnTo>
                  <a:pt x="378" y="256"/>
                </a:lnTo>
                <a:lnTo>
                  <a:pt x="378" y="256"/>
                </a:lnTo>
                <a:lnTo>
                  <a:pt x="380" y="254"/>
                </a:lnTo>
                <a:lnTo>
                  <a:pt x="382" y="252"/>
                </a:lnTo>
                <a:lnTo>
                  <a:pt x="384" y="254"/>
                </a:lnTo>
                <a:lnTo>
                  <a:pt x="384" y="254"/>
                </a:lnTo>
                <a:lnTo>
                  <a:pt x="388" y="246"/>
                </a:lnTo>
                <a:lnTo>
                  <a:pt x="388" y="246"/>
                </a:lnTo>
                <a:lnTo>
                  <a:pt x="388" y="250"/>
                </a:lnTo>
                <a:lnTo>
                  <a:pt x="388" y="252"/>
                </a:lnTo>
                <a:lnTo>
                  <a:pt x="388" y="252"/>
                </a:lnTo>
                <a:lnTo>
                  <a:pt x="394" y="256"/>
                </a:lnTo>
                <a:lnTo>
                  <a:pt x="394" y="256"/>
                </a:lnTo>
                <a:lnTo>
                  <a:pt x="394" y="244"/>
                </a:lnTo>
                <a:lnTo>
                  <a:pt x="396" y="230"/>
                </a:lnTo>
                <a:lnTo>
                  <a:pt x="398" y="230"/>
                </a:lnTo>
                <a:lnTo>
                  <a:pt x="398" y="230"/>
                </a:lnTo>
                <a:lnTo>
                  <a:pt x="398" y="228"/>
                </a:lnTo>
                <a:lnTo>
                  <a:pt x="396" y="224"/>
                </a:lnTo>
                <a:lnTo>
                  <a:pt x="396" y="224"/>
                </a:lnTo>
                <a:lnTo>
                  <a:pt x="398" y="218"/>
                </a:lnTo>
                <a:lnTo>
                  <a:pt x="402" y="210"/>
                </a:lnTo>
                <a:lnTo>
                  <a:pt x="404" y="202"/>
                </a:lnTo>
                <a:lnTo>
                  <a:pt x="402" y="198"/>
                </a:lnTo>
                <a:lnTo>
                  <a:pt x="400" y="196"/>
                </a:lnTo>
                <a:lnTo>
                  <a:pt x="400" y="196"/>
                </a:lnTo>
                <a:lnTo>
                  <a:pt x="398" y="196"/>
                </a:lnTo>
                <a:lnTo>
                  <a:pt x="396" y="194"/>
                </a:lnTo>
                <a:lnTo>
                  <a:pt x="396" y="194"/>
                </a:lnTo>
                <a:lnTo>
                  <a:pt x="388" y="194"/>
                </a:lnTo>
                <a:lnTo>
                  <a:pt x="384" y="196"/>
                </a:lnTo>
                <a:lnTo>
                  <a:pt x="384" y="196"/>
                </a:lnTo>
                <a:lnTo>
                  <a:pt x="380" y="200"/>
                </a:lnTo>
                <a:lnTo>
                  <a:pt x="380" y="200"/>
                </a:lnTo>
                <a:lnTo>
                  <a:pt x="374" y="202"/>
                </a:lnTo>
                <a:lnTo>
                  <a:pt x="374" y="202"/>
                </a:lnTo>
                <a:lnTo>
                  <a:pt x="370" y="204"/>
                </a:lnTo>
                <a:lnTo>
                  <a:pt x="370" y="204"/>
                </a:lnTo>
                <a:lnTo>
                  <a:pt x="364" y="206"/>
                </a:lnTo>
                <a:lnTo>
                  <a:pt x="364" y="206"/>
                </a:lnTo>
                <a:lnTo>
                  <a:pt x="362" y="208"/>
                </a:lnTo>
                <a:lnTo>
                  <a:pt x="362" y="208"/>
                </a:lnTo>
                <a:lnTo>
                  <a:pt x="360" y="218"/>
                </a:lnTo>
                <a:lnTo>
                  <a:pt x="358" y="228"/>
                </a:lnTo>
                <a:lnTo>
                  <a:pt x="358" y="228"/>
                </a:lnTo>
                <a:lnTo>
                  <a:pt x="354" y="232"/>
                </a:lnTo>
                <a:lnTo>
                  <a:pt x="354" y="232"/>
                </a:lnTo>
                <a:lnTo>
                  <a:pt x="354" y="236"/>
                </a:lnTo>
                <a:lnTo>
                  <a:pt x="354" y="240"/>
                </a:lnTo>
                <a:lnTo>
                  <a:pt x="354" y="240"/>
                </a:lnTo>
                <a:lnTo>
                  <a:pt x="352" y="240"/>
                </a:lnTo>
                <a:lnTo>
                  <a:pt x="352" y="240"/>
                </a:lnTo>
                <a:lnTo>
                  <a:pt x="348" y="244"/>
                </a:lnTo>
                <a:lnTo>
                  <a:pt x="344" y="250"/>
                </a:lnTo>
                <a:lnTo>
                  <a:pt x="344" y="250"/>
                </a:lnTo>
                <a:lnTo>
                  <a:pt x="340" y="250"/>
                </a:lnTo>
                <a:lnTo>
                  <a:pt x="338" y="250"/>
                </a:lnTo>
                <a:lnTo>
                  <a:pt x="338" y="250"/>
                </a:lnTo>
                <a:lnTo>
                  <a:pt x="336" y="246"/>
                </a:lnTo>
                <a:lnTo>
                  <a:pt x="336" y="246"/>
                </a:lnTo>
                <a:lnTo>
                  <a:pt x="330" y="248"/>
                </a:lnTo>
                <a:lnTo>
                  <a:pt x="324" y="252"/>
                </a:lnTo>
                <a:lnTo>
                  <a:pt x="324" y="252"/>
                </a:lnTo>
                <a:lnTo>
                  <a:pt x="322" y="254"/>
                </a:lnTo>
                <a:lnTo>
                  <a:pt x="322" y="254"/>
                </a:lnTo>
                <a:lnTo>
                  <a:pt x="314" y="254"/>
                </a:lnTo>
                <a:lnTo>
                  <a:pt x="314" y="258"/>
                </a:lnTo>
                <a:lnTo>
                  <a:pt x="314" y="258"/>
                </a:lnTo>
                <a:lnTo>
                  <a:pt x="302" y="258"/>
                </a:lnTo>
                <a:lnTo>
                  <a:pt x="302" y="258"/>
                </a:lnTo>
                <a:lnTo>
                  <a:pt x="298" y="252"/>
                </a:lnTo>
                <a:lnTo>
                  <a:pt x="296" y="248"/>
                </a:lnTo>
                <a:lnTo>
                  <a:pt x="292" y="248"/>
                </a:lnTo>
                <a:lnTo>
                  <a:pt x="284" y="248"/>
                </a:lnTo>
                <a:lnTo>
                  <a:pt x="284" y="248"/>
                </a:lnTo>
                <a:lnTo>
                  <a:pt x="284" y="244"/>
                </a:lnTo>
                <a:lnTo>
                  <a:pt x="284" y="244"/>
                </a:lnTo>
                <a:lnTo>
                  <a:pt x="282" y="238"/>
                </a:lnTo>
                <a:lnTo>
                  <a:pt x="278" y="234"/>
                </a:lnTo>
                <a:lnTo>
                  <a:pt x="278" y="234"/>
                </a:lnTo>
                <a:lnTo>
                  <a:pt x="278" y="228"/>
                </a:lnTo>
                <a:lnTo>
                  <a:pt x="278" y="228"/>
                </a:lnTo>
                <a:lnTo>
                  <a:pt x="274" y="228"/>
                </a:lnTo>
                <a:lnTo>
                  <a:pt x="274" y="228"/>
                </a:lnTo>
                <a:lnTo>
                  <a:pt x="272" y="224"/>
                </a:lnTo>
                <a:lnTo>
                  <a:pt x="270" y="220"/>
                </a:lnTo>
                <a:lnTo>
                  <a:pt x="270" y="220"/>
                </a:lnTo>
                <a:lnTo>
                  <a:pt x="266" y="218"/>
                </a:lnTo>
                <a:lnTo>
                  <a:pt x="266" y="218"/>
                </a:lnTo>
                <a:lnTo>
                  <a:pt x="264" y="214"/>
                </a:lnTo>
                <a:lnTo>
                  <a:pt x="264" y="210"/>
                </a:lnTo>
                <a:lnTo>
                  <a:pt x="264" y="210"/>
                </a:lnTo>
                <a:lnTo>
                  <a:pt x="260" y="206"/>
                </a:lnTo>
                <a:lnTo>
                  <a:pt x="260" y="206"/>
                </a:lnTo>
                <a:lnTo>
                  <a:pt x="260" y="200"/>
                </a:lnTo>
                <a:lnTo>
                  <a:pt x="260" y="200"/>
                </a:lnTo>
                <a:lnTo>
                  <a:pt x="256" y="202"/>
                </a:lnTo>
                <a:lnTo>
                  <a:pt x="256" y="202"/>
                </a:lnTo>
                <a:lnTo>
                  <a:pt x="258" y="194"/>
                </a:lnTo>
                <a:lnTo>
                  <a:pt x="258" y="186"/>
                </a:lnTo>
                <a:lnTo>
                  <a:pt x="258" y="186"/>
                </a:lnTo>
                <a:lnTo>
                  <a:pt x="260" y="182"/>
                </a:lnTo>
                <a:lnTo>
                  <a:pt x="260" y="176"/>
                </a:lnTo>
                <a:lnTo>
                  <a:pt x="258" y="172"/>
                </a:lnTo>
                <a:lnTo>
                  <a:pt x="258" y="172"/>
                </a:lnTo>
                <a:lnTo>
                  <a:pt x="258" y="168"/>
                </a:lnTo>
                <a:lnTo>
                  <a:pt x="258" y="166"/>
                </a:lnTo>
                <a:lnTo>
                  <a:pt x="256" y="164"/>
                </a:lnTo>
                <a:lnTo>
                  <a:pt x="256" y="164"/>
                </a:lnTo>
                <a:lnTo>
                  <a:pt x="256" y="158"/>
                </a:lnTo>
                <a:lnTo>
                  <a:pt x="258" y="152"/>
                </a:lnTo>
                <a:lnTo>
                  <a:pt x="256" y="148"/>
                </a:lnTo>
                <a:lnTo>
                  <a:pt x="256" y="148"/>
                </a:lnTo>
                <a:lnTo>
                  <a:pt x="256" y="144"/>
                </a:lnTo>
                <a:lnTo>
                  <a:pt x="256" y="142"/>
                </a:lnTo>
                <a:lnTo>
                  <a:pt x="256" y="140"/>
                </a:lnTo>
                <a:lnTo>
                  <a:pt x="256" y="140"/>
                </a:lnTo>
                <a:lnTo>
                  <a:pt x="258" y="138"/>
                </a:lnTo>
                <a:lnTo>
                  <a:pt x="260" y="136"/>
                </a:lnTo>
                <a:lnTo>
                  <a:pt x="260" y="136"/>
                </a:lnTo>
                <a:lnTo>
                  <a:pt x="260" y="132"/>
                </a:lnTo>
                <a:lnTo>
                  <a:pt x="260" y="132"/>
                </a:lnTo>
                <a:lnTo>
                  <a:pt x="264" y="132"/>
                </a:lnTo>
                <a:lnTo>
                  <a:pt x="264" y="132"/>
                </a:lnTo>
                <a:lnTo>
                  <a:pt x="266" y="130"/>
                </a:lnTo>
                <a:lnTo>
                  <a:pt x="266" y="126"/>
                </a:lnTo>
                <a:lnTo>
                  <a:pt x="266" y="126"/>
                </a:lnTo>
                <a:lnTo>
                  <a:pt x="268" y="124"/>
                </a:lnTo>
                <a:lnTo>
                  <a:pt x="266" y="122"/>
                </a:lnTo>
                <a:lnTo>
                  <a:pt x="260" y="122"/>
                </a:lnTo>
                <a:lnTo>
                  <a:pt x="256" y="120"/>
                </a:lnTo>
                <a:lnTo>
                  <a:pt x="250" y="118"/>
                </a:lnTo>
                <a:lnTo>
                  <a:pt x="246" y="116"/>
                </a:lnTo>
                <a:lnTo>
                  <a:pt x="240" y="114"/>
                </a:lnTo>
                <a:lnTo>
                  <a:pt x="240" y="108"/>
                </a:lnTo>
                <a:lnTo>
                  <a:pt x="238" y="98"/>
                </a:lnTo>
                <a:lnTo>
                  <a:pt x="234" y="94"/>
                </a:lnTo>
                <a:lnTo>
                  <a:pt x="230" y="90"/>
                </a:lnTo>
                <a:lnTo>
                  <a:pt x="228" y="86"/>
                </a:lnTo>
                <a:lnTo>
                  <a:pt x="224" y="78"/>
                </a:lnTo>
                <a:lnTo>
                  <a:pt x="222" y="72"/>
                </a:lnTo>
                <a:lnTo>
                  <a:pt x="220" y="70"/>
                </a:lnTo>
                <a:lnTo>
                  <a:pt x="218" y="64"/>
                </a:lnTo>
                <a:lnTo>
                  <a:pt x="214" y="60"/>
                </a:lnTo>
                <a:lnTo>
                  <a:pt x="210" y="56"/>
                </a:lnTo>
                <a:lnTo>
                  <a:pt x="206" y="54"/>
                </a:lnTo>
                <a:lnTo>
                  <a:pt x="202" y="54"/>
                </a:lnTo>
                <a:lnTo>
                  <a:pt x="196" y="56"/>
                </a:lnTo>
                <a:lnTo>
                  <a:pt x="192" y="62"/>
                </a:lnTo>
                <a:lnTo>
                  <a:pt x="188" y="64"/>
                </a:lnTo>
                <a:lnTo>
                  <a:pt x="184" y="64"/>
                </a:lnTo>
                <a:lnTo>
                  <a:pt x="180" y="64"/>
                </a:lnTo>
                <a:lnTo>
                  <a:pt x="176" y="62"/>
                </a:lnTo>
                <a:lnTo>
                  <a:pt x="172" y="56"/>
                </a:lnTo>
                <a:lnTo>
                  <a:pt x="168" y="52"/>
                </a:lnTo>
                <a:lnTo>
                  <a:pt x="168" y="48"/>
                </a:lnTo>
                <a:lnTo>
                  <a:pt x="164" y="42"/>
                </a:lnTo>
                <a:lnTo>
                  <a:pt x="160" y="36"/>
                </a:lnTo>
                <a:lnTo>
                  <a:pt x="156" y="32"/>
                </a:lnTo>
                <a:lnTo>
                  <a:pt x="154" y="30"/>
                </a:lnTo>
                <a:lnTo>
                  <a:pt x="150" y="26"/>
                </a:lnTo>
                <a:lnTo>
                  <a:pt x="144" y="18"/>
                </a:lnTo>
                <a:lnTo>
                  <a:pt x="116" y="18"/>
                </a:lnTo>
                <a:lnTo>
                  <a:pt x="116" y="26"/>
                </a:lnTo>
                <a:lnTo>
                  <a:pt x="72" y="24"/>
                </a:lnTo>
                <a:lnTo>
                  <a:pt x="36" y="6"/>
                </a:lnTo>
                <a:lnTo>
                  <a:pt x="36" y="0"/>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5" name="Freeform 139">
            <a:extLst>
              <a:ext uri="{FF2B5EF4-FFF2-40B4-BE49-F238E27FC236}">
                <a16:creationId xmlns:a16="http://schemas.microsoft.com/office/drawing/2014/main" id="{5A8A9ADE-7404-4F0C-B308-55D76AC6440C}"/>
              </a:ext>
            </a:extLst>
          </p:cNvPr>
          <p:cNvSpPr>
            <a:spLocks/>
          </p:cNvSpPr>
          <p:nvPr userDrawn="1"/>
        </p:nvSpPr>
        <p:spPr bwMode="auto">
          <a:xfrm>
            <a:off x="5470097" y="2905021"/>
            <a:ext cx="278388" cy="350062"/>
          </a:xfrm>
          <a:custGeom>
            <a:avLst/>
            <a:gdLst>
              <a:gd name="T0" fmla="*/ 12 w 166"/>
              <a:gd name="T1" fmla="*/ 176 h 204"/>
              <a:gd name="T2" fmla="*/ 14 w 166"/>
              <a:gd name="T3" fmla="*/ 174 h 204"/>
              <a:gd name="T4" fmla="*/ 18 w 166"/>
              <a:gd name="T5" fmla="*/ 172 h 204"/>
              <a:gd name="T6" fmla="*/ 18 w 166"/>
              <a:gd name="T7" fmla="*/ 170 h 204"/>
              <a:gd name="T8" fmla="*/ 24 w 166"/>
              <a:gd name="T9" fmla="*/ 172 h 204"/>
              <a:gd name="T10" fmla="*/ 34 w 166"/>
              <a:gd name="T11" fmla="*/ 172 h 204"/>
              <a:gd name="T12" fmla="*/ 38 w 166"/>
              <a:gd name="T13" fmla="*/ 172 h 204"/>
              <a:gd name="T14" fmla="*/ 42 w 166"/>
              <a:gd name="T15" fmla="*/ 176 h 204"/>
              <a:gd name="T16" fmla="*/ 44 w 166"/>
              <a:gd name="T17" fmla="*/ 178 h 204"/>
              <a:gd name="T18" fmla="*/ 46 w 166"/>
              <a:gd name="T19" fmla="*/ 184 h 204"/>
              <a:gd name="T20" fmla="*/ 48 w 166"/>
              <a:gd name="T21" fmla="*/ 186 h 204"/>
              <a:gd name="T22" fmla="*/ 52 w 166"/>
              <a:gd name="T23" fmla="*/ 186 h 204"/>
              <a:gd name="T24" fmla="*/ 54 w 166"/>
              <a:gd name="T25" fmla="*/ 190 h 204"/>
              <a:gd name="T26" fmla="*/ 54 w 166"/>
              <a:gd name="T27" fmla="*/ 196 h 204"/>
              <a:gd name="T28" fmla="*/ 58 w 166"/>
              <a:gd name="T29" fmla="*/ 198 h 204"/>
              <a:gd name="T30" fmla="*/ 62 w 166"/>
              <a:gd name="T31" fmla="*/ 198 h 204"/>
              <a:gd name="T32" fmla="*/ 66 w 166"/>
              <a:gd name="T33" fmla="*/ 204 h 204"/>
              <a:gd name="T34" fmla="*/ 68 w 166"/>
              <a:gd name="T35" fmla="*/ 204 h 204"/>
              <a:gd name="T36" fmla="*/ 70 w 166"/>
              <a:gd name="T37" fmla="*/ 202 h 204"/>
              <a:gd name="T38" fmla="*/ 72 w 166"/>
              <a:gd name="T39" fmla="*/ 198 h 204"/>
              <a:gd name="T40" fmla="*/ 72 w 166"/>
              <a:gd name="T41" fmla="*/ 194 h 204"/>
              <a:gd name="T42" fmla="*/ 74 w 166"/>
              <a:gd name="T43" fmla="*/ 188 h 204"/>
              <a:gd name="T44" fmla="*/ 84 w 166"/>
              <a:gd name="T45" fmla="*/ 190 h 204"/>
              <a:gd name="T46" fmla="*/ 90 w 166"/>
              <a:gd name="T47" fmla="*/ 190 h 204"/>
              <a:gd name="T48" fmla="*/ 92 w 166"/>
              <a:gd name="T49" fmla="*/ 190 h 204"/>
              <a:gd name="T50" fmla="*/ 96 w 166"/>
              <a:gd name="T51" fmla="*/ 190 h 204"/>
              <a:gd name="T52" fmla="*/ 96 w 166"/>
              <a:gd name="T53" fmla="*/ 188 h 204"/>
              <a:gd name="T54" fmla="*/ 96 w 166"/>
              <a:gd name="T55" fmla="*/ 182 h 204"/>
              <a:gd name="T56" fmla="*/ 100 w 166"/>
              <a:gd name="T57" fmla="*/ 182 h 204"/>
              <a:gd name="T58" fmla="*/ 150 w 166"/>
              <a:gd name="T59" fmla="*/ 184 h 204"/>
              <a:gd name="T60" fmla="*/ 154 w 166"/>
              <a:gd name="T61" fmla="*/ 176 h 204"/>
              <a:gd name="T62" fmla="*/ 154 w 166"/>
              <a:gd name="T63" fmla="*/ 172 h 204"/>
              <a:gd name="T64" fmla="*/ 150 w 166"/>
              <a:gd name="T65" fmla="*/ 170 h 204"/>
              <a:gd name="T66" fmla="*/ 166 w 166"/>
              <a:gd name="T67" fmla="*/ 34 h 204"/>
              <a:gd name="T68" fmla="*/ 120 w 166"/>
              <a:gd name="T69" fmla="*/ 24 h 204"/>
              <a:gd name="T70" fmla="*/ 70 w 166"/>
              <a:gd name="T71" fmla="*/ 60 h 204"/>
              <a:gd name="T72" fmla="*/ 62 w 166"/>
              <a:gd name="T73" fmla="*/ 62 h 204"/>
              <a:gd name="T74" fmla="*/ 54 w 166"/>
              <a:gd name="T75" fmla="*/ 66 h 204"/>
              <a:gd name="T76" fmla="*/ 54 w 166"/>
              <a:gd name="T77" fmla="*/ 70 h 204"/>
              <a:gd name="T78" fmla="*/ 4 w 166"/>
              <a:gd name="T79" fmla="*/ 98 h 204"/>
              <a:gd name="T80" fmla="*/ 4 w 166"/>
              <a:gd name="T81" fmla="*/ 98 h 204"/>
              <a:gd name="T82" fmla="*/ 0 w 166"/>
              <a:gd name="T83" fmla="*/ 102 h 204"/>
              <a:gd name="T84" fmla="*/ 4 w 166"/>
              <a:gd name="T85" fmla="*/ 108 h 204"/>
              <a:gd name="T86" fmla="*/ 8 w 166"/>
              <a:gd name="T87" fmla="*/ 114 h 204"/>
              <a:gd name="T88" fmla="*/ 8 w 166"/>
              <a:gd name="T89" fmla="*/ 116 h 204"/>
              <a:gd name="T90" fmla="*/ 6 w 166"/>
              <a:gd name="T91" fmla="*/ 120 h 204"/>
              <a:gd name="T92" fmla="*/ 8 w 166"/>
              <a:gd name="T93" fmla="*/ 122 h 204"/>
              <a:gd name="T94" fmla="*/ 8 w 166"/>
              <a:gd name="T95" fmla="*/ 128 h 204"/>
              <a:gd name="T96" fmla="*/ 8 w 166"/>
              <a:gd name="T97" fmla="*/ 128 h 204"/>
              <a:gd name="T98" fmla="*/ 6 w 166"/>
              <a:gd name="T99" fmla="*/ 136 h 204"/>
              <a:gd name="T100" fmla="*/ 8 w 166"/>
              <a:gd name="T101" fmla="*/ 140 h 204"/>
              <a:gd name="T102" fmla="*/ 10 w 166"/>
              <a:gd name="T103" fmla="*/ 142 h 204"/>
              <a:gd name="T104" fmla="*/ 10 w 166"/>
              <a:gd name="T105" fmla="*/ 154 h 204"/>
              <a:gd name="T106" fmla="*/ 12 w 166"/>
              <a:gd name="T107" fmla="*/ 156 h 204"/>
              <a:gd name="T108" fmla="*/ 12 w 166"/>
              <a:gd name="T109" fmla="*/ 158 h 204"/>
              <a:gd name="T110" fmla="*/ 10 w 166"/>
              <a:gd name="T111" fmla="*/ 162 h 204"/>
              <a:gd name="T112" fmla="*/ 10 w 166"/>
              <a:gd name="T113" fmla="*/ 170 h 204"/>
              <a:gd name="T114" fmla="*/ 8 w 166"/>
              <a:gd name="T115" fmla="*/ 17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6" h="204">
                <a:moveTo>
                  <a:pt x="8" y="178"/>
                </a:moveTo>
                <a:lnTo>
                  <a:pt x="12" y="176"/>
                </a:lnTo>
                <a:lnTo>
                  <a:pt x="12" y="176"/>
                </a:lnTo>
                <a:lnTo>
                  <a:pt x="14" y="174"/>
                </a:lnTo>
                <a:lnTo>
                  <a:pt x="16" y="174"/>
                </a:lnTo>
                <a:lnTo>
                  <a:pt x="18" y="172"/>
                </a:lnTo>
                <a:lnTo>
                  <a:pt x="18" y="172"/>
                </a:lnTo>
                <a:lnTo>
                  <a:pt x="18" y="170"/>
                </a:lnTo>
                <a:lnTo>
                  <a:pt x="20" y="170"/>
                </a:lnTo>
                <a:lnTo>
                  <a:pt x="24" y="172"/>
                </a:lnTo>
                <a:lnTo>
                  <a:pt x="24" y="172"/>
                </a:lnTo>
                <a:lnTo>
                  <a:pt x="34" y="172"/>
                </a:lnTo>
                <a:lnTo>
                  <a:pt x="34" y="172"/>
                </a:lnTo>
                <a:lnTo>
                  <a:pt x="38" y="172"/>
                </a:lnTo>
                <a:lnTo>
                  <a:pt x="38" y="172"/>
                </a:lnTo>
                <a:lnTo>
                  <a:pt x="42" y="176"/>
                </a:lnTo>
                <a:lnTo>
                  <a:pt x="42" y="176"/>
                </a:lnTo>
                <a:lnTo>
                  <a:pt x="44" y="178"/>
                </a:lnTo>
                <a:lnTo>
                  <a:pt x="46" y="184"/>
                </a:lnTo>
                <a:lnTo>
                  <a:pt x="46" y="184"/>
                </a:lnTo>
                <a:lnTo>
                  <a:pt x="46" y="186"/>
                </a:lnTo>
                <a:lnTo>
                  <a:pt x="48" y="186"/>
                </a:lnTo>
                <a:lnTo>
                  <a:pt x="52" y="186"/>
                </a:lnTo>
                <a:lnTo>
                  <a:pt x="52" y="186"/>
                </a:lnTo>
                <a:lnTo>
                  <a:pt x="54" y="188"/>
                </a:lnTo>
                <a:lnTo>
                  <a:pt x="54" y="190"/>
                </a:lnTo>
                <a:lnTo>
                  <a:pt x="54" y="196"/>
                </a:lnTo>
                <a:lnTo>
                  <a:pt x="54" y="196"/>
                </a:lnTo>
                <a:lnTo>
                  <a:pt x="56" y="198"/>
                </a:lnTo>
                <a:lnTo>
                  <a:pt x="58" y="198"/>
                </a:lnTo>
                <a:lnTo>
                  <a:pt x="62" y="198"/>
                </a:lnTo>
                <a:lnTo>
                  <a:pt x="62" y="198"/>
                </a:lnTo>
                <a:lnTo>
                  <a:pt x="62" y="198"/>
                </a:lnTo>
                <a:lnTo>
                  <a:pt x="66" y="204"/>
                </a:lnTo>
                <a:lnTo>
                  <a:pt x="66" y="204"/>
                </a:lnTo>
                <a:lnTo>
                  <a:pt x="68" y="204"/>
                </a:lnTo>
                <a:lnTo>
                  <a:pt x="70" y="202"/>
                </a:lnTo>
                <a:lnTo>
                  <a:pt x="70" y="202"/>
                </a:lnTo>
                <a:lnTo>
                  <a:pt x="72" y="200"/>
                </a:lnTo>
                <a:lnTo>
                  <a:pt x="72" y="198"/>
                </a:lnTo>
                <a:lnTo>
                  <a:pt x="72" y="194"/>
                </a:lnTo>
                <a:lnTo>
                  <a:pt x="72" y="194"/>
                </a:lnTo>
                <a:lnTo>
                  <a:pt x="74" y="190"/>
                </a:lnTo>
                <a:lnTo>
                  <a:pt x="74" y="188"/>
                </a:lnTo>
                <a:lnTo>
                  <a:pt x="74" y="188"/>
                </a:lnTo>
                <a:lnTo>
                  <a:pt x="84" y="190"/>
                </a:lnTo>
                <a:lnTo>
                  <a:pt x="84" y="190"/>
                </a:lnTo>
                <a:lnTo>
                  <a:pt x="90" y="190"/>
                </a:lnTo>
                <a:lnTo>
                  <a:pt x="92" y="190"/>
                </a:lnTo>
                <a:lnTo>
                  <a:pt x="92" y="190"/>
                </a:lnTo>
                <a:lnTo>
                  <a:pt x="94" y="190"/>
                </a:lnTo>
                <a:lnTo>
                  <a:pt x="96" y="190"/>
                </a:lnTo>
                <a:lnTo>
                  <a:pt x="96" y="188"/>
                </a:lnTo>
                <a:lnTo>
                  <a:pt x="96" y="188"/>
                </a:lnTo>
                <a:lnTo>
                  <a:pt x="94" y="184"/>
                </a:lnTo>
                <a:lnTo>
                  <a:pt x="96" y="182"/>
                </a:lnTo>
                <a:lnTo>
                  <a:pt x="96" y="182"/>
                </a:lnTo>
                <a:lnTo>
                  <a:pt x="100" y="182"/>
                </a:lnTo>
                <a:lnTo>
                  <a:pt x="102" y="184"/>
                </a:lnTo>
                <a:lnTo>
                  <a:pt x="150" y="184"/>
                </a:lnTo>
                <a:lnTo>
                  <a:pt x="150" y="184"/>
                </a:lnTo>
                <a:lnTo>
                  <a:pt x="154" y="176"/>
                </a:lnTo>
                <a:lnTo>
                  <a:pt x="154" y="176"/>
                </a:lnTo>
                <a:lnTo>
                  <a:pt x="154" y="172"/>
                </a:lnTo>
                <a:lnTo>
                  <a:pt x="152" y="172"/>
                </a:lnTo>
                <a:lnTo>
                  <a:pt x="150" y="170"/>
                </a:lnTo>
                <a:lnTo>
                  <a:pt x="142" y="34"/>
                </a:lnTo>
                <a:lnTo>
                  <a:pt x="166" y="34"/>
                </a:lnTo>
                <a:lnTo>
                  <a:pt x="120" y="0"/>
                </a:lnTo>
                <a:lnTo>
                  <a:pt x="120" y="24"/>
                </a:lnTo>
                <a:lnTo>
                  <a:pt x="70" y="24"/>
                </a:lnTo>
                <a:lnTo>
                  <a:pt x="70" y="60"/>
                </a:lnTo>
                <a:lnTo>
                  <a:pt x="70" y="60"/>
                </a:lnTo>
                <a:lnTo>
                  <a:pt x="62" y="62"/>
                </a:lnTo>
                <a:lnTo>
                  <a:pt x="56" y="64"/>
                </a:lnTo>
                <a:lnTo>
                  <a:pt x="54" y="66"/>
                </a:lnTo>
                <a:lnTo>
                  <a:pt x="54" y="70"/>
                </a:lnTo>
                <a:lnTo>
                  <a:pt x="54" y="70"/>
                </a:lnTo>
                <a:lnTo>
                  <a:pt x="54" y="96"/>
                </a:lnTo>
                <a:lnTo>
                  <a:pt x="4" y="98"/>
                </a:lnTo>
                <a:lnTo>
                  <a:pt x="4" y="98"/>
                </a:lnTo>
                <a:lnTo>
                  <a:pt x="4" y="98"/>
                </a:lnTo>
                <a:lnTo>
                  <a:pt x="0" y="102"/>
                </a:lnTo>
                <a:lnTo>
                  <a:pt x="0" y="102"/>
                </a:lnTo>
                <a:lnTo>
                  <a:pt x="4" y="108"/>
                </a:lnTo>
                <a:lnTo>
                  <a:pt x="4" y="108"/>
                </a:lnTo>
                <a:lnTo>
                  <a:pt x="6" y="112"/>
                </a:lnTo>
                <a:lnTo>
                  <a:pt x="8" y="114"/>
                </a:lnTo>
                <a:lnTo>
                  <a:pt x="8" y="116"/>
                </a:lnTo>
                <a:lnTo>
                  <a:pt x="8" y="116"/>
                </a:lnTo>
                <a:lnTo>
                  <a:pt x="8" y="118"/>
                </a:lnTo>
                <a:lnTo>
                  <a:pt x="6" y="120"/>
                </a:lnTo>
                <a:lnTo>
                  <a:pt x="6" y="120"/>
                </a:lnTo>
                <a:lnTo>
                  <a:pt x="8" y="122"/>
                </a:lnTo>
                <a:lnTo>
                  <a:pt x="8" y="128"/>
                </a:lnTo>
                <a:lnTo>
                  <a:pt x="8" y="128"/>
                </a:lnTo>
                <a:lnTo>
                  <a:pt x="8" y="128"/>
                </a:lnTo>
                <a:lnTo>
                  <a:pt x="8" y="128"/>
                </a:lnTo>
                <a:lnTo>
                  <a:pt x="6" y="130"/>
                </a:lnTo>
                <a:lnTo>
                  <a:pt x="6" y="136"/>
                </a:lnTo>
                <a:lnTo>
                  <a:pt x="6" y="136"/>
                </a:lnTo>
                <a:lnTo>
                  <a:pt x="8" y="140"/>
                </a:lnTo>
                <a:lnTo>
                  <a:pt x="10" y="142"/>
                </a:lnTo>
                <a:lnTo>
                  <a:pt x="10" y="142"/>
                </a:lnTo>
                <a:lnTo>
                  <a:pt x="10" y="148"/>
                </a:lnTo>
                <a:lnTo>
                  <a:pt x="10" y="154"/>
                </a:lnTo>
                <a:lnTo>
                  <a:pt x="10" y="154"/>
                </a:lnTo>
                <a:lnTo>
                  <a:pt x="12" y="156"/>
                </a:lnTo>
                <a:lnTo>
                  <a:pt x="12" y="158"/>
                </a:lnTo>
                <a:lnTo>
                  <a:pt x="12" y="158"/>
                </a:lnTo>
                <a:lnTo>
                  <a:pt x="10" y="158"/>
                </a:lnTo>
                <a:lnTo>
                  <a:pt x="10" y="162"/>
                </a:lnTo>
                <a:lnTo>
                  <a:pt x="10" y="162"/>
                </a:lnTo>
                <a:lnTo>
                  <a:pt x="10" y="170"/>
                </a:lnTo>
                <a:lnTo>
                  <a:pt x="10" y="170"/>
                </a:lnTo>
                <a:lnTo>
                  <a:pt x="8" y="178"/>
                </a:lnTo>
                <a:lnTo>
                  <a:pt x="8"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6" name="Freeform 140">
            <a:extLst>
              <a:ext uri="{FF2B5EF4-FFF2-40B4-BE49-F238E27FC236}">
                <a16:creationId xmlns:a16="http://schemas.microsoft.com/office/drawing/2014/main" id="{0D58AE44-0CD5-458F-85D0-A0B46818DF76}"/>
              </a:ext>
            </a:extLst>
          </p:cNvPr>
          <p:cNvSpPr>
            <a:spLocks/>
          </p:cNvSpPr>
          <p:nvPr userDrawn="1"/>
        </p:nvSpPr>
        <p:spPr bwMode="auto">
          <a:xfrm>
            <a:off x="5577427" y="2963365"/>
            <a:ext cx="368948" cy="446157"/>
          </a:xfrm>
          <a:custGeom>
            <a:avLst/>
            <a:gdLst>
              <a:gd name="T0" fmla="*/ 88 w 220"/>
              <a:gd name="T1" fmla="*/ 232 h 260"/>
              <a:gd name="T2" fmla="*/ 92 w 220"/>
              <a:gd name="T3" fmla="*/ 226 h 260"/>
              <a:gd name="T4" fmla="*/ 92 w 220"/>
              <a:gd name="T5" fmla="*/ 216 h 260"/>
              <a:gd name="T6" fmla="*/ 98 w 220"/>
              <a:gd name="T7" fmla="*/ 210 h 260"/>
              <a:gd name="T8" fmla="*/ 104 w 220"/>
              <a:gd name="T9" fmla="*/ 202 h 260"/>
              <a:gd name="T10" fmla="*/ 108 w 220"/>
              <a:gd name="T11" fmla="*/ 194 h 260"/>
              <a:gd name="T12" fmla="*/ 122 w 220"/>
              <a:gd name="T13" fmla="*/ 188 h 260"/>
              <a:gd name="T14" fmla="*/ 130 w 220"/>
              <a:gd name="T15" fmla="*/ 176 h 260"/>
              <a:gd name="T16" fmla="*/ 136 w 220"/>
              <a:gd name="T17" fmla="*/ 172 h 260"/>
              <a:gd name="T18" fmla="*/ 142 w 220"/>
              <a:gd name="T19" fmla="*/ 162 h 260"/>
              <a:gd name="T20" fmla="*/ 148 w 220"/>
              <a:gd name="T21" fmla="*/ 158 h 260"/>
              <a:gd name="T22" fmla="*/ 154 w 220"/>
              <a:gd name="T23" fmla="*/ 156 h 260"/>
              <a:gd name="T24" fmla="*/ 158 w 220"/>
              <a:gd name="T25" fmla="*/ 156 h 260"/>
              <a:gd name="T26" fmla="*/ 166 w 220"/>
              <a:gd name="T27" fmla="*/ 158 h 260"/>
              <a:gd name="T28" fmla="*/ 174 w 220"/>
              <a:gd name="T29" fmla="*/ 158 h 260"/>
              <a:gd name="T30" fmla="*/ 200 w 220"/>
              <a:gd name="T31" fmla="*/ 152 h 260"/>
              <a:gd name="T32" fmla="*/ 216 w 220"/>
              <a:gd name="T33" fmla="*/ 144 h 260"/>
              <a:gd name="T34" fmla="*/ 218 w 220"/>
              <a:gd name="T35" fmla="*/ 96 h 260"/>
              <a:gd name="T36" fmla="*/ 206 w 220"/>
              <a:gd name="T37" fmla="*/ 98 h 260"/>
              <a:gd name="T38" fmla="*/ 204 w 220"/>
              <a:gd name="T39" fmla="*/ 90 h 260"/>
              <a:gd name="T40" fmla="*/ 204 w 220"/>
              <a:gd name="T41" fmla="*/ 80 h 260"/>
              <a:gd name="T42" fmla="*/ 196 w 220"/>
              <a:gd name="T43" fmla="*/ 74 h 260"/>
              <a:gd name="T44" fmla="*/ 186 w 220"/>
              <a:gd name="T45" fmla="*/ 64 h 260"/>
              <a:gd name="T46" fmla="*/ 86 w 220"/>
              <a:gd name="T47" fmla="*/ 136 h 260"/>
              <a:gd name="T48" fmla="*/ 90 w 220"/>
              <a:gd name="T49" fmla="*/ 142 h 260"/>
              <a:gd name="T50" fmla="*/ 36 w 220"/>
              <a:gd name="T51" fmla="*/ 148 h 260"/>
              <a:gd name="T52" fmla="*/ 32 w 220"/>
              <a:gd name="T53" fmla="*/ 154 h 260"/>
              <a:gd name="T54" fmla="*/ 28 w 220"/>
              <a:gd name="T55" fmla="*/ 156 h 260"/>
              <a:gd name="T56" fmla="*/ 20 w 220"/>
              <a:gd name="T57" fmla="*/ 156 h 260"/>
              <a:gd name="T58" fmla="*/ 8 w 220"/>
              <a:gd name="T59" fmla="*/ 160 h 260"/>
              <a:gd name="T60" fmla="*/ 6 w 220"/>
              <a:gd name="T61" fmla="*/ 168 h 260"/>
              <a:gd name="T62" fmla="*/ 2 w 220"/>
              <a:gd name="T63" fmla="*/ 170 h 260"/>
              <a:gd name="T64" fmla="*/ 2 w 220"/>
              <a:gd name="T65" fmla="*/ 178 h 260"/>
              <a:gd name="T66" fmla="*/ 0 w 220"/>
              <a:gd name="T67" fmla="*/ 190 h 260"/>
              <a:gd name="T68" fmla="*/ 6 w 220"/>
              <a:gd name="T69" fmla="*/ 198 h 260"/>
              <a:gd name="T70" fmla="*/ 8 w 220"/>
              <a:gd name="T71" fmla="*/ 216 h 260"/>
              <a:gd name="T72" fmla="*/ 16 w 220"/>
              <a:gd name="T73" fmla="*/ 214 h 260"/>
              <a:gd name="T74" fmla="*/ 22 w 220"/>
              <a:gd name="T75" fmla="*/ 216 h 260"/>
              <a:gd name="T76" fmla="*/ 28 w 220"/>
              <a:gd name="T77" fmla="*/ 214 h 260"/>
              <a:gd name="T78" fmla="*/ 38 w 220"/>
              <a:gd name="T79" fmla="*/ 214 h 260"/>
              <a:gd name="T80" fmla="*/ 40 w 220"/>
              <a:gd name="T81" fmla="*/ 222 h 260"/>
              <a:gd name="T82" fmla="*/ 38 w 220"/>
              <a:gd name="T83" fmla="*/ 232 h 260"/>
              <a:gd name="T84" fmla="*/ 42 w 220"/>
              <a:gd name="T85" fmla="*/ 238 h 260"/>
              <a:gd name="T86" fmla="*/ 36 w 220"/>
              <a:gd name="T87" fmla="*/ 246 h 260"/>
              <a:gd name="T88" fmla="*/ 40 w 220"/>
              <a:gd name="T89" fmla="*/ 248 h 260"/>
              <a:gd name="T90" fmla="*/ 44 w 220"/>
              <a:gd name="T91" fmla="*/ 248 h 260"/>
              <a:gd name="T92" fmla="*/ 52 w 220"/>
              <a:gd name="T93" fmla="*/ 252 h 260"/>
              <a:gd name="T94" fmla="*/ 58 w 220"/>
              <a:gd name="T95" fmla="*/ 258 h 260"/>
              <a:gd name="T96" fmla="*/ 64 w 220"/>
              <a:gd name="T97" fmla="*/ 258 h 260"/>
              <a:gd name="T98" fmla="*/ 72 w 220"/>
              <a:gd name="T99" fmla="*/ 256 h 260"/>
              <a:gd name="T100" fmla="*/ 76 w 220"/>
              <a:gd name="T101" fmla="*/ 248 h 260"/>
              <a:gd name="T102" fmla="*/ 82 w 220"/>
              <a:gd name="T103" fmla="*/ 252 h 260"/>
              <a:gd name="T104" fmla="*/ 88 w 220"/>
              <a:gd name="T105" fmla="*/ 24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0" h="260">
                <a:moveTo>
                  <a:pt x="88" y="242"/>
                </a:moveTo>
                <a:lnTo>
                  <a:pt x="88" y="242"/>
                </a:lnTo>
                <a:lnTo>
                  <a:pt x="88" y="236"/>
                </a:lnTo>
                <a:lnTo>
                  <a:pt x="88" y="232"/>
                </a:lnTo>
                <a:lnTo>
                  <a:pt x="90" y="230"/>
                </a:lnTo>
                <a:lnTo>
                  <a:pt x="90" y="230"/>
                </a:lnTo>
                <a:lnTo>
                  <a:pt x="92" y="228"/>
                </a:lnTo>
                <a:lnTo>
                  <a:pt x="92" y="226"/>
                </a:lnTo>
                <a:lnTo>
                  <a:pt x="92" y="222"/>
                </a:lnTo>
                <a:lnTo>
                  <a:pt x="92" y="222"/>
                </a:lnTo>
                <a:lnTo>
                  <a:pt x="92" y="218"/>
                </a:lnTo>
                <a:lnTo>
                  <a:pt x="92" y="216"/>
                </a:lnTo>
                <a:lnTo>
                  <a:pt x="92" y="216"/>
                </a:lnTo>
                <a:lnTo>
                  <a:pt x="94" y="214"/>
                </a:lnTo>
                <a:lnTo>
                  <a:pt x="98" y="210"/>
                </a:lnTo>
                <a:lnTo>
                  <a:pt x="98" y="210"/>
                </a:lnTo>
                <a:lnTo>
                  <a:pt x="100" y="212"/>
                </a:lnTo>
                <a:lnTo>
                  <a:pt x="100" y="212"/>
                </a:lnTo>
                <a:lnTo>
                  <a:pt x="100" y="212"/>
                </a:lnTo>
                <a:lnTo>
                  <a:pt x="104" y="202"/>
                </a:lnTo>
                <a:lnTo>
                  <a:pt x="104" y="202"/>
                </a:lnTo>
                <a:lnTo>
                  <a:pt x="106" y="196"/>
                </a:lnTo>
                <a:lnTo>
                  <a:pt x="108" y="194"/>
                </a:lnTo>
                <a:lnTo>
                  <a:pt x="108" y="194"/>
                </a:lnTo>
                <a:lnTo>
                  <a:pt x="114" y="192"/>
                </a:lnTo>
                <a:lnTo>
                  <a:pt x="120" y="190"/>
                </a:lnTo>
                <a:lnTo>
                  <a:pt x="120" y="190"/>
                </a:lnTo>
                <a:lnTo>
                  <a:pt x="122" y="188"/>
                </a:lnTo>
                <a:lnTo>
                  <a:pt x="124" y="184"/>
                </a:lnTo>
                <a:lnTo>
                  <a:pt x="124" y="184"/>
                </a:lnTo>
                <a:lnTo>
                  <a:pt x="126" y="180"/>
                </a:lnTo>
                <a:lnTo>
                  <a:pt x="130" y="176"/>
                </a:lnTo>
                <a:lnTo>
                  <a:pt x="130" y="176"/>
                </a:lnTo>
                <a:lnTo>
                  <a:pt x="134" y="174"/>
                </a:lnTo>
                <a:lnTo>
                  <a:pt x="136" y="172"/>
                </a:lnTo>
                <a:lnTo>
                  <a:pt x="136" y="172"/>
                </a:lnTo>
                <a:lnTo>
                  <a:pt x="136" y="172"/>
                </a:lnTo>
                <a:lnTo>
                  <a:pt x="138" y="166"/>
                </a:lnTo>
                <a:lnTo>
                  <a:pt x="138" y="164"/>
                </a:lnTo>
                <a:lnTo>
                  <a:pt x="142" y="162"/>
                </a:lnTo>
                <a:lnTo>
                  <a:pt x="142" y="162"/>
                </a:lnTo>
                <a:lnTo>
                  <a:pt x="146" y="162"/>
                </a:lnTo>
                <a:lnTo>
                  <a:pt x="148" y="158"/>
                </a:lnTo>
                <a:lnTo>
                  <a:pt x="148" y="158"/>
                </a:lnTo>
                <a:lnTo>
                  <a:pt x="150" y="154"/>
                </a:lnTo>
                <a:lnTo>
                  <a:pt x="152" y="154"/>
                </a:lnTo>
                <a:lnTo>
                  <a:pt x="154" y="156"/>
                </a:lnTo>
                <a:lnTo>
                  <a:pt x="154" y="156"/>
                </a:lnTo>
                <a:lnTo>
                  <a:pt x="154" y="156"/>
                </a:lnTo>
                <a:lnTo>
                  <a:pt x="156" y="156"/>
                </a:lnTo>
                <a:lnTo>
                  <a:pt x="158" y="154"/>
                </a:lnTo>
                <a:lnTo>
                  <a:pt x="158" y="156"/>
                </a:lnTo>
                <a:lnTo>
                  <a:pt x="158" y="156"/>
                </a:lnTo>
                <a:lnTo>
                  <a:pt x="162" y="160"/>
                </a:lnTo>
                <a:lnTo>
                  <a:pt x="164" y="162"/>
                </a:lnTo>
                <a:lnTo>
                  <a:pt x="166" y="158"/>
                </a:lnTo>
                <a:lnTo>
                  <a:pt x="166" y="158"/>
                </a:lnTo>
                <a:lnTo>
                  <a:pt x="170" y="158"/>
                </a:lnTo>
                <a:lnTo>
                  <a:pt x="174" y="158"/>
                </a:lnTo>
                <a:lnTo>
                  <a:pt x="174" y="158"/>
                </a:lnTo>
                <a:lnTo>
                  <a:pt x="182" y="156"/>
                </a:lnTo>
                <a:lnTo>
                  <a:pt x="188" y="154"/>
                </a:lnTo>
                <a:lnTo>
                  <a:pt x="188" y="154"/>
                </a:lnTo>
                <a:lnTo>
                  <a:pt x="200" y="152"/>
                </a:lnTo>
                <a:lnTo>
                  <a:pt x="206" y="148"/>
                </a:lnTo>
                <a:lnTo>
                  <a:pt x="214" y="148"/>
                </a:lnTo>
                <a:lnTo>
                  <a:pt x="214" y="148"/>
                </a:lnTo>
                <a:lnTo>
                  <a:pt x="216" y="144"/>
                </a:lnTo>
                <a:lnTo>
                  <a:pt x="216" y="144"/>
                </a:lnTo>
                <a:lnTo>
                  <a:pt x="216" y="138"/>
                </a:lnTo>
                <a:lnTo>
                  <a:pt x="220" y="134"/>
                </a:lnTo>
                <a:lnTo>
                  <a:pt x="218" y="96"/>
                </a:lnTo>
                <a:lnTo>
                  <a:pt x="218" y="96"/>
                </a:lnTo>
                <a:lnTo>
                  <a:pt x="212" y="98"/>
                </a:lnTo>
                <a:lnTo>
                  <a:pt x="206" y="98"/>
                </a:lnTo>
                <a:lnTo>
                  <a:pt x="206" y="98"/>
                </a:lnTo>
                <a:lnTo>
                  <a:pt x="206" y="98"/>
                </a:lnTo>
                <a:lnTo>
                  <a:pt x="206" y="96"/>
                </a:lnTo>
                <a:lnTo>
                  <a:pt x="204" y="90"/>
                </a:lnTo>
                <a:lnTo>
                  <a:pt x="204" y="90"/>
                </a:lnTo>
                <a:lnTo>
                  <a:pt x="204" y="88"/>
                </a:lnTo>
                <a:lnTo>
                  <a:pt x="204" y="84"/>
                </a:lnTo>
                <a:lnTo>
                  <a:pt x="204" y="84"/>
                </a:lnTo>
                <a:lnTo>
                  <a:pt x="204" y="80"/>
                </a:lnTo>
                <a:lnTo>
                  <a:pt x="204" y="78"/>
                </a:lnTo>
                <a:lnTo>
                  <a:pt x="200" y="76"/>
                </a:lnTo>
                <a:lnTo>
                  <a:pt x="200" y="76"/>
                </a:lnTo>
                <a:lnTo>
                  <a:pt x="196" y="74"/>
                </a:lnTo>
                <a:lnTo>
                  <a:pt x="190" y="70"/>
                </a:lnTo>
                <a:lnTo>
                  <a:pt x="190" y="70"/>
                </a:lnTo>
                <a:lnTo>
                  <a:pt x="186" y="66"/>
                </a:lnTo>
                <a:lnTo>
                  <a:pt x="186" y="64"/>
                </a:lnTo>
                <a:lnTo>
                  <a:pt x="102" y="0"/>
                </a:lnTo>
                <a:lnTo>
                  <a:pt x="78" y="0"/>
                </a:lnTo>
                <a:lnTo>
                  <a:pt x="86" y="136"/>
                </a:lnTo>
                <a:lnTo>
                  <a:pt x="86" y="136"/>
                </a:lnTo>
                <a:lnTo>
                  <a:pt x="88" y="138"/>
                </a:lnTo>
                <a:lnTo>
                  <a:pt x="90" y="138"/>
                </a:lnTo>
                <a:lnTo>
                  <a:pt x="90" y="142"/>
                </a:lnTo>
                <a:lnTo>
                  <a:pt x="90" y="142"/>
                </a:lnTo>
                <a:lnTo>
                  <a:pt x="86" y="150"/>
                </a:lnTo>
                <a:lnTo>
                  <a:pt x="38" y="150"/>
                </a:lnTo>
                <a:lnTo>
                  <a:pt x="38" y="150"/>
                </a:lnTo>
                <a:lnTo>
                  <a:pt x="36" y="148"/>
                </a:lnTo>
                <a:lnTo>
                  <a:pt x="32" y="148"/>
                </a:lnTo>
                <a:lnTo>
                  <a:pt x="32" y="148"/>
                </a:lnTo>
                <a:lnTo>
                  <a:pt x="30" y="150"/>
                </a:lnTo>
                <a:lnTo>
                  <a:pt x="32" y="154"/>
                </a:lnTo>
                <a:lnTo>
                  <a:pt x="32" y="154"/>
                </a:lnTo>
                <a:lnTo>
                  <a:pt x="32" y="156"/>
                </a:lnTo>
                <a:lnTo>
                  <a:pt x="30" y="156"/>
                </a:lnTo>
                <a:lnTo>
                  <a:pt x="28" y="156"/>
                </a:lnTo>
                <a:lnTo>
                  <a:pt x="28" y="156"/>
                </a:lnTo>
                <a:lnTo>
                  <a:pt x="26" y="156"/>
                </a:lnTo>
                <a:lnTo>
                  <a:pt x="20" y="156"/>
                </a:lnTo>
                <a:lnTo>
                  <a:pt x="20" y="156"/>
                </a:lnTo>
                <a:lnTo>
                  <a:pt x="10" y="154"/>
                </a:lnTo>
                <a:lnTo>
                  <a:pt x="10" y="154"/>
                </a:lnTo>
                <a:lnTo>
                  <a:pt x="10" y="156"/>
                </a:lnTo>
                <a:lnTo>
                  <a:pt x="8" y="160"/>
                </a:lnTo>
                <a:lnTo>
                  <a:pt x="8" y="160"/>
                </a:lnTo>
                <a:lnTo>
                  <a:pt x="8" y="164"/>
                </a:lnTo>
                <a:lnTo>
                  <a:pt x="8" y="166"/>
                </a:lnTo>
                <a:lnTo>
                  <a:pt x="6" y="168"/>
                </a:lnTo>
                <a:lnTo>
                  <a:pt x="6" y="168"/>
                </a:lnTo>
                <a:lnTo>
                  <a:pt x="4" y="170"/>
                </a:lnTo>
                <a:lnTo>
                  <a:pt x="2" y="170"/>
                </a:lnTo>
                <a:lnTo>
                  <a:pt x="2" y="170"/>
                </a:lnTo>
                <a:lnTo>
                  <a:pt x="0" y="174"/>
                </a:lnTo>
                <a:lnTo>
                  <a:pt x="2" y="176"/>
                </a:lnTo>
                <a:lnTo>
                  <a:pt x="2" y="178"/>
                </a:lnTo>
                <a:lnTo>
                  <a:pt x="2" y="178"/>
                </a:lnTo>
                <a:lnTo>
                  <a:pt x="2" y="180"/>
                </a:lnTo>
                <a:lnTo>
                  <a:pt x="2" y="184"/>
                </a:lnTo>
                <a:lnTo>
                  <a:pt x="0" y="190"/>
                </a:lnTo>
                <a:lnTo>
                  <a:pt x="0" y="190"/>
                </a:lnTo>
                <a:lnTo>
                  <a:pt x="0" y="192"/>
                </a:lnTo>
                <a:lnTo>
                  <a:pt x="2" y="194"/>
                </a:lnTo>
                <a:lnTo>
                  <a:pt x="2" y="194"/>
                </a:lnTo>
                <a:lnTo>
                  <a:pt x="6" y="198"/>
                </a:lnTo>
                <a:lnTo>
                  <a:pt x="6" y="200"/>
                </a:lnTo>
                <a:lnTo>
                  <a:pt x="6" y="200"/>
                </a:lnTo>
                <a:lnTo>
                  <a:pt x="8" y="210"/>
                </a:lnTo>
                <a:lnTo>
                  <a:pt x="8" y="216"/>
                </a:lnTo>
                <a:lnTo>
                  <a:pt x="12" y="216"/>
                </a:lnTo>
                <a:lnTo>
                  <a:pt x="12" y="216"/>
                </a:lnTo>
                <a:lnTo>
                  <a:pt x="12" y="214"/>
                </a:lnTo>
                <a:lnTo>
                  <a:pt x="16" y="214"/>
                </a:lnTo>
                <a:lnTo>
                  <a:pt x="16" y="214"/>
                </a:lnTo>
                <a:lnTo>
                  <a:pt x="20" y="216"/>
                </a:lnTo>
                <a:lnTo>
                  <a:pt x="22" y="216"/>
                </a:lnTo>
                <a:lnTo>
                  <a:pt x="22" y="216"/>
                </a:lnTo>
                <a:lnTo>
                  <a:pt x="24" y="214"/>
                </a:lnTo>
                <a:lnTo>
                  <a:pt x="26" y="212"/>
                </a:lnTo>
                <a:lnTo>
                  <a:pt x="26" y="212"/>
                </a:lnTo>
                <a:lnTo>
                  <a:pt x="28" y="214"/>
                </a:lnTo>
                <a:lnTo>
                  <a:pt x="30" y="214"/>
                </a:lnTo>
                <a:lnTo>
                  <a:pt x="32" y="214"/>
                </a:lnTo>
                <a:lnTo>
                  <a:pt x="32" y="214"/>
                </a:lnTo>
                <a:lnTo>
                  <a:pt x="38" y="214"/>
                </a:lnTo>
                <a:lnTo>
                  <a:pt x="38" y="216"/>
                </a:lnTo>
                <a:lnTo>
                  <a:pt x="38" y="216"/>
                </a:lnTo>
                <a:lnTo>
                  <a:pt x="40" y="222"/>
                </a:lnTo>
                <a:lnTo>
                  <a:pt x="40" y="222"/>
                </a:lnTo>
                <a:lnTo>
                  <a:pt x="40" y="226"/>
                </a:lnTo>
                <a:lnTo>
                  <a:pt x="38" y="228"/>
                </a:lnTo>
                <a:lnTo>
                  <a:pt x="38" y="230"/>
                </a:lnTo>
                <a:lnTo>
                  <a:pt x="38" y="232"/>
                </a:lnTo>
                <a:lnTo>
                  <a:pt x="38" y="232"/>
                </a:lnTo>
                <a:lnTo>
                  <a:pt x="40" y="234"/>
                </a:lnTo>
                <a:lnTo>
                  <a:pt x="42" y="238"/>
                </a:lnTo>
                <a:lnTo>
                  <a:pt x="42" y="238"/>
                </a:lnTo>
                <a:lnTo>
                  <a:pt x="42" y="240"/>
                </a:lnTo>
                <a:lnTo>
                  <a:pt x="44" y="240"/>
                </a:lnTo>
                <a:lnTo>
                  <a:pt x="48" y="240"/>
                </a:lnTo>
                <a:lnTo>
                  <a:pt x="36" y="246"/>
                </a:lnTo>
                <a:lnTo>
                  <a:pt x="36" y="246"/>
                </a:lnTo>
                <a:lnTo>
                  <a:pt x="38" y="246"/>
                </a:lnTo>
                <a:lnTo>
                  <a:pt x="40" y="248"/>
                </a:lnTo>
                <a:lnTo>
                  <a:pt x="40" y="248"/>
                </a:lnTo>
                <a:lnTo>
                  <a:pt x="42" y="246"/>
                </a:lnTo>
                <a:lnTo>
                  <a:pt x="44" y="246"/>
                </a:lnTo>
                <a:lnTo>
                  <a:pt x="44" y="248"/>
                </a:lnTo>
                <a:lnTo>
                  <a:pt x="44" y="248"/>
                </a:lnTo>
                <a:lnTo>
                  <a:pt x="46" y="250"/>
                </a:lnTo>
                <a:lnTo>
                  <a:pt x="48" y="250"/>
                </a:lnTo>
                <a:lnTo>
                  <a:pt x="50" y="250"/>
                </a:lnTo>
                <a:lnTo>
                  <a:pt x="52" y="252"/>
                </a:lnTo>
                <a:lnTo>
                  <a:pt x="52" y="252"/>
                </a:lnTo>
                <a:lnTo>
                  <a:pt x="54" y="256"/>
                </a:lnTo>
                <a:lnTo>
                  <a:pt x="58" y="258"/>
                </a:lnTo>
                <a:lnTo>
                  <a:pt x="58" y="258"/>
                </a:lnTo>
                <a:lnTo>
                  <a:pt x="62" y="260"/>
                </a:lnTo>
                <a:lnTo>
                  <a:pt x="62" y="260"/>
                </a:lnTo>
                <a:lnTo>
                  <a:pt x="62" y="260"/>
                </a:lnTo>
                <a:lnTo>
                  <a:pt x="64" y="258"/>
                </a:lnTo>
                <a:lnTo>
                  <a:pt x="68" y="256"/>
                </a:lnTo>
                <a:lnTo>
                  <a:pt x="68" y="256"/>
                </a:lnTo>
                <a:lnTo>
                  <a:pt x="70" y="254"/>
                </a:lnTo>
                <a:lnTo>
                  <a:pt x="72" y="256"/>
                </a:lnTo>
                <a:lnTo>
                  <a:pt x="72" y="258"/>
                </a:lnTo>
                <a:lnTo>
                  <a:pt x="74" y="250"/>
                </a:lnTo>
                <a:lnTo>
                  <a:pt x="76" y="248"/>
                </a:lnTo>
                <a:lnTo>
                  <a:pt x="76" y="248"/>
                </a:lnTo>
                <a:lnTo>
                  <a:pt x="78" y="250"/>
                </a:lnTo>
                <a:lnTo>
                  <a:pt x="80" y="252"/>
                </a:lnTo>
                <a:lnTo>
                  <a:pt x="82" y="252"/>
                </a:lnTo>
                <a:lnTo>
                  <a:pt x="82" y="252"/>
                </a:lnTo>
                <a:lnTo>
                  <a:pt x="84" y="250"/>
                </a:lnTo>
                <a:lnTo>
                  <a:pt x="86" y="248"/>
                </a:lnTo>
                <a:lnTo>
                  <a:pt x="86" y="246"/>
                </a:lnTo>
                <a:lnTo>
                  <a:pt x="88" y="2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7" name="Freeform 141">
            <a:extLst>
              <a:ext uri="{FF2B5EF4-FFF2-40B4-BE49-F238E27FC236}">
                <a16:creationId xmlns:a16="http://schemas.microsoft.com/office/drawing/2014/main" id="{07806FF6-BBB9-4DB2-96BD-00016C5B2E6B}"/>
              </a:ext>
            </a:extLst>
          </p:cNvPr>
          <p:cNvSpPr>
            <a:spLocks noEditPoints="1"/>
          </p:cNvSpPr>
          <p:nvPr userDrawn="1"/>
        </p:nvSpPr>
        <p:spPr bwMode="auto">
          <a:xfrm>
            <a:off x="8104721" y="3491889"/>
            <a:ext cx="415905" cy="175030"/>
          </a:xfrm>
          <a:custGeom>
            <a:avLst/>
            <a:gdLst>
              <a:gd name="T0" fmla="*/ 126 w 248"/>
              <a:gd name="T1" fmla="*/ 96 h 102"/>
              <a:gd name="T2" fmla="*/ 142 w 248"/>
              <a:gd name="T3" fmla="*/ 102 h 102"/>
              <a:gd name="T4" fmla="*/ 158 w 248"/>
              <a:gd name="T5" fmla="*/ 96 h 102"/>
              <a:gd name="T6" fmla="*/ 178 w 248"/>
              <a:gd name="T7" fmla="*/ 96 h 102"/>
              <a:gd name="T8" fmla="*/ 188 w 248"/>
              <a:gd name="T9" fmla="*/ 82 h 102"/>
              <a:gd name="T10" fmla="*/ 196 w 248"/>
              <a:gd name="T11" fmla="*/ 72 h 102"/>
              <a:gd name="T12" fmla="*/ 204 w 248"/>
              <a:gd name="T13" fmla="*/ 54 h 102"/>
              <a:gd name="T14" fmla="*/ 224 w 248"/>
              <a:gd name="T15" fmla="*/ 50 h 102"/>
              <a:gd name="T16" fmla="*/ 226 w 248"/>
              <a:gd name="T17" fmla="*/ 46 h 102"/>
              <a:gd name="T18" fmla="*/ 236 w 248"/>
              <a:gd name="T19" fmla="*/ 44 h 102"/>
              <a:gd name="T20" fmla="*/ 238 w 248"/>
              <a:gd name="T21" fmla="*/ 44 h 102"/>
              <a:gd name="T22" fmla="*/ 238 w 248"/>
              <a:gd name="T23" fmla="*/ 40 h 102"/>
              <a:gd name="T24" fmla="*/ 236 w 248"/>
              <a:gd name="T25" fmla="*/ 36 h 102"/>
              <a:gd name="T26" fmla="*/ 244 w 248"/>
              <a:gd name="T27" fmla="*/ 34 h 102"/>
              <a:gd name="T28" fmla="*/ 248 w 248"/>
              <a:gd name="T29" fmla="*/ 28 h 102"/>
              <a:gd name="T30" fmla="*/ 242 w 248"/>
              <a:gd name="T31" fmla="*/ 20 h 102"/>
              <a:gd name="T32" fmla="*/ 236 w 248"/>
              <a:gd name="T33" fmla="*/ 22 h 102"/>
              <a:gd name="T34" fmla="*/ 232 w 248"/>
              <a:gd name="T35" fmla="*/ 16 h 102"/>
              <a:gd name="T36" fmla="*/ 234 w 248"/>
              <a:gd name="T37" fmla="*/ 10 h 102"/>
              <a:gd name="T38" fmla="*/ 228 w 248"/>
              <a:gd name="T39" fmla="*/ 6 h 102"/>
              <a:gd name="T40" fmla="*/ 228 w 248"/>
              <a:gd name="T41" fmla="*/ 2 h 102"/>
              <a:gd name="T42" fmla="*/ 226 w 248"/>
              <a:gd name="T43" fmla="*/ 4 h 102"/>
              <a:gd name="T44" fmla="*/ 222 w 248"/>
              <a:gd name="T45" fmla="*/ 4 h 102"/>
              <a:gd name="T46" fmla="*/ 218 w 248"/>
              <a:gd name="T47" fmla="*/ 0 h 102"/>
              <a:gd name="T48" fmla="*/ 212 w 248"/>
              <a:gd name="T49" fmla="*/ 14 h 102"/>
              <a:gd name="T50" fmla="*/ 202 w 248"/>
              <a:gd name="T51" fmla="*/ 26 h 102"/>
              <a:gd name="T52" fmla="*/ 204 w 248"/>
              <a:gd name="T53" fmla="*/ 30 h 102"/>
              <a:gd name="T54" fmla="*/ 202 w 248"/>
              <a:gd name="T55" fmla="*/ 36 h 102"/>
              <a:gd name="T56" fmla="*/ 200 w 248"/>
              <a:gd name="T57" fmla="*/ 46 h 102"/>
              <a:gd name="T58" fmla="*/ 192 w 248"/>
              <a:gd name="T59" fmla="*/ 50 h 102"/>
              <a:gd name="T60" fmla="*/ 182 w 248"/>
              <a:gd name="T61" fmla="*/ 44 h 102"/>
              <a:gd name="T62" fmla="*/ 170 w 248"/>
              <a:gd name="T63" fmla="*/ 66 h 102"/>
              <a:gd name="T64" fmla="*/ 162 w 248"/>
              <a:gd name="T65" fmla="*/ 66 h 102"/>
              <a:gd name="T66" fmla="*/ 146 w 248"/>
              <a:gd name="T67" fmla="*/ 72 h 102"/>
              <a:gd name="T68" fmla="*/ 146 w 248"/>
              <a:gd name="T69" fmla="*/ 78 h 102"/>
              <a:gd name="T70" fmla="*/ 144 w 248"/>
              <a:gd name="T71" fmla="*/ 86 h 102"/>
              <a:gd name="T72" fmla="*/ 142 w 248"/>
              <a:gd name="T73" fmla="*/ 90 h 102"/>
              <a:gd name="T74" fmla="*/ 136 w 248"/>
              <a:gd name="T75" fmla="*/ 88 h 102"/>
              <a:gd name="T76" fmla="*/ 132 w 248"/>
              <a:gd name="T77" fmla="*/ 84 h 102"/>
              <a:gd name="T78" fmla="*/ 128 w 248"/>
              <a:gd name="T79" fmla="*/ 86 h 102"/>
              <a:gd name="T80" fmla="*/ 124 w 248"/>
              <a:gd name="T81" fmla="*/ 82 h 102"/>
              <a:gd name="T82" fmla="*/ 2 w 248"/>
              <a:gd name="T83" fmla="*/ 24 h 102"/>
              <a:gd name="T84" fmla="*/ 4 w 248"/>
              <a:gd name="T85" fmla="*/ 32 h 102"/>
              <a:gd name="T86" fmla="*/ 8 w 248"/>
              <a:gd name="T87" fmla="*/ 50 h 102"/>
              <a:gd name="T88" fmla="*/ 8 w 248"/>
              <a:gd name="T89" fmla="*/ 56 h 102"/>
              <a:gd name="T90" fmla="*/ 14 w 248"/>
              <a:gd name="T91" fmla="*/ 62 h 102"/>
              <a:gd name="T92" fmla="*/ 16 w 248"/>
              <a:gd name="T93" fmla="*/ 72 h 102"/>
              <a:gd name="T94" fmla="*/ 26 w 248"/>
              <a:gd name="T95" fmla="*/ 80 h 102"/>
              <a:gd name="T96" fmla="*/ 28 w 248"/>
              <a:gd name="T97" fmla="*/ 84 h 102"/>
              <a:gd name="T98" fmla="*/ 42 w 248"/>
              <a:gd name="T99" fmla="*/ 90 h 102"/>
              <a:gd name="T100" fmla="*/ 52 w 248"/>
              <a:gd name="T101" fmla="*/ 88 h 102"/>
              <a:gd name="T102" fmla="*/ 52 w 248"/>
              <a:gd name="T103" fmla="*/ 82 h 102"/>
              <a:gd name="T104" fmla="*/ 48 w 248"/>
              <a:gd name="T105" fmla="*/ 74 h 102"/>
              <a:gd name="T106" fmla="*/ 44 w 248"/>
              <a:gd name="T107" fmla="*/ 68 h 102"/>
              <a:gd name="T108" fmla="*/ 42 w 248"/>
              <a:gd name="T109" fmla="*/ 58 h 102"/>
              <a:gd name="T110" fmla="*/ 44 w 248"/>
              <a:gd name="T111" fmla="*/ 42 h 102"/>
              <a:gd name="T112" fmla="*/ 38 w 248"/>
              <a:gd name="T113" fmla="*/ 32 h 102"/>
              <a:gd name="T114" fmla="*/ 32 w 248"/>
              <a:gd name="T115" fmla="*/ 20 h 102"/>
              <a:gd name="T116" fmla="*/ 24 w 248"/>
              <a:gd name="T117" fmla="*/ 14 h 102"/>
              <a:gd name="T118" fmla="*/ 16 w 248"/>
              <a:gd name="T119" fmla="*/ 22 h 102"/>
              <a:gd name="T120" fmla="*/ 12 w 248"/>
              <a:gd name="T121" fmla="*/ 20 h 102"/>
              <a:gd name="T122" fmla="*/ 0 w 248"/>
              <a:gd name="T123" fmla="*/ 1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102">
                <a:moveTo>
                  <a:pt x="124" y="82"/>
                </a:moveTo>
                <a:lnTo>
                  <a:pt x="124" y="90"/>
                </a:lnTo>
                <a:lnTo>
                  <a:pt x="126" y="96"/>
                </a:lnTo>
                <a:lnTo>
                  <a:pt x="132" y="98"/>
                </a:lnTo>
                <a:lnTo>
                  <a:pt x="136" y="100"/>
                </a:lnTo>
                <a:lnTo>
                  <a:pt x="142" y="102"/>
                </a:lnTo>
                <a:lnTo>
                  <a:pt x="148" y="100"/>
                </a:lnTo>
                <a:lnTo>
                  <a:pt x="156" y="98"/>
                </a:lnTo>
                <a:lnTo>
                  <a:pt x="158" y="96"/>
                </a:lnTo>
                <a:lnTo>
                  <a:pt x="166" y="94"/>
                </a:lnTo>
                <a:lnTo>
                  <a:pt x="170" y="96"/>
                </a:lnTo>
                <a:lnTo>
                  <a:pt x="178" y="96"/>
                </a:lnTo>
                <a:lnTo>
                  <a:pt x="184" y="92"/>
                </a:lnTo>
                <a:lnTo>
                  <a:pt x="186" y="90"/>
                </a:lnTo>
                <a:lnTo>
                  <a:pt x="188" y="82"/>
                </a:lnTo>
                <a:lnTo>
                  <a:pt x="188" y="78"/>
                </a:lnTo>
                <a:lnTo>
                  <a:pt x="192" y="76"/>
                </a:lnTo>
                <a:lnTo>
                  <a:pt x="196" y="72"/>
                </a:lnTo>
                <a:lnTo>
                  <a:pt x="198" y="68"/>
                </a:lnTo>
                <a:lnTo>
                  <a:pt x="202" y="64"/>
                </a:lnTo>
                <a:lnTo>
                  <a:pt x="204" y="54"/>
                </a:lnTo>
                <a:lnTo>
                  <a:pt x="206" y="50"/>
                </a:lnTo>
                <a:lnTo>
                  <a:pt x="214" y="52"/>
                </a:lnTo>
                <a:lnTo>
                  <a:pt x="224" y="50"/>
                </a:lnTo>
                <a:lnTo>
                  <a:pt x="224" y="50"/>
                </a:lnTo>
                <a:lnTo>
                  <a:pt x="226" y="46"/>
                </a:lnTo>
                <a:lnTo>
                  <a:pt x="226" y="46"/>
                </a:lnTo>
                <a:lnTo>
                  <a:pt x="234" y="48"/>
                </a:lnTo>
                <a:lnTo>
                  <a:pt x="234" y="48"/>
                </a:lnTo>
                <a:lnTo>
                  <a:pt x="236" y="44"/>
                </a:lnTo>
                <a:lnTo>
                  <a:pt x="236" y="44"/>
                </a:lnTo>
                <a:lnTo>
                  <a:pt x="238" y="44"/>
                </a:lnTo>
                <a:lnTo>
                  <a:pt x="238" y="44"/>
                </a:lnTo>
                <a:lnTo>
                  <a:pt x="238" y="44"/>
                </a:lnTo>
                <a:lnTo>
                  <a:pt x="238" y="40"/>
                </a:lnTo>
                <a:lnTo>
                  <a:pt x="238" y="40"/>
                </a:lnTo>
                <a:lnTo>
                  <a:pt x="236" y="38"/>
                </a:lnTo>
                <a:lnTo>
                  <a:pt x="236" y="38"/>
                </a:lnTo>
                <a:lnTo>
                  <a:pt x="236" y="36"/>
                </a:lnTo>
                <a:lnTo>
                  <a:pt x="236" y="34"/>
                </a:lnTo>
                <a:lnTo>
                  <a:pt x="236" y="34"/>
                </a:lnTo>
                <a:lnTo>
                  <a:pt x="244" y="34"/>
                </a:lnTo>
                <a:lnTo>
                  <a:pt x="246" y="32"/>
                </a:lnTo>
                <a:lnTo>
                  <a:pt x="248" y="30"/>
                </a:lnTo>
                <a:lnTo>
                  <a:pt x="248" y="28"/>
                </a:lnTo>
                <a:lnTo>
                  <a:pt x="248" y="28"/>
                </a:lnTo>
                <a:lnTo>
                  <a:pt x="244" y="24"/>
                </a:lnTo>
                <a:lnTo>
                  <a:pt x="242" y="20"/>
                </a:lnTo>
                <a:lnTo>
                  <a:pt x="242" y="20"/>
                </a:lnTo>
                <a:lnTo>
                  <a:pt x="236" y="22"/>
                </a:lnTo>
                <a:lnTo>
                  <a:pt x="236" y="22"/>
                </a:lnTo>
                <a:lnTo>
                  <a:pt x="236" y="18"/>
                </a:lnTo>
                <a:lnTo>
                  <a:pt x="236" y="18"/>
                </a:lnTo>
                <a:lnTo>
                  <a:pt x="232" y="16"/>
                </a:lnTo>
                <a:lnTo>
                  <a:pt x="232" y="16"/>
                </a:lnTo>
                <a:lnTo>
                  <a:pt x="234" y="10"/>
                </a:lnTo>
                <a:lnTo>
                  <a:pt x="234" y="10"/>
                </a:lnTo>
                <a:lnTo>
                  <a:pt x="230" y="6"/>
                </a:lnTo>
                <a:lnTo>
                  <a:pt x="230" y="6"/>
                </a:lnTo>
                <a:lnTo>
                  <a:pt x="228" y="6"/>
                </a:lnTo>
                <a:lnTo>
                  <a:pt x="228" y="6"/>
                </a:lnTo>
                <a:lnTo>
                  <a:pt x="228" y="2"/>
                </a:lnTo>
                <a:lnTo>
                  <a:pt x="228" y="2"/>
                </a:lnTo>
                <a:lnTo>
                  <a:pt x="226" y="4"/>
                </a:lnTo>
                <a:lnTo>
                  <a:pt x="226" y="4"/>
                </a:lnTo>
                <a:lnTo>
                  <a:pt x="226" y="4"/>
                </a:lnTo>
                <a:lnTo>
                  <a:pt x="226" y="4"/>
                </a:lnTo>
                <a:lnTo>
                  <a:pt x="222" y="4"/>
                </a:lnTo>
                <a:lnTo>
                  <a:pt x="222" y="4"/>
                </a:lnTo>
                <a:lnTo>
                  <a:pt x="220" y="2"/>
                </a:lnTo>
                <a:lnTo>
                  <a:pt x="220" y="0"/>
                </a:lnTo>
                <a:lnTo>
                  <a:pt x="218" y="0"/>
                </a:lnTo>
                <a:lnTo>
                  <a:pt x="218" y="0"/>
                </a:lnTo>
                <a:lnTo>
                  <a:pt x="214" y="8"/>
                </a:lnTo>
                <a:lnTo>
                  <a:pt x="212" y="14"/>
                </a:lnTo>
                <a:lnTo>
                  <a:pt x="200" y="24"/>
                </a:lnTo>
                <a:lnTo>
                  <a:pt x="200" y="24"/>
                </a:lnTo>
                <a:lnTo>
                  <a:pt x="202" y="26"/>
                </a:lnTo>
                <a:lnTo>
                  <a:pt x="204" y="26"/>
                </a:lnTo>
                <a:lnTo>
                  <a:pt x="204" y="26"/>
                </a:lnTo>
                <a:lnTo>
                  <a:pt x="204" y="30"/>
                </a:lnTo>
                <a:lnTo>
                  <a:pt x="204" y="30"/>
                </a:lnTo>
                <a:lnTo>
                  <a:pt x="202" y="32"/>
                </a:lnTo>
                <a:lnTo>
                  <a:pt x="202" y="36"/>
                </a:lnTo>
                <a:lnTo>
                  <a:pt x="198" y="36"/>
                </a:lnTo>
                <a:lnTo>
                  <a:pt x="202" y="46"/>
                </a:lnTo>
                <a:lnTo>
                  <a:pt x="200" y="46"/>
                </a:lnTo>
                <a:lnTo>
                  <a:pt x="196" y="44"/>
                </a:lnTo>
                <a:lnTo>
                  <a:pt x="194" y="48"/>
                </a:lnTo>
                <a:lnTo>
                  <a:pt x="192" y="50"/>
                </a:lnTo>
                <a:lnTo>
                  <a:pt x="188" y="50"/>
                </a:lnTo>
                <a:lnTo>
                  <a:pt x="182" y="44"/>
                </a:lnTo>
                <a:lnTo>
                  <a:pt x="182" y="44"/>
                </a:lnTo>
                <a:lnTo>
                  <a:pt x="182" y="46"/>
                </a:lnTo>
                <a:lnTo>
                  <a:pt x="170" y="66"/>
                </a:lnTo>
                <a:lnTo>
                  <a:pt x="170" y="66"/>
                </a:lnTo>
                <a:lnTo>
                  <a:pt x="166" y="66"/>
                </a:lnTo>
                <a:lnTo>
                  <a:pt x="162" y="66"/>
                </a:lnTo>
                <a:lnTo>
                  <a:pt x="162" y="66"/>
                </a:lnTo>
                <a:lnTo>
                  <a:pt x="154" y="68"/>
                </a:lnTo>
                <a:lnTo>
                  <a:pt x="146" y="72"/>
                </a:lnTo>
                <a:lnTo>
                  <a:pt x="146" y="72"/>
                </a:lnTo>
                <a:lnTo>
                  <a:pt x="146" y="76"/>
                </a:lnTo>
                <a:lnTo>
                  <a:pt x="146" y="78"/>
                </a:lnTo>
                <a:lnTo>
                  <a:pt x="146" y="78"/>
                </a:lnTo>
                <a:lnTo>
                  <a:pt x="146" y="78"/>
                </a:lnTo>
                <a:lnTo>
                  <a:pt x="144" y="86"/>
                </a:lnTo>
                <a:lnTo>
                  <a:pt x="144" y="86"/>
                </a:lnTo>
                <a:lnTo>
                  <a:pt x="142" y="86"/>
                </a:lnTo>
                <a:lnTo>
                  <a:pt x="142" y="86"/>
                </a:lnTo>
                <a:lnTo>
                  <a:pt x="142" y="90"/>
                </a:lnTo>
                <a:lnTo>
                  <a:pt x="142" y="90"/>
                </a:lnTo>
                <a:lnTo>
                  <a:pt x="138" y="90"/>
                </a:lnTo>
                <a:lnTo>
                  <a:pt x="136" y="88"/>
                </a:lnTo>
                <a:lnTo>
                  <a:pt x="134" y="86"/>
                </a:lnTo>
                <a:lnTo>
                  <a:pt x="134" y="86"/>
                </a:lnTo>
                <a:lnTo>
                  <a:pt x="132" y="84"/>
                </a:lnTo>
                <a:lnTo>
                  <a:pt x="130" y="86"/>
                </a:lnTo>
                <a:lnTo>
                  <a:pt x="130" y="86"/>
                </a:lnTo>
                <a:lnTo>
                  <a:pt x="128" y="86"/>
                </a:lnTo>
                <a:lnTo>
                  <a:pt x="128" y="86"/>
                </a:lnTo>
                <a:lnTo>
                  <a:pt x="124" y="82"/>
                </a:lnTo>
                <a:lnTo>
                  <a:pt x="124" y="82"/>
                </a:lnTo>
                <a:close/>
                <a:moveTo>
                  <a:pt x="0" y="18"/>
                </a:moveTo>
                <a:lnTo>
                  <a:pt x="0" y="18"/>
                </a:lnTo>
                <a:lnTo>
                  <a:pt x="2" y="24"/>
                </a:lnTo>
                <a:lnTo>
                  <a:pt x="4" y="28"/>
                </a:lnTo>
                <a:lnTo>
                  <a:pt x="4" y="28"/>
                </a:lnTo>
                <a:lnTo>
                  <a:pt x="4" y="32"/>
                </a:lnTo>
                <a:lnTo>
                  <a:pt x="2" y="36"/>
                </a:lnTo>
                <a:lnTo>
                  <a:pt x="2" y="36"/>
                </a:lnTo>
                <a:lnTo>
                  <a:pt x="8" y="50"/>
                </a:lnTo>
                <a:lnTo>
                  <a:pt x="8" y="50"/>
                </a:lnTo>
                <a:lnTo>
                  <a:pt x="8" y="54"/>
                </a:lnTo>
                <a:lnTo>
                  <a:pt x="8" y="56"/>
                </a:lnTo>
                <a:lnTo>
                  <a:pt x="8" y="56"/>
                </a:lnTo>
                <a:lnTo>
                  <a:pt x="10" y="58"/>
                </a:lnTo>
                <a:lnTo>
                  <a:pt x="14" y="62"/>
                </a:lnTo>
                <a:lnTo>
                  <a:pt x="14" y="62"/>
                </a:lnTo>
                <a:lnTo>
                  <a:pt x="14" y="68"/>
                </a:lnTo>
                <a:lnTo>
                  <a:pt x="16" y="72"/>
                </a:lnTo>
                <a:lnTo>
                  <a:pt x="16" y="72"/>
                </a:lnTo>
                <a:lnTo>
                  <a:pt x="20" y="76"/>
                </a:lnTo>
                <a:lnTo>
                  <a:pt x="26" y="80"/>
                </a:lnTo>
                <a:lnTo>
                  <a:pt x="26" y="80"/>
                </a:lnTo>
                <a:lnTo>
                  <a:pt x="28" y="84"/>
                </a:lnTo>
                <a:lnTo>
                  <a:pt x="28" y="84"/>
                </a:lnTo>
                <a:lnTo>
                  <a:pt x="42" y="92"/>
                </a:lnTo>
                <a:lnTo>
                  <a:pt x="42" y="90"/>
                </a:lnTo>
                <a:lnTo>
                  <a:pt x="42" y="90"/>
                </a:lnTo>
                <a:lnTo>
                  <a:pt x="46" y="88"/>
                </a:lnTo>
                <a:lnTo>
                  <a:pt x="46" y="88"/>
                </a:lnTo>
                <a:lnTo>
                  <a:pt x="52" y="88"/>
                </a:lnTo>
                <a:lnTo>
                  <a:pt x="52" y="88"/>
                </a:lnTo>
                <a:lnTo>
                  <a:pt x="52" y="82"/>
                </a:lnTo>
                <a:lnTo>
                  <a:pt x="52" y="82"/>
                </a:lnTo>
                <a:lnTo>
                  <a:pt x="50" y="78"/>
                </a:lnTo>
                <a:lnTo>
                  <a:pt x="48" y="74"/>
                </a:lnTo>
                <a:lnTo>
                  <a:pt x="48" y="74"/>
                </a:lnTo>
                <a:lnTo>
                  <a:pt x="48" y="70"/>
                </a:lnTo>
                <a:lnTo>
                  <a:pt x="48" y="70"/>
                </a:lnTo>
                <a:lnTo>
                  <a:pt x="44" y="68"/>
                </a:lnTo>
                <a:lnTo>
                  <a:pt x="42" y="66"/>
                </a:lnTo>
                <a:lnTo>
                  <a:pt x="42" y="66"/>
                </a:lnTo>
                <a:lnTo>
                  <a:pt x="42" y="58"/>
                </a:lnTo>
                <a:lnTo>
                  <a:pt x="42" y="54"/>
                </a:lnTo>
                <a:lnTo>
                  <a:pt x="42" y="54"/>
                </a:lnTo>
                <a:lnTo>
                  <a:pt x="44" y="42"/>
                </a:lnTo>
                <a:lnTo>
                  <a:pt x="40" y="34"/>
                </a:lnTo>
                <a:lnTo>
                  <a:pt x="40" y="34"/>
                </a:lnTo>
                <a:lnTo>
                  <a:pt x="38" y="32"/>
                </a:lnTo>
                <a:lnTo>
                  <a:pt x="38" y="32"/>
                </a:lnTo>
                <a:lnTo>
                  <a:pt x="36" y="24"/>
                </a:lnTo>
                <a:lnTo>
                  <a:pt x="32" y="20"/>
                </a:lnTo>
                <a:lnTo>
                  <a:pt x="32" y="20"/>
                </a:lnTo>
                <a:lnTo>
                  <a:pt x="28" y="16"/>
                </a:lnTo>
                <a:lnTo>
                  <a:pt x="24" y="14"/>
                </a:lnTo>
                <a:lnTo>
                  <a:pt x="22" y="16"/>
                </a:lnTo>
                <a:lnTo>
                  <a:pt x="22" y="24"/>
                </a:lnTo>
                <a:lnTo>
                  <a:pt x="16" y="22"/>
                </a:lnTo>
                <a:lnTo>
                  <a:pt x="16" y="26"/>
                </a:lnTo>
                <a:lnTo>
                  <a:pt x="12" y="26"/>
                </a:lnTo>
                <a:lnTo>
                  <a:pt x="12" y="20"/>
                </a:lnTo>
                <a:lnTo>
                  <a:pt x="6" y="16"/>
                </a:lnTo>
                <a:lnTo>
                  <a:pt x="0" y="18"/>
                </a:lnTo>
                <a:lnTo>
                  <a:pt x="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8" name="Freeform 142">
            <a:extLst>
              <a:ext uri="{FF2B5EF4-FFF2-40B4-BE49-F238E27FC236}">
                <a16:creationId xmlns:a16="http://schemas.microsoft.com/office/drawing/2014/main" id="{D65D3564-C915-48D7-9558-FB20F52CF05E}"/>
              </a:ext>
            </a:extLst>
          </p:cNvPr>
          <p:cNvSpPr>
            <a:spLocks/>
          </p:cNvSpPr>
          <p:nvPr userDrawn="1"/>
        </p:nvSpPr>
        <p:spPr bwMode="auto">
          <a:xfrm>
            <a:off x="6578618" y="3958638"/>
            <a:ext cx="77144" cy="216214"/>
          </a:xfrm>
          <a:custGeom>
            <a:avLst/>
            <a:gdLst>
              <a:gd name="T0" fmla="*/ 8 w 46"/>
              <a:gd name="T1" fmla="*/ 0 h 126"/>
              <a:gd name="T2" fmla="*/ 12 w 46"/>
              <a:gd name="T3" fmla="*/ 6 h 126"/>
              <a:gd name="T4" fmla="*/ 14 w 46"/>
              <a:gd name="T5" fmla="*/ 12 h 126"/>
              <a:gd name="T6" fmla="*/ 14 w 46"/>
              <a:gd name="T7" fmla="*/ 16 h 126"/>
              <a:gd name="T8" fmla="*/ 12 w 46"/>
              <a:gd name="T9" fmla="*/ 24 h 126"/>
              <a:gd name="T10" fmla="*/ 8 w 46"/>
              <a:gd name="T11" fmla="*/ 28 h 126"/>
              <a:gd name="T12" fmla="*/ 8 w 46"/>
              <a:gd name="T13" fmla="*/ 34 h 126"/>
              <a:gd name="T14" fmla="*/ 8 w 46"/>
              <a:gd name="T15" fmla="*/ 42 h 126"/>
              <a:gd name="T16" fmla="*/ 12 w 46"/>
              <a:gd name="T17" fmla="*/ 44 h 126"/>
              <a:gd name="T18" fmla="*/ 10 w 46"/>
              <a:gd name="T19" fmla="*/ 48 h 126"/>
              <a:gd name="T20" fmla="*/ 2 w 46"/>
              <a:gd name="T21" fmla="*/ 54 h 126"/>
              <a:gd name="T22" fmla="*/ 2 w 46"/>
              <a:gd name="T23" fmla="*/ 64 h 126"/>
              <a:gd name="T24" fmla="*/ 0 w 46"/>
              <a:gd name="T25" fmla="*/ 72 h 126"/>
              <a:gd name="T26" fmla="*/ 2 w 46"/>
              <a:gd name="T27" fmla="*/ 80 h 126"/>
              <a:gd name="T28" fmla="*/ 8 w 46"/>
              <a:gd name="T29" fmla="*/ 86 h 126"/>
              <a:gd name="T30" fmla="*/ 10 w 46"/>
              <a:gd name="T31" fmla="*/ 90 h 126"/>
              <a:gd name="T32" fmla="*/ 20 w 46"/>
              <a:gd name="T33" fmla="*/ 88 h 126"/>
              <a:gd name="T34" fmla="*/ 22 w 46"/>
              <a:gd name="T35" fmla="*/ 94 h 126"/>
              <a:gd name="T36" fmla="*/ 20 w 46"/>
              <a:gd name="T37" fmla="*/ 104 h 126"/>
              <a:gd name="T38" fmla="*/ 20 w 46"/>
              <a:gd name="T39" fmla="*/ 110 h 126"/>
              <a:gd name="T40" fmla="*/ 32 w 46"/>
              <a:gd name="T41" fmla="*/ 120 h 126"/>
              <a:gd name="T42" fmla="*/ 32 w 46"/>
              <a:gd name="T43" fmla="*/ 126 h 126"/>
              <a:gd name="T44" fmla="*/ 38 w 46"/>
              <a:gd name="T45" fmla="*/ 124 h 126"/>
              <a:gd name="T46" fmla="*/ 38 w 46"/>
              <a:gd name="T47" fmla="*/ 120 h 126"/>
              <a:gd name="T48" fmla="*/ 38 w 46"/>
              <a:gd name="T49" fmla="*/ 106 h 126"/>
              <a:gd name="T50" fmla="*/ 44 w 46"/>
              <a:gd name="T51" fmla="*/ 106 h 126"/>
              <a:gd name="T52" fmla="*/ 44 w 46"/>
              <a:gd name="T53" fmla="*/ 100 h 126"/>
              <a:gd name="T54" fmla="*/ 46 w 46"/>
              <a:gd name="T55" fmla="*/ 90 h 126"/>
              <a:gd name="T56" fmla="*/ 44 w 46"/>
              <a:gd name="T57" fmla="*/ 86 h 126"/>
              <a:gd name="T58" fmla="*/ 40 w 46"/>
              <a:gd name="T59" fmla="*/ 80 h 126"/>
              <a:gd name="T60" fmla="*/ 36 w 46"/>
              <a:gd name="T61" fmla="*/ 70 h 126"/>
              <a:gd name="T62" fmla="*/ 34 w 46"/>
              <a:gd name="T63" fmla="*/ 70 h 126"/>
              <a:gd name="T64" fmla="*/ 36 w 46"/>
              <a:gd name="T65" fmla="*/ 72 h 126"/>
              <a:gd name="T66" fmla="*/ 32 w 46"/>
              <a:gd name="T67" fmla="*/ 74 h 126"/>
              <a:gd name="T68" fmla="*/ 30 w 46"/>
              <a:gd name="T69" fmla="*/ 74 h 126"/>
              <a:gd name="T70" fmla="*/ 30 w 46"/>
              <a:gd name="T71" fmla="*/ 66 h 126"/>
              <a:gd name="T72" fmla="*/ 26 w 46"/>
              <a:gd name="T73" fmla="*/ 64 h 126"/>
              <a:gd name="T74" fmla="*/ 26 w 46"/>
              <a:gd name="T75" fmla="*/ 58 h 126"/>
              <a:gd name="T76" fmla="*/ 26 w 46"/>
              <a:gd name="T77" fmla="*/ 54 h 126"/>
              <a:gd name="T78" fmla="*/ 24 w 46"/>
              <a:gd name="T79" fmla="*/ 48 h 126"/>
              <a:gd name="T80" fmla="*/ 22 w 46"/>
              <a:gd name="T81" fmla="*/ 42 h 126"/>
              <a:gd name="T82" fmla="*/ 26 w 46"/>
              <a:gd name="T83" fmla="*/ 32 h 126"/>
              <a:gd name="T84" fmla="*/ 24 w 46"/>
              <a:gd name="T85" fmla="*/ 10 h 126"/>
              <a:gd name="T86" fmla="*/ 22 w 46"/>
              <a:gd name="T87"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26">
                <a:moveTo>
                  <a:pt x="24" y="2"/>
                </a:moveTo>
                <a:lnTo>
                  <a:pt x="22" y="2"/>
                </a:lnTo>
                <a:lnTo>
                  <a:pt x="8" y="0"/>
                </a:lnTo>
                <a:lnTo>
                  <a:pt x="8" y="0"/>
                </a:lnTo>
                <a:lnTo>
                  <a:pt x="10" y="2"/>
                </a:lnTo>
                <a:lnTo>
                  <a:pt x="12" y="6"/>
                </a:lnTo>
                <a:lnTo>
                  <a:pt x="12" y="6"/>
                </a:lnTo>
                <a:lnTo>
                  <a:pt x="14" y="8"/>
                </a:lnTo>
                <a:lnTo>
                  <a:pt x="14" y="12"/>
                </a:lnTo>
                <a:lnTo>
                  <a:pt x="14" y="14"/>
                </a:lnTo>
                <a:lnTo>
                  <a:pt x="14" y="16"/>
                </a:lnTo>
                <a:lnTo>
                  <a:pt x="14" y="16"/>
                </a:lnTo>
                <a:lnTo>
                  <a:pt x="16" y="18"/>
                </a:lnTo>
                <a:lnTo>
                  <a:pt x="14" y="20"/>
                </a:lnTo>
                <a:lnTo>
                  <a:pt x="12" y="24"/>
                </a:lnTo>
                <a:lnTo>
                  <a:pt x="12" y="24"/>
                </a:lnTo>
                <a:lnTo>
                  <a:pt x="8" y="26"/>
                </a:lnTo>
                <a:lnTo>
                  <a:pt x="8" y="28"/>
                </a:lnTo>
                <a:lnTo>
                  <a:pt x="8" y="30"/>
                </a:lnTo>
                <a:lnTo>
                  <a:pt x="8" y="30"/>
                </a:lnTo>
                <a:lnTo>
                  <a:pt x="8" y="34"/>
                </a:lnTo>
                <a:lnTo>
                  <a:pt x="8" y="40"/>
                </a:lnTo>
                <a:lnTo>
                  <a:pt x="8" y="40"/>
                </a:lnTo>
                <a:lnTo>
                  <a:pt x="8" y="42"/>
                </a:lnTo>
                <a:lnTo>
                  <a:pt x="10" y="42"/>
                </a:lnTo>
                <a:lnTo>
                  <a:pt x="10" y="42"/>
                </a:lnTo>
                <a:lnTo>
                  <a:pt x="12" y="44"/>
                </a:lnTo>
                <a:lnTo>
                  <a:pt x="12" y="44"/>
                </a:lnTo>
                <a:lnTo>
                  <a:pt x="12" y="46"/>
                </a:lnTo>
                <a:lnTo>
                  <a:pt x="10" y="48"/>
                </a:lnTo>
                <a:lnTo>
                  <a:pt x="4" y="52"/>
                </a:lnTo>
                <a:lnTo>
                  <a:pt x="4" y="52"/>
                </a:lnTo>
                <a:lnTo>
                  <a:pt x="2" y="54"/>
                </a:lnTo>
                <a:lnTo>
                  <a:pt x="2" y="58"/>
                </a:lnTo>
                <a:lnTo>
                  <a:pt x="2" y="64"/>
                </a:lnTo>
                <a:lnTo>
                  <a:pt x="2" y="64"/>
                </a:lnTo>
                <a:lnTo>
                  <a:pt x="2" y="66"/>
                </a:lnTo>
                <a:lnTo>
                  <a:pt x="2" y="68"/>
                </a:lnTo>
                <a:lnTo>
                  <a:pt x="0" y="72"/>
                </a:lnTo>
                <a:lnTo>
                  <a:pt x="0" y="72"/>
                </a:lnTo>
                <a:lnTo>
                  <a:pt x="2" y="80"/>
                </a:lnTo>
                <a:lnTo>
                  <a:pt x="2" y="80"/>
                </a:lnTo>
                <a:lnTo>
                  <a:pt x="4" y="82"/>
                </a:lnTo>
                <a:lnTo>
                  <a:pt x="8" y="86"/>
                </a:lnTo>
                <a:lnTo>
                  <a:pt x="8" y="86"/>
                </a:lnTo>
                <a:lnTo>
                  <a:pt x="8" y="90"/>
                </a:lnTo>
                <a:lnTo>
                  <a:pt x="10" y="90"/>
                </a:lnTo>
                <a:lnTo>
                  <a:pt x="10" y="90"/>
                </a:lnTo>
                <a:lnTo>
                  <a:pt x="10" y="90"/>
                </a:lnTo>
                <a:lnTo>
                  <a:pt x="20" y="88"/>
                </a:lnTo>
                <a:lnTo>
                  <a:pt x="20" y="88"/>
                </a:lnTo>
                <a:lnTo>
                  <a:pt x="20" y="90"/>
                </a:lnTo>
                <a:lnTo>
                  <a:pt x="22" y="94"/>
                </a:lnTo>
                <a:lnTo>
                  <a:pt x="22" y="94"/>
                </a:lnTo>
                <a:lnTo>
                  <a:pt x="22" y="98"/>
                </a:lnTo>
                <a:lnTo>
                  <a:pt x="20" y="104"/>
                </a:lnTo>
                <a:lnTo>
                  <a:pt x="20" y="104"/>
                </a:lnTo>
                <a:lnTo>
                  <a:pt x="18" y="108"/>
                </a:lnTo>
                <a:lnTo>
                  <a:pt x="20" y="110"/>
                </a:lnTo>
                <a:lnTo>
                  <a:pt x="20" y="110"/>
                </a:lnTo>
                <a:lnTo>
                  <a:pt x="28" y="118"/>
                </a:lnTo>
                <a:lnTo>
                  <a:pt x="28" y="118"/>
                </a:lnTo>
                <a:lnTo>
                  <a:pt x="32" y="120"/>
                </a:lnTo>
                <a:lnTo>
                  <a:pt x="32" y="120"/>
                </a:lnTo>
                <a:lnTo>
                  <a:pt x="32" y="124"/>
                </a:lnTo>
                <a:lnTo>
                  <a:pt x="32" y="126"/>
                </a:lnTo>
                <a:lnTo>
                  <a:pt x="34" y="126"/>
                </a:lnTo>
                <a:lnTo>
                  <a:pt x="34" y="126"/>
                </a:lnTo>
                <a:lnTo>
                  <a:pt x="38" y="124"/>
                </a:lnTo>
                <a:lnTo>
                  <a:pt x="38" y="122"/>
                </a:lnTo>
                <a:lnTo>
                  <a:pt x="38" y="120"/>
                </a:lnTo>
                <a:lnTo>
                  <a:pt x="38" y="120"/>
                </a:lnTo>
                <a:lnTo>
                  <a:pt x="36" y="112"/>
                </a:lnTo>
                <a:lnTo>
                  <a:pt x="36" y="108"/>
                </a:lnTo>
                <a:lnTo>
                  <a:pt x="38" y="106"/>
                </a:lnTo>
                <a:lnTo>
                  <a:pt x="38" y="106"/>
                </a:lnTo>
                <a:lnTo>
                  <a:pt x="42" y="108"/>
                </a:lnTo>
                <a:lnTo>
                  <a:pt x="44" y="106"/>
                </a:lnTo>
                <a:lnTo>
                  <a:pt x="46" y="104"/>
                </a:lnTo>
                <a:lnTo>
                  <a:pt x="46" y="104"/>
                </a:lnTo>
                <a:lnTo>
                  <a:pt x="44" y="100"/>
                </a:lnTo>
                <a:lnTo>
                  <a:pt x="44" y="96"/>
                </a:lnTo>
                <a:lnTo>
                  <a:pt x="44" y="96"/>
                </a:lnTo>
                <a:lnTo>
                  <a:pt x="46" y="90"/>
                </a:lnTo>
                <a:lnTo>
                  <a:pt x="46" y="86"/>
                </a:lnTo>
                <a:lnTo>
                  <a:pt x="44" y="86"/>
                </a:lnTo>
                <a:lnTo>
                  <a:pt x="44" y="86"/>
                </a:lnTo>
                <a:lnTo>
                  <a:pt x="42" y="84"/>
                </a:lnTo>
                <a:lnTo>
                  <a:pt x="40" y="80"/>
                </a:lnTo>
                <a:lnTo>
                  <a:pt x="40" y="80"/>
                </a:lnTo>
                <a:lnTo>
                  <a:pt x="38" y="74"/>
                </a:lnTo>
                <a:lnTo>
                  <a:pt x="36" y="70"/>
                </a:lnTo>
                <a:lnTo>
                  <a:pt x="36" y="70"/>
                </a:lnTo>
                <a:lnTo>
                  <a:pt x="34" y="68"/>
                </a:lnTo>
                <a:lnTo>
                  <a:pt x="34" y="68"/>
                </a:lnTo>
                <a:lnTo>
                  <a:pt x="34" y="70"/>
                </a:lnTo>
                <a:lnTo>
                  <a:pt x="34" y="70"/>
                </a:lnTo>
                <a:lnTo>
                  <a:pt x="36" y="72"/>
                </a:lnTo>
                <a:lnTo>
                  <a:pt x="36" y="72"/>
                </a:lnTo>
                <a:lnTo>
                  <a:pt x="36" y="76"/>
                </a:lnTo>
                <a:lnTo>
                  <a:pt x="36" y="76"/>
                </a:lnTo>
                <a:lnTo>
                  <a:pt x="32" y="74"/>
                </a:lnTo>
                <a:lnTo>
                  <a:pt x="32" y="74"/>
                </a:lnTo>
                <a:lnTo>
                  <a:pt x="30" y="74"/>
                </a:lnTo>
                <a:lnTo>
                  <a:pt x="30" y="74"/>
                </a:lnTo>
                <a:lnTo>
                  <a:pt x="30" y="74"/>
                </a:lnTo>
                <a:lnTo>
                  <a:pt x="30" y="70"/>
                </a:lnTo>
                <a:lnTo>
                  <a:pt x="30" y="66"/>
                </a:lnTo>
                <a:lnTo>
                  <a:pt x="30" y="66"/>
                </a:lnTo>
                <a:lnTo>
                  <a:pt x="26" y="64"/>
                </a:lnTo>
                <a:lnTo>
                  <a:pt x="26" y="64"/>
                </a:lnTo>
                <a:lnTo>
                  <a:pt x="26" y="60"/>
                </a:lnTo>
                <a:lnTo>
                  <a:pt x="26" y="58"/>
                </a:lnTo>
                <a:lnTo>
                  <a:pt x="26" y="58"/>
                </a:lnTo>
                <a:lnTo>
                  <a:pt x="26" y="58"/>
                </a:lnTo>
                <a:lnTo>
                  <a:pt x="28" y="56"/>
                </a:lnTo>
                <a:lnTo>
                  <a:pt x="26" y="54"/>
                </a:lnTo>
                <a:lnTo>
                  <a:pt x="24" y="52"/>
                </a:lnTo>
                <a:lnTo>
                  <a:pt x="24" y="52"/>
                </a:lnTo>
                <a:lnTo>
                  <a:pt x="24" y="48"/>
                </a:lnTo>
                <a:lnTo>
                  <a:pt x="26" y="42"/>
                </a:lnTo>
                <a:lnTo>
                  <a:pt x="26" y="42"/>
                </a:lnTo>
                <a:lnTo>
                  <a:pt x="22" y="42"/>
                </a:lnTo>
                <a:lnTo>
                  <a:pt x="22" y="42"/>
                </a:lnTo>
                <a:lnTo>
                  <a:pt x="22" y="38"/>
                </a:lnTo>
                <a:lnTo>
                  <a:pt x="26" y="32"/>
                </a:lnTo>
                <a:lnTo>
                  <a:pt x="26" y="32"/>
                </a:lnTo>
                <a:lnTo>
                  <a:pt x="26" y="22"/>
                </a:lnTo>
                <a:lnTo>
                  <a:pt x="24" y="10"/>
                </a:lnTo>
                <a:lnTo>
                  <a:pt x="24" y="10"/>
                </a:lnTo>
                <a:lnTo>
                  <a:pt x="24" y="6"/>
                </a:lnTo>
                <a:lnTo>
                  <a:pt x="22" y="2"/>
                </a:lnTo>
                <a:lnTo>
                  <a:pt x="24" y="2"/>
                </a:lnTo>
                <a:lnTo>
                  <a:pt x="2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9" name="Freeform 143">
            <a:extLst>
              <a:ext uri="{FF2B5EF4-FFF2-40B4-BE49-F238E27FC236}">
                <a16:creationId xmlns:a16="http://schemas.microsoft.com/office/drawing/2014/main" id="{E00CB419-F07B-48E0-8389-B4E9AA0CBAFB}"/>
              </a:ext>
            </a:extLst>
          </p:cNvPr>
          <p:cNvSpPr>
            <a:spLocks/>
          </p:cNvSpPr>
          <p:nvPr userDrawn="1"/>
        </p:nvSpPr>
        <p:spPr bwMode="auto">
          <a:xfrm>
            <a:off x="6813403" y="4047868"/>
            <a:ext cx="171058" cy="380949"/>
          </a:xfrm>
          <a:custGeom>
            <a:avLst/>
            <a:gdLst>
              <a:gd name="T0" fmla="*/ 78 w 102"/>
              <a:gd name="T1" fmla="*/ 6 h 222"/>
              <a:gd name="T2" fmla="*/ 72 w 102"/>
              <a:gd name="T3" fmla="*/ 24 h 222"/>
              <a:gd name="T4" fmla="*/ 68 w 102"/>
              <a:gd name="T5" fmla="*/ 26 h 222"/>
              <a:gd name="T6" fmla="*/ 66 w 102"/>
              <a:gd name="T7" fmla="*/ 36 h 222"/>
              <a:gd name="T8" fmla="*/ 66 w 102"/>
              <a:gd name="T9" fmla="*/ 40 h 222"/>
              <a:gd name="T10" fmla="*/ 62 w 102"/>
              <a:gd name="T11" fmla="*/ 46 h 222"/>
              <a:gd name="T12" fmla="*/ 56 w 102"/>
              <a:gd name="T13" fmla="*/ 44 h 222"/>
              <a:gd name="T14" fmla="*/ 54 w 102"/>
              <a:gd name="T15" fmla="*/ 54 h 222"/>
              <a:gd name="T16" fmla="*/ 46 w 102"/>
              <a:gd name="T17" fmla="*/ 56 h 222"/>
              <a:gd name="T18" fmla="*/ 36 w 102"/>
              <a:gd name="T19" fmla="*/ 56 h 222"/>
              <a:gd name="T20" fmla="*/ 34 w 102"/>
              <a:gd name="T21" fmla="*/ 60 h 222"/>
              <a:gd name="T22" fmla="*/ 24 w 102"/>
              <a:gd name="T23" fmla="*/ 64 h 222"/>
              <a:gd name="T24" fmla="*/ 20 w 102"/>
              <a:gd name="T25" fmla="*/ 70 h 222"/>
              <a:gd name="T26" fmla="*/ 16 w 102"/>
              <a:gd name="T27" fmla="*/ 76 h 222"/>
              <a:gd name="T28" fmla="*/ 10 w 102"/>
              <a:gd name="T29" fmla="*/ 82 h 222"/>
              <a:gd name="T30" fmla="*/ 14 w 102"/>
              <a:gd name="T31" fmla="*/ 100 h 222"/>
              <a:gd name="T32" fmla="*/ 18 w 102"/>
              <a:gd name="T33" fmla="*/ 114 h 222"/>
              <a:gd name="T34" fmla="*/ 18 w 102"/>
              <a:gd name="T35" fmla="*/ 124 h 222"/>
              <a:gd name="T36" fmla="*/ 14 w 102"/>
              <a:gd name="T37" fmla="*/ 132 h 222"/>
              <a:gd name="T38" fmla="*/ 8 w 102"/>
              <a:gd name="T39" fmla="*/ 136 h 222"/>
              <a:gd name="T40" fmla="*/ 2 w 102"/>
              <a:gd name="T41" fmla="*/ 150 h 222"/>
              <a:gd name="T42" fmla="*/ 2 w 102"/>
              <a:gd name="T43" fmla="*/ 156 h 222"/>
              <a:gd name="T44" fmla="*/ 4 w 102"/>
              <a:gd name="T45" fmla="*/ 184 h 222"/>
              <a:gd name="T46" fmla="*/ 8 w 102"/>
              <a:gd name="T47" fmla="*/ 188 h 222"/>
              <a:gd name="T48" fmla="*/ 12 w 102"/>
              <a:gd name="T49" fmla="*/ 204 h 222"/>
              <a:gd name="T50" fmla="*/ 20 w 102"/>
              <a:gd name="T51" fmla="*/ 216 h 222"/>
              <a:gd name="T52" fmla="*/ 30 w 102"/>
              <a:gd name="T53" fmla="*/ 222 h 222"/>
              <a:gd name="T54" fmla="*/ 40 w 102"/>
              <a:gd name="T55" fmla="*/ 218 h 222"/>
              <a:gd name="T56" fmla="*/ 52 w 102"/>
              <a:gd name="T57" fmla="*/ 212 h 222"/>
              <a:gd name="T58" fmla="*/ 54 w 102"/>
              <a:gd name="T59" fmla="*/ 208 h 222"/>
              <a:gd name="T60" fmla="*/ 60 w 102"/>
              <a:gd name="T61" fmla="*/ 184 h 222"/>
              <a:gd name="T62" fmla="*/ 68 w 102"/>
              <a:gd name="T63" fmla="*/ 162 h 222"/>
              <a:gd name="T64" fmla="*/ 70 w 102"/>
              <a:gd name="T65" fmla="*/ 156 h 222"/>
              <a:gd name="T66" fmla="*/ 74 w 102"/>
              <a:gd name="T67" fmla="*/ 148 h 222"/>
              <a:gd name="T68" fmla="*/ 76 w 102"/>
              <a:gd name="T69" fmla="*/ 132 h 222"/>
              <a:gd name="T70" fmla="*/ 80 w 102"/>
              <a:gd name="T71" fmla="*/ 118 h 222"/>
              <a:gd name="T72" fmla="*/ 84 w 102"/>
              <a:gd name="T73" fmla="*/ 108 h 222"/>
              <a:gd name="T74" fmla="*/ 88 w 102"/>
              <a:gd name="T75" fmla="*/ 98 h 222"/>
              <a:gd name="T76" fmla="*/ 88 w 102"/>
              <a:gd name="T77" fmla="*/ 82 h 222"/>
              <a:gd name="T78" fmla="*/ 92 w 102"/>
              <a:gd name="T79" fmla="*/ 78 h 222"/>
              <a:gd name="T80" fmla="*/ 94 w 102"/>
              <a:gd name="T81" fmla="*/ 74 h 222"/>
              <a:gd name="T82" fmla="*/ 90 w 102"/>
              <a:gd name="T83" fmla="*/ 64 h 222"/>
              <a:gd name="T84" fmla="*/ 90 w 102"/>
              <a:gd name="T85" fmla="*/ 52 h 222"/>
              <a:gd name="T86" fmla="*/ 98 w 102"/>
              <a:gd name="T87" fmla="*/ 60 h 222"/>
              <a:gd name="T88" fmla="*/ 102 w 102"/>
              <a:gd name="T89" fmla="*/ 40 h 222"/>
              <a:gd name="T90" fmla="*/ 98 w 102"/>
              <a:gd name="T91" fmla="*/ 28 h 222"/>
              <a:gd name="T92" fmla="*/ 96 w 102"/>
              <a:gd name="T93" fmla="*/ 18 h 222"/>
              <a:gd name="T94" fmla="*/ 92 w 102"/>
              <a:gd name="T95" fmla="*/ 8 h 222"/>
              <a:gd name="T96" fmla="*/ 86 w 102"/>
              <a:gd name="T97" fmla="*/ 4 h 222"/>
              <a:gd name="T98" fmla="*/ 84 w 102"/>
              <a:gd name="T99" fmla="*/ 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 h="222">
                <a:moveTo>
                  <a:pt x="82" y="0"/>
                </a:moveTo>
                <a:lnTo>
                  <a:pt x="82" y="0"/>
                </a:lnTo>
                <a:lnTo>
                  <a:pt x="78" y="6"/>
                </a:lnTo>
                <a:lnTo>
                  <a:pt x="78" y="6"/>
                </a:lnTo>
                <a:lnTo>
                  <a:pt x="78" y="16"/>
                </a:lnTo>
                <a:lnTo>
                  <a:pt x="78" y="24"/>
                </a:lnTo>
                <a:lnTo>
                  <a:pt x="78" y="24"/>
                </a:lnTo>
                <a:lnTo>
                  <a:pt x="72" y="24"/>
                </a:lnTo>
                <a:lnTo>
                  <a:pt x="72" y="26"/>
                </a:lnTo>
                <a:lnTo>
                  <a:pt x="72" y="26"/>
                </a:lnTo>
                <a:lnTo>
                  <a:pt x="70" y="28"/>
                </a:lnTo>
                <a:lnTo>
                  <a:pt x="68" y="26"/>
                </a:lnTo>
                <a:lnTo>
                  <a:pt x="68" y="26"/>
                </a:lnTo>
                <a:lnTo>
                  <a:pt x="68" y="36"/>
                </a:lnTo>
                <a:lnTo>
                  <a:pt x="68" y="36"/>
                </a:lnTo>
                <a:lnTo>
                  <a:pt x="66" y="36"/>
                </a:lnTo>
                <a:lnTo>
                  <a:pt x="66" y="36"/>
                </a:lnTo>
                <a:lnTo>
                  <a:pt x="66" y="38"/>
                </a:lnTo>
                <a:lnTo>
                  <a:pt x="66" y="40"/>
                </a:lnTo>
                <a:lnTo>
                  <a:pt x="66" y="40"/>
                </a:lnTo>
                <a:lnTo>
                  <a:pt x="64" y="40"/>
                </a:lnTo>
                <a:lnTo>
                  <a:pt x="64" y="40"/>
                </a:lnTo>
                <a:lnTo>
                  <a:pt x="62" y="46"/>
                </a:lnTo>
                <a:lnTo>
                  <a:pt x="62" y="46"/>
                </a:lnTo>
                <a:lnTo>
                  <a:pt x="58" y="42"/>
                </a:lnTo>
                <a:lnTo>
                  <a:pt x="58" y="42"/>
                </a:lnTo>
                <a:lnTo>
                  <a:pt x="56" y="44"/>
                </a:lnTo>
                <a:lnTo>
                  <a:pt x="56" y="44"/>
                </a:lnTo>
                <a:lnTo>
                  <a:pt x="56" y="50"/>
                </a:lnTo>
                <a:lnTo>
                  <a:pt x="56" y="54"/>
                </a:lnTo>
                <a:lnTo>
                  <a:pt x="56" y="54"/>
                </a:lnTo>
                <a:lnTo>
                  <a:pt x="54" y="54"/>
                </a:lnTo>
                <a:lnTo>
                  <a:pt x="54" y="52"/>
                </a:lnTo>
                <a:lnTo>
                  <a:pt x="54" y="52"/>
                </a:lnTo>
                <a:lnTo>
                  <a:pt x="50" y="54"/>
                </a:lnTo>
                <a:lnTo>
                  <a:pt x="46" y="56"/>
                </a:lnTo>
                <a:lnTo>
                  <a:pt x="44" y="58"/>
                </a:lnTo>
                <a:lnTo>
                  <a:pt x="44" y="58"/>
                </a:lnTo>
                <a:lnTo>
                  <a:pt x="36" y="56"/>
                </a:lnTo>
                <a:lnTo>
                  <a:pt x="36" y="56"/>
                </a:lnTo>
                <a:lnTo>
                  <a:pt x="36" y="58"/>
                </a:lnTo>
                <a:lnTo>
                  <a:pt x="36" y="60"/>
                </a:lnTo>
                <a:lnTo>
                  <a:pt x="36" y="60"/>
                </a:lnTo>
                <a:lnTo>
                  <a:pt x="34" y="60"/>
                </a:lnTo>
                <a:lnTo>
                  <a:pt x="32" y="60"/>
                </a:lnTo>
                <a:lnTo>
                  <a:pt x="30" y="62"/>
                </a:lnTo>
                <a:lnTo>
                  <a:pt x="30" y="62"/>
                </a:lnTo>
                <a:lnTo>
                  <a:pt x="24" y="64"/>
                </a:lnTo>
                <a:lnTo>
                  <a:pt x="24" y="64"/>
                </a:lnTo>
                <a:lnTo>
                  <a:pt x="22" y="68"/>
                </a:lnTo>
                <a:lnTo>
                  <a:pt x="22" y="68"/>
                </a:lnTo>
                <a:lnTo>
                  <a:pt x="20" y="70"/>
                </a:lnTo>
                <a:lnTo>
                  <a:pt x="16" y="72"/>
                </a:lnTo>
                <a:lnTo>
                  <a:pt x="16" y="72"/>
                </a:lnTo>
                <a:lnTo>
                  <a:pt x="16" y="72"/>
                </a:lnTo>
                <a:lnTo>
                  <a:pt x="16" y="76"/>
                </a:lnTo>
                <a:lnTo>
                  <a:pt x="16" y="76"/>
                </a:lnTo>
                <a:lnTo>
                  <a:pt x="14" y="78"/>
                </a:lnTo>
                <a:lnTo>
                  <a:pt x="10" y="82"/>
                </a:lnTo>
                <a:lnTo>
                  <a:pt x="10" y="82"/>
                </a:lnTo>
                <a:lnTo>
                  <a:pt x="10" y="88"/>
                </a:lnTo>
                <a:lnTo>
                  <a:pt x="12" y="92"/>
                </a:lnTo>
                <a:lnTo>
                  <a:pt x="14" y="100"/>
                </a:lnTo>
                <a:lnTo>
                  <a:pt x="14" y="100"/>
                </a:lnTo>
                <a:lnTo>
                  <a:pt x="16" y="106"/>
                </a:lnTo>
                <a:lnTo>
                  <a:pt x="16" y="112"/>
                </a:lnTo>
                <a:lnTo>
                  <a:pt x="16" y="112"/>
                </a:lnTo>
                <a:lnTo>
                  <a:pt x="18" y="114"/>
                </a:lnTo>
                <a:lnTo>
                  <a:pt x="18" y="114"/>
                </a:lnTo>
                <a:lnTo>
                  <a:pt x="18" y="120"/>
                </a:lnTo>
                <a:lnTo>
                  <a:pt x="18" y="124"/>
                </a:lnTo>
                <a:lnTo>
                  <a:pt x="18" y="124"/>
                </a:lnTo>
                <a:lnTo>
                  <a:pt x="16" y="126"/>
                </a:lnTo>
                <a:lnTo>
                  <a:pt x="16" y="126"/>
                </a:lnTo>
                <a:lnTo>
                  <a:pt x="16" y="130"/>
                </a:lnTo>
                <a:lnTo>
                  <a:pt x="14" y="132"/>
                </a:lnTo>
                <a:lnTo>
                  <a:pt x="14" y="132"/>
                </a:lnTo>
                <a:lnTo>
                  <a:pt x="12" y="134"/>
                </a:lnTo>
                <a:lnTo>
                  <a:pt x="8" y="136"/>
                </a:lnTo>
                <a:lnTo>
                  <a:pt x="8" y="136"/>
                </a:lnTo>
                <a:lnTo>
                  <a:pt x="8" y="140"/>
                </a:lnTo>
                <a:lnTo>
                  <a:pt x="8" y="142"/>
                </a:lnTo>
                <a:lnTo>
                  <a:pt x="8" y="144"/>
                </a:lnTo>
                <a:lnTo>
                  <a:pt x="2" y="150"/>
                </a:lnTo>
                <a:lnTo>
                  <a:pt x="2" y="150"/>
                </a:lnTo>
                <a:lnTo>
                  <a:pt x="2" y="152"/>
                </a:lnTo>
                <a:lnTo>
                  <a:pt x="2" y="156"/>
                </a:lnTo>
                <a:lnTo>
                  <a:pt x="2" y="156"/>
                </a:lnTo>
                <a:lnTo>
                  <a:pt x="0" y="160"/>
                </a:lnTo>
                <a:lnTo>
                  <a:pt x="0" y="160"/>
                </a:lnTo>
                <a:lnTo>
                  <a:pt x="0" y="172"/>
                </a:lnTo>
                <a:lnTo>
                  <a:pt x="4" y="184"/>
                </a:lnTo>
                <a:lnTo>
                  <a:pt x="4" y="184"/>
                </a:lnTo>
                <a:lnTo>
                  <a:pt x="8" y="186"/>
                </a:lnTo>
                <a:lnTo>
                  <a:pt x="8" y="186"/>
                </a:lnTo>
                <a:lnTo>
                  <a:pt x="8" y="188"/>
                </a:lnTo>
                <a:lnTo>
                  <a:pt x="6" y="190"/>
                </a:lnTo>
                <a:lnTo>
                  <a:pt x="8" y="192"/>
                </a:lnTo>
                <a:lnTo>
                  <a:pt x="8" y="192"/>
                </a:lnTo>
                <a:lnTo>
                  <a:pt x="12" y="204"/>
                </a:lnTo>
                <a:lnTo>
                  <a:pt x="12" y="210"/>
                </a:lnTo>
                <a:lnTo>
                  <a:pt x="16" y="214"/>
                </a:lnTo>
                <a:lnTo>
                  <a:pt x="16" y="214"/>
                </a:lnTo>
                <a:lnTo>
                  <a:pt x="20" y="216"/>
                </a:lnTo>
                <a:lnTo>
                  <a:pt x="26" y="218"/>
                </a:lnTo>
                <a:lnTo>
                  <a:pt x="26" y="218"/>
                </a:lnTo>
                <a:lnTo>
                  <a:pt x="30" y="222"/>
                </a:lnTo>
                <a:lnTo>
                  <a:pt x="30" y="222"/>
                </a:lnTo>
                <a:lnTo>
                  <a:pt x="34" y="222"/>
                </a:lnTo>
                <a:lnTo>
                  <a:pt x="36" y="222"/>
                </a:lnTo>
                <a:lnTo>
                  <a:pt x="40" y="218"/>
                </a:lnTo>
                <a:lnTo>
                  <a:pt x="40" y="218"/>
                </a:lnTo>
                <a:lnTo>
                  <a:pt x="46" y="216"/>
                </a:lnTo>
                <a:lnTo>
                  <a:pt x="50" y="214"/>
                </a:lnTo>
                <a:lnTo>
                  <a:pt x="52" y="212"/>
                </a:lnTo>
                <a:lnTo>
                  <a:pt x="52" y="212"/>
                </a:lnTo>
                <a:lnTo>
                  <a:pt x="52" y="208"/>
                </a:lnTo>
                <a:lnTo>
                  <a:pt x="52" y="208"/>
                </a:lnTo>
                <a:lnTo>
                  <a:pt x="54" y="208"/>
                </a:lnTo>
                <a:lnTo>
                  <a:pt x="54" y="208"/>
                </a:lnTo>
                <a:lnTo>
                  <a:pt x="58" y="194"/>
                </a:lnTo>
                <a:lnTo>
                  <a:pt x="58" y="194"/>
                </a:lnTo>
                <a:lnTo>
                  <a:pt x="60" y="184"/>
                </a:lnTo>
                <a:lnTo>
                  <a:pt x="60" y="184"/>
                </a:lnTo>
                <a:lnTo>
                  <a:pt x="66" y="176"/>
                </a:lnTo>
                <a:lnTo>
                  <a:pt x="66" y="176"/>
                </a:lnTo>
                <a:lnTo>
                  <a:pt x="66" y="170"/>
                </a:lnTo>
                <a:lnTo>
                  <a:pt x="68" y="162"/>
                </a:lnTo>
                <a:lnTo>
                  <a:pt x="70" y="160"/>
                </a:lnTo>
                <a:lnTo>
                  <a:pt x="70" y="160"/>
                </a:lnTo>
                <a:lnTo>
                  <a:pt x="70" y="156"/>
                </a:lnTo>
                <a:lnTo>
                  <a:pt x="70" y="156"/>
                </a:lnTo>
                <a:lnTo>
                  <a:pt x="70" y="152"/>
                </a:lnTo>
                <a:lnTo>
                  <a:pt x="70" y="152"/>
                </a:lnTo>
                <a:lnTo>
                  <a:pt x="74" y="148"/>
                </a:lnTo>
                <a:lnTo>
                  <a:pt x="74" y="148"/>
                </a:lnTo>
                <a:lnTo>
                  <a:pt x="74" y="142"/>
                </a:lnTo>
                <a:lnTo>
                  <a:pt x="74" y="142"/>
                </a:lnTo>
                <a:lnTo>
                  <a:pt x="76" y="132"/>
                </a:lnTo>
                <a:lnTo>
                  <a:pt x="76" y="132"/>
                </a:lnTo>
                <a:lnTo>
                  <a:pt x="76" y="128"/>
                </a:lnTo>
                <a:lnTo>
                  <a:pt x="76" y="124"/>
                </a:lnTo>
                <a:lnTo>
                  <a:pt x="76" y="124"/>
                </a:lnTo>
                <a:lnTo>
                  <a:pt x="80" y="118"/>
                </a:lnTo>
                <a:lnTo>
                  <a:pt x="80" y="118"/>
                </a:lnTo>
                <a:lnTo>
                  <a:pt x="80" y="112"/>
                </a:lnTo>
                <a:lnTo>
                  <a:pt x="80" y="112"/>
                </a:lnTo>
                <a:lnTo>
                  <a:pt x="84" y="108"/>
                </a:lnTo>
                <a:lnTo>
                  <a:pt x="84" y="108"/>
                </a:lnTo>
                <a:lnTo>
                  <a:pt x="84" y="102"/>
                </a:lnTo>
                <a:lnTo>
                  <a:pt x="84" y="102"/>
                </a:lnTo>
                <a:lnTo>
                  <a:pt x="88" y="98"/>
                </a:lnTo>
                <a:lnTo>
                  <a:pt x="88" y="98"/>
                </a:lnTo>
                <a:lnTo>
                  <a:pt x="88" y="90"/>
                </a:lnTo>
                <a:lnTo>
                  <a:pt x="88" y="86"/>
                </a:lnTo>
                <a:lnTo>
                  <a:pt x="88" y="82"/>
                </a:lnTo>
                <a:lnTo>
                  <a:pt x="88" y="82"/>
                </a:lnTo>
                <a:lnTo>
                  <a:pt x="92" y="80"/>
                </a:lnTo>
                <a:lnTo>
                  <a:pt x="92" y="78"/>
                </a:lnTo>
                <a:lnTo>
                  <a:pt x="92" y="78"/>
                </a:lnTo>
                <a:lnTo>
                  <a:pt x="92" y="78"/>
                </a:lnTo>
                <a:lnTo>
                  <a:pt x="92" y="76"/>
                </a:lnTo>
                <a:lnTo>
                  <a:pt x="92" y="74"/>
                </a:lnTo>
                <a:lnTo>
                  <a:pt x="94" y="74"/>
                </a:lnTo>
                <a:lnTo>
                  <a:pt x="94" y="74"/>
                </a:lnTo>
                <a:lnTo>
                  <a:pt x="94" y="68"/>
                </a:lnTo>
                <a:lnTo>
                  <a:pt x="94" y="68"/>
                </a:lnTo>
                <a:lnTo>
                  <a:pt x="90" y="64"/>
                </a:lnTo>
                <a:lnTo>
                  <a:pt x="90" y="64"/>
                </a:lnTo>
                <a:lnTo>
                  <a:pt x="88" y="52"/>
                </a:lnTo>
                <a:lnTo>
                  <a:pt x="88" y="52"/>
                </a:lnTo>
                <a:lnTo>
                  <a:pt x="90" y="52"/>
                </a:lnTo>
                <a:lnTo>
                  <a:pt x="92" y="52"/>
                </a:lnTo>
                <a:lnTo>
                  <a:pt x="92" y="52"/>
                </a:lnTo>
                <a:lnTo>
                  <a:pt x="96" y="60"/>
                </a:lnTo>
                <a:lnTo>
                  <a:pt x="98" y="60"/>
                </a:lnTo>
                <a:lnTo>
                  <a:pt x="98" y="60"/>
                </a:lnTo>
                <a:lnTo>
                  <a:pt x="100" y="50"/>
                </a:lnTo>
                <a:lnTo>
                  <a:pt x="102" y="46"/>
                </a:lnTo>
                <a:lnTo>
                  <a:pt x="102" y="40"/>
                </a:lnTo>
                <a:lnTo>
                  <a:pt x="102" y="40"/>
                </a:lnTo>
                <a:lnTo>
                  <a:pt x="98" y="34"/>
                </a:lnTo>
                <a:lnTo>
                  <a:pt x="98" y="34"/>
                </a:lnTo>
                <a:lnTo>
                  <a:pt x="98" y="28"/>
                </a:lnTo>
                <a:lnTo>
                  <a:pt x="98" y="28"/>
                </a:lnTo>
                <a:lnTo>
                  <a:pt x="98" y="26"/>
                </a:lnTo>
                <a:lnTo>
                  <a:pt x="98" y="26"/>
                </a:lnTo>
                <a:lnTo>
                  <a:pt x="96" y="18"/>
                </a:lnTo>
                <a:lnTo>
                  <a:pt x="94" y="10"/>
                </a:lnTo>
                <a:lnTo>
                  <a:pt x="94" y="10"/>
                </a:lnTo>
                <a:lnTo>
                  <a:pt x="92" y="8"/>
                </a:lnTo>
                <a:lnTo>
                  <a:pt x="92" y="8"/>
                </a:lnTo>
                <a:lnTo>
                  <a:pt x="88" y="8"/>
                </a:lnTo>
                <a:lnTo>
                  <a:pt x="88" y="8"/>
                </a:lnTo>
                <a:lnTo>
                  <a:pt x="86" y="4"/>
                </a:lnTo>
                <a:lnTo>
                  <a:pt x="86" y="4"/>
                </a:lnTo>
                <a:lnTo>
                  <a:pt x="84" y="4"/>
                </a:lnTo>
                <a:lnTo>
                  <a:pt x="84" y="4"/>
                </a:lnTo>
                <a:lnTo>
                  <a:pt x="84" y="2"/>
                </a:lnTo>
                <a:lnTo>
                  <a:pt x="84" y="2"/>
                </a:lnTo>
                <a:lnTo>
                  <a:pt x="84" y="0"/>
                </a:lnTo>
                <a:lnTo>
                  <a:pt x="8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0" name="Freeform 144">
            <a:extLst>
              <a:ext uri="{FF2B5EF4-FFF2-40B4-BE49-F238E27FC236}">
                <a16:creationId xmlns:a16="http://schemas.microsoft.com/office/drawing/2014/main" id="{7C586CC4-47CF-46D3-995F-37E110F2767E}"/>
              </a:ext>
            </a:extLst>
          </p:cNvPr>
          <p:cNvSpPr>
            <a:spLocks/>
          </p:cNvSpPr>
          <p:nvPr userDrawn="1"/>
        </p:nvSpPr>
        <p:spPr bwMode="auto">
          <a:xfrm>
            <a:off x="6320354" y="2427978"/>
            <a:ext cx="67082" cy="58344"/>
          </a:xfrm>
          <a:custGeom>
            <a:avLst/>
            <a:gdLst>
              <a:gd name="T0" fmla="*/ 4 w 40"/>
              <a:gd name="T1" fmla="*/ 12 h 34"/>
              <a:gd name="T2" fmla="*/ 8 w 40"/>
              <a:gd name="T3" fmla="*/ 8 h 34"/>
              <a:gd name="T4" fmla="*/ 12 w 40"/>
              <a:gd name="T5" fmla="*/ 6 h 34"/>
              <a:gd name="T6" fmla="*/ 14 w 40"/>
              <a:gd name="T7" fmla="*/ 10 h 34"/>
              <a:gd name="T8" fmla="*/ 16 w 40"/>
              <a:gd name="T9" fmla="*/ 4 h 34"/>
              <a:gd name="T10" fmla="*/ 20 w 40"/>
              <a:gd name="T11" fmla="*/ 4 h 34"/>
              <a:gd name="T12" fmla="*/ 24 w 40"/>
              <a:gd name="T13" fmla="*/ 4 h 34"/>
              <a:gd name="T14" fmla="*/ 30 w 40"/>
              <a:gd name="T15" fmla="*/ 2 h 34"/>
              <a:gd name="T16" fmla="*/ 32 w 40"/>
              <a:gd name="T17" fmla="*/ 0 h 34"/>
              <a:gd name="T18" fmla="*/ 32 w 40"/>
              <a:gd name="T19" fmla="*/ 0 h 34"/>
              <a:gd name="T20" fmla="*/ 36 w 40"/>
              <a:gd name="T21" fmla="*/ 4 h 34"/>
              <a:gd name="T22" fmla="*/ 36 w 40"/>
              <a:gd name="T23" fmla="*/ 4 h 34"/>
              <a:gd name="T24" fmla="*/ 36 w 40"/>
              <a:gd name="T25" fmla="*/ 6 h 34"/>
              <a:gd name="T26" fmla="*/ 36 w 40"/>
              <a:gd name="T27" fmla="*/ 8 h 34"/>
              <a:gd name="T28" fmla="*/ 36 w 40"/>
              <a:gd name="T29" fmla="*/ 8 h 34"/>
              <a:gd name="T30" fmla="*/ 36 w 40"/>
              <a:gd name="T31" fmla="*/ 10 h 34"/>
              <a:gd name="T32" fmla="*/ 36 w 40"/>
              <a:gd name="T33" fmla="*/ 10 h 34"/>
              <a:gd name="T34" fmla="*/ 40 w 40"/>
              <a:gd name="T35" fmla="*/ 14 h 34"/>
              <a:gd name="T36" fmla="*/ 38 w 40"/>
              <a:gd name="T37" fmla="*/ 14 h 34"/>
              <a:gd name="T38" fmla="*/ 38 w 40"/>
              <a:gd name="T39" fmla="*/ 20 h 34"/>
              <a:gd name="T40" fmla="*/ 38 w 40"/>
              <a:gd name="T41" fmla="*/ 20 h 34"/>
              <a:gd name="T42" fmla="*/ 38 w 40"/>
              <a:gd name="T43" fmla="*/ 20 h 34"/>
              <a:gd name="T44" fmla="*/ 36 w 40"/>
              <a:gd name="T45" fmla="*/ 24 h 34"/>
              <a:gd name="T46" fmla="*/ 36 w 40"/>
              <a:gd name="T47" fmla="*/ 24 h 34"/>
              <a:gd name="T48" fmla="*/ 36 w 40"/>
              <a:gd name="T49" fmla="*/ 26 h 34"/>
              <a:gd name="T50" fmla="*/ 36 w 40"/>
              <a:gd name="T51" fmla="*/ 26 h 34"/>
              <a:gd name="T52" fmla="*/ 34 w 40"/>
              <a:gd name="T53" fmla="*/ 26 h 34"/>
              <a:gd name="T54" fmla="*/ 34 w 40"/>
              <a:gd name="T55" fmla="*/ 26 h 34"/>
              <a:gd name="T56" fmla="*/ 30 w 40"/>
              <a:gd name="T57" fmla="*/ 26 h 34"/>
              <a:gd name="T58" fmla="*/ 28 w 40"/>
              <a:gd name="T59" fmla="*/ 28 h 34"/>
              <a:gd name="T60" fmla="*/ 26 w 40"/>
              <a:gd name="T61" fmla="*/ 28 h 34"/>
              <a:gd name="T62" fmla="*/ 26 w 40"/>
              <a:gd name="T63" fmla="*/ 28 h 34"/>
              <a:gd name="T64" fmla="*/ 26 w 40"/>
              <a:gd name="T65" fmla="*/ 30 h 34"/>
              <a:gd name="T66" fmla="*/ 24 w 40"/>
              <a:gd name="T67" fmla="*/ 30 h 34"/>
              <a:gd name="T68" fmla="*/ 24 w 40"/>
              <a:gd name="T69" fmla="*/ 30 h 34"/>
              <a:gd name="T70" fmla="*/ 22 w 40"/>
              <a:gd name="T71" fmla="*/ 32 h 34"/>
              <a:gd name="T72" fmla="*/ 22 w 40"/>
              <a:gd name="T73" fmla="*/ 32 h 34"/>
              <a:gd name="T74" fmla="*/ 20 w 40"/>
              <a:gd name="T75" fmla="*/ 34 h 34"/>
              <a:gd name="T76" fmla="*/ 18 w 40"/>
              <a:gd name="T77" fmla="*/ 34 h 34"/>
              <a:gd name="T78" fmla="*/ 18 w 40"/>
              <a:gd name="T79" fmla="*/ 34 h 34"/>
              <a:gd name="T80" fmla="*/ 6 w 40"/>
              <a:gd name="T81" fmla="*/ 34 h 34"/>
              <a:gd name="T82" fmla="*/ 6 w 40"/>
              <a:gd name="T83" fmla="*/ 34 h 34"/>
              <a:gd name="T84" fmla="*/ 4 w 40"/>
              <a:gd name="T85" fmla="*/ 32 h 34"/>
              <a:gd name="T86" fmla="*/ 2 w 40"/>
              <a:gd name="T87" fmla="*/ 28 h 34"/>
              <a:gd name="T88" fmla="*/ 2 w 40"/>
              <a:gd name="T89" fmla="*/ 28 h 34"/>
              <a:gd name="T90" fmla="*/ 0 w 40"/>
              <a:gd name="T91" fmla="*/ 24 h 34"/>
              <a:gd name="T92" fmla="*/ 2 w 40"/>
              <a:gd name="T93" fmla="*/ 22 h 34"/>
              <a:gd name="T94" fmla="*/ 2 w 40"/>
              <a:gd name="T95" fmla="*/ 22 h 34"/>
              <a:gd name="T96" fmla="*/ 2 w 40"/>
              <a:gd name="T97" fmla="*/ 16 h 34"/>
              <a:gd name="T98" fmla="*/ 2 w 40"/>
              <a:gd name="T99" fmla="*/ 14 h 34"/>
              <a:gd name="T100" fmla="*/ 4 w 40"/>
              <a:gd name="T101"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34">
                <a:moveTo>
                  <a:pt x="4" y="12"/>
                </a:moveTo>
                <a:lnTo>
                  <a:pt x="8" y="8"/>
                </a:lnTo>
                <a:lnTo>
                  <a:pt x="12" y="6"/>
                </a:lnTo>
                <a:lnTo>
                  <a:pt x="14" y="10"/>
                </a:lnTo>
                <a:lnTo>
                  <a:pt x="16" y="4"/>
                </a:lnTo>
                <a:lnTo>
                  <a:pt x="20" y="4"/>
                </a:lnTo>
                <a:lnTo>
                  <a:pt x="24" y="4"/>
                </a:lnTo>
                <a:lnTo>
                  <a:pt x="30" y="2"/>
                </a:lnTo>
                <a:lnTo>
                  <a:pt x="32" y="0"/>
                </a:lnTo>
                <a:lnTo>
                  <a:pt x="32" y="0"/>
                </a:lnTo>
                <a:lnTo>
                  <a:pt x="36" y="4"/>
                </a:lnTo>
                <a:lnTo>
                  <a:pt x="36" y="4"/>
                </a:lnTo>
                <a:lnTo>
                  <a:pt x="36" y="6"/>
                </a:lnTo>
                <a:lnTo>
                  <a:pt x="36" y="8"/>
                </a:lnTo>
                <a:lnTo>
                  <a:pt x="36" y="8"/>
                </a:lnTo>
                <a:lnTo>
                  <a:pt x="36" y="10"/>
                </a:lnTo>
                <a:lnTo>
                  <a:pt x="36" y="10"/>
                </a:lnTo>
                <a:lnTo>
                  <a:pt x="40" y="14"/>
                </a:lnTo>
                <a:lnTo>
                  <a:pt x="38" y="14"/>
                </a:lnTo>
                <a:lnTo>
                  <a:pt x="38" y="20"/>
                </a:lnTo>
                <a:lnTo>
                  <a:pt x="38" y="20"/>
                </a:lnTo>
                <a:lnTo>
                  <a:pt x="38" y="20"/>
                </a:lnTo>
                <a:lnTo>
                  <a:pt x="36" y="24"/>
                </a:lnTo>
                <a:lnTo>
                  <a:pt x="36" y="24"/>
                </a:lnTo>
                <a:lnTo>
                  <a:pt x="36" y="26"/>
                </a:lnTo>
                <a:lnTo>
                  <a:pt x="36" y="26"/>
                </a:lnTo>
                <a:lnTo>
                  <a:pt x="34" y="26"/>
                </a:lnTo>
                <a:lnTo>
                  <a:pt x="34" y="26"/>
                </a:lnTo>
                <a:lnTo>
                  <a:pt x="30" y="26"/>
                </a:lnTo>
                <a:lnTo>
                  <a:pt x="28" y="28"/>
                </a:lnTo>
                <a:lnTo>
                  <a:pt x="26" y="28"/>
                </a:lnTo>
                <a:lnTo>
                  <a:pt x="26" y="28"/>
                </a:lnTo>
                <a:lnTo>
                  <a:pt x="26" y="30"/>
                </a:lnTo>
                <a:lnTo>
                  <a:pt x="24" y="30"/>
                </a:lnTo>
                <a:lnTo>
                  <a:pt x="24" y="30"/>
                </a:lnTo>
                <a:lnTo>
                  <a:pt x="22" y="32"/>
                </a:lnTo>
                <a:lnTo>
                  <a:pt x="22" y="32"/>
                </a:lnTo>
                <a:lnTo>
                  <a:pt x="20" y="34"/>
                </a:lnTo>
                <a:lnTo>
                  <a:pt x="18" y="34"/>
                </a:lnTo>
                <a:lnTo>
                  <a:pt x="18" y="34"/>
                </a:lnTo>
                <a:lnTo>
                  <a:pt x="6" y="34"/>
                </a:lnTo>
                <a:lnTo>
                  <a:pt x="6" y="34"/>
                </a:lnTo>
                <a:lnTo>
                  <a:pt x="4" y="32"/>
                </a:lnTo>
                <a:lnTo>
                  <a:pt x="2" y="28"/>
                </a:lnTo>
                <a:lnTo>
                  <a:pt x="2" y="28"/>
                </a:lnTo>
                <a:lnTo>
                  <a:pt x="0" y="24"/>
                </a:lnTo>
                <a:lnTo>
                  <a:pt x="2" y="22"/>
                </a:lnTo>
                <a:lnTo>
                  <a:pt x="2" y="22"/>
                </a:lnTo>
                <a:lnTo>
                  <a:pt x="2" y="16"/>
                </a:lnTo>
                <a:lnTo>
                  <a:pt x="2" y="14"/>
                </a:lnTo>
                <a:lnTo>
                  <a:pt x="4"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1" name="Freeform 145">
            <a:extLst>
              <a:ext uri="{FF2B5EF4-FFF2-40B4-BE49-F238E27FC236}">
                <a16:creationId xmlns:a16="http://schemas.microsoft.com/office/drawing/2014/main" id="{EBDFD35E-B5A7-4319-A6DE-59FE78260C13}"/>
              </a:ext>
            </a:extLst>
          </p:cNvPr>
          <p:cNvSpPr>
            <a:spLocks/>
          </p:cNvSpPr>
          <p:nvPr userDrawn="1"/>
        </p:nvSpPr>
        <p:spPr bwMode="auto">
          <a:xfrm>
            <a:off x="5983271" y="2167147"/>
            <a:ext cx="13417" cy="30888"/>
          </a:xfrm>
          <a:custGeom>
            <a:avLst/>
            <a:gdLst>
              <a:gd name="T0" fmla="*/ 0 w 8"/>
              <a:gd name="T1" fmla="*/ 10 h 18"/>
              <a:gd name="T2" fmla="*/ 0 w 8"/>
              <a:gd name="T3" fmla="*/ 10 h 18"/>
              <a:gd name="T4" fmla="*/ 0 w 8"/>
              <a:gd name="T5" fmla="*/ 10 h 18"/>
              <a:gd name="T6" fmla="*/ 0 w 8"/>
              <a:gd name="T7" fmla="*/ 6 h 18"/>
              <a:gd name="T8" fmla="*/ 0 w 8"/>
              <a:gd name="T9" fmla="*/ 6 h 18"/>
              <a:gd name="T10" fmla="*/ 0 w 8"/>
              <a:gd name="T11" fmla="*/ 2 h 18"/>
              <a:gd name="T12" fmla="*/ 2 w 8"/>
              <a:gd name="T13" fmla="*/ 2 h 18"/>
              <a:gd name="T14" fmla="*/ 4 w 8"/>
              <a:gd name="T15" fmla="*/ 0 h 18"/>
              <a:gd name="T16" fmla="*/ 4 w 8"/>
              <a:gd name="T17" fmla="*/ 0 h 18"/>
              <a:gd name="T18" fmla="*/ 4 w 8"/>
              <a:gd name="T19" fmla="*/ 2 h 18"/>
              <a:gd name="T20" fmla="*/ 6 w 8"/>
              <a:gd name="T21" fmla="*/ 4 h 18"/>
              <a:gd name="T22" fmla="*/ 6 w 8"/>
              <a:gd name="T23" fmla="*/ 4 h 18"/>
              <a:gd name="T24" fmla="*/ 8 w 8"/>
              <a:gd name="T25" fmla="*/ 6 h 18"/>
              <a:gd name="T26" fmla="*/ 8 w 8"/>
              <a:gd name="T27" fmla="*/ 6 h 18"/>
              <a:gd name="T28" fmla="*/ 8 w 8"/>
              <a:gd name="T29" fmla="*/ 10 h 18"/>
              <a:gd name="T30" fmla="*/ 8 w 8"/>
              <a:gd name="T31" fmla="*/ 10 h 18"/>
              <a:gd name="T32" fmla="*/ 6 w 8"/>
              <a:gd name="T33" fmla="*/ 12 h 18"/>
              <a:gd name="T34" fmla="*/ 6 w 8"/>
              <a:gd name="T35" fmla="*/ 16 h 18"/>
              <a:gd name="T36" fmla="*/ 8 w 8"/>
              <a:gd name="T37" fmla="*/ 18 h 18"/>
              <a:gd name="T38" fmla="*/ 8 w 8"/>
              <a:gd name="T39" fmla="*/ 18 h 18"/>
              <a:gd name="T40" fmla="*/ 2 w 8"/>
              <a:gd name="T41" fmla="*/ 16 h 18"/>
              <a:gd name="T42" fmla="*/ 2 w 8"/>
              <a:gd name="T43" fmla="*/ 16 h 18"/>
              <a:gd name="T44" fmla="*/ 0 w 8"/>
              <a:gd name="T45" fmla="*/ 14 h 18"/>
              <a:gd name="T46" fmla="*/ 0 w 8"/>
              <a:gd name="T47" fmla="*/ 12 h 18"/>
              <a:gd name="T48" fmla="*/ 0 w 8"/>
              <a:gd name="T49" fmla="*/ 10 h 18"/>
              <a:gd name="T50" fmla="*/ 0 w 8"/>
              <a:gd name="T51"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18">
                <a:moveTo>
                  <a:pt x="0" y="10"/>
                </a:moveTo>
                <a:lnTo>
                  <a:pt x="0" y="10"/>
                </a:lnTo>
                <a:lnTo>
                  <a:pt x="0" y="10"/>
                </a:lnTo>
                <a:lnTo>
                  <a:pt x="0" y="6"/>
                </a:lnTo>
                <a:lnTo>
                  <a:pt x="0" y="6"/>
                </a:lnTo>
                <a:lnTo>
                  <a:pt x="0" y="2"/>
                </a:lnTo>
                <a:lnTo>
                  <a:pt x="2" y="2"/>
                </a:lnTo>
                <a:lnTo>
                  <a:pt x="4" y="0"/>
                </a:lnTo>
                <a:lnTo>
                  <a:pt x="4" y="0"/>
                </a:lnTo>
                <a:lnTo>
                  <a:pt x="4" y="2"/>
                </a:lnTo>
                <a:lnTo>
                  <a:pt x="6" y="4"/>
                </a:lnTo>
                <a:lnTo>
                  <a:pt x="6" y="4"/>
                </a:lnTo>
                <a:lnTo>
                  <a:pt x="8" y="6"/>
                </a:lnTo>
                <a:lnTo>
                  <a:pt x="8" y="6"/>
                </a:lnTo>
                <a:lnTo>
                  <a:pt x="8" y="10"/>
                </a:lnTo>
                <a:lnTo>
                  <a:pt x="8" y="10"/>
                </a:lnTo>
                <a:lnTo>
                  <a:pt x="6" y="12"/>
                </a:lnTo>
                <a:lnTo>
                  <a:pt x="6" y="16"/>
                </a:lnTo>
                <a:lnTo>
                  <a:pt x="8" y="18"/>
                </a:lnTo>
                <a:lnTo>
                  <a:pt x="8" y="18"/>
                </a:lnTo>
                <a:lnTo>
                  <a:pt x="2" y="16"/>
                </a:lnTo>
                <a:lnTo>
                  <a:pt x="2" y="16"/>
                </a:lnTo>
                <a:lnTo>
                  <a:pt x="0" y="14"/>
                </a:lnTo>
                <a:lnTo>
                  <a:pt x="0" y="12"/>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2" name="Freeform 146">
            <a:extLst>
              <a:ext uri="{FF2B5EF4-FFF2-40B4-BE49-F238E27FC236}">
                <a16:creationId xmlns:a16="http://schemas.microsoft.com/office/drawing/2014/main" id="{D311C5E4-227F-4362-A5D5-0EDCC6073880}"/>
              </a:ext>
            </a:extLst>
          </p:cNvPr>
          <p:cNvSpPr>
            <a:spLocks noEditPoints="1"/>
          </p:cNvSpPr>
          <p:nvPr userDrawn="1"/>
        </p:nvSpPr>
        <p:spPr bwMode="auto">
          <a:xfrm>
            <a:off x="6320354" y="1940637"/>
            <a:ext cx="137517" cy="102959"/>
          </a:xfrm>
          <a:custGeom>
            <a:avLst/>
            <a:gdLst>
              <a:gd name="T0" fmla="*/ 4 w 82"/>
              <a:gd name="T1" fmla="*/ 6 h 60"/>
              <a:gd name="T2" fmla="*/ 6 w 82"/>
              <a:gd name="T3" fmla="*/ 24 h 60"/>
              <a:gd name="T4" fmla="*/ 2 w 82"/>
              <a:gd name="T5" fmla="*/ 28 h 60"/>
              <a:gd name="T6" fmla="*/ 12 w 82"/>
              <a:gd name="T7" fmla="*/ 38 h 60"/>
              <a:gd name="T8" fmla="*/ 22 w 82"/>
              <a:gd name="T9" fmla="*/ 42 h 60"/>
              <a:gd name="T10" fmla="*/ 32 w 82"/>
              <a:gd name="T11" fmla="*/ 54 h 60"/>
              <a:gd name="T12" fmla="*/ 40 w 82"/>
              <a:gd name="T13" fmla="*/ 54 h 60"/>
              <a:gd name="T14" fmla="*/ 50 w 82"/>
              <a:gd name="T15" fmla="*/ 56 h 60"/>
              <a:gd name="T16" fmla="*/ 52 w 82"/>
              <a:gd name="T17" fmla="*/ 60 h 60"/>
              <a:gd name="T18" fmla="*/ 58 w 82"/>
              <a:gd name="T19" fmla="*/ 58 h 60"/>
              <a:gd name="T20" fmla="*/ 66 w 82"/>
              <a:gd name="T21" fmla="*/ 58 h 60"/>
              <a:gd name="T22" fmla="*/ 68 w 82"/>
              <a:gd name="T23" fmla="*/ 56 h 60"/>
              <a:gd name="T24" fmla="*/ 74 w 82"/>
              <a:gd name="T25" fmla="*/ 52 h 60"/>
              <a:gd name="T26" fmla="*/ 74 w 82"/>
              <a:gd name="T27" fmla="*/ 44 h 60"/>
              <a:gd name="T28" fmla="*/ 74 w 82"/>
              <a:gd name="T29" fmla="*/ 38 h 60"/>
              <a:gd name="T30" fmla="*/ 78 w 82"/>
              <a:gd name="T31" fmla="*/ 32 h 60"/>
              <a:gd name="T32" fmla="*/ 82 w 82"/>
              <a:gd name="T33" fmla="*/ 28 h 60"/>
              <a:gd name="T34" fmla="*/ 80 w 82"/>
              <a:gd name="T35" fmla="*/ 24 h 60"/>
              <a:gd name="T36" fmla="*/ 74 w 82"/>
              <a:gd name="T37" fmla="*/ 22 h 60"/>
              <a:gd name="T38" fmla="*/ 68 w 82"/>
              <a:gd name="T39" fmla="*/ 18 h 60"/>
              <a:gd name="T40" fmla="*/ 60 w 82"/>
              <a:gd name="T41" fmla="*/ 16 h 60"/>
              <a:gd name="T42" fmla="*/ 58 w 82"/>
              <a:gd name="T43" fmla="*/ 12 h 60"/>
              <a:gd name="T44" fmla="*/ 56 w 82"/>
              <a:gd name="T45" fmla="*/ 10 h 60"/>
              <a:gd name="T46" fmla="*/ 50 w 82"/>
              <a:gd name="T47" fmla="*/ 10 h 60"/>
              <a:gd name="T48" fmla="*/ 42 w 82"/>
              <a:gd name="T49" fmla="*/ 8 h 60"/>
              <a:gd name="T50" fmla="*/ 30 w 82"/>
              <a:gd name="T51" fmla="*/ 4 h 60"/>
              <a:gd name="T52" fmla="*/ 22 w 82"/>
              <a:gd name="T53" fmla="*/ 2 h 60"/>
              <a:gd name="T54" fmla="*/ 16 w 82"/>
              <a:gd name="T55" fmla="*/ 0 h 60"/>
              <a:gd name="T56" fmla="*/ 4 w 82"/>
              <a:gd name="T57" fmla="*/ 6 h 60"/>
              <a:gd name="T58" fmla="*/ 0 w 82"/>
              <a:gd name="T59" fmla="*/ 20 h 60"/>
              <a:gd name="T60" fmla="*/ 2 w 82"/>
              <a:gd name="T61" fmla="*/ 22 h 60"/>
              <a:gd name="T62" fmla="*/ 2 w 82"/>
              <a:gd name="T63" fmla="*/ 20 h 60"/>
              <a:gd name="T64" fmla="*/ 0 w 82"/>
              <a:gd name="T65" fmla="*/ 2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60">
                <a:moveTo>
                  <a:pt x="4" y="6"/>
                </a:moveTo>
                <a:lnTo>
                  <a:pt x="4" y="6"/>
                </a:lnTo>
                <a:lnTo>
                  <a:pt x="6" y="24"/>
                </a:lnTo>
                <a:lnTo>
                  <a:pt x="6" y="24"/>
                </a:lnTo>
                <a:lnTo>
                  <a:pt x="2" y="28"/>
                </a:lnTo>
                <a:lnTo>
                  <a:pt x="2" y="28"/>
                </a:lnTo>
                <a:lnTo>
                  <a:pt x="12" y="38"/>
                </a:lnTo>
                <a:lnTo>
                  <a:pt x="12" y="38"/>
                </a:lnTo>
                <a:lnTo>
                  <a:pt x="16" y="40"/>
                </a:lnTo>
                <a:lnTo>
                  <a:pt x="22" y="42"/>
                </a:lnTo>
                <a:lnTo>
                  <a:pt x="30" y="42"/>
                </a:lnTo>
                <a:lnTo>
                  <a:pt x="32" y="54"/>
                </a:lnTo>
                <a:lnTo>
                  <a:pt x="32" y="54"/>
                </a:lnTo>
                <a:lnTo>
                  <a:pt x="40" y="54"/>
                </a:lnTo>
                <a:lnTo>
                  <a:pt x="50" y="56"/>
                </a:lnTo>
                <a:lnTo>
                  <a:pt x="50" y="56"/>
                </a:lnTo>
                <a:lnTo>
                  <a:pt x="52" y="58"/>
                </a:lnTo>
                <a:lnTo>
                  <a:pt x="52" y="60"/>
                </a:lnTo>
                <a:lnTo>
                  <a:pt x="52" y="60"/>
                </a:lnTo>
                <a:lnTo>
                  <a:pt x="58" y="58"/>
                </a:lnTo>
                <a:lnTo>
                  <a:pt x="66" y="58"/>
                </a:lnTo>
                <a:lnTo>
                  <a:pt x="66" y="58"/>
                </a:lnTo>
                <a:lnTo>
                  <a:pt x="66" y="58"/>
                </a:lnTo>
                <a:lnTo>
                  <a:pt x="68" y="56"/>
                </a:lnTo>
                <a:lnTo>
                  <a:pt x="68" y="54"/>
                </a:lnTo>
                <a:lnTo>
                  <a:pt x="74" y="52"/>
                </a:lnTo>
                <a:lnTo>
                  <a:pt x="74" y="52"/>
                </a:lnTo>
                <a:lnTo>
                  <a:pt x="74" y="44"/>
                </a:lnTo>
                <a:lnTo>
                  <a:pt x="74" y="44"/>
                </a:lnTo>
                <a:lnTo>
                  <a:pt x="74" y="38"/>
                </a:lnTo>
                <a:lnTo>
                  <a:pt x="78" y="32"/>
                </a:lnTo>
                <a:lnTo>
                  <a:pt x="78" y="32"/>
                </a:lnTo>
                <a:lnTo>
                  <a:pt x="80" y="30"/>
                </a:lnTo>
                <a:lnTo>
                  <a:pt x="82" y="28"/>
                </a:lnTo>
                <a:lnTo>
                  <a:pt x="80" y="24"/>
                </a:lnTo>
                <a:lnTo>
                  <a:pt x="80" y="24"/>
                </a:lnTo>
                <a:lnTo>
                  <a:pt x="74" y="22"/>
                </a:lnTo>
                <a:lnTo>
                  <a:pt x="74" y="22"/>
                </a:lnTo>
                <a:lnTo>
                  <a:pt x="68" y="18"/>
                </a:lnTo>
                <a:lnTo>
                  <a:pt x="68" y="18"/>
                </a:lnTo>
                <a:lnTo>
                  <a:pt x="64" y="16"/>
                </a:lnTo>
                <a:lnTo>
                  <a:pt x="60" y="16"/>
                </a:lnTo>
                <a:lnTo>
                  <a:pt x="60" y="16"/>
                </a:lnTo>
                <a:lnTo>
                  <a:pt x="58" y="12"/>
                </a:lnTo>
                <a:lnTo>
                  <a:pt x="56" y="10"/>
                </a:lnTo>
                <a:lnTo>
                  <a:pt x="56" y="10"/>
                </a:lnTo>
                <a:lnTo>
                  <a:pt x="50" y="10"/>
                </a:lnTo>
                <a:lnTo>
                  <a:pt x="50" y="10"/>
                </a:lnTo>
                <a:lnTo>
                  <a:pt x="46" y="10"/>
                </a:lnTo>
                <a:lnTo>
                  <a:pt x="42" y="8"/>
                </a:lnTo>
                <a:lnTo>
                  <a:pt x="42" y="8"/>
                </a:lnTo>
                <a:lnTo>
                  <a:pt x="30" y="4"/>
                </a:lnTo>
                <a:lnTo>
                  <a:pt x="30" y="4"/>
                </a:lnTo>
                <a:lnTo>
                  <a:pt x="22" y="2"/>
                </a:lnTo>
                <a:lnTo>
                  <a:pt x="16" y="0"/>
                </a:lnTo>
                <a:lnTo>
                  <a:pt x="16" y="0"/>
                </a:lnTo>
                <a:lnTo>
                  <a:pt x="10" y="4"/>
                </a:lnTo>
                <a:lnTo>
                  <a:pt x="4" y="6"/>
                </a:lnTo>
                <a:lnTo>
                  <a:pt x="4" y="6"/>
                </a:lnTo>
                <a:close/>
                <a:moveTo>
                  <a:pt x="0" y="20"/>
                </a:moveTo>
                <a:lnTo>
                  <a:pt x="0" y="22"/>
                </a:lnTo>
                <a:lnTo>
                  <a:pt x="2" y="22"/>
                </a:lnTo>
                <a:lnTo>
                  <a:pt x="2" y="22"/>
                </a:lnTo>
                <a:lnTo>
                  <a:pt x="2" y="20"/>
                </a:lnTo>
                <a:lnTo>
                  <a:pt x="0" y="20"/>
                </a:lnTo>
                <a:lnTo>
                  <a:pt x="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3" name="Freeform 147">
            <a:extLst>
              <a:ext uri="{FF2B5EF4-FFF2-40B4-BE49-F238E27FC236}">
                <a16:creationId xmlns:a16="http://schemas.microsoft.com/office/drawing/2014/main" id="{A47F4967-65B0-4A4D-B8C2-088C7E318A4A}"/>
              </a:ext>
            </a:extLst>
          </p:cNvPr>
          <p:cNvSpPr>
            <a:spLocks/>
          </p:cNvSpPr>
          <p:nvPr userDrawn="1"/>
        </p:nvSpPr>
        <p:spPr bwMode="auto">
          <a:xfrm>
            <a:off x="6080538" y="2263242"/>
            <a:ext cx="6708" cy="13728"/>
          </a:xfrm>
          <a:custGeom>
            <a:avLst/>
            <a:gdLst>
              <a:gd name="T0" fmla="*/ 4 w 4"/>
              <a:gd name="T1" fmla="*/ 8 h 8"/>
              <a:gd name="T2" fmla="*/ 4 w 4"/>
              <a:gd name="T3" fmla="*/ 8 h 8"/>
              <a:gd name="T4" fmla="*/ 2 w 4"/>
              <a:gd name="T5" fmla="*/ 6 h 8"/>
              <a:gd name="T6" fmla="*/ 0 w 4"/>
              <a:gd name="T7" fmla="*/ 4 h 8"/>
              <a:gd name="T8" fmla="*/ 0 w 4"/>
              <a:gd name="T9" fmla="*/ 0 h 8"/>
              <a:gd name="T10" fmla="*/ 0 w 4"/>
              <a:gd name="T11" fmla="*/ 0 h 8"/>
              <a:gd name="T12" fmla="*/ 4 w 4"/>
              <a:gd name="T13" fmla="*/ 0 h 8"/>
              <a:gd name="T14" fmla="*/ 4 w 4"/>
              <a:gd name="T15" fmla="*/ 2 h 8"/>
              <a:gd name="T16" fmla="*/ 4 w 4"/>
              <a:gd name="T17" fmla="*/ 8 h 8"/>
              <a:gd name="T18" fmla="*/ 4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4" y="8"/>
                </a:moveTo>
                <a:lnTo>
                  <a:pt x="4" y="8"/>
                </a:lnTo>
                <a:lnTo>
                  <a:pt x="2" y="6"/>
                </a:lnTo>
                <a:lnTo>
                  <a:pt x="0" y="4"/>
                </a:lnTo>
                <a:lnTo>
                  <a:pt x="0" y="0"/>
                </a:lnTo>
                <a:lnTo>
                  <a:pt x="0" y="0"/>
                </a:lnTo>
                <a:lnTo>
                  <a:pt x="4" y="0"/>
                </a:lnTo>
                <a:lnTo>
                  <a:pt x="4" y="2"/>
                </a:lnTo>
                <a:lnTo>
                  <a:pt x="4" y="8"/>
                </a:lnTo>
                <a:lnTo>
                  <a:pt x="4"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4" name="Freeform 148">
            <a:extLst>
              <a:ext uri="{FF2B5EF4-FFF2-40B4-BE49-F238E27FC236}">
                <a16:creationId xmlns:a16="http://schemas.microsoft.com/office/drawing/2014/main" id="{BAF130DA-4CCF-4BC1-B23D-0E9859B7DF2F}"/>
              </a:ext>
            </a:extLst>
          </p:cNvPr>
          <p:cNvSpPr>
            <a:spLocks/>
          </p:cNvSpPr>
          <p:nvPr userDrawn="1"/>
        </p:nvSpPr>
        <p:spPr bwMode="auto">
          <a:xfrm>
            <a:off x="6040289" y="2712831"/>
            <a:ext cx="380687" cy="408405"/>
          </a:xfrm>
          <a:custGeom>
            <a:avLst/>
            <a:gdLst>
              <a:gd name="T0" fmla="*/ 37 w 227"/>
              <a:gd name="T1" fmla="*/ 8 h 238"/>
              <a:gd name="T2" fmla="*/ 35 w 227"/>
              <a:gd name="T3" fmla="*/ 16 h 238"/>
              <a:gd name="T4" fmla="*/ 28 w 227"/>
              <a:gd name="T5" fmla="*/ 20 h 238"/>
              <a:gd name="T6" fmla="*/ 20 w 227"/>
              <a:gd name="T7" fmla="*/ 22 h 238"/>
              <a:gd name="T8" fmla="*/ 18 w 227"/>
              <a:gd name="T9" fmla="*/ 28 h 238"/>
              <a:gd name="T10" fmla="*/ 20 w 227"/>
              <a:gd name="T11" fmla="*/ 38 h 238"/>
              <a:gd name="T12" fmla="*/ 16 w 227"/>
              <a:gd name="T13" fmla="*/ 42 h 238"/>
              <a:gd name="T14" fmla="*/ 12 w 227"/>
              <a:gd name="T15" fmla="*/ 48 h 238"/>
              <a:gd name="T16" fmla="*/ 6 w 227"/>
              <a:gd name="T17" fmla="*/ 50 h 238"/>
              <a:gd name="T18" fmla="*/ 8 w 227"/>
              <a:gd name="T19" fmla="*/ 54 h 238"/>
              <a:gd name="T20" fmla="*/ 12 w 227"/>
              <a:gd name="T21" fmla="*/ 90 h 238"/>
              <a:gd name="T22" fmla="*/ 8 w 227"/>
              <a:gd name="T23" fmla="*/ 94 h 238"/>
              <a:gd name="T24" fmla="*/ 8 w 227"/>
              <a:gd name="T25" fmla="*/ 96 h 238"/>
              <a:gd name="T26" fmla="*/ 8 w 227"/>
              <a:gd name="T27" fmla="*/ 100 h 238"/>
              <a:gd name="T28" fmla="*/ 8 w 227"/>
              <a:gd name="T29" fmla="*/ 116 h 238"/>
              <a:gd name="T30" fmla="*/ 0 w 227"/>
              <a:gd name="T31" fmla="*/ 124 h 238"/>
              <a:gd name="T32" fmla="*/ 4 w 227"/>
              <a:gd name="T33" fmla="*/ 130 h 238"/>
              <a:gd name="T34" fmla="*/ 10 w 227"/>
              <a:gd name="T35" fmla="*/ 140 h 238"/>
              <a:gd name="T36" fmla="*/ 12 w 227"/>
              <a:gd name="T37" fmla="*/ 148 h 238"/>
              <a:gd name="T38" fmla="*/ 18 w 227"/>
              <a:gd name="T39" fmla="*/ 156 h 238"/>
              <a:gd name="T40" fmla="*/ 28 w 227"/>
              <a:gd name="T41" fmla="*/ 158 h 238"/>
              <a:gd name="T42" fmla="*/ 35 w 227"/>
              <a:gd name="T43" fmla="*/ 164 h 238"/>
              <a:gd name="T44" fmla="*/ 39 w 227"/>
              <a:gd name="T45" fmla="*/ 166 h 238"/>
              <a:gd name="T46" fmla="*/ 75 w 227"/>
              <a:gd name="T47" fmla="*/ 186 h 238"/>
              <a:gd name="T48" fmla="*/ 215 w 227"/>
              <a:gd name="T49" fmla="*/ 238 h 238"/>
              <a:gd name="T50" fmla="*/ 227 w 227"/>
              <a:gd name="T51" fmla="*/ 194 h 238"/>
              <a:gd name="T52" fmla="*/ 223 w 227"/>
              <a:gd name="T53" fmla="*/ 68 h 238"/>
              <a:gd name="T54" fmla="*/ 221 w 227"/>
              <a:gd name="T55" fmla="*/ 60 h 238"/>
              <a:gd name="T56" fmla="*/ 223 w 227"/>
              <a:gd name="T57" fmla="*/ 50 h 238"/>
              <a:gd name="T58" fmla="*/ 225 w 227"/>
              <a:gd name="T59" fmla="*/ 44 h 238"/>
              <a:gd name="T60" fmla="*/ 221 w 227"/>
              <a:gd name="T61" fmla="*/ 32 h 238"/>
              <a:gd name="T62" fmla="*/ 215 w 227"/>
              <a:gd name="T63" fmla="*/ 26 h 238"/>
              <a:gd name="T64" fmla="*/ 215 w 227"/>
              <a:gd name="T65" fmla="*/ 24 h 238"/>
              <a:gd name="T66" fmla="*/ 201 w 227"/>
              <a:gd name="T67" fmla="*/ 24 h 238"/>
              <a:gd name="T68" fmla="*/ 201 w 227"/>
              <a:gd name="T69" fmla="*/ 18 h 238"/>
              <a:gd name="T70" fmla="*/ 197 w 227"/>
              <a:gd name="T71" fmla="*/ 16 h 238"/>
              <a:gd name="T72" fmla="*/ 191 w 227"/>
              <a:gd name="T73" fmla="*/ 14 h 238"/>
              <a:gd name="T74" fmla="*/ 181 w 227"/>
              <a:gd name="T75" fmla="*/ 10 h 238"/>
              <a:gd name="T76" fmla="*/ 175 w 227"/>
              <a:gd name="T77" fmla="*/ 10 h 238"/>
              <a:gd name="T78" fmla="*/ 167 w 227"/>
              <a:gd name="T79" fmla="*/ 16 h 238"/>
              <a:gd name="T80" fmla="*/ 163 w 227"/>
              <a:gd name="T81" fmla="*/ 16 h 238"/>
              <a:gd name="T82" fmla="*/ 159 w 227"/>
              <a:gd name="T83" fmla="*/ 24 h 238"/>
              <a:gd name="T84" fmla="*/ 159 w 227"/>
              <a:gd name="T85" fmla="*/ 32 h 238"/>
              <a:gd name="T86" fmla="*/ 153 w 227"/>
              <a:gd name="T87" fmla="*/ 48 h 238"/>
              <a:gd name="T88" fmla="*/ 151 w 227"/>
              <a:gd name="T89" fmla="*/ 52 h 238"/>
              <a:gd name="T90" fmla="*/ 121 w 227"/>
              <a:gd name="T91" fmla="*/ 44 h 238"/>
              <a:gd name="T92" fmla="*/ 117 w 227"/>
              <a:gd name="T93" fmla="*/ 44 h 238"/>
              <a:gd name="T94" fmla="*/ 109 w 227"/>
              <a:gd name="T95" fmla="*/ 42 h 238"/>
              <a:gd name="T96" fmla="*/ 103 w 227"/>
              <a:gd name="T97" fmla="*/ 40 h 238"/>
              <a:gd name="T98" fmla="*/ 91 w 227"/>
              <a:gd name="T99" fmla="*/ 28 h 238"/>
              <a:gd name="T100" fmla="*/ 91 w 227"/>
              <a:gd name="T101" fmla="*/ 24 h 238"/>
              <a:gd name="T102" fmla="*/ 87 w 227"/>
              <a:gd name="T103" fmla="*/ 22 h 238"/>
              <a:gd name="T104" fmla="*/ 81 w 227"/>
              <a:gd name="T105" fmla="*/ 18 h 238"/>
              <a:gd name="T106" fmla="*/ 77 w 227"/>
              <a:gd name="T107" fmla="*/ 16 h 238"/>
              <a:gd name="T108" fmla="*/ 67 w 227"/>
              <a:gd name="T109" fmla="*/ 12 h 238"/>
              <a:gd name="T110" fmla="*/ 67 w 227"/>
              <a:gd name="T111" fmla="*/ 12 h 238"/>
              <a:gd name="T112" fmla="*/ 53 w 227"/>
              <a:gd name="T113" fmla="*/ 12 h 238"/>
              <a:gd name="T114" fmla="*/ 49 w 227"/>
              <a:gd name="T115" fmla="*/ 8 h 238"/>
              <a:gd name="T116" fmla="*/ 43 w 227"/>
              <a:gd name="T117" fmla="*/ 6 h 238"/>
              <a:gd name="T118" fmla="*/ 41 w 227"/>
              <a:gd name="T11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238">
                <a:moveTo>
                  <a:pt x="41" y="0"/>
                </a:moveTo>
                <a:lnTo>
                  <a:pt x="37" y="8"/>
                </a:lnTo>
                <a:lnTo>
                  <a:pt x="37" y="8"/>
                </a:lnTo>
                <a:lnTo>
                  <a:pt x="37" y="10"/>
                </a:lnTo>
                <a:lnTo>
                  <a:pt x="37" y="12"/>
                </a:lnTo>
                <a:lnTo>
                  <a:pt x="35" y="16"/>
                </a:lnTo>
                <a:lnTo>
                  <a:pt x="35" y="16"/>
                </a:lnTo>
                <a:lnTo>
                  <a:pt x="30" y="20"/>
                </a:lnTo>
                <a:lnTo>
                  <a:pt x="28" y="20"/>
                </a:lnTo>
                <a:lnTo>
                  <a:pt x="24" y="22"/>
                </a:lnTo>
                <a:lnTo>
                  <a:pt x="24" y="22"/>
                </a:lnTo>
                <a:lnTo>
                  <a:pt x="20" y="22"/>
                </a:lnTo>
                <a:lnTo>
                  <a:pt x="20" y="24"/>
                </a:lnTo>
                <a:lnTo>
                  <a:pt x="20" y="24"/>
                </a:lnTo>
                <a:lnTo>
                  <a:pt x="18" y="28"/>
                </a:lnTo>
                <a:lnTo>
                  <a:pt x="20" y="36"/>
                </a:lnTo>
                <a:lnTo>
                  <a:pt x="20" y="36"/>
                </a:lnTo>
                <a:lnTo>
                  <a:pt x="20" y="38"/>
                </a:lnTo>
                <a:lnTo>
                  <a:pt x="18" y="40"/>
                </a:lnTo>
                <a:lnTo>
                  <a:pt x="16" y="42"/>
                </a:lnTo>
                <a:lnTo>
                  <a:pt x="16" y="42"/>
                </a:lnTo>
                <a:lnTo>
                  <a:pt x="16" y="46"/>
                </a:lnTo>
                <a:lnTo>
                  <a:pt x="14" y="46"/>
                </a:lnTo>
                <a:lnTo>
                  <a:pt x="12" y="48"/>
                </a:lnTo>
                <a:lnTo>
                  <a:pt x="12" y="48"/>
                </a:lnTo>
                <a:lnTo>
                  <a:pt x="10" y="48"/>
                </a:lnTo>
                <a:lnTo>
                  <a:pt x="6" y="50"/>
                </a:lnTo>
                <a:lnTo>
                  <a:pt x="6" y="50"/>
                </a:lnTo>
                <a:lnTo>
                  <a:pt x="6" y="52"/>
                </a:lnTo>
                <a:lnTo>
                  <a:pt x="8" y="54"/>
                </a:lnTo>
                <a:lnTo>
                  <a:pt x="8" y="56"/>
                </a:lnTo>
                <a:lnTo>
                  <a:pt x="8" y="84"/>
                </a:lnTo>
                <a:lnTo>
                  <a:pt x="12" y="90"/>
                </a:lnTo>
                <a:lnTo>
                  <a:pt x="12" y="90"/>
                </a:lnTo>
                <a:lnTo>
                  <a:pt x="10" y="92"/>
                </a:lnTo>
                <a:lnTo>
                  <a:pt x="8" y="94"/>
                </a:lnTo>
                <a:lnTo>
                  <a:pt x="8" y="94"/>
                </a:lnTo>
                <a:lnTo>
                  <a:pt x="8" y="94"/>
                </a:lnTo>
                <a:lnTo>
                  <a:pt x="8" y="96"/>
                </a:lnTo>
                <a:lnTo>
                  <a:pt x="10" y="96"/>
                </a:lnTo>
                <a:lnTo>
                  <a:pt x="8" y="100"/>
                </a:lnTo>
                <a:lnTo>
                  <a:pt x="8" y="100"/>
                </a:lnTo>
                <a:lnTo>
                  <a:pt x="10" y="106"/>
                </a:lnTo>
                <a:lnTo>
                  <a:pt x="8" y="116"/>
                </a:lnTo>
                <a:lnTo>
                  <a:pt x="8" y="116"/>
                </a:lnTo>
                <a:lnTo>
                  <a:pt x="6" y="120"/>
                </a:lnTo>
                <a:lnTo>
                  <a:pt x="4" y="122"/>
                </a:lnTo>
                <a:lnTo>
                  <a:pt x="0" y="124"/>
                </a:lnTo>
                <a:lnTo>
                  <a:pt x="0" y="124"/>
                </a:lnTo>
                <a:lnTo>
                  <a:pt x="4" y="130"/>
                </a:lnTo>
                <a:lnTo>
                  <a:pt x="4" y="130"/>
                </a:lnTo>
                <a:lnTo>
                  <a:pt x="6" y="134"/>
                </a:lnTo>
                <a:lnTo>
                  <a:pt x="10" y="140"/>
                </a:lnTo>
                <a:lnTo>
                  <a:pt x="10" y="140"/>
                </a:lnTo>
                <a:lnTo>
                  <a:pt x="12" y="144"/>
                </a:lnTo>
                <a:lnTo>
                  <a:pt x="12" y="148"/>
                </a:lnTo>
                <a:lnTo>
                  <a:pt x="12" y="148"/>
                </a:lnTo>
                <a:lnTo>
                  <a:pt x="14" y="154"/>
                </a:lnTo>
                <a:lnTo>
                  <a:pt x="16" y="156"/>
                </a:lnTo>
                <a:lnTo>
                  <a:pt x="18" y="156"/>
                </a:lnTo>
                <a:lnTo>
                  <a:pt x="18" y="156"/>
                </a:lnTo>
                <a:lnTo>
                  <a:pt x="28" y="158"/>
                </a:lnTo>
                <a:lnTo>
                  <a:pt x="28" y="158"/>
                </a:lnTo>
                <a:lnTo>
                  <a:pt x="30" y="162"/>
                </a:lnTo>
                <a:lnTo>
                  <a:pt x="32" y="164"/>
                </a:lnTo>
                <a:lnTo>
                  <a:pt x="35" y="164"/>
                </a:lnTo>
                <a:lnTo>
                  <a:pt x="35" y="164"/>
                </a:lnTo>
                <a:lnTo>
                  <a:pt x="37" y="164"/>
                </a:lnTo>
                <a:lnTo>
                  <a:pt x="39" y="166"/>
                </a:lnTo>
                <a:lnTo>
                  <a:pt x="43" y="170"/>
                </a:lnTo>
                <a:lnTo>
                  <a:pt x="75" y="188"/>
                </a:lnTo>
                <a:lnTo>
                  <a:pt x="75" y="186"/>
                </a:lnTo>
                <a:lnTo>
                  <a:pt x="85" y="178"/>
                </a:lnTo>
                <a:lnTo>
                  <a:pt x="99" y="168"/>
                </a:lnTo>
                <a:lnTo>
                  <a:pt x="215" y="238"/>
                </a:lnTo>
                <a:lnTo>
                  <a:pt x="215" y="226"/>
                </a:lnTo>
                <a:lnTo>
                  <a:pt x="227" y="226"/>
                </a:lnTo>
                <a:lnTo>
                  <a:pt x="227" y="194"/>
                </a:lnTo>
                <a:lnTo>
                  <a:pt x="227" y="74"/>
                </a:lnTo>
                <a:lnTo>
                  <a:pt x="227" y="74"/>
                </a:lnTo>
                <a:lnTo>
                  <a:pt x="223" y="68"/>
                </a:lnTo>
                <a:lnTo>
                  <a:pt x="223" y="68"/>
                </a:lnTo>
                <a:lnTo>
                  <a:pt x="221" y="66"/>
                </a:lnTo>
                <a:lnTo>
                  <a:pt x="221" y="60"/>
                </a:lnTo>
                <a:lnTo>
                  <a:pt x="221" y="60"/>
                </a:lnTo>
                <a:lnTo>
                  <a:pt x="221" y="54"/>
                </a:lnTo>
                <a:lnTo>
                  <a:pt x="223" y="50"/>
                </a:lnTo>
                <a:lnTo>
                  <a:pt x="223" y="50"/>
                </a:lnTo>
                <a:lnTo>
                  <a:pt x="225" y="48"/>
                </a:lnTo>
                <a:lnTo>
                  <a:pt x="225" y="44"/>
                </a:lnTo>
                <a:lnTo>
                  <a:pt x="221" y="38"/>
                </a:lnTo>
                <a:lnTo>
                  <a:pt x="221" y="38"/>
                </a:lnTo>
                <a:lnTo>
                  <a:pt x="221" y="32"/>
                </a:lnTo>
                <a:lnTo>
                  <a:pt x="221" y="28"/>
                </a:lnTo>
                <a:lnTo>
                  <a:pt x="221" y="28"/>
                </a:lnTo>
                <a:lnTo>
                  <a:pt x="215" y="26"/>
                </a:lnTo>
                <a:lnTo>
                  <a:pt x="215" y="26"/>
                </a:lnTo>
                <a:lnTo>
                  <a:pt x="215" y="24"/>
                </a:lnTo>
                <a:lnTo>
                  <a:pt x="215" y="24"/>
                </a:lnTo>
                <a:lnTo>
                  <a:pt x="207" y="22"/>
                </a:lnTo>
                <a:lnTo>
                  <a:pt x="201" y="24"/>
                </a:lnTo>
                <a:lnTo>
                  <a:pt x="201" y="24"/>
                </a:lnTo>
                <a:lnTo>
                  <a:pt x="201" y="20"/>
                </a:lnTo>
                <a:lnTo>
                  <a:pt x="201" y="18"/>
                </a:lnTo>
                <a:lnTo>
                  <a:pt x="201" y="18"/>
                </a:lnTo>
                <a:lnTo>
                  <a:pt x="197" y="18"/>
                </a:lnTo>
                <a:lnTo>
                  <a:pt x="197" y="18"/>
                </a:lnTo>
                <a:lnTo>
                  <a:pt x="197" y="16"/>
                </a:lnTo>
                <a:lnTo>
                  <a:pt x="197" y="14"/>
                </a:lnTo>
                <a:lnTo>
                  <a:pt x="197" y="14"/>
                </a:lnTo>
                <a:lnTo>
                  <a:pt x="191" y="14"/>
                </a:lnTo>
                <a:lnTo>
                  <a:pt x="191" y="14"/>
                </a:lnTo>
                <a:lnTo>
                  <a:pt x="181" y="10"/>
                </a:lnTo>
                <a:lnTo>
                  <a:pt x="181" y="10"/>
                </a:lnTo>
                <a:lnTo>
                  <a:pt x="177" y="8"/>
                </a:lnTo>
                <a:lnTo>
                  <a:pt x="175" y="10"/>
                </a:lnTo>
                <a:lnTo>
                  <a:pt x="175" y="10"/>
                </a:lnTo>
                <a:lnTo>
                  <a:pt x="171" y="12"/>
                </a:lnTo>
                <a:lnTo>
                  <a:pt x="171" y="12"/>
                </a:lnTo>
                <a:lnTo>
                  <a:pt x="167" y="16"/>
                </a:lnTo>
                <a:lnTo>
                  <a:pt x="167" y="16"/>
                </a:lnTo>
                <a:lnTo>
                  <a:pt x="163" y="16"/>
                </a:lnTo>
                <a:lnTo>
                  <a:pt x="163" y="16"/>
                </a:lnTo>
                <a:lnTo>
                  <a:pt x="161" y="20"/>
                </a:lnTo>
                <a:lnTo>
                  <a:pt x="159" y="24"/>
                </a:lnTo>
                <a:lnTo>
                  <a:pt x="159" y="24"/>
                </a:lnTo>
                <a:lnTo>
                  <a:pt x="155" y="26"/>
                </a:lnTo>
                <a:lnTo>
                  <a:pt x="155" y="26"/>
                </a:lnTo>
                <a:lnTo>
                  <a:pt x="159" y="32"/>
                </a:lnTo>
                <a:lnTo>
                  <a:pt x="161" y="38"/>
                </a:lnTo>
                <a:lnTo>
                  <a:pt x="159" y="42"/>
                </a:lnTo>
                <a:lnTo>
                  <a:pt x="153" y="48"/>
                </a:lnTo>
                <a:lnTo>
                  <a:pt x="153" y="48"/>
                </a:lnTo>
                <a:lnTo>
                  <a:pt x="151" y="52"/>
                </a:lnTo>
                <a:lnTo>
                  <a:pt x="151" y="52"/>
                </a:lnTo>
                <a:lnTo>
                  <a:pt x="143" y="52"/>
                </a:lnTo>
                <a:lnTo>
                  <a:pt x="135" y="50"/>
                </a:lnTo>
                <a:lnTo>
                  <a:pt x="121" y="44"/>
                </a:lnTo>
                <a:lnTo>
                  <a:pt x="121" y="44"/>
                </a:lnTo>
                <a:lnTo>
                  <a:pt x="117" y="44"/>
                </a:lnTo>
                <a:lnTo>
                  <a:pt x="117" y="44"/>
                </a:lnTo>
                <a:lnTo>
                  <a:pt x="115" y="42"/>
                </a:lnTo>
                <a:lnTo>
                  <a:pt x="115" y="42"/>
                </a:lnTo>
                <a:lnTo>
                  <a:pt x="109" y="42"/>
                </a:lnTo>
                <a:lnTo>
                  <a:pt x="107" y="42"/>
                </a:lnTo>
                <a:lnTo>
                  <a:pt x="103" y="40"/>
                </a:lnTo>
                <a:lnTo>
                  <a:pt x="103" y="40"/>
                </a:lnTo>
                <a:lnTo>
                  <a:pt x="97" y="34"/>
                </a:lnTo>
                <a:lnTo>
                  <a:pt x="91" y="28"/>
                </a:lnTo>
                <a:lnTo>
                  <a:pt x="91" y="28"/>
                </a:lnTo>
                <a:lnTo>
                  <a:pt x="91" y="28"/>
                </a:lnTo>
                <a:lnTo>
                  <a:pt x="91" y="28"/>
                </a:lnTo>
                <a:lnTo>
                  <a:pt x="91" y="24"/>
                </a:lnTo>
                <a:lnTo>
                  <a:pt x="89" y="22"/>
                </a:lnTo>
                <a:lnTo>
                  <a:pt x="89" y="22"/>
                </a:lnTo>
                <a:lnTo>
                  <a:pt x="87" y="22"/>
                </a:lnTo>
                <a:lnTo>
                  <a:pt x="85" y="20"/>
                </a:lnTo>
                <a:lnTo>
                  <a:pt x="85" y="20"/>
                </a:lnTo>
                <a:lnTo>
                  <a:pt x="81" y="18"/>
                </a:lnTo>
                <a:lnTo>
                  <a:pt x="81" y="18"/>
                </a:lnTo>
                <a:lnTo>
                  <a:pt x="77" y="18"/>
                </a:lnTo>
                <a:lnTo>
                  <a:pt x="77" y="16"/>
                </a:lnTo>
                <a:lnTo>
                  <a:pt x="77" y="16"/>
                </a:lnTo>
                <a:lnTo>
                  <a:pt x="71" y="14"/>
                </a:lnTo>
                <a:lnTo>
                  <a:pt x="67" y="12"/>
                </a:lnTo>
                <a:lnTo>
                  <a:pt x="67" y="12"/>
                </a:lnTo>
                <a:lnTo>
                  <a:pt x="67" y="12"/>
                </a:lnTo>
                <a:lnTo>
                  <a:pt x="67" y="12"/>
                </a:lnTo>
                <a:lnTo>
                  <a:pt x="59" y="12"/>
                </a:lnTo>
                <a:lnTo>
                  <a:pt x="57" y="12"/>
                </a:lnTo>
                <a:lnTo>
                  <a:pt x="53" y="12"/>
                </a:lnTo>
                <a:lnTo>
                  <a:pt x="53" y="12"/>
                </a:lnTo>
                <a:lnTo>
                  <a:pt x="51" y="10"/>
                </a:lnTo>
                <a:lnTo>
                  <a:pt x="49" y="8"/>
                </a:lnTo>
                <a:lnTo>
                  <a:pt x="49" y="8"/>
                </a:lnTo>
                <a:lnTo>
                  <a:pt x="43" y="6"/>
                </a:lnTo>
                <a:lnTo>
                  <a:pt x="43" y="6"/>
                </a:lnTo>
                <a:lnTo>
                  <a:pt x="41" y="4"/>
                </a:lnTo>
                <a:lnTo>
                  <a:pt x="41" y="2"/>
                </a:lnTo>
                <a:lnTo>
                  <a:pt x="41"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5" name="Freeform 149">
            <a:extLst>
              <a:ext uri="{FF2B5EF4-FFF2-40B4-BE49-F238E27FC236}">
                <a16:creationId xmlns:a16="http://schemas.microsoft.com/office/drawing/2014/main" id="{248FDC68-6892-4ECD-A4E7-7B8756AD75A9}"/>
              </a:ext>
            </a:extLst>
          </p:cNvPr>
          <p:cNvSpPr>
            <a:spLocks/>
          </p:cNvSpPr>
          <p:nvPr userDrawn="1"/>
        </p:nvSpPr>
        <p:spPr bwMode="auto">
          <a:xfrm>
            <a:off x="5590844" y="3433546"/>
            <a:ext cx="97269" cy="130415"/>
          </a:xfrm>
          <a:custGeom>
            <a:avLst/>
            <a:gdLst>
              <a:gd name="T0" fmla="*/ 2 w 58"/>
              <a:gd name="T1" fmla="*/ 34 h 76"/>
              <a:gd name="T2" fmla="*/ 6 w 58"/>
              <a:gd name="T3" fmla="*/ 40 h 76"/>
              <a:gd name="T4" fmla="*/ 10 w 58"/>
              <a:gd name="T5" fmla="*/ 46 h 76"/>
              <a:gd name="T6" fmla="*/ 12 w 58"/>
              <a:gd name="T7" fmla="*/ 46 h 76"/>
              <a:gd name="T8" fmla="*/ 12 w 58"/>
              <a:gd name="T9" fmla="*/ 48 h 76"/>
              <a:gd name="T10" fmla="*/ 24 w 58"/>
              <a:gd name="T11" fmla="*/ 56 h 76"/>
              <a:gd name="T12" fmla="*/ 26 w 58"/>
              <a:gd name="T13" fmla="*/ 62 h 76"/>
              <a:gd name="T14" fmla="*/ 38 w 58"/>
              <a:gd name="T15" fmla="*/ 72 h 76"/>
              <a:gd name="T16" fmla="*/ 44 w 58"/>
              <a:gd name="T17" fmla="*/ 72 h 76"/>
              <a:gd name="T18" fmla="*/ 48 w 58"/>
              <a:gd name="T19" fmla="*/ 76 h 76"/>
              <a:gd name="T20" fmla="*/ 52 w 58"/>
              <a:gd name="T21" fmla="*/ 76 h 76"/>
              <a:gd name="T22" fmla="*/ 54 w 58"/>
              <a:gd name="T23" fmla="*/ 72 h 76"/>
              <a:gd name="T24" fmla="*/ 52 w 58"/>
              <a:gd name="T25" fmla="*/ 68 h 76"/>
              <a:gd name="T26" fmla="*/ 54 w 58"/>
              <a:gd name="T27" fmla="*/ 66 h 76"/>
              <a:gd name="T28" fmla="*/ 56 w 58"/>
              <a:gd name="T29" fmla="*/ 62 h 76"/>
              <a:gd name="T30" fmla="*/ 56 w 58"/>
              <a:gd name="T31" fmla="*/ 58 h 76"/>
              <a:gd name="T32" fmla="*/ 56 w 58"/>
              <a:gd name="T33" fmla="*/ 54 h 76"/>
              <a:gd name="T34" fmla="*/ 54 w 58"/>
              <a:gd name="T35" fmla="*/ 54 h 76"/>
              <a:gd name="T36" fmla="*/ 50 w 58"/>
              <a:gd name="T37" fmla="*/ 46 h 76"/>
              <a:gd name="T38" fmla="*/ 48 w 58"/>
              <a:gd name="T39" fmla="*/ 42 h 76"/>
              <a:gd name="T40" fmla="*/ 46 w 58"/>
              <a:gd name="T41" fmla="*/ 38 h 76"/>
              <a:gd name="T42" fmla="*/ 36 w 58"/>
              <a:gd name="T43" fmla="*/ 36 h 76"/>
              <a:gd name="T44" fmla="*/ 44 w 58"/>
              <a:gd name="T45" fmla="*/ 26 h 76"/>
              <a:gd name="T46" fmla="*/ 44 w 58"/>
              <a:gd name="T47" fmla="*/ 22 h 76"/>
              <a:gd name="T48" fmla="*/ 42 w 58"/>
              <a:gd name="T49" fmla="*/ 16 h 76"/>
              <a:gd name="T50" fmla="*/ 42 w 58"/>
              <a:gd name="T51" fmla="*/ 14 h 76"/>
              <a:gd name="T52" fmla="*/ 38 w 58"/>
              <a:gd name="T53" fmla="*/ 14 h 76"/>
              <a:gd name="T54" fmla="*/ 32 w 58"/>
              <a:gd name="T55" fmla="*/ 22 h 76"/>
              <a:gd name="T56" fmla="*/ 28 w 58"/>
              <a:gd name="T57" fmla="*/ 20 h 76"/>
              <a:gd name="T58" fmla="*/ 32 w 58"/>
              <a:gd name="T59" fmla="*/ 12 h 76"/>
              <a:gd name="T60" fmla="*/ 32 w 58"/>
              <a:gd name="T61" fmla="*/ 10 h 76"/>
              <a:gd name="T62" fmla="*/ 28 w 58"/>
              <a:gd name="T63" fmla="*/ 0 h 76"/>
              <a:gd name="T64" fmla="*/ 26 w 58"/>
              <a:gd name="T65" fmla="*/ 6 h 76"/>
              <a:gd name="T66" fmla="*/ 22 w 58"/>
              <a:gd name="T67" fmla="*/ 6 h 76"/>
              <a:gd name="T68" fmla="*/ 20 w 58"/>
              <a:gd name="T69" fmla="*/ 6 h 76"/>
              <a:gd name="T70" fmla="*/ 18 w 58"/>
              <a:gd name="T71" fmla="*/ 10 h 76"/>
              <a:gd name="T72" fmla="*/ 16 w 58"/>
              <a:gd name="T73" fmla="*/ 10 h 76"/>
              <a:gd name="T74" fmla="*/ 12 w 58"/>
              <a:gd name="T75" fmla="*/ 16 h 76"/>
              <a:gd name="T76" fmla="*/ 4 w 58"/>
              <a:gd name="T77" fmla="*/ 24 h 76"/>
              <a:gd name="T78" fmla="*/ 2 w 58"/>
              <a:gd name="T79" fmla="*/ 30 h 76"/>
              <a:gd name="T80" fmla="*/ 2 w 58"/>
              <a:gd name="T8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76">
                <a:moveTo>
                  <a:pt x="2" y="34"/>
                </a:moveTo>
                <a:lnTo>
                  <a:pt x="2" y="34"/>
                </a:lnTo>
                <a:lnTo>
                  <a:pt x="4" y="38"/>
                </a:lnTo>
                <a:lnTo>
                  <a:pt x="6" y="40"/>
                </a:lnTo>
                <a:lnTo>
                  <a:pt x="10" y="46"/>
                </a:lnTo>
                <a:lnTo>
                  <a:pt x="10" y="46"/>
                </a:lnTo>
                <a:lnTo>
                  <a:pt x="12" y="46"/>
                </a:lnTo>
                <a:lnTo>
                  <a:pt x="12" y="46"/>
                </a:lnTo>
                <a:lnTo>
                  <a:pt x="12" y="48"/>
                </a:lnTo>
                <a:lnTo>
                  <a:pt x="12" y="48"/>
                </a:lnTo>
                <a:lnTo>
                  <a:pt x="22" y="56"/>
                </a:lnTo>
                <a:lnTo>
                  <a:pt x="24" y="56"/>
                </a:lnTo>
                <a:lnTo>
                  <a:pt x="24" y="56"/>
                </a:lnTo>
                <a:lnTo>
                  <a:pt x="26" y="62"/>
                </a:lnTo>
                <a:lnTo>
                  <a:pt x="38" y="72"/>
                </a:lnTo>
                <a:lnTo>
                  <a:pt x="38" y="72"/>
                </a:lnTo>
                <a:lnTo>
                  <a:pt x="44" y="72"/>
                </a:lnTo>
                <a:lnTo>
                  <a:pt x="44" y="72"/>
                </a:lnTo>
                <a:lnTo>
                  <a:pt x="46" y="74"/>
                </a:lnTo>
                <a:lnTo>
                  <a:pt x="48" y="76"/>
                </a:lnTo>
                <a:lnTo>
                  <a:pt x="48" y="76"/>
                </a:lnTo>
                <a:lnTo>
                  <a:pt x="52" y="76"/>
                </a:lnTo>
                <a:lnTo>
                  <a:pt x="52" y="76"/>
                </a:lnTo>
                <a:lnTo>
                  <a:pt x="54" y="72"/>
                </a:lnTo>
                <a:lnTo>
                  <a:pt x="54" y="72"/>
                </a:lnTo>
                <a:lnTo>
                  <a:pt x="52" y="68"/>
                </a:lnTo>
                <a:lnTo>
                  <a:pt x="52" y="68"/>
                </a:lnTo>
                <a:lnTo>
                  <a:pt x="54" y="66"/>
                </a:lnTo>
                <a:lnTo>
                  <a:pt x="54" y="66"/>
                </a:lnTo>
                <a:lnTo>
                  <a:pt x="56" y="62"/>
                </a:lnTo>
                <a:lnTo>
                  <a:pt x="56" y="58"/>
                </a:lnTo>
                <a:lnTo>
                  <a:pt x="56" y="58"/>
                </a:lnTo>
                <a:lnTo>
                  <a:pt x="58" y="54"/>
                </a:lnTo>
                <a:lnTo>
                  <a:pt x="56" y="54"/>
                </a:lnTo>
                <a:lnTo>
                  <a:pt x="56" y="54"/>
                </a:lnTo>
                <a:lnTo>
                  <a:pt x="54" y="54"/>
                </a:lnTo>
                <a:lnTo>
                  <a:pt x="52" y="52"/>
                </a:lnTo>
                <a:lnTo>
                  <a:pt x="50" y="46"/>
                </a:lnTo>
                <a:lnTo>
                  <a:pt x="50" y="46"/>
                </a:lnTo>
                <a:lnTo>
                  <a:pt x="48" y="42"/>
                </a:lnTo>
                <a:lnTo>
                  <a:pt x="46" y="38"/>
                </a:lnTo>
                <a:lnTo>
                  <a:pt x="46" y="38"/>
                </a:lnTo>
                <a:lnTo>
                  <a:pt x="36" y="36"/>
                </a:lnTo>
                <a:lnTo>
                  <a:pt x="36" y="36"/>
                </a:lnTo>
                <a:lnTo>
                  <a:pt x="40" y="32"/>
                </a:lnTo>
                <a:lnTo>
                  <a:pt x="44" y="26"/>
                </a:lnTo>
                <a:lnTo>
                  <a:pt x="44" y="26"/>
                </a:lnTo>
                <a:lnTo>
                  <a:pt x="44" y="22"/>
                </a:lnTo>
                <a:lnTo>
                  <a:pt x="44" y="20"/>
                </a:lnTo>
                <a:lnTo>
                  <a:pt x="42" y="16"/>
                </a:lnTo>
                <a:lnTo>
                  <a:pt x="42" y="16"/>
                </a:lnTo>
                <a:lnTo>
                  <a:pt x="42" y="14"/>
                </a:lnTo>
                <a:lnTo>
                  <a:pt x="40" y="12"/>
                </a:lnTo>
                <a:lnTo>
                  <a:pt x="38" y="14"/>
                </a:lnTo>
                <a:lnTo>
                  <a:pt x="38" y="14"/>
                </a:lnTo>
                <a:lnTo>
                  <a:pt x="32" y="22"/>
                </a:lnTo>
                <a:lnTo>
                  <a:pt x="28" y="20"/>
                </a:lnTo>
                <a:lnTo>
                  <a:pt x="28" y="20"/>
                </a:lnTo>
                <a:lnTo>
                  <a:pt x="30" y="16"/>
                </a:lnTo>
                <a:lnTo>
                  <a:pt x="32" y="12"/>
                </a:lnTo>
                <a:lnTo>
                  <a:pt x="32" y="10"/>
                </a:lnTo>
                <a:lnTo>
                  <a:pt x="32" y="10"/>
                </a:lnTo>
                <a:lnTo>
                  <a:pt x="28" y="0"/>
                </a:lnTo>
                <a:lnTo>
                  <a:pt x="28" y="0"/>
                </a:lnTo>
                <a:lnTo>
                  <a:pt x="28" y="2"/>
                </a:lnTo>
                <a:lnTo>
                  <a:pt x="26" y="6"/>
                </a:lnTo>
                <a:lnTo>
                  <a:pt x="26" y="6"/>
                </a:lnTo>
                <a:lnTo>
                  <a:pt x="22" y="6"/>
                </a:lnTo>
                <a:lnTo>
                  <a:pt x="20" y="6"/>
                </a:lnTo>
                <a:lnTo>
                  <a:pt x="20" y="6"/>
                </a:lnTo>
                <a:lnTo>
                  <a:pt x="18" y="8"/>
                </a:lnTo>
                <a:lnTo>
                  <a:pt x="18" y="10"/>
                </a:lnTo>
                <a:lnTo>
                  <a:pt x="16" y="10"/>
                </a:lnTo>
                <a:lnTo>
                  <a:pt x="16" y="10"/>
                </a:lnTo>
                <a:lnTo>
                  <a:pt x="12" y="12"/>
                </a:lnTo>
                <a:lnTo>
                  <a:pt x="12" y="16"/>
                </a:lnTo>
                <a:lnTo>
                  <a:pt x="12" y="16"/>
                </a:lnTo>
                <a:lnTo>
                  <a:pt x="4" y="24"/>
                </a:lnTo>
                <a:lnTo>
                  <a:pt x="4" y="24"/>
                </a:lnTo>
                <a:lnTo>
                  <a:pt x="2" y="30"/>
                </a:lnTo>
                <a:lnTo>
                  <a:pt x="0" y="34"/>
                </a:lnTo>
                <a:lnTo>
                  <a:pt x="2"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6" name="Freeform 150">
            <a:extLst>
              <a:ext uri="{FF2B5EF4-FFF2-40B4-BE49-F238E27FC236}">
                <a16:creationId xmlns:a16="http://schemas.microsoft.com/office/drawing/2014/main" id="{F52E6DAF-5F3B-4310-8899-2C112B41AD42}"/>
              </a:ext>
            </a:extLst>
          </p:cNvPr>
          <p:cNvSpPr>
            <a:spLocks/>
          </p:cNvSpPr>
          <p:nvPr userDrawn="1"/>
        </p:nvSpPr>
        <p:spPr bwMode="auto">
          <a:xfrm>
            <a:off x="6645699" y="2675079"/>
            <a:ext cx="43603" cy="65208"/>
          </a:xfrm>
          <a:custGeom>
            <a:avLst/>
            <a:gdLst>
              <a:gd name="T0" fmla="*/ 14 w 26"/>
              <a:gd name="T1" fmla="*/ 4 h 38"/>
              <a:gd name="T2" fmla="*/ 14 w 26"/>
              <a:gd name="T3" fmla="*/ 4 h 38"/>
              <a:gd name="T4" fmla="*/ 12 w 26"/>
              <a:gd name="T5" fmla="*/ 6 h 38"/>
              <a:gd name="T6" fmla="*/ 10 w 26"/>
              <a:gd name="T7" fmla="*/ 12 h 38"/>
              <a:gd name="T8" fmla="*/ 10 w 26"/>
              <a:gd name="T9" fmla="*/ 12 h 38"/>
              <a:gd name="T10" fmla="*/ 8 w 26"/>
              <a:gd name="T11" fmla="*/ 12 h 38"/>
              <a:gd name="T12" fmla="*/ 6 w 26"/>
              <a:gd name="T13" fmla="*/ 14 h 38"/>
              <a:gd name="T14" fmla="*/ 6 w 26"/>
              <a:gd name="T15" fmla="*/ 14 h 38"/>
              <a:gd name="T16" fmla="*/ 6 w 26"/>
              <a:gd name="T17" fmla="*/ 20 h 38"/>
              <a:gd name="T18" fmla="*/ 6 w 26"/>
              <a:gd name="T19" fmla="*/ 28 h 38"/>
              <a:gd name="T20" fmla="*/ 6 w 26"/>
              <a:gd name="T21" fmla="*/ 28 h 38"/>
              <a:gd name="T22" fmla="*/ 2 w 26"/>
              <a:gd name="T23" fmla="*/ 30 h 38"/>
              <a:gd name="T24" fmla="*/ 0 w 26"/>
              <a:gd name="T25" fmla="*/ 34 h 38"/>
              <a:gd name="T26" fmla="*/ 0 w 26"/>
              <a:gd name="T27" fmla="*/ 34 h 38"/>
              <a:gd name="T28" fmla="*/ 0 w 26"/>
              <a:gd name="T29" fmla="*/ 38 h 38"/>
              <a:gd name="T30" fmla="*/ 0 w 26"/>
              <a:gd name="T31" fmla="*/ 38 h 38"/>
              <a:gd name="T32" fmla="*/ 4 w 26"/>
              <a:gd name="T33" fmla="*/ 38 h 38"/>
              <a:gd name="T34" fmla="*/ 6 w 26"/>
              <a:gd name="T35" fmla="*/ 38 h 38"/>
              <a:gd name="T36" fmla="*/ 6 w 26"/>
              <a:gd name="T37" fmla="*/ 38 h 38"/>
              <a:gd name="T38" fmla="*/ 6 w 26"/>
              <a:gd name="T39" fmla="*/ 38 h 38"/>
              <a:gd name="T40" fmla="*/ 8 w 26"/>
              <a:gd name="T41" fmla="*/ 36 h 38"/>
              <a:gd name="T42" fmla="*/ 8 w 26"/>
              <a:gd name="T43" fmla="*/ 36 h 38"/>
              <a:gd name="T44" fmla="*/ 10 w 26"/>
              <a:gd name="T45" fmla="*/ 36 h 38"/>
              <a:gd name="T46" fmla="*/ 10 w 26"/>
              <a:gd name="T47" fmla="*/ 36 h 38"/>
              <a:gd name="T48" fmla="*/ 14 w 26"/>
              <a:gd name="T49" fmla="*/ 30 h 38"/>
              <a:gd name="T50" fmla="*/ 14 w 26"/>
              <a:gd name="T51" fmla="*/ 30 h 38"/>
              <a:gd name="T52" fmla="*/ 16 w 26"/>
              <a:gd name="T53" fmla="*/ 28 h 38"/>
              <a:gd name="T54" fmla="*/ 18 w 26"/>
              <a:gd name="T55" fmla="*/ 26 h 38"/>
              <a:gd name="T56" fmla="*/ 18 w 26"/>
              <a:gd name="T57" fmla="*/ 26 h 38"/>
              <a:gd name="T58" fmla="*/ 18 w 26"/>
              <a:gd name="T59" fmla="*/ 22 h 38"/>
              <a:gd name="T60" fmla="*/ 20 w 26"/>
              <a:gd name="T61" fmla="*/ 18 h 38"/>
              <a:gd name="T62" fmla="*/ 20 w 26"/>
              <a:gd name="T63" fmla="*/ 18 h 38"/>
              <a:gd name="T64" fmla="*/ 24 w 26"/>
              <a:gd name="T65" fmla="*/ 12 h 38"/>
              <a:gd name="T66" fmla="*/ 26 w 26"/>
              <a:gd name="T67" fmla="*/ 4 h 38"/>
              <a:gd name="T68" fmla="*/ 26 w 26"/>
              <a:gd name="T69" fmla="*/ 4 h 38"/>
              <a:gd name="T70" fmla="*/ 26 w 26"/>
              <a:gd name="T71" fmla="*/ 2 h 38"/>
              <a:gd name="T72" fmla="*/ 24 w 26"/>
              <a:gd name="T73" fmla="*/ 2 h 38"/>
              <a:gd name="T74" fmla="*/ 20 w 26"/>
              <a:gd name="T75" fmla="*/ 0 h 38"/>
              <a:gd name="T76" fmla="*/ 20 w 26"/>
              <a:gd name="T77" fmla="*/ 0 h 38"/>
              <a:gd name="T78" fmla="*/ 18 w 26"/>
              <a:gd name="T79" fmla="*/ 0 h 38"/>
              <a:gd name="T80" fmla="*/ 16 w 26"/>
              <a:gd name="T81" fmla="*/ 0 h 38"/>
              <a:gd name="T82" fmla="*/ 14 w 26"/>
              <a:gd name="T83" fmla="*/ 4 h 38"/>
              <a:gd name="T84" fmla="*/ 14 w 26"/>
              <a:gd name="T8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8">
                <a:moveTo>
                  <a:pt x="14" y="4"/>
                </a:moveTo>
                <a:lnTo>
                  <a:pt x="14" y="4"/>
                </a:lnTo>
                <a:lnTo>
                  <a:pt x="12" y="6"/>
                </a:lnTo>
                <a:lnTo>
                  <a:pt x="10" y="12"/>
                </a:lnTo>
                <a:lnTo>
                  <a:pt x="10" y="12"/>
                </a:lnTo>
                <a:lnTo>
                  <a:pt x="8" y="12"/>
                </a:lnTo>
                <a:lnTo>
                  <a:pt x="6" y="14"/>
                </a:lnTo>
                <a:lnTo>
                  <a:pt x="6" y="14"/>
                </a:lnTo>
                <a:lnTo>
                  <a:pt x="6" y="20"/>
                </a:lnTo>
                <a:lnTo>
                  <a:pt x="6" y="28"/>
                </a:lnTo>
                <a:lnTo>
                  <a:pt x="6" y="28"/>
                </a:lnTo>
                <a:lnTo>
                  <a:pt x="2" y="30"/>
                </a:lnTo>
                <a:lnTo>
                  <a:pt x="0" y="34"/>
                </a:lnTo>
                <a:lnTo>
                  <a:pt x="0" y="34"/>
                </a:lnTo>
                <a:lnTo>
                  <a:pt x="0" y="38"/>
                </a:lnTo>
                <a:lnTo>
                  <a:pt x="0" y="38"/>
                </a:lnTo>
                <a:lnTo>
                  <a:pt x="4" y="38"/>
                </a:lnTo>
                <a:lnTo>
                  <a:pt x="6" y="38"/>
                </a:lnTo>
                <a:lnTo>
                  <a:pt x="6" y="38"/>
                </a:lnTo>
                <a:lnTo>
                  <a:pt x="6" y="38"/>
                </a:lnTo>
                <a:lnTo>
                  <a:pt x="8" y="36"/>
                </a:lnTo>
                <a:lnTo>
                  <a:pt x="8" y="36"/>
                </a:lnTo>
                <a:lnTo>
                  <a:pt x="10" y="36"/>
                </a:lnTo>
                <a:lnTo>
                  <a:pt x="10" y="36"/>
                </a:lnTo>
                <a:lnTo>
                  <a:pt x="14" y="30"/>
                </a:lnTo>
                <a:lnTo>
                  <a:pt x="14" y="30"/>
                </a:lnTo>
                <a:lnTo>
                  <a:pt x="16" y="28"/>
                </a:lnTo>
                <a:lnTo>
                  <a:pt x="18" y="26"/>
                </a:lnTo>
                <a:lnTo>
                  <a:pt x="18" y="26"/>
                </a:lnTo>
                <a:lnTo>
                  <a:pt x="18" y="22"/>
                </a:lnTo>
                <a:lnTo>
                  <a:pt x="20" y="18"/>
                </a:lnTo>
                <a:lnTo>
                  <a:pt x="20" y="18"/>
                </a:lnTo>
                <a:lnTo>
                  <a:pt x="24" y="12"/>
                </a:lnTo>
                <a:lnTo>
                  <a:pt x="26" y="4"/>
                </a:lnTo>
                <a:lnTo>
                  <a:pt x="26" y="4"/>
                </a:lnTo>
                <a:lnTo>
                  <a:pt x="26" y="2"/>
                </a:lnTo>
                <a:lnTo>
                  <a:pt x="24" y="2"/>
                </a:lnTo>
                <a:lnTo>
                  <a:pt x="20" y="0"/>
                </a:lnTo>
                <a:lnTo>
                  <a:pt x="20" y="0"/>
                </a:lnTo>
                <a:lnTo>
                  <a:pt x="18" y="0"/>
                </a:lnTo>
                <a:lnTo>
                  <a:pt x="16" y="0"/>
                </a:lnTo>
                <a:lnTo>
                  <a:pt x="14" y="4"/>
                </a:lnTo>
                <a:lnTo>
                  <a:pt x="14"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7" name="Freeform 151">
            <a:extLst>
              <a:ext uri="{FF2B5EF4-FFF2-40B4-BE49-F238E27FC236}">
                <a16:creationId xmlns:a16="http://schemas.microsoft.com/office/drawing/2014/main" id="{B808225E-0431-417C-80D7-D35B1284C0A8}"/>
              </a:ext>
            </a:extLst>
          </p:cNvPr>
          <p:cNvSpPr>
            <a:spLocks/>
          </p:cNvSpPr>
          <p:nvPr userDrawn="1"/>
        </p:nvSpPr>
        <p:spPr bwMode="auto">
          <a:xfrm>
            <a:off x="6327063" y="1878862"/>
            <a:ext cx="174412" cy="102959"/>
          </a:xfrm>
          <a:custGeom>
            <a:avLst/>
            <a:gdLst>
              <a:gd name="T0" fmla="*/ 0 w 104"/>
              <a:gd name="T1" fmla="*/ 42 h 60"/>
              <a:gd name="T2" fmla="*/ 12 w 104"/>
              <a:gd name="T3" fmla="*/ 36 h 60"/>
              <a:gd name="T4" fmla="*/ 18 w 104"/>
              <a:gd name="T5" fmla="*/ 38 h 60"/>
              <a:gd name="T6" fmla="*/ 26 w 104"/>
              <a:gd name="T7" fmla="*/ 40 h 60"/>
              <a:gd name="T8" fmla="*/ 38 w 104"/>
              <a:gd name="T9" fmla="*/ 44 h 60"/>
              <a:gd name="T10" fmla="*/ 46 w 104"/>
              <a:gd name="T11" fmla="*/ 46 h 60"/>
              <a:gd name="T12" fmla="*/ 52 w 104"/>
              <a:gd name="T13" fmla="*/ 46 h 60"/>
              <a:gd name="T14" fmla="*/ 54 w 104"/>
              <a:gd name="T15" fmla="*/ 48 h 60"/>
              <a:gd name="T16" fmla="*/ 56 w 104"/>
              <a:gd name="T17" fmla="*/ 52 h 60"/>
              <a:gd name="T18" fmla="*/ 64 w 104"/>
              <a:gd name="T19" fmla="*/ 54 h 60"/>
              <a:gd name="T20" fmla="*/ 70 w 104"/>
              <a:gd name="T21" fmla="*/ 58 h 60"/>
              <a:gd name="T22" fmla="*/ 76 w 104"/>
              <a:gd name="T23" fmla="*/ 60 h 60"/>
              <a:gd name="T24" fmla="*/ 80 w 104"/>
              <a:gd name="T25" fmla="*/ 56 h 60"/>
              <a:gd name="T26" fmla="*/ 86 w 104"/>
              <a:gd name="T27" fmla="*/ 54 h 60"/>
              <a:gd name="T28" fmla="*/ 90 w 104"/>
              <a:gd name="T29" fmla="*/ 56 h 60"/>
              <a:gd name="T30" fmla="*/ 92 w 104"/>
              <a:gd name="T31" fmla="*/ 50 h 60"/>
              <a:gd name="T32" fmla="*/ 94 w 104"/>
              <a:gd name="T33" fmla="*/ 42 h 60"/>
              <a:gd name="T34" fmla="*/ 98 w 104"/>
              <a:gd name="T35" fmla="*/ 44 h 60"/>
              <a:gd name="T36" fmla="*/ 104 w 104"/>
              <a:gd name="T37" fmla="*/ 42 h 60"/>
              <a:gd name="T38" fmla="*/ 102 w 104"/>
              <a:gd name="T39" fmla="*/ 36 h 60"/>
              <a:gd name="T40" fmla="*/ 98 w 104"/>
              <a:gd name="T41" fmla="*/ 30 h 60"/>
              <a:gd name="T42" fmla="*/ 94 w 104"/>
              <a:gd name="T43" fmla="*/ 28 h 60"/>
              <a:gd name="T44" fmla="*/ 92 w 104"/>
              <a:gd name="T45" fmla="*/ 26 h 60"/>
              <a:gd name="T46" fmla="*/ 92 w 104"/>
              <a:gd name="T47" fmla="*/ 16 h 60"/>
              <a:gd name="T48" fmla="*/ 88 w 104"/>
              <a:gd name="T49" fmla="*/ 18 h 60"/>
              <a:gd name="T50" fmla="*/ 84 w 104"/>
              <a:gd name="T51" fmla="*/ 16 h 60"/>
              <a:gd name="T52" fmla="*/ 84 w 104"/>
              <a:gd name="T53" fmla="*/ 12 h 60"/>
              <a:gd name="T54" fmla="*/ 76 w 104"/>
              <a:gd name="T55" fmla="*/ 14 h 60"/>
              <a:gd name="T56" fmla="*/ 68 w 104"/>
              <a:gd name="T57" fmla="*/ 6 h 60"/>
              <a:gd name="T58" fmla="*/ 68 w 104"/>
              <a:gd name="T59" fmla="*/ 4 h 60"/>
              <a:gd name="T60" fmla="*/ 64 w 104"/>
              <a:gd name="T61" fmla="*/ 2 h 60"/>
              <a:gd name="T62" fmla="*/ 54 w 104"/>
              <a:gd name="T63" fmla="*/ 0 h 60"/>
              <a:gd name="T64" fmla="*/ 54 w 104"/>
              <a:gd name="T65" fmla="*/ 2 h 60"/>
              <a:gd name="T66" fmla="*/ 50 w 104"/>
              <a:gd name="T67" fmla="*/ 2 h 60"/>
              <a:gd name="T68" fmla="*/ 42 w 104"/>
              <a:gd name="T69" fmla="*/ 2 h 60"/>
              <a:gd name="T70" fmla="*/ 44 w 104"/>
              <a:gd name="T71" fmla="*/ 20 h 60"/>
              <a:gd name="T72" fmla="*/ 36 w 104"/>
              <a:gd name="T73" fmla="*/ 24 h 60"/>
              <a:gd name="T74" fmla="*/ 28 w 104"/>
              <a:gd name="T75" fmla="*/ 22 h 60"/>
              <a:gd name="T76" fmla="*/ 28 w 104"/>
              <a:gd name="T77" fmla="*/ 22 h 60"/>
              <a:gd name="T78" fmla="*/ 20 w 104"/>
              <a:gd name="T79" fmla="*/ 14 h 60"/>
              <a:gd name="T80" fmla="*/ 20 w 104"/>
              <a:gd name="T81" fmla="*/ 12 h 60"/>
              <a:gd name="T82" fmla="*/ 22 w 104"/>
              <a:gd name="T83" fmla="*/ 12 h 60"/>
              <a:gd name="T84" fmla="*/ 22 w 104"/>
              <a:gd name="T85" fmla="*/ 8 h 60"/>
              <a:gd name="T86" fmla="*/ 18 w 104"/>
              <a:gd name="T87" fmla="*/ 10 h 60"/>
              <a:gd name="T88" fmla="*/ 12 w 104"/>
              <a:gd name="T89" fmla="*/ 12 h 60"/>
              <a:gd name="T90" fmla="*/ 10 w 104"/>
              <a:gd name="T91" fmla="*/ 18 h 60"/>
              <a:gd name="T92" fmla="*/ 0 w 104"/>
              <a:gd name="T93"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60">
                <a:moveTo>
                  <a:pt x="0" y="42"/>
                </a:moveTo>
                <a:lnTo>
                  <a:pt x="0" y="42"/>
                </a:lnTo>
                <a:lnTo>
                  <a:pt x="6" y="40"/>
                </a:lnTo>
                <a:lnTo>
                  <a:pt x="12" y="36"/>
                </a:lnTo>
                <a:lnTo>
                  <a:pt x="12" y="36"/>
                </a:lnTo>
                <a:lnTo>
                  <a:pt x="18" y="38"/>
                </a:lnTo>
                <a:lnTo>
                  <a:pt x="26" y="40"/>
                </a:lnTo>
                <a:lnTo>
                  <a:pt x="26" y="40"/>
                </a:lnTo>
                <a:lnTo>
                  <a:pt x="38" y="44"/>
                </a:lnTo>
                <a:lnTo>
                  <a:pt x="38" y="44"/>
                </a:lnTo>
                <a:lnTo>
                  <a:pt x="42" y="46"/>
                </a:lnTo>
                <a:lnTo>
                  <a:pt x="46" y="46"/>
                </a:lnTo>
                <a:lnTo>
                  <a:pt x="46" y="46"/>
                </a:lnTo>
                <a:lnTo>
                  <a:pt x="52" y="46"/>
                </a:lnTo>
                <a:lnTo>
                  <a:pt x="52" y="46"/>
                </a:lnTo>
                <a:lnTo>
                  <a:pt x="54" y="48"/>
                </a:lnTo>
                <a:lnTo>
                  <a:pt x="56" y="52"/>
                </a:lnTo>
                <a:lnTo>
                  <a:pt x="56" y="52"/>
                </a:lnTo>
                <a:lnTo>
                  <a:pt x="60" y="52"/>
                </a:lnTo>
                <a:lnTo>
                  <a:pt x="64" y="54"/>
                </a:lnTo>
                <a:lnTo>
                  <a:pt x="64" y="54"/>
                </a:lnTo>
                <a:lnTo>
                  <a:pt x="70" y="58"/>
                </a:lnTo>
                <a:lnTo>
                  <a:pt x="70" y="58"/>
                </a:lnTo>
                <a:lnTo>
                  <a:pt x="76" y="60"/>
                </a:lnTo>
                <a:lnTo>
                  <a:pt x="76" y="60"/>
                </a:lnTo>
                <a:lnTo>
                  <a:pt x="80" y="56"/>
                </a:lnTo>
                <a:lnTo>
                  <a:pt x="82" y="54"/>
                </a:lnTo>
                <a:lnTo>
                  <a:pt x="86" y="54"/>
                </a:lnTo>
                <a:lnTo>
                  <a:pt x="86" y="54"/>
                </a:lnTo>
                <a:lnTo>
                  <a:pt x="90" y="56"/>
                </a:lnTo>
                <a:lnTo>
                  <a:pt x="92" y="50"/>
                </a:lnTo>
                <a:lnTo>
                  <a:pt x="92" y="50"/>
                </a:lnTo>
                <a:lnTo>
                  <a:pt x="92" y="44"/>
                </a:lnTo>
                <a:lnTo>
                  <a:pt x="94" y="42"/>
                </a:lnTo>
                <a:lnTo>
                  <a:pt x="94" y="42"/>
                </a:lnTo>
                <a:lnTo>
                  <a:pt x="98" y="44"/>
                </a:lnTo>
                <a:lnTo>
                  <a:pt x="102" y="44"/>
                </a:lnTo>
                <a:lnTo>
                  <a:pt x="104" y="42"/>
                </a:lnTo>
                <a:lnTo>
                  <a:pt x="102" y="36"/>
                </a:lnTo>
                <a:lnTo>
                  <a:pt x="102" y="36"/>
                </a:lnTo>
                <a:lnTo>
                  <a:pt x="98" y="30"/>
                </a:lnTo>
                <a:lnTo>
                  <a:pt x="98" y="30"/>
                </a:lnTo>
                <a:lnTo>
                  <a:pt x="96" y="28"/>
                </a:lnTo>
                <a:lnTo>
                  <a:pt x="94" y="28"/>
                </a:lnTo>
                <a:lnTo>
                  <a:pt x="94" y="28"/>
                </a:lnTo>
                <a:lnTo>
                  <a:pt x="92" y="26"/>
                </a:lnTo>
                <a:lnTo>
                  <a:pt x="92" y="26"/>
                </a:lnTo>
                <a:lnTo>
                  <a:pt x="92" y="16"/>
                </a:lnTo>
                <a:lnTo>
                  <a:pt x="92" y="16"/>
                </a:lnTo>
                <a:lnTo>
                  <a:pt x="88" y="18"/>
                </a:lnTo>
                <a:lnTo>
                  <a:pt x="86" y="18"/>
                </a:lnTo>
                <a:lnTo>
                  <a:pt x="84" y="16"/>
                </a:lnTo>
                <a:lnTo>
                  <a:pt x="84" y="16"/>
                </a:lnTo>
                <a:lnTo>
                  <a:pt x="84" y="12"/>
                </a:lnTo>
                <a:lnTo>
                  <a:pt x="82" y="12"/>
                </a:lnTo>
                <a:lnTo>
                  <a:pt x="76" y="14"/>
                </a:lnTo>
                <a:lnTo>
                  <a:pt x="72" y="6"/>
                </a:lnTo>
                <a:lnTo>
                  <a:pt x="68" y="6"/>
                </a:lnTo>
                <a:lnTo>
                  <a:pt x="68" y="6"/>
                </a:lnTo>
                <a:lnTo>
                  <a:pt x="68" y="4"/>
                </a:lnTo>
                <a:lnTo>
                  <a:pt x="64" y="2"/>
                </a:lnTo>
                <a:lnTo>
                  <a:pt x="64" y="2"/>
                </a:lnTo>
                <a:lnTo>
                  <a:pt x="58" y="0"/>
                </a:lnTo>
                <a:lnTo>
                  <a:pt x="54" y="0"/>
                </a:lnTo>
                <a:lnTo>
                  <a:pt x="54" y="0"/>
                </a:lnTo>
                <a:lnTo>
                  <a:pt x="54" y="2"/>
                </a:lnTo>
                <a:lnTo>
                  <a:pt x="50" y="2"/>
                </a:lnTo>
                <a:lnTo>
                  <a:pt x="50" y="2"/>
                </a:lnTo>
                <a:lnTo>
                  <a:pt x="42" y="2"/>
                </a:lnTo>
                <a:lnTo>
                  <a:pt x="42" y="2"/>
                </a:lnTo>
                <a:lnTo>
                  <a:pt x="42" y="10"/>
                </a:lnTo>
                <a:lnTo>
                  <a:pt x="44" y="20"/>
                </a:lnTo>
                <a:lnTo>
                  <a:pt x="44" y="20"/>
                </a:lnTo>
                <a:lnTo>
                  <a:pt x="36" y="24"/>
                </a:lnTo>
                <a:lnTo>
                  <a:pt x="32" y="24"/>
                </a:lnTo>
                <a:lnTo>
                  <a:pt x="28" y="22"/>
                </a:lnTo>
                <a:lnTo>
                  <a:pt x="28" y="22"/>
                </a:lnTo>
                <a:lnTo>
                  <a:pt x="28" y="22"/>
                </a:lnTo>
                <a:lnTo>
                  <a:pt x="28" y="22"/>
                </a:lnTo>
                <a:lnTo>
                  <a:pt x="20" y="14"/>
                </a:lnTo>
                <a:lnTo>
                  <a:pt x="20" y="14"/>
                </a:lnTo>
                <a:lnTo>
                  <a:pt x="20" y="12"/>
                </a:lnTo>
                <a:lnTo>
                  <a:pt x="20" y="12"/>
                </a:lnTo>
                <a:lnTo>
                  <a:pt x="22" y="12"/>
                </a:lnTo>
                <a:lnTo>
                  <a:pt x="22" y="12"/>
                </a:lnTo>
                <a:lnTo>
                  <a:pt x="22" y="8"/>
                </a:lnTo>
                <a:lnTo>
                  <a:pt x="20" y="8"/>
                </a:lnTo>
                <a:lnTo>
                  <a:pt x="18" y="10"/>
                </a:lnTo>
                <a:lnTo>
                  <a:pt x="18" y="10"/>
                </a:lnTo>
                <a:lnTo>
                  <a:pt x="12" y="12"/>
                </a:lnTo>
                <a:lnTo>
                  <a:pt x="10" y="18"/>
                </a:lnTo>
                <a:lnTo>
                  <a:pt x="10" y="18"/>
                </a:lnTo>
                <a:lnTo>
                  <a:pt x="2" y="30"/>
                </a:lnTo>
                <a:lnTo>
                  <a:pt x="0" y="42"/>
                </a:lnTo>
                <a:lnTo>
                  <a:pt x="0" y="4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8" name="Freeform 152">
            <a:extLst>
              <a:ext uri="{FF2B5EF4-FFF2-40B4-BE49-F238E27FC236}">
                <a16:creationId xmlns:a16="http://schemas.microsoft.com/office/drawing/2014/main" id="{270A57FD-3C28-447F-BED4-4DD97C4CF8E5}"/>
              </a:ext>
            </a:extLst>
          </p:cNvPr>
          <p:cNvSpPr>
            <a:spLocks/>
          </p:cNvSpPr>
          <p:nvPr userDrawn="1"/>
        </p:nvSpPr>
        <p:spPr bwMode="auto">
          <a:xfrm>
            <a:off x="8108075" y="3042300"/>
            <a:ext cx="154287" cy="243670"/>
          </a:xfrm>
          <a:custGeom>
            <a:avLst/>
            <a:gdLst>
              <a:gd name="T0" fmla="*/ 2 w 92"/>
              <a:gd name="T1" fmla="*/ 36 h 142"/>
              <a:gd name="T2" fmla="*/ 0 w 92"/>
              <a:gd name="T3" fmla="*/ 44 h 142"/>
              <a:gd name="T4" fmla="*/ 4 w 92"/>
              <a:gd name="T5" fmla="*/ 48 h 142"/>
              <a:gd name="T6" fmla="*/ 10 w 92"/>
              <a:gd name="T7" fmla="*/ 52 h 142"/>
              <a:gd name="T8" fmla="*/ 8 w 92"/>
              <a:gd name="T9" fmla="*/ 62 h 142"/>
              <a:gd name="T10" fmla="*/ 10 w 92"/>
              <a:gd name="T11" fmla="*/ 68 h 142"/>
              <a:gd name="T12" fmla="*/ 10 w 92"/>
              <a:gd name="T13" fmla="*/ 78 h 142"/>
              <a:gd name="T14" fmla="*/ 18 w 92"/>
              <a:gd name="T15" fmla="*/ 78 h 142"/>
              <a:gd name="T16" fmla="*/ 28 w 92"/>
              <a:gd name="T17" fmla="*/ 68 h 142"/>
              <a:gd name="T18" fmla="*/ 32 w 92"/>
              <a:gd name="T19" fmla="*/ 72 h 142"/>
              <a:gd name="T20" fmla="*/ 40 w 92"/>
              <a:gd name="T21" fmla="*/ 78 h 142"/>
              <a:gd name="T22" fmla="*/ 52 w 92"/>
              <a:gd name="T23" fmla="*/ 86 h 142"/>
              <a:gd name="T24" fmla="*/ 52 w 92"/>
              <a:gd name="T25" fmla="*/ 100 h 142"/>
              <a:gd name="T26" fmla="*/ 60 w 92"/>
              <a:gd name="T27" fmla="*/ 108 h 142"/>
              <a:gd name="T28" fmla="*/ 62 w 92"/>
              <a:gd name="T29" fmla="*/ 118 h 142"/>
              <a:gd name="T30" fmla="*/ 62 w 92"/>
              <a:gd name="T31" fmla="*/ 126 h 142"/>
              <a:gd name="T32" fmla="*/ 56 w 92"/>
              <a:gd name="T33" fmla="*/ 134 h 142"/>
              <a:gd name="T34" fmla="*/ 66 w 92"/>
              <a:gd name="T35" fmla="*/ 138 h 142"/>
              <a:gd name="T36" fmla="*/ 74 w 92"/>
              <a:gd name="T37" fmla="*/ 140 h 142"/>
              <a:gd name="T38" fmla="*/ 78 w 92"/>
              <a:gd name="T39" fmla="*/ 128 h 142"/>
              <a:gd name="T40" fmla="*/ 86 w 92"/>
              <a:gd name="T41" fmla="*/ 134 h 142"/>
              <a:gd name="T42" fmla="*/ 92 w 92"/>
              <a:gd name="T43" fmla="*/ 128 h 142"/>
              <a:gd name="T44" fmla="*/ 90 w 92"/>
              <a:gd name="T45" fmla="*/ 112 h 142"/>
              <a:gd name="T46" fmla="*/ 82 w 92"/>
              <a:gd name="T47" fmla="*/ 102 h 142"/>
              <a:gd name="T48" fmla="*/ 74 w 92"/>
              <a:gd name="T49" fmla="*/ 92 h 142"/>
              <a:gd name="T50" fmla="*/ 68 w 92"/>
              <a:gd name="T51" fmla="*/ 82 h 142"/>
              <a:gd name="T52" fmla="*/ 58 w 92"/>
              <a:gd name="T53" fmla="*/ 70 h 142"/>
              <a:gd name="T54" fmla="*/ 48 w 92"/>
              <a:gd name="T55" fmla="*/ 56 h 142"/>
              <a:gd name="T56" fmla="*/ 52 w 92"/>
              <a:gd name="T57" fmla="*/ 46 h 142"/>
              <a:gd name="T58" fmla="*/ 62 w 92"/>
              <a:gd name="T59" fmla="*/ 40 h 142"/>
              <a:gd name="T60" fmla="*/ 56 w 92"/>
              <a:gd name="T61" fmla="*/ 28 h 142"/>
              <a:gd name="T62" fmla="*/ 46 w 92"/>
              <a:gd name="T63" fmla="*/ 30 h 142"/>
              <a:gd name="T64" fmla="*/ 40 w 92"/>
              <a:gd name="T65" fmla="*/ 24 h 142"/>
              <a:gd name="T66" fmla="*/ 30 w 92"/>
              <a:gd name="T67" fmla="*/ 16 h 142"/>
              <a:gd name="T68" fmla="*/ 24 w 92"/>
              <a:gd name="T69" fmla="*/ 2 h 142"/>
              <a:gd name="T70" fmla="*/ 16 w 92"/>
              <a:gd name="T71" fmla="*/ 6 h 142"/>
              <a:gd name="T72" fmla="*/ 20 w 92"/>
              <a:gd name="T73" fmla="*/ 24 h 142"/>
              <a:gd name="T74" fmla="*/ 16 w 92"/>
              <a:gd name="T75" fmla="*/ 30 h 142"/>
              <a:gd name="T76" fmla="*/ 8 w 92"/>
              <a:gd name="T77" fmla="*/ 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42">
                <a:moveTo>
                  <a:pt x="8" y="30"/>
                </a:moveTo>
                <a:lnTo>
                  <a:pt x="2" y="36"/>
                </a:lnTo>
                <a:lnTo>
                  <a:pt x="2" y="42"/>
                </a:lnTo>
                <a:lnTo>
                  <a:pt x="0" y="44"/>
                </a:lnTo>
                <a:lnTo>
                  <a:pt x="0" y="48"/>
                </a:lnTo>
                <a:lnTo>
                  <a:pt x="4" y="48"/>
                </a:lnTo>
                <a:lnTo>
                  <a:pt x="8" y="48"/>
                </a:lnTo>
                <a:lnTo>
                  <a:pt x="10" y="52"/>
                </a:lnTo>
                <a:lnTo>
                  <a:pt x="6" y="60"/>
                </a:lnTo>
                <a:lnTo>
                  <a:pt x="8" y="62"/>
                </a:lnTo>
                <a:lnTo>
                  <a:pt x="8" y="66"/>
                </a:lnTo>
                <a:lnTo>
                  <a:pt x="10" y="68"/>
                </a:lnTo>
                <a:lnTo>
                  <a:pt x="12" y="74"/>
                </a:lnTo>
                <a:lnTo>
                  <a:pt x="10" y="78"/>
                </a:lnTo>
                <a:lnTo>
                  <a:pt x="14" y="80"/>
                </a:lnTo>
                <a:lnTo>
                  <a:pt x="18" y="78"/>
                </a:lnTo>
                <a:lnTo>
                  <a:pt x="20" y="74"/>
                </a:lnTo>
                <a:lnTo>
                  <a:pt x="28" y="68"/>
                </a:lnTo>
                <a:lnTo>
                  <a:pt x="32" y="70"/>
                </a:lnTo>
                <a:lnTo>
                  <a:pt x="32" y="72"/>
                </a:lnTo>
                <a:lnTo>
                  <a:pt x="34" y="74"/>
                </a:lnTo>
                <a:lnTo>
                  <a:pt x="40" y="78"/>
                </a:lnTo>
                <a:lnTo>
                  <a:pt x="46" y="78"/>
                </a:lnTo>
                <a:lnTo>
                  <a:pt x="52" y="86"/>
                </a:lnTo>
                <a:lnTo>
                  <a:pt x="52" y="92"/>
                </a:lnTo>
                <a:lnTo>
                  <a:pt x="52" y="100"/>
                </a:lnTo>
                <a:lnTo>
                  <a:pt x="56" y="104"/>
                </a:lnTo>
                <a:lnTo>
                  <a:pt x="60" y="108"/>
                </a:lnTo>
                <a:lnTo>
                  <a:pt x="62" y="112"/>
                </a:lnTo>
                <a:lnTo>
                  <a:pt x="62" y="118"/>
                </a:lnTo>
                <a:lnTo>
                  <a:pt x="64" y="120"/>
                </a:lnTo>
                <a:lnTo>
                  <a:pt x="62" y="126"/>
                </a:lnTo>
                <a:lnTo>
                  <a:pt x="60" y="130"/>
                </a:lnTo>
                <a:lnTo>
                  <a:pt x="56" y="134"/>
                </a:lnTo>
                <a:lnTo>
                  <a:pt x="64" y="136"/>
                </a:lnTo>
                <a:lnTo>
                  <a:pt x="66" y="138"/>
                </a:lnTo>
                <a:lnTo>
                  <a:pt x="70" y="142"/>
                </a:lnTo>
                <a:lnTo>
                  <a:pt x="74" y="140"/>
                </a:lnTo>
                <a:lnTo>
                  <a:pt x="74" y="134"/>
                </a:lnTo>
                <a:lnTo>
                  <a:pt x="78" y="128"/>
                </a:lnTo>
                <a:lnTo>
                  <a:pt x="82" y="130"/>
                </a:lnTo>
                <a:lnTo>
                  <a:pt x="86" y="134"/>
                </a:lnTo>
                <a:lnTo>
                  <a:pt x="92" y="132"/>
                </a:lnTo>
                <a:lnTo>
                  <a:pt x="92" y="128"/>
                </a:lnTo>
                <a:lnTo>
                  <a:pt x="92" y="118"/>
                </a:lnTo>
                <a:lnTo>
                  <a:pt x="90" y="112"/>
                </a:lnTo>
                <a:lnTo>
                  <a:pt x="86" y="110"/>
                </a:lnTo>
                <a:lnTo>
                  <a:pt x="82" y="102"/>
                </a:lnTo>
                <a:lnTo>
                  <a:pt x="80" y="96"/>
                </a:lnTo>
                <a:lnTo>
                  <a:pt x="74" y="92"/>
                </a:lnTo>
                <a:lnTo>
                  <a:pt x="70" y="88"/>
                </a:lnTo>
                <a:lnTo>
                  <a:pt x="68" y="82"/>
                </a:lnTo>
                <a:lnTo>
                  <a:pt x="64" y="78"/>
                </a:lnTo>
                <a:lnTo>
                  <a:pt x="58" y="70"/>
                </a:lnTo>
                <a:lnTo>
                  <a:pt x="56" y="60"/>
                </a:lnTo>
                <a:lnTo>
                  <a:pt x="48" y="56"/>
                </a:lnTo>
                <a:lnTo>
                  <a:pt x="48" y="48"/>
                </a:lnTo>
                <a:lnTo>
                  <a:pt x="52" y="46"/>
                </a:lnTo>
                <a:lnTo>
                  <a:pt x="58" y="42"/>
                </a:lnTo>
                <a:lnTo>
                  <a:pt x="62" y="40"/>
                </a:lnTo>
                <a:lnTo>
                  <a:pt x="62" y="32"/>
                </a:lnTo>
                <a:lnTo>
                  <a:pt x="56" y="28"/>
                </a:lnTo>
                <a:lnTo>
                  <a:pt x="50" y="26"/>
                </a:lnTo>
                <a:lnTo>
                  <a:pt x="46" y="30"/>
                </a:lnTo>
                <a:lnTo>
                  <a:pt x="40" y="28"/>
                </a:lnTo>
                <a:lnTo>
                  <a:pt x="40" y="24"/>
                </a:lnTo>
                <a:lnTo>
                  <a:pt x="34" y="22"/>
                </a:lnTo>
                <a:lnTo>
                  <a:pt x="30" y="16"/>
                </a:lnTo>
                <a:lnTo>
                  <a:pt x="30" y="12"/>
                </a:lnTo>
                <a:lnTo>
                  <a:pt x="24" y="2"/>
                </a:lnTo>
                <a:lnTo>
                  <a:pt x="20" y="0"/>
                </a:lnTo>
                <a:lnTo>
                  <a:pt x="16" y="6"/>
                </a:lnTo>
                <a:lnTo>
                  <a:pt x="20" y="14"/>
                </a:lnTo>
                <a:lnTo>
                  <a:pt x="20" y="24"/>
                </a:lnTo>
                <a:lnTo>
                  <a:pt x="16" y="30"/>
                </a:lnTo>
                <a:lnTo>
                  <a:pt x="16" y="30"/>
                </a:lnTo>
                <a:lnTo>
                  <a:pt x="8" y="30"/>
                </a:lnTo>
                <a:lnTo>
                  <a:pt x="8" y="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9" name="Freeform 153">
            <a:extLst>
              <a:ext uri="{FF2B5EF4-FFF2-40B4-BE49-F238E27FC236}">
                <a16:creationId xmlns:a16="http://schemas.microsoft.com/office/drawing/2014/main" id="{CCFDFC46-BD2B-4DA2-8F5B-7D5073627294}"/>
              </a:ext>
            </a:extLst>
          </p:cNvPr>
          <p:cNvSpPr>
            <a:spLocks/>
          </p:cNvSpPr>
          <p:nvPr userDrawn="1"/>
        </p:nvSpPr>
        <p:spPr bwMode="auto">
          <a:xfrm>
            <a:off x="7407074" y="2403954"/>
            <a:ext cx="248201" cy="120119"/>
          </a:xfrm>
          <a:custGeom>
            <a:avLst/>
            <a:gdLst>
              <a:gd name="T0" fmla="*/ 54 w 148"/>
              <a:gd name="T1" fmla="*/ 64 h 70"/>
              <a:gd name="T2" fmla="*/ 60 w 148"/>
              <a:gd name="T3" fmla="*/ 62 h 70"/>
              <a:gd name="T4" fmla="*/ 68 w 148"/>
              <a:gd name="T5" fmla="*/ 52 h 70"/>
              <a:gd name="T6" fmla="*/ 74 w 148"/>
              <a:gd name="T7" fmla="*/ 54 h 70"/>
              <a:gd name="T8" fmla="*/ 78 w 148"/>
              <a:gd name="T9" fmla="*/ 58 h 70"/>
              <a:gd name="T10" fmla="*/ 84 w 148"/>
              <a:gd name="T11" fmla="*/ 56 h 70"/>
              <a:gd name="T12" fmla="*/ 92 w 148"/>
              <a:gd name="T13" fmla="*/ 54 h 70"/>
              <a:gd name="T14" fmla="*/ 96 w 148"/>
              <a:gd name="T15" fmla="*/ 50 h 70"/>
              <a:gd name="T16" fmla="*/ 98 w 148"/>
              <a:gd name="T17" fmla="*/ 40 h 70"/>
              <a:gd name="T18" fmla="*/ 104 w 148"/>
              <a:gd name="T19" fmla="*/ 36 h 70"/>
              <a:gd name="T20" fmla="*/ 120 w 148"/>
              <a:gd name="T21" fmla="*/ 34 h 70"/>
              <a:gd name="T22" fmla="*/ 120 w 148"/>
              <a:gd name="T23" fmla="*/ 30 h 70"/>
              <a:gd name="T24" fmla="*/ 126 w 148"/>
              <a:gd name="T25" fmla="*/ 24 h 70"/>
              <a:gd name="T26" fmla="*/ 136 w 148"/>
              <a:gd name="T27" fmla="*/ 18 h 70"/>
              <a:gd name="T28" fmla="*/ 148 w 148"/>
              <a:gd name="T29" fmla="*/ 12 h 70"/>
              <a:gd name="T30" fmla="*/ 136 w 148"/>
              <a:gd name="T31" fmla="*/ 8 h 70"/>
              <a:gd name="T32" fmla="*/ 130 w 148"/>
              <a:gd name="T33" fmla="*/ 2 h 70"/>
              <a:gd name="T34" fmla="*/ 118 w 148"/>
              <a:gd name="T35" fmla="*/ 0 h 70"/>
              <a:gd name="T36" fmla="*/ 96 w 148"/>
              <a:gd name="T37" fmla="*/ 0 h 70"/>
              <a:gd name="T38" fmla="*/ 82 w 148"/>
              <a:gd name="T39" fmla="*/ 8 h 70"/>
              <a:gd name="T40" fmla="*/ 78 w 148"/>
              <a:gd name="T41" fmla="*/ 6 h 70"/>
              <a:gd name="T42" fmla="*/ 76 w 148"/>
              <a:gd name="T43" fmla="*/ 4 h 70"/>
              <a:gd name="T44" fmla="*/ 70 w 148"/>
              <a:gd name="T45" fmla="*/ 0 h 70"/>
              <a:gd name="T46" fmla="*/ 64 w 148"/>
              <a:gd name="T47" fmla="*/ 4 h 70"/>
              <a:gd name="T48" fmla="*/ 58 w 148"/>
              <a:gd name="T49" fmla="*/ 6 h 70"/>
              <a:gd name="T50" fmla="*/ 54 w 148"/>
              <a:gd name="T51" fmla="*/ 10 h 70"/>
              <a:gd name="T52" fmla="*/ 50 w 148"/>
              <a:gd name="T53" fmla="*/ 14 h 70"/>
              <a:gd name="T54" fmla="*/ 38 w 148"/>
              <a:gd name="T55" fmla="*/ 6 h 70"/>
              <a:gd name="T56" fmla="*/ 24 w 148"/>
              <a:gd name="T57" fmla="*/ 6 h 70"/>
              <a:gd name="T58" fmla="*/ 18 w 148"/>
              <a:gd name="T59" fmla="*/ 14 h 70"/>
              <a:gd name="T60" fmla="*/ 22 w 148"/>
              <a:gd name="T61" fmla="*/ 12 h 70"/>
              <a:gd name="T62" fmla="*/ 24 w 148"/>
              <a:gd name="T63" fmla="*/ 18 h 70"/>
              <a:gd name="T64" fmla="*/ 18 w 148"/>
              <a:gd name="T65" fmla="*/ 24 h 70"/>
              <a:gd name="T66" fmla="*/ 14 w 148"/>
              <a:gd name="T67" fmla="*/ 26 h 70"/>
              <a:gd name="T68" fmla="*/ 18 w 148"/>
              <a:gd name="T69" fmla="*/ 30 h 70"/>
              <a:gd name="T70" fmla="*/ 22 w 148"/>
              <a:gd name="T71" fmla="*/ 30 h 70"/>
              <a:gd name="T72" fmla="*/ 28 w 148"/>
              <a:gd name="T73" fmla="*/ 32 h 70"/>
              <a:gd name="T74" fmla="*/ 30 w 148"/>
              <a:gd name="T75" fmla="*/ 36 h 70"/>
              <a:gd name="T76" fmla="*/ 40 w 148"/>
              <a:gd name="T77" fmla="*/ 38 h 70"/>
              <a:gd name="T78" fmla="*/ 46 w 148"/>
              <a:gd name="T79" fmla="*/ 40 h 70"/>
              <a:gd name="T80" fmla="*/ 44 w 148"/>
              <a:gd name="T81" fmla="*/ 42 h 70"/>
              <a:gd name="T82" fmla="*/ 32 w 148"/>
              <a:gd name="T83" fmla="*/ 54 h 70"/>
              <a:gd name="T84" fmla="*/ 26 w 148"/>
              <a:gd name="T85" fmla="*/ 54 h 70"/>
              <a:gd name="T86" fmla="*/ 18 w 148"/>
              <a:gd name="T87" fmla="*/ 58 h 70"/>
              <a:gd name="T88" fmla="*/ 16 w 148"/>
              <a:gd name="T89" fmla="*/ 56 h 70"/>
              <a:gd name="T90" fmla="*/ 8 w 148"/>
              <a:gd name="T91" fmla="*/ 56 h 70"/>
              <a:gd name="T92" fmla="*/ 14 w 148"/>
              <a:gd name="T93" fmla="*/ 64 h 70"/>
              <a:gd name="T94" fmla="*/ 16 w 148"/>
              <a:gd name="T95" fmla="*/ 68 h 70"/>
              <a:gd name="T96" fmla="*/ 22 w 148"/>
              <a:gd name="T97" fmla="*/ 66 h 70"/>
              <a:gd name="T98" fmla="*/ 26 w 148"/>
              <a:gd name="T99" fmla="*/ 68 h 70"/>
              <a:gd name="T100" fmla="*/ 32 w 148"/>
              <a:gd name="T101" fmla="*/ 70 h 70"/>
              <a:gd name="T102" fmla="*/ 40 w 148"/>
              <a:gd name="T103" fmla="*/ 70 h 70"/>
              <a:gd name="T104" fmla="*/ 50 w 148"/>
              <a:gd name="T10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 h="70">
                <a:moveTo>
                  <a:pt x="50" y="68"/>
                </a:moveTo>
                <a:lnTo>
                  <a:pt x="50" y="68"/>
                </a:lnTo>
                <a:lnTo>
                  <a:pt x="54" y="64"/>
                </a:lnTo>
                <a:lnTo>
                  <a:pt x="54" y="64"/>
                </a:lnTo>
                <a:lnTo>
                  <a:pt x="60" y="62"/>
                </a:lnTo>
                <a:lnTo>
                  <a:pt x="60" y="62"/>
                </a:lnTo>
                <a:lnTo>
                  <a:pt x="64" y="56"/>
                </a:lnTo>
                <a:lnTo>
                  <a:pt x="64" y="56"/>
                </a:lnTo>
                <a:lnTo>
                  <a:pt x="68" y="52"/>
                </a:lnTo>
                <a:lnTo>
                  <a:pt x="72" y="52"/>
                </a:lnTo>
                <a:lnTo>
                  <a:pt x="72" y="52"/>
                </a:lnTo>
                <a:lnTo>
                  <a:pt x="74" y="54"/>
                </a:lnTo>
                <a:lnTo>
                  <a:pt x="74" y="56"/>
                </a:lnTo>
                <a:lnTo>
                  <a:pt x="76" y="58"/>
                </a:lnTo>
                <a:lnTo>
                  <a:pt x="78" y="58"/>
                </a:lnTo>
                <a:lnTo>
                  <a:pt x="78" y="58"/>
                </a:lnTo>
                <a:lnTo>
                  <a:pt x="80" y="58"/>
                </a:lnTo>
                <a:lnTo>
                  <a:pt x="84" y="56"/>
                </a:lnTo>
                <a:lnTo>
                  <a:pt x="84" y="56"/>
                </a:lnTo>
                <a:lnTo>
                  <a:pt x="90" y="54"/>
                </a:lnTo>
                <a:lnTo>
                  <a:pt x="92" y="54"/>
                </a:lnTo>
                <a:lnTo>
                  <a:pt x="96" y="52"/>
                </a:lnTo>
                <a:lnTo>
                  <a:pt x="96" y="52"/>
                </a:lnTo>
                <a:lnTo>
                  <a:pt x="96" y="50"/>
                </a:lnTo>
                <a:lnTo>
                  <a:pt x="98" y="46"/>
                </a:lnTo>
                <a:lnTo>
                  <a:pt x="98" y="44"/>
                </a:lnTo>
                <a:lnTo>
                  <a:pt x="98" y="40"/>
                </a:lnTo>
                <a:lnTo>
                  <a:pt x="98" y="40"/>
                </a:lnTo>
                <a:lnTo>
                  <a:pt x="100" y="38"/>
                </a:lnTo>
                <a:lnTo>
                  <a:pt x="104" y="36"/>
                </a:lnTo>
                <a:lnTo>
                  <a:pt x="112" y="34"/>
                </a:lnTo>
                <a:lnTo>
                  <a:pt x="118" y="34"/>
                </a:lnTo>
                <a:lnTo>
                  <a:pt x="120" y="34"/>
                </a:lnTo>
                <a:lnTo>
                  <a:pt x="120" y="32"/>
                </a:lnTo>
                <a:lnTo>
                  <a:pt x="120" y="32"/>
                </a:lnTo>
                <a:lnTo>
                  <a:pt x="120" y="30"/>
                </a:lnTo>
                <a:lnTo>
                  <a:pt x="122" y="26"/>
                </a:lnTo>
                <a:lnTo>
                  <a:pt x="122" y="26"/>
                </a:lnTo>
                <a:lnTo>
                  <a:pt x="126" y="24"/>
                </a:lnTo>
                <a:lnTo>
                  <a:pt x="130" y="24"/>
                </a:lnTo>
                <a:lnTo>
                  <a:pt x="130" y="24"/>
                </a:lnTo>
                <a:lnTo>
                  <a:pt x="136" y="18"/>
                </a:lnTo>
                <a:lnTo>
                  <a:pt x="136" y="18"/>
                </a:lnTo>
                <a:lnTo>
                  <a:pt x="142" y="14"/>
                </a:lnTo>
                <a:lnTo>
                  <a:pt x="148" y="12"/>
                </a:lnTo>
                <a:lnTo>
                  <a:pt x="140" y="8"/>
                </a:lnTo>
                <a:lnTo>
                  <a:pt x="140" y="8"/>
                </a:lnTo>
                <a:lnTo>
                  <a:pt x="136" y="8"/>
                </a:lnTo>
                <a:lnTo>
                  <a:pt x="132" y="6"/>
                </a:lnTo>
                <a:lnTo>
                  <a:pt x="132" y="6"/>
                </a:lnTo>
                <a:lnTo>
                  <a:pt x="130" y="2"/>
                </a:lnTo>
                <a:lnTo>
                  <a:pt x="124" y="0"/>
                </a:lnTo>
                <a:lnTo>
                  <a:pt x="124" y="0"/>
                </a:lnTo>
                <a:lnTo>
                  <a:pt x="118" y="0"/>
                </a:lnTo>
                <a:lnTo>
                  <a:pt x="112" y="0"/>
                </a:lnTo>
                <a:lnTo>
                  <a:pt x="112" y="0"/>
                </a:lnTo>
                <a:lnTo>
                  <a:pt x="96" y="0"/>
                </a:lnTo>
                <a:lnTo>
                  <a:pt x="96" y="0"/>
                </a:lnTo>
                <a:lnTo>
                  <a:pt x="90" y="4"/>
                </a:lnTo>
                <a:lnTo>
                  <a:pt x="82" y="8"/>
                </a:lnTo>
                <a:lnTo>
                  <a:pt x="82" y="8"/>
                </a:lnTo>
                <a:lnTo>
                  <a:pt x="80" y="8"/>
                </a:lnTo>
                <a:lnTo>
                  <a:pt x="78" y="6"/>
                </a:lnTo>
                <a:lnTo>
                  <a:pt x="78" y="6"/>
                </a:lnTo>
                <a:lnTo>
                  <a:pt x="76" y="4"/>
                </a:lnTo>
                <a:lnTo>
                  <a:pt x="76" y="4"/>
                </a:lnTo>
                <a:lnTo>
                  <a:pt x="72" y="4"/>
                </a:lnTo>
                <a:lnTo>
                  <a:pt x="72" y="2"/>
                </a:lnTo>
                <a:lnTo>
                  <a:pt x="70" y="0"/>
                </a:lnTo>
                <a:lnTo>
                  <a:pt x="68" y="0"/>
                </a:lnTo>
                <a:lnTo>
                  <a:pt x="68" y="0"/>
                </a:lnTo>
                <a:lnTo>
                  <a:pt x="64" y="4"/>
                </a:lnTo>
                <a:lnTo>
                  <a:pt x="62" y="4"/>
                </a:lnTo>
                <a:lnTo>
                  <a:pt x="62" y="4"/>
                </a:lnTo>
                <a:lnTo>
                  <a:pt x="58" y="6"/>
                </a:lnTo>
                <a:lnTo>
                  <a:pt x="56" y="8"/>
                </a:lnTo>
                <a:lnTo>
                  <a:pt x="56" y="8"/>
                </a:lnTo>
                <a:lnTo>
                  <a:pt x="54" y="10"/>
                </a:lnTo>
                <a:lnTo>
                  <a:pt x="52" y="14"/>
                </a:lnTo>
                <a:lnTo>
                  <a:pt x="52" y="14"/>
                </a:lnTo>
                <a:lnTo>
                  <a:pt x="50" y="14"/>
                </a:lnTo>
                <a:lnTo>
                  <a:pt x="48" y="10"/>
                </a:lnTo>
                <a:lnTo>
                  <a:pt x="42" y="6"/>
                </a:lnTo>
                <a:lnTo>
                  <a:pt x="38" y="6"/>
                </a:lnTo>
                <a:lnTo>
                  <a:pt x="28" y="6"/>
                </a:lnTo>
                <a:lnTo>
                  <a:pt x="28" y="6"/>
                </a:lnTo>
                <a:lnTo>
                  <a:pt x="24" y="6"/>
                </a:lnTo>
                <a:lnTo>
                  <a:pt x="22" y="10"/>
                </a:lnTo>
                <a:lnTo>
                  <a:pt x="18" y="14"/>
                </a:lnTo>
                <a:lnTo>
                  <a:pt x="18" y="14"/>
                </a:lnTo>
                <a:lnTo>
                  <a:pt x="22" y="12"/>
                </a:lnTo>
                <a:lnTo>
                  <a:pt x="22" y="12"/>
                </a:lnTo>
                <a:lnTo>
                  <a:pt x="22" y="12"/>
                </a:lnTo>
                <a:lnTo>
                  <a:pt x="24" y="14"/>
                </a:lnTo>
                <a:lnTo>
                  <a:pt x="26" y="16"/>
                </a:lnTo>
                <a:lnTo>
                  <a:pt x="24" y="18"/>
                </a:lnTo>
                <a:lnTo>
                  <a:pt x="24" y="18"/>
                </a:lnTo>
                <a:lnTo>
                  <a:pt x="18" y="24"/>
                </a:lnTo>
                <a:lnTo>
                  <a:pt x="18" y="24"/>
                </a:lnTo>
                <a:lnTo>
                  <a:pt x="14" y="26"/>
                </a:lnTo>
                <a:lnTo>
                  <a:pt x="12" y="26"/>
                </a:lnTo>
                <a:lnTo>
                  <a:pt x="14" y="26"/>
                </a:lnTo>
                <a:lnTo>
                  <a:pt x="14" y="26"/>
                </a:lnTo>
                <a:lnTo>
                  <a:pt x="16" y="28"/>
                </a:lnTo>
                <a:lnTo>
                  <a:pt x="18" y="30"/>
                </a:lnTo>
                <a:lnTo>
                  <a:pt x="20" y="32"/>
                </a:lnTo>
                <a:lnTo>
                  <a:pt x="22" y="30"/>
                </a:lnTo>
                <a:lnTo>
                  <a:pt x="22" y="30"/>
                </a:lnTo>
                <a:lnTo>
                  <a:pt x="26" y="30"/>
                </a:lnTo>
                <a:lnTo>
                  <a:pt x="28" y="30"/>
                </a:lnTo>
                <a:lnTo>
                  <a:pt x="28" y="32"/>
                </a:lnTo>
                <a:lnTo>
                  <a:pt x="28" y="32"/>
                </a:lnTo>
                <a:lnTo>
                  <a:pt x="26" y="34"/>
                </a:lnTo>
                <a:lnTo>
                  <a:pt x="30" y="36"/>
                </a:lnTo>
                <a:lnTo>
                  <a:pt x="30" y="36"/>
                </a:lnTo>
                <a:lnTo>
                  <a:pt x="34" y="36"/>
                </a:lnTo>
                <a:lnTo>
                  <a:pt x="40" y="38"/>
                </a:lnTo>
                <a:lnTo>
                  <a:pt x="40" y="38"/>
                </a:lnTo>
                <a:lnTo>
                  <a:pt x="44" y="40"/>
                </a:lnTo>
                <a:lnTo>
                  <a:pt x="46" y="40"/>
                </a:lnTo>
                <a:lnTo>
                  <a:pt x="46" y="40"/>
                </a:lnTo>
                <a:lnTo>
                  <a:pt x="44" y="42"/>
                </a:lnTo>
                <a:lnTo>
                  <a:pt x="44" y="42"/>
                </a:lnTo>
                <a:lnTo>
                  <a:pt x="38" y="50"/>
                </a:lnTo>
                <a:lnTo>
                  <a:pt x="36" y="52"/>
                </a:lnTo>
                <a:lnTo>
                  <a:pt x="32" y="54"/>
                </a:lnTo>
                <a:lnTo>
                  <a:pt x="32" y="54"/>
                </a:lnTo>
                <a:lnTo>
                  <a:pt x="26" y="54"/>
                </a:lnTo>
                <a:lnTo>
                  <a:pt x="26" y="54"/>
                </a:lnTo>
                <a:lnTo>
                  <a:pt x="22" y="58"/>
                </a:lnTo>
                <a:lnTo>
                  <a:pt x="20" y="58"/>
                </a:lnTo>
                <a:lnTo>
                  <a:pt x="18" y="58"/>
                </a:lnTo>
                <a:lnTo>
                  <a:pt x="18" y="58"/>
                </a:lnTo>
                <a:lnTo>
                  <a:pt x="18" y="56"/>
                </a:lnTo>
                <a:lnTo>
                  <a:pt x="16" y="56"/>
                </a:lnTo>
                <a:lnTo>
                  <a:pt x="14" y="56"/>
                </a:lnTo>
                <a:lnTo>
                  <a:pt x="14" y="60"/>
                </a:lnTo>
                <a:lnTo>
                  <a:pt x="8" y="56"/>
                </a:lnTo>
                <a:lnTo>
                  <a:pt x="0" y="60"/>
                </a:lnTo>
                <a:lnTo>
                  <a:pt x="4" y="66"/>
                </a:lnTo>
                <a:lnTo>
                  <a:pt x="14" y="64"/>
                </a:lnTo>
                <a:lnTo>
                  <a:pt x="14" y="64"/>
                </a:lnTo>
                <a:lnTo>
                  <a:pt x="14" y="66"/>
                </a:lnTo>
                <a:lnTo>
                  <a:pt x="16" y="68"/>
                </a:lnTo>
                <a:lnTo>
                  <a:pt x="18" y="68"/>
                </a:lnTo>
                <a:lnTo>
                  <a:pt x="18" y="68"/>
                </a:lnTo>
                <a:lnTo>
                  <a:pt x="22" y="66"/>
                </a:lnTo>
                <a:lnTo>
                  <a:pt x="24" y="66"/>
                </a:lnTo>
                <a:lnTo>
                  <a:pt x="26" y="68"/>
                </a:lnTo>
                <a:lnTo>
                  <a:pt x="26" y="68"/>
                </a:lnTo>
                <a:lnTo>
                  <a:pt x="28" y="70"/>
                </a:lnTo>
                <a:lnTo>
                  <a:pt x="30" y="70"/>
                </a:lnTo>
                <a:lnTo>
                  <a:pt x="32" y="70"/>
                </a:lnTo>
                <a:lnTo>
                  <a:pt x="32" y="70"/>
                </a:lnTo>
                <a:lnTo>
                  <a:pt x="36" y="70"/>
                </a:lnTo>
                <a:lnTo>
                  <a:pt x="40" y="70"/>
                </a:lnTo>
                <a:lnTo>
                  <a:pt x="40" y="70"/>
                </a:lnTo>
                <a:lnTo>
                  <a:pt x="46" y="68"/>
                </a:lnTo>
                <a:lnTo>
                  <a:pt x="50" y="68"/>
                </a:lnTo>
                <a:lnTo>
                  <a:pt x="50"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0" name="Freeform 154">
            <a:extLst>
              <a:ext uri="{FF2B5EF4-FFF2-40B4-BE49-F238E27FC236}">
                <a16:creationId xmlns:a16="http://schemas.microsoft.com/office/drawing/2014/main" id="{0DE081B1-2009-452C-9D3B-9FBC1B4EB1DE}"/>
              </a:ext>
            </a:extLst>
          </p:cNvPr>
          <p:cNvSpPr>
            <a:spLocks/>
          </p:cNvSpPr>
          <p:nvPr userDrawn="1"/>
        </p:nvSpPr>
        <p:spPr bwMode="auto">
          <a:xfrm>
            <a:off x="6883839" y="2798631"/>
            <a:ext cx="60374" cy="51480"/>
          </a:xfrm>
          <a:custGeom>
            <a:avLst/>
            <a:gdLst>
              <a:gd name="T0" fmla="*/ 30 w 36"/>
              <a:gd name="T1" fmla="*/ 2 h 30"/>
              <a:gd name="T2" fmla="*/ 30 w 36"/>
              <a:gd name="T3" fmla="*/ 2 h 30"/>
              <a:gd name="T4" fmla="*/ 22 w 36"/>
              <a:gd name="T5" fmla="*/ 0 h 30"/>
              <a:gd name="T6" fmla="*/ 22 w 36"/>
              <a:gd name="T7" fmla="*/ 0 h 30"/>
              <a:gd name="T8" fmla="*/ 20 w 36"/>
              <a:gd name="T9" fmla="*/ 2 h 30"/>
              <a:gd name="T10" fmla="*/ 18 w 36"/>
              <a:gd name="T11" fmla="*/ 4 h 30"/>
              <a:gd name="T12" fmla="*/ 12 w 36"/>
              <a:gd name="T13" fmla="*/ 10 h 30"/>
              <a:gd name="T14" fmla="*/ 12 w 36"/>
              <a:gd name="T15" fmla="*/ 10 h 30"/>
              <a:gd name="T16" fmla="*/ 6 w 36"/>
              <a:gd name="T17" fmla="*/ 18 h 30"/>
              <a:gd name="T18" fmla="*/ 0 w 36"/>
              <a:gd name="T19" fmla="*/ 20 h 30"/>
              <a:gd name="T20" fmla="*/ 18 w 36"/>
              <a:gd name="T21" fmla="*/ 24 h 30"/>
              <a:gd name="T22" fmla="*/ 20 w 36"/>
              <a:gd name="T23" fmla="*/ 30 h 30"/>
              <a:gd name="T24" fmla="*/ 32 w 36"/>
              <a:gd name="T25" fmla="*/ 30 h 30"/>
              <a:gd name="T26" fmla="*/ 32 w 36"/>
              <a:gd name="T27" fmla="*/ 30 h 30"/>
              <a:gd name="T28" fmla="*/ 28 w 36"/>
              <a:gd name="T29" fmla="*/ 22 h 30"/>
              <a:gd name="T30" fmla="*/ 26 w 36"/>
              <a:gd name="T31" fmla="*/ 22 h 30"/>
              <a:gd name="T32" fmla="*/ 26 w 36"/>
              <a:gd name="T33" fmla="*/ 22 h 30"/>
              <a:gd name="T34" fmla="*/ 26 w 36"/>
              <a:gd name="T35" fmla="*/ 14 h 30"/>
              <a:gd name="T36" fmla="*/ 28 w 36"/>
              <a:gd name="T37" fmla="*/ 10 h 30"/>
              <a:gd name="T38" fmla="*/ 28 w 36"/>
              <a:gd name="T39" fmla="*/ 10 h 30"/>
              <a:gd name="T40" fmla="*/ 34 w 36"/>
              <a:gd name="T41" fmla="*/ 12 h 30"/>
              <a:gd name="T42" fmla="*/ 34 w 36"/>
              <a:gd name="T43" fmla="*/ 12 h 30"/>
              <a:gd name="T44" fmla="*/ 34 w 36"/>
              <a:gd name="T45" fmla="*/ 12 h 30"/>
              <a:gd name="T46" fmla="*/ 34 w 36"/>
              <a:gd name="T47" fmla="*/ 12 h 30"/>
              <a:gd name="T48" fmla="*/ 36 w 36"/>
              <a:gd name="T49" fmla="*/ 12 h 30"/>
              <a:gd name="T50" fmla="*/ 36 w 36"/>
              <a:gd name="T51" fmla="*/ 10 h 30"/>
              <a:gd name="T52" fmla="*/ 36 w 36"/>
              <a:gd name="T53" fmla="*/ 10 h 30"/>
              <a:gd name="T54" fmla="*/ 32 w 36"/>
              <a:gd name="T55" fmla="*/ 10 h 30"/>
              <a:gd name="T56" fmla="*/ 32 w 36"/>
              <a:gd name="T57" fmla="*/ 10 h 30"/>
              <a:gd name="T58" fmla="*/ 30 w 36"/>
              <a:gd name="T59" fmla="*/ 6 h 30"/>
              <a:gd name="T60" fmla="*/ 30 w 36"/>
              <a:gd name="T61" fmla="*/ 2 h 30"/>
              <a:gd name="T62" fmla="*/ 30 w 36"/>
              <a:gd name="T6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30">
                <a:moveTo>
                  <a:pt x="30" y="2"/>
                </a:moveTo>
                <a:lnTo>
                  <a:pt x="30" y="2"/>
                </a:lnTo>
                <a:lnTo>
                  <a:pt x="22" y="0"/>
                </a:lnTo>
                <a:lnTo>
                  <a:pt x="22" y="0"/>
                </a:lnTo>
                <a:lnTo>
                  <a:pt x="20" y="2"/>
                </a:lnTo>
                <a:lnTo>
                  <a:pt x="18" y="4"/>
                </a:lnTo>
                <a:lnTo>
                  <a:pt x="12" y="10"/>
                </a:lnTo>
                <a:lnTo>
                  <a:pt x="12" y="10"/>
                </a:lnTo>
                <a:lnTo>
                  <a:pt x="6" y="18"/>
                </a:lnTo>
                <a:lnTo>
                  <a:pt x="0" y="20"/>
                </a:lnTo>
                <a:lnTo>
                  <a:pt x="18" y="24"/>
                </a:lnTo>
                <a:lnTo>
                  <a:pt x="20" y="30"/>
                </a:lnTo>
                <a:lnTo>
                  <a:pt x="32" y="30"/>
                </a:lnTo>
                <a:lnTo>
                  <a:pt x="32" y="30"/>
                </a:lnTo>
                <a:lnTo>
                  <a:pt x="28" y="22"/>
                </a:lnTo>
                <a:lnTo>
                  <a:pt x="26" y="22"/>
                </a:lnTo>
                <a:lnTo>
                  <a:pt x="26" y="22"/>
                </a:lnTo>
                <a:lnTo>
                  <a:pt x="26" y="14"/>
                </a:lnTo>
                <a:lnTo>
                  <a:pt x="28" y="10"/>
                </a:lnTo>
                <a:lnTo>
                  <a:pt x="28" y="10"/>
                </a:lnTo>
                <a:lnTo>
                  <a:pt x="34" y="12"/>
                </a:lnTo>
                <a:lnTo>
                  <a:pt x="34" y="12"/>
                </a:lnTo>
                <a:lnTo>
                  <a:pt x="34" y="12"/>
                </a:lnTo>
                <a:lnTo>
                  <a:pt x="34" y="12"/>
                </a:lnTo>
                <a:lnTo>
                  <a:pt x="36" y="12"/>
                </a:lnTo>
                <a:lnTo>
                  <a:pt x="36" y="10"/>
                </a:lnTo>
                <a:lnTo>
                  <a:pt x="36" y="10"/>
                </a:lnTo>
                <a:lnTo>
                  <a:pt x="32" y="10"/>
                </a:lnTo>
                <a:lnTo>
                  <a:pt x="32" y="10"/>
                </a:lnTo>
                <a:lnTo>
                  <a:pt x="30" y="6"/>
                </a:lnTo>
                <a:lnTo>
                  <a:pt x="30" y="2"/>
                </a:lnTo>
                <a:lnTo>
                  <a:pt x="3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1" name="Freeform 155">
            <a:extLst>
              <a:ext uri="{FF2B5EF4-FFF2-40B4-BE49-F238E27FC236}">
                <a16:creationId xmlns:a16="http://schemas.microsoft.com/office/drawing/2014/main" id="{1293E4B7-A246-4302-A0E0-14162CE7A46E}"/>
              </a:ext>
            </a:extLst>
          </p:cNvPr>
          <p:cNvSpPr>
            <a:spLocks noEditPoints="1"/>
          </p:cNvSpPr>
          <p:nvPr userDrawn="1"/>
        </p:nvSpPr>
        <p:spPr bwMode="auto">
          <a:xfrm>
            <a:off x="6615513" y="3553665"/>
            <a:ext cx="194536" cy="264262"/>
          </a:xfrm>
          <a:custGeom>
            <a:avLst/>
            <a:gdLst>
              <a:gd name="T0" fmla="*/ 6 w 116"/>
              <a:gd name="T1" fmla="*/ 88 h 154"/>
              <a:gd name="T2" fmla="*/ 10 w 116"/>
              <a:gd name="T3" fmla="*/ 90 h 154"/>
              <a:gd name="T4" fmla="*/ 14 w 116"/>
              <a:gd name="T5" fmla="*/ 88 h 154"/>
              <a:gd name="T6" fmla="*/ 12 w 116"/>
              <a:gd name="T7" fmla="*/ 90 h 154"/>
              <a:gd name="T8" fmla="*/ 12 w 116"/>
              <a:gd name="T9" fmla="*/ 98 h 154"/>
              <a:gd name="T10" fmla="*/ 8 w 116"/>
              <a:gd name="T11" fmla="*/ 100 h 154"/>
              <a:gd name="T12" fmla="*/ 48 w 116"/>
              <a:gd name="T13" fmla="*/ 128 h 154"/>
              <a:gd name="T14" fmla="*/ 52 w 116"/>
              <a:gd name="T15" fmla="*/ 134 h 154"/>
              <a:gd name="T16" fmla="*/ 52 w 116"/>
              <a:gd name="T17" fmla="*/ 140 h 154"/>
              <a:gd name="T18" fmla="*/ 56 w 116"/>
              <a:gd name="T19" fmla="*/ 144 h 154"/>
              <a:gd name="T20" fmla="*/ 74 w 116"/>
              <a:gd name="T21" fmla="*/ 154 h 154"/>
              <a:gd name="T22" fmla="*/ 76 w 116"/>
              <a:gd name="T23" fmla="*/ 146 h 154"/>
              <a:gd name="T24" fmla="*/ 80 w 116"/>
              <a:gd name="T25" fmla="*/ 138 h 154"/>
              <a:gd name="T26" fmla="*/ 86 w 116"/>
              <a:gd name="T27" fmla="*/ 126 h 154"/>
              <a:gd name="T28" fmla="*/ 92 w 116"/>
              <a:gd name="T29" fmla="*/ 124 h 154"/>
              <a:gd name="T30" fmla="*/ 98 w 116"/>
              <a:gd name="T31" fmla="*/ 114 h 154"/>
              <a:gd name="T32" fmla="*/ 104 w 116"/>
              <a:gd name="T33" fmla="*/ 112 h 154"/>
              <a:gd name="T34" fmla="*/ 106 w 116"/>
              <a:gd name="T35" fmla="*/ 102 h 154"/>
              <a:gd name="T36" fmla="*/ 112 w 116"/>
              <a:gd name="T37" fmla="*/ 98 h 154"/>
              <a:gd name="T38" fmla="*/ 110 w 116"/>
              <a:gd name="T39" fmla="*/ 94 h 154"/>
              <a:gd name="T40" fmla="*/ 102 w 116"/>
              <a:gd name="T41" fmla="*/ 26 h 154"/>
              <a:gd name="T42" fmla="*/ 116 w 116"/>
              <a:gd name="T43" fmla="*/ 4 h 154"/>
              <a:gd name="T44" fmla="*/ 102 w 116"/>
              <a:gd name="T45" fmla="*/ 4 h 154"/>
              <a:gd name="T46" fmla="*/ 98 w 116"/>
              <a:gd name="T47" fmla="*/ 0 h 154"/>
              <a:gd name="T48" fmla="*/ 92 w 116"/>
              <a:gd name="T49" fmla="*/ 4 h 154"/>
              <a:gd name="T50" fmla="*/ 86 w 116"/>
              <a:gd name="T51" fmla="*/ 4 h 154"/>
              <a:gd name="T52" fmla="*/ 84 w 116"/>
              <a:gd name="T53" fmla="*/ 8 h 154"/>
              <a:gd name="T54" fmla="*/ 72 w 116"/>
              <a:gd name="T55" fmla="*/ 8 h 154"/>
              <a:gd name="T56" fmla="*/ 62 w 116"/>
              <a:gd name="T57" fmla="*/ 6 h 154"/>
              <a:gd name="T58" fmla="*/ 54 w 116"/>
              <a:gd name="T59" fmla="*/ 6 h 154"/>
              <a:gd name="T60" fmla="*/ 48 w 116"/>
              <a:gd name="T61" fmla="*/ 6 h 154"/>
              <a:gd name="T62" fmla="*/ 40 w 116"/>
              <a:gd name="T63" fmla="*/ 8 h 154"/>
              <a:gd name="T64" fmla="*/ 22 w 116"/>
              <a:gd name="T65" fmla="*/ 0 h 154"/>
              <a:gd name="T66" fmla="*/ 10 w 116"/>
              <a:gd name="T67" fmla="*/ 0 h 154"/>
              <a:gd name="T68" fmla="*/ 0 w 116"/>
              <a:gd name="T69" fmla="*/ 10 h 154"/>
              <a:gd name="T70" fmla="*/ 4 w 116"/>
              <a:gd name="T71" fmla="*/ 14 h 154"/>
              <a:gd name="T72" fmla="*/ 6 w 116"/>
              <a:gd name="T73" fmla="*/ 16 h 154"/>
              <a:gd name="T74" fmla="*/ 6 w 116"/>
              <a:gd name="T75" fmla="*/ 24 h 154"/>
              <a:gd name="T76" fmla="*/ 8 w 116"/>
              <a:gd name="T77" fmla="*/ 34 h 154"/>
              <a:gd name="T78" fmla="*/ 10 w 116"/>
              <a:gd name="T79" fmla="*/ 44 h 154"/>
              <a:gd name="T80" fmla="*/ 8 w 116"/>
              <a:gd name="T81" fmla="*/ 50 h 154"/>
              <a:gd name="T82" fmla="*/ 4 w 116"/>
              <a:gd name="T83" fmla="*/ 56 h 154"/>
              <a:gd name="T84" fmla="*/ 2 w 116"/>
              <a:gd name="T85" fmla="*/ 66 h 154"/>
              <a:gd name="T86" fmla="*/ 2 w 116"/>
              <a:gd name="T87" fmla="*/ 74 h 154"/>
              <a:gd name="T88" fmla="*/ 4 w 116"/>
              <a:gd name="T89" fmla="*/ 80 h 154"/>
              <a:gd name="T90" fmla="*/ 4 w 116"/>
              <a:gd name="T91" fmla="*/ 84 h 154"/>
              <a:gd name="T92" fmla="*/ 30 w 116"/>
              <a:gd name="T93" fmla="*/ 6 h 154"/>
              <a:gd name="T94" fmla="*/ 34 w 116"/>
              <a:gd name="T95" fmla="*/ 8 h 154"/>
              <a:gd name="T96" fmla="*/ 34 w 116"/>
              <a:gd name="T97" fmla="*/ 24 h 154"/>
              <a:gd name="T98" fmla="*/ 40 w 116"/>
              <a:gd name="T99" fmla="*/ 32 h 154"/>
              <a:gd name="T100" fmla="*/ 38 w 116"/>
              <a:gd name="T101" fmla="*/ 40 h 154"/>
              <a:gd name="T102" fmla="*/ 32 w 116"/>
              <a:gd name="T103" fmla="*/ 30 h 154"/>
              <a:gd name="T104" fmla="*/ 30 w 116"/>
              <a:gd name="T105" fmla="*/ 24 h 154"/>
              <a:gd name="T106" fmla="*/ 28 w 116"/>
              <a:gd name="T107" fmla="*/ 1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154">
                <a:moveTo>
                  <a:pt x="4" y="86"/>
                </a:moveTo>
                <a:lnTo>
                  <a:pt x="4" y="86"/>
                </a:lnTo>
                <a:lnTo>
                  <a:pt x="6" y="88"/>
                </a:lnTo>
                <a:lnTo>
                  <a:pt x="8" y="90"/>
                </a:lnTo>
                <a:lnTo>
                  <a:pt x="10" y="90"/>
                </a:lnTo>
                <a:lnTo>
                  <a:pt x="10" y="90"/>
                </a:lnTo>
                <a:lnTo>
                  <a:pt x="12" y="88"/>
                </a:lnTo>
                <a:lnTo>
                  <a:pt x="12" y="88"/>
                </a:lnTo>
                <a:lnTo>
                  <a:pt x="14" y="88"/>
                </a:lnTo>
                <a:lnTo>
                  <a:pt x="16" y="88"/>
                </a:lnTo>
                <a:lnTo>
                  <a:pt x="16" y="88"/>
                </a:lnTo>
                <a:lnTo>
                  <a:pt x="12" y="90"/>
                </a:lnTo>
                <a:lnTo>
                  <a:pt x="12" y="90"/>
                </a:lnTo>
                <a:lnTo>
                  <a:pt x="12" y="94"/>
                </a:lnTo>
                <a:lnTo>
                  <a:pt x="12" y="98"/>
                </a:lnTo>
                <a:lnTo>
                  <a:pt x="12" y="98"/>
                </a:lnTo>
                <a:lnTo>
                  <a:pt x="8" y="100"/>
                </a:lnTo>
                <a:lnTo>
                  <a:pt x="8" y="100"/>
                </a:lnTo>
                <a:lnTo>
                  <a:pt x="8" y="104"/>
                </a:lnTo>
                <a:lnTo>
                  <a:pt x="8" y="108"/>
                </a:lnTo>
                <a:lnTo>
                  <a:pt x="48" y="128"/>
                </a:lnTo>
                <a:lnTo>
                  <a:pt x="48" y="128"/>
                </a:lnTo>
                <a:lnTo>
                  <a:pt x="50" y="130"/>
                </a:lnTo>
                <a:lnTo>
                  <a:pt x="52" y="134"/>
                </a:lnTo>
                <a:lnTo>
                  <a:pt x="52" y="134"/>
                </a:lnTo>
                <a:lnTo>
                  <a:pt x="52" y="140"/>
                </a:lnTo>
                <a:lnTo>
                  <a:pt x="52" y="140"/>
                </a:lnTo>
                <a:lnTo>
                  <a:pt x="54" y="142"/>
                </a:lnTo>
                <a:lnTo>
                  <a:pt x="54" y="142"/>
                </a:lnTo>
                <a:lnTo>
                  <a:pt x="56" y="144"/>
                </a:lnTo>
                <a:lnTo>
                  <a:pt x="58" y="144"/>
                </a:lnTo>
                <a:lnTo>
                  <a:pt x="74" y="154"/>
                </a:lnTo>
                <a:lnTo>
                  <a:pt x="74" y="154"/>
                </a:lnTo>
                <a:lnTo>
                  <a:pt x="78" y="152"/>
                </a:lnTo>
                <a:lnTo>
                  <a:pt x="78" y="152"/>
                </a:lnTo>
                <a:lnTo>
                  <a:pt x="76" y="146"/>
                </a:lnTo>
                <a:lnTo>
                  <a:pt x="76" y="142"/>
                </a:lnTo>
                <a:lnTo>
                  <a:pt x="78" y="138"/>
                </a:lnTo>
                <a:lnTo>
                  <a:pt x="80" y="138"/>
                </a:lnTo>
                <a:lnTo>
                  <a:pt x="80" y="138"/>
                </a:lnTo>
                <a:lnTo>
                  <a:pt x="82" y="132"/>
                </a:lnTo>
                <a:lnTo>
                  <a:pt x="86" y="126"/>
                </a:lnTo>
                <a:lnTo>
                  <a:pt x="86" y="126"/>
                </a:lnTo>
                <a:lnTo>
                  <a:pt x="88" y="126"/>
                </a:lnTo>
                <a:lnTo>
                  <a:pt x="92" y="124"/>
                </a:lnTo>
                <a:lnTo>
                  <a:pt x="92" y="124"/>
                </a:lnTo>
                <a:lnTo>
                  <a:pt x="96" y="120"/>
                </a:lnTo>
                <a:lnTo>
                  <a:pt x="98" y="114"/>
                </a:lnTo>
                <a:lnTo>
                  <a:pt x="98" y="114"/>
                </a:lnTo>
                <a:lnTo>
                  <a:pt x="100" y="114"/>
                </a:lnTo>
                <a:lnTo>
                  <a:pt x="104" y="112"/>
                </a:lnTo>
                <a:lnTo>
                  <a:pt x="104" y="112"/>
                </a:lnTo>
                <a:lnTo>
                  <a:pt x="104" y="108"/>
                </a:lnTo>
                <a:lnTo>
                  <a:pt x="106" y="102"/>
                </a:lnTo>
                <a:lnTo>
                  <a:pt x="106" y="102"/>
                </a:lnTo>
                <a:lnTo>
                  <a:pt x="112" y="98"/>
                </a:lnTo>
                <a:lnTo>
                  <a:pt x="112" y="98"/>
                </a:lnTo>
                <a:lnTo>
                  <a:pt x="110" y="96"/>
                </a:lnTo>
                <a:lnTo>
                  <a:pt x="110" y="94"/>
                </a:lnTo>
                <a:lnTo>
                  <a:pt x="110" y="94"/>
                </a:lnTo>
                <a:lnTo>
                  <a:pt x="112" y="92"/>
                </a:lnTo>
                <a:lnTo>
                  <a:pt x="102" y="82"/>
                </a:lnTo>
                <a:lnTo>
                  <a:pt x="102" y="26"/>
                </a:lnTo>
                <a:lnTo>
                  <a:pt x="108" y="20"/>
                </a:lnTo>
                <a:lnTo>
                  <a:pt x="116" y="4"/>
                </a:lnTo>
                <a:lnTo>
                  <a:pt x="116" y="4"/>
                </a:lnTo>
                <a:lnTo>
                  <a:pt x="110" y="4"/>
                </a:lnTo>
                <a:lnTo>
                  <a:pt x="106" y="6"/>
                </a:lnTo>
                <a:lnTo>
                  <a:pt x="102" y="4"/>
                </a:lnTo>
                <a:lnTo>
                  <a:pt x="102" y="4"/>
                </a:lnTo>
                <a:lnTo>
                  <a:pt x="98" y="2"/>
                </a:lnTo>
                <a:lnTo>
                  <a:pt x="98" y="0"/>
                </a:lnTo>
                <a:lnTo>
                  <a:pt x="98" y="0"/>
                </a:lnTo>
                <a:lnTo>
                  <a:pt x="94" y="2"/>
                </a:lnTo>
                <a:lnTo>
                  <a:pt x="92" y="4"/>
                </a:lnTo>
                <a:lnTo>
                  <a:pt x="88" y="4"/>
                </a:lnTo>
                <a:lnTo>
                  <a:pt x="88" y="4"/>
                </a:lnTo>
                <a:lnTo>
                  <a:pt x="86" y="4"/>
                </a:lnTo>
                <a:lnTo>
                  <a:pt x="84" y="4"/>
                </a:lnTo>
                <a:lnTo>
                  <a:pt x="84" y="8"/>
                </a:lnTo>
                <a:lnTo>
                  <a:pt x="84" y="8"/>
                </a:lnTo>
                <a:lnTo>
                  <a:pt x="76" y="8"/>
                </a:lnTo>
                <a:lnTo>
                  <a:pt x="76" y="8"/>
                </a:lnTo>
                <a:lnTo>
                  <a:pt x="72" y="8"/>
                </a:lnTo>
                <a:lnTo>
                  <a:pt x="68" y="8"/>
                </a:lnTo>
                <a:lnTo>
                  <a:pt x="68" y="8"/>
                </a:lnTo>
                <a:lnTo>
                  <a:pt x="62" y="6"/>
                </a:lnTo>
                <a:lnTo>
                  <a:pt x="58" y="6"/>
                </a:lnTo>
                <a:lnTo>
                  <a:pt x="58" y="6"/>
                </a:lnTo>
                <a:lnTo>
                  <a:pt x="54" y="6"/>
                </a:lnTo>
                <a:lnTo>
                  <a:pt x="50" y="8"/>
                </a:lnTo>
                <a:lnTo>
                  <a:pt x="48" y="6"/>
                </a:lnTo>
                <a:lnTo>
                  <a:pt x="48" y="6"/>
                </a:lnTo>
                <a:lnTo>
                  <a:pt x="46" y="6"/>
                </a:lnTo>
                <a:lnTo>
                  <a:pt x="44" y="6"/>
                </a:lnTo>
                <a:lnTo>
                  <a:pt x="40" y="8"/>
                </a:lnTo>
                <a:lnTo>
                  <a:pt x="40" y="8"/>
                </a:lnTo>
                <a:lnTo>
                  <a:pt x="28" y="6"/>
                </a:lnTo>
                <a:lnTo>
                  <a:pt x="22" y="0"/>
                </a:lnTo>
                <a:lnTo>
                  <a:pt x="16" y="0"/>
                </a:lnTo>
                <a:lnTo>
                  <a:pt x="16" y="0"/>
                </a:lnTo>
                <a:lnTo>
                  <a:pt x="10" y="0"/>
                </a:lnTo>
                <a:lnTo>
                  <a:pt x="6" y="4"/>
                </a:lnTo>
                <a:lnTo>
                  <a:pt x="0" y="6"/>
                </a:lnTo>
                <a:lnTo>
                  <a:pt x="0" y="10"/>
                </a:lnTo>
                <a:lnTo>
                  <a:pt x="0" y="10"/>
                </a:lnTo>
                <a:lnTo>
                  <a:pt x="4" y="14"/>
                </a:lnTo>
                <a:lnTo>
                  <a:pt x="4" y="14"/>
                </a:lnTo>
                <a:lnTo>
                  <a:pt x="6" y="14"/>
                </a:lnTo>
                <a:lnTo>
                  <a:pt x="6" y="16"/>
                </a:lnTo>
                <a:lnTo>
                  <a:pt x="6" y="16"/>
                </a:lnTo>
                <a:lnTo>
                  <a:pt x="8" y="18"/>
                </a:lnTo>
                <a:lnTo>
                  <a:pt x="8" y="20"/>
                </a:lnTo>
                <a:lnTo>
                  <a:pt x="6" y="24"/>
                </a:lnTo>
                <a:lnTo>
                  <a:pt x="6" y="24"/>
                </a:lnTo>
                <a:lnTo>
                  <a:pt x="4" y="30"/>
                </a:lnTo>
                <a:lnTo>
                  <a:pt x="8" y="34"/>
                </a:lnTo>
                <a:lnTo>
                  <a:pt x="8" y="34"/>
                </a:lnTo>
                <a:lnTo>
                  <a:pt x="10" y="38"/>
                </a:lnTo>
                <a:lnTo>
                  <a:pt x="10" y="44"/>
                </a:lnTo>
                <a:lnTo>
                  <a:pt x="10" y="44"/>
                </a:lnTo>
                <a:lnTo>
                  <a:pt x="8" y="50"/>
                </a:lnTo>
                <a:lnTo>
                  <a:pt x="8" y="50"/>
                </a:lnTo>
                <a:lnTo>
                  <a:pt x="6" y="52"/>
                </a:lnTo>
                <a:lnTo>
                  <a:pt x="4" y="54"/>
                </a:lnTo>
                <a:lnTo>
                  <a:pt x="4" y="56"/>
                </a:lnTo>
                <a:lnTo>
                  <a:pt x="4" y="56"/>
                </a:lnTo>
                <a:lnTo>
                  <a:pt x="4" y="62"/>
                </a:lnTo>
                <a:lnTo>
                  <a:pt x="2" y="66"/>
                </a:lnTo>
                <a:lnTo>
                  <a:pt x="2" y="66"/>
                </a:lnTo>
                <a:lnTo>
                  <a:pt x="2" y="70"/>
                </a:lnTo>
                <a:lnTo>
                  <a:pt x="2" y="74"/>
                </a:lnTo>
                <a:lnTo>
                  <a:pt x="4" y="78"/>
                </a:lnTo>
                <a:lnTo>
                  <a:pt x="4" y="80"/>
                </a:lnTo>
                <a:lnTo>
                  <a:pt x="4" y="80"/>
                </a:lnTo>
                <a:lnTo>
                  <a:pt x="2" y="82"/>
                </a:lnTo>
                <a:lnTo>
                  <a:pt x="4" y="84"/>
                </a:lnTo>
                <a:lnTo>
                  <a:pt x="4" y="84"/>
                </a:lnTo>
                <a:lnTo>
                  <a:pt x="4" y="86"/>
                </a:lnTo>
                <a:lnTo>
                  <a:pt x="4" y="86"/>
                </a:lnTo>
                <a:close/>
                <a:moveTo>
                  <a:pt x="30" y="6"/>
                </a:moveTo>
                <a:lnTo>
                  <a:pt x="30" y="6"/>
                </a:lnTo>
                <a:lnTo>
                  <a:pt x="34" y="8"/>
                </a:lnTo>
                <a:lnTo>
                  <a:pt x="34" y="8"/>
                </a:lnTo>
                <a:lnTo>
                  <a:pt x="34" y="16"/>
                </a:lnTo>
                <a:lnTo>
                  <a:pt x="34" y="24"/>
                </a:lnTo>
                <a:lnTo>
                  <a:pt x="34" y="24"/>
                </a:lnTo>
                <a:lnTo>
                  <a:pt x="38" y="28"/>
                </a:lnTo>
                <a:lnTo>
                  <a:pt x="40" y="32"/>
                </a:lnTo>
                <a:lnTo>
                  <a:pt x="40" y="32"/>
                </a:lnTo>
                <a:lnTo>
                  <a:pt x="42" y="40"/>
                </a:lnTo>
                <a:lnTo>
                  <a:pt x="38" y="40"/>
                </a:lnTo>
                <a:lnTo>
                  <a:pt x="38" y="40"/>
                </a:lnTo>
                <a:lnTo>
                  <a:pt x="36" y="32"/>
                </a:lnTo>
                <a:lnTo>
                  <a:pt x="36" y="32"/>
                </a:lnTo>
                <a:lnTo>
                  <a:pt x="32" y="30"/>
                </a:lnTo>
                <a:lnTo>
                  <a:pt x="30" y="26"/>
                </a:lnTo>
                <a:lnTo>
                  <a:pt x="30" y="26"/>
                </a:lnTo>
                <a:lnTo>
                  <a:pt x="30" y="24"/>
                </a:lnTo>
                <a:lnTo>
                  <a:pt x="28" y="24"/>
                </a:lnTo>
                <a:lnTo>
                  <a:pt x="28" y="24"/>
                </a:lnTo>
                <a:lnTo>
                  <a:pt x="28" y="14"/>
                </a:lnTo>
                <a:lnTo>
                  <a:pt x="30" y="6"/>
                </a:lnTo>
                <a:lnTo>
                  <a:pt x="30"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2" name="Freeform 156">
            <a:extLst>
              <a:ext uri="{FF2B5EF4-FFF2-40B4-BE49-F238E27FC236}">
                <a16:creationId xmlns:a16="http://schemas.microsoft.com/office/drawing/2014/main" id="{A26DF164-EAA8-4965-9ACD-F09CCF5C296B}"/>
              </a:ext>
            </a:extLst>
          </p:cNvPr>
          <p:cNvSpPr>
            <a:spLocks/>
          </p:cNvSpPr>
          <p:nvPr userDrawn="1"/>
        </p:nvSpPr>
        <p:spPr bwMode="auto">
          <a:xfrm>
            <a:off x="6910671" y="1992117"/>
            <a:ext cx="919016" cy="480476"/>
          </a:xfrm>
          <a:custGeom>
            <a:avLst/>
            <a:gdLst>
              <a:gd name="T0" fmla="*/ 488 w 548"/>
              <a:gd name="T1" fmla="*/ 158 h 280"/>
              <a:gd name="T2" fmla="*/ 450 w 548"/>
              <a:gd name="T3" fmla="*/ 208 h 280"/>
              <a:gd name="T4" fmla="*/ 436 w 548"/>
              <a:gd name="T5" fmla="*/ 248 h 280"/>
              <a:gd name="T6" fmla="*/ 408 w 548"/>
              <a:gd name="T7" fmla="*/ 240 h 280"/>
              <a:gd name="T8" fmla="*/ 372 w 548"/>
              <a:gd name="T9" fmla="*/ 244 h 280"/>
              <a:gd name="T10" fmla="*/ 358 w 548"/>
              <a:gd name="T11" fmla="*/ 244 h 280"/>
              <a:gd name="T12" fmla="*/ 338 w 548"/>
              <a:gd name="T13" fmla="*/ 246 h 280"/>
              <a:gd name="T14" fmla="*/ 306 w 548"/>
              <a:gd name="T15" fmla="*/ 256 h 280"/>
              <a:gd name="T16" fmla="*/ 290 w 548"/>
              <a:gd name="T17" fmla="*/ 264 h 280"/>
              <a:gd name="T18" fmla="*/ 272 w 548"/>
              <a:gd name="T19" fmla="*/ 280 h 280"/>
              <a:gd name="T20" fmla="*/ 250 w 548"/>
              <a:gd name="T21" fmla="*/ 268 h 280"/>
              <a:gd name="T22" fmla="*/ 246 w 548"/>
              <a:gd name="T23" fmla="*/ 260 h 280"/>
              <a:gd name="T24" fmla="*/ 228 w 548"/>
              <a:gd name="T25" fmla="*/ 250 h 280"/>
              <a:gd name="T26" fmla="*/ 194 w 548"/>
              <a:gd name="T27" fmla="*/ 226 h 280"/>
              <a:gd name="T28" fmla="*/ 200 w 548"/>
              <a:gd name="T29" fmla="*/ 210 h 280"/>
              <a:gd name="T30" fmla="*/ 188 w 548"/>
              <a:gd name="T31" fmla="*/ 186 h 280"/>
              <a:gd name="T32" fmla="*/ 188 w 548"/>
              <a:gd name="T33" fmla="*/ 172 h 280"/>
              <a:gd name="T34" fmla="*/ 178 w 548"/>
              <a:gd name="T35" fmla="*/ 182 h 280"/>
              <a:gd name="T36" fmla="*/ 164 w 548"/>
              <a:gd name="T37" fmla="*/ 192 h 280"/>
              <a:gd name="T38" fmla="*/ 156 w 548"/>
              <a:gd name="T39" fmla="*/ 190 h 280"/>
              <a:gd name="T40" fmla="*/ 136 w 548"/>
              <a:gd name="T41" fmla="*/ 196 h 280"/>
              <a:gd name="T42" fmla="*/ 102 w 548"/>
              <a:gd name="T43" fmla="*/ 258 h 280"/>
              <a:gd name="T44" fmla="*/ 74 w 548"/>
              <a:gd name="T45" fmla="*/ 264 h 280"/>
              <a:gd name="T46" fmla="*/ 64 w 548"/>
              <a:gd name="T47" fmla="*/ 242 h 280"/>
              <a:gd name="T48" fmla="*/ 52 w 548"/>
              <a:gd name="T49" fmla="*/ 226 h 280"/>
              <a:gd name="T50" fmla="*/ 56 w 548"/>
              <a:gd name="T51" fmla="*/ 214 h 280"/>
              <a:gd name="T52" fmla="*/ 60 w 548"/>
              <a:gd name="T53" fmla="*/ 206 h 280"/>
              <a:gd name="T54" fmla="*/ 72 w 548"/>
              <a:gd name="T55" fmla="*/ 198 h 280"/>
              <a:gd name="T56" fmla="*/ 92 w 548"/>
              <a:gd name="T57" fmla="*/ 206 h 280"/>
              <a:gd name="T58" fmla="*/ 96 w 548"/>
              <a:gd name="T59" fmla="*/ 194 h 280"/>
              <a:gd name="T60" fmla="*/ 90 w 548"/>
              <a:gd name="T61" fmla="*/ 178 h 280"/>
              <a:gd name="T62" fmla="*/ 74 w 548"/>
              <a:gd name="T63" fmla="*/ 166 h 280"/>
              <a:gd name="T64" fmla="*/ 56 w 548"/>
              <a:gd name="T65" fmla="*/ 158 h 280"/>
              <a:gd name="T66" fmla="*/ 42 w 548"/>
              <a:gd name="T67" fmla="*/ 166 h 280"/>
              <a:gd name="T68" fmla="*/ 26 w 548"/>
              <a:gd name="T69" fmla="*/ 174 h 280"/>
              <a:gd name="T70" fmla="*/ 16 w 548"/>
              <a:gd name="T71" fmla="*/ 148 h 280"/>
              <a:gd name="T72" fmla="*/ 6 w 548"/>
              <a:gd name="T73" fmla="*/ 138 h 280"/>
              <a:gd name="T74" fmla="*/ 10 w 548"/>
              <a:gd name="T75" fmla="*/ 116 h 280"/>
              <a:gd name="T76" fmla="*/ 10 w 548"/>
              <a:gd name="T77" fmla="*/ 100 h 280"/>
              <a:gd name="T78" fmla="*/ 26 w 548"/>
              <a:gd name="T79" fmla="*/ 102 h 280"/>
              <a:gd name="T80" fmla="*/ 34 w 548"/>
              <a:gd name="T81" fmla="*/ 80 h 280"/>
              <a:gd name="T82" fmla="*/ 50 w 548"/>
              <a:gd name="T83" fmla="*/ 76 h 280"/>
              <a:gd name="T84" fmla="*/ 76 w 548"/>
              <a:gd name="T85" fmla="*/ 62 h 280"/>
              <a:gd name="T86" fmla="*/ 84 w 548"/>
              <a:gd name="T87" fmla="*/ 68 h 280"/>
              <a:gd name="T88" fmla="*/ 104 w 548"/>
              <a:gd name="T89" fmla="*/ 80 h 280"/>
              <a:gd name="T90" fmla="*/ 118 w 548"/>
              <a:gd name="T91" fmla="*/ 92 h 280"/>
              <a:gd name="T92" fmla="*/ 126 w 548"/>
              <a:gd name="T93" fmla="*/ 82 h 280"/>
              <a:gd name="T94" fmla="*/ 152 w 548"/>
              <a:gd name="T95" fmla="*/ 80 h 280"/>
              <a:gd name="T96" fmla="*/ 168 w 548"/>
              <a:gd name="T97" fmla="*/ 92 h 280"/>
              <a:gd name="T98" fmla="*/ 180 w 548"/>
              <a:gd name="T99" fmla="*/ 80 h 280"/>
              <a:gd name="T100" fmla="*/ 182 w 548"/>
              <a:gd name="T101" fmla="*/ 20 h 280"/>
              <a:gd name="T102" fmla="*/ 256 w 548"/>
              <a:gd name="T103" fmla="*/ 12 h 280"/>
              <a:gd name="T104" fmla="*/ 298 w 548"/>
              <a:gd name="T105" fmla="*/ 18 h 280"/>
              <a:gd name="T106" fmla="*/ 334 w 548"/>
              <a:gd name="T107" fmla="*/ 20 h 280"/>
              <a:gd name="T108" fmla="*/ 394 w 548"/>
              <a:gd name="T109" fmla="*/ 12 h 280"/>
              <a:gd name="T110" fmla="*/ 430 w 548"/>
              <a:gd name="T111" fmla="*/ 84 h 280"/>
              <a:gd name="T112" fmla="*/ 472 w 548"/>
              <a:gd name="T113" fmla="*/ 100 h 280"/>
              <a:gd name="T114" fmla="*/ 536 w 548"/>
              <a:gd name="T115"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8" h="280">
                <a:moveTo>
                  <a:pt x="548" y="124"/>
                </a:moveTo>
                <a:lnTo>
                  <a:pt x="528" y="128"/>
                </a:lnTo>
                <a:lnTo>
                  <a:pt x="522" y="134"/>
                </a:lnTo>
                <a:lnTo>
                  <a:pt x="518" y="140"/>
                </a:lnTo>
                <a:lnTo>
                  <a:pt x="510" y="142"/>
                </a:lnTo>
                <a:lnTo>
                  <a:pt x="508" y="146"/>
                </a:lnTo>
                <a:lnTo>
                  <a:pt x="506" y="154"/>
                </a:lnTo>
                <a:lnTo>
                  <a:pt x="496" y="158"/>
                </a:lnTo>
                <a:lnTo>
                  <a:pt x="488" y="158"/>
                </a:lnTo>
                <a:lnTo>
                  <a:pt x="482" y="162"/>
                </a:lnTo>
                <a:lnTo>
                  <a:pt x="478" y="170"/>
                </a:lnTo>
                <a:lnTo>
                  <a:pt x="472" y="174"/>
                </a:lnTo>
                <a:lnTo>
                  <a:pt x="470" y="184"/>
                </a:lnTo>
                <a:lnTo>
                  <a:pt x="472" y="194"/>
                </a:lnTo>
                <a:lnTo>
                  <a:pt x="476" y="198"/>
                </a:lnTo>
                <a:lnTo>
                  <a:pt x="474" y="202"/>
                </a:lnTo>
                <a:lnTo>
                  <a:pt x="460" y="202"/>
                </a:lnTo>
                <a:lnTo>
                  <a:pt x="450" y="208"/>
                </a:lnTo>
                <a:lnTo>
                  <a:pt x="440" y="210"/>
                </a:lnTo>
                <a:lnTo>
                  <a:pt x="436" y="212"/>
                </a:lnTo>
                <a:lnTo>
                  <a:pt x="438" y="218"/>
                </a:lnTo>
                <a:lnTo>
                  <a:pt x="446" y="224"/>
                </a:lnTo>
                <a:lnTo>
                  <a:pt x="448" y="230"/>
                </a:lnTo>
                <a:lnTo>
                  <a:pt x="442" y="242"/>
                </a:lnTo>
                <a:lnTo>
                  <a:pt x="442" y="252"/>
                </a:lnTo>
                <a:lnTo>
                  <a:pt x="436" y="248"/>
                </a:lnTo>
                <a:lnTo>
                  <a:pt x="436" y="248"/>
                </a:lnTo>
                <a:lnTo>
                  <a:pt x="432" y="248"/>
                </a:lnTo>
                <a:lnTo>
                  <a:pt x="428" y="246"/>
                </a:lnTo>
                <a:lnTo>
                  <a:pt x="428" y="246"/>
                </a:lnTo>
                <a:lnTo>
                  <a:pt x="426" y="242"/>
                </a:lnTo>
                <a:lnTo>
                  <a:pt x="420" y="240"/>
                </a:lnTo>
                <a:lnTo>
                  <a:pt x="420" y="240"/>
                </a:lnTo>
                <a:lnTo>
                  <a:pt x="414" y="240"/>
                </a:lnTo>
                <a:lnTo>
                  <a:pt x="408" y="240"/>
                </a:lnTo>
                <a:lnTo>
                  <a:pt x="408" y="240"/>
                </a:lnTo>
                <a:lnTo>
                  <a:pt x="392" y="240"/>
                </a:lnTo>
                <a:lnTo>
                  <a:pt x="392" y="240"/>
                </a:lnTo>
                <a:lnTo>
                  <a:pt x="386" y="244"/>
                </a:lnTo>
                <a:lnTo>
                  <a:pt x="378" y="248"/>
                </a:lnTo>
                <a:lnTo>
                  <a:pt x="378" y="248"/>
                </a:lnTo>
                <a:lnTo>
                  <a:pt x="376" y="248"/>
                </a:lnTo>
                <a:lnTo>
                  <a:pt x="374" y="246"/>
                </a:lnTo>
                <a:lnTo>
                  <a:pt x="374" y="246"/>
                </a:lnTo>
                <a:lnTo>
                  <a:pt x="372" y="244"/>
                </a:lnTo>
                <a:lnTo>
                  <a:pt x="372" y="244"/>
                </a:lnTo>
                <a:lnTo>
                  <a:pt x="368" y="244"/>
                </a:lnTo>
                <a:lnTo>
                  <a:pt x="368" y="242"/>
                </a:lnTo>
                <a:lnTo>
                  <a:pt x="366" y="240"/>
                </a:lnTo>
                <a:lnTo>
                  <a:pt x="364" y="240"/>
                </a:lnTo>
                <a:lnTo>
                  <a:pt x="364" y="240"/>
                </a:lnTo>
                <a:lnTo>
                  <a:pt x="360" y="244"/>
                </a:lnTo>
                <a:lnTo>
                  <a:pt x="358" y="244"/>
                </a:lnTo>
                <a:lnTo>
                  <a:pt x="358" y="244"/>
                </a:lnTo>
                <a:lnTo>
                  <a:pt x="354" y="246"/>
                </a:lnTo>
                <a:lnTo>
                  <a:pt x="352" y="248"/>
                </a:lnTo>
                <a:lnTo>
                  <a:pt x="352" y="248"/>
                </a:lnTo>
                <a:lnTo>
                  <a:pt x="350" y="250"/>
                </a:lnTo>
                <a:lnTo>
                  <a:pt x="348" y="254"/>
                </a:lnTo>
                <a:lnTo>
                  <a:pt x="348" y="254"/>
                </a:lnTo>
                <a:lnTo>
                  <a:pt x="346" y="254"/>
                </a:lnTo>
                <a:lnTo>
                  <a:pt x="344" y="250"/>
                </a:lnTo>
                <a:lnTo>
                  <a:pt x="338" y="246"/>
                </a:lnTo>
                <a:lnTo>
                  <a:pt x="334" y="246"/>
                </a:lnTo>
                <a:lnTo>
                  <a:pt x="324" y="246"/>
                </a:lnTo>
                <a:lnTo>
                  <a:pt x="324" y="246"/>
                </a:lnTo>
                <a:lnTo>
                  <a:pt x="320" y="246"/>
                </a:lnTo>
                <a:lnTo>
                  <a:pt x="318" y="250"/>
                </a:lnTo>
                <a:lnTo>
                  <a:pt x="314" y="254"/>
                </a:lnTo>
                <a:lnTo>
                  <a:pt x="314" y="254"/>
                </a:lnTo>
                <a:lnTo>
                  <a:pt x="310" y="256"/>
                </a:lnTo>
                <a:lnTo>
                  <a:pt x="306" y="256"/>
                </a:lnTo>
                <a:lnTo>
                  <a:pt x="306" y="256"/>
                </a:lnTo>
                <a:lnTo>
                  <a:pt x="300" y="258"/>
                </a:lnTo>
                <a:lnTo>
                  <a:pt x="298" y="258"/>
                </a:lnTo>
                <a:lnTo>
                  <a:pt x="298" y="260"/>
                </a:lnTo>
                <a:lnTo>
                  <a:pt x="298" y="260"/>
                </a:lnTo>
                <a:lnTo>
                  <a:pt x="296" y="262"/>
                </a:lnTo>
                <a:lnTo>
                  <a:pt x="294" y="262"/>
                </a:lnTo>
                <a:lnTo>
                  <a:pt x="290" y="264"/>
                </a:lnTo>
                <a:lnTo>
                  <a:pt x="290" y="264"/>
                </a:lnTo>
                <a:lnTo>
                  <a:pt x="288" y="266"/>
                </a:lnTo>
                <a:lnTo>
                  <a:pt x="286" y="268"/>
                </a:lnTo>
                <a:lnTo>
                  <a:pt x="286" y="272"/>
                </a:lnTo>
                <a:lnTo>
                  <a:pt x="286" y="272"/>
                </a:lnTo>
                <a:lnTo>
                  <a:pt x="278" y="274"/>
                </a:lnTo>
                <a:lnTo>
                  <a:pt x="278" y="278"/>
                </a:lnTo>
                <a:lnTo>
                  <a:pt x="278" y="278"/>
                </a:lnTo>
                <a:lnTo>
                  <a:pt x="272" y="280"/>
                </a:lnTo>
                <a:lnTo>
                  <a:pt x="272" y="280"/>
                </a:lnTo>
                <a:lnTo>
                  <a:pt x="272" y="280"/>
                </a:lnTo>
                <a:lnTo>
                  <a:pt x="272" y="278"/>
                </a:lnTo>
                <a:lnTo>
                  <a:pt x="272" y="274"/>
                </a:lnTo>
                <a:lnTo>
                  <a:pt x="272" y="274"/>
                </a:lnTo>
                <a:lnTo>
                  <a:pt x="266" y="270"/>
                </a:lnTo>
                <a:lnTo>
                  <a:pt x="262" y="270"/>
                </a:lnTo>
                <a:lnTo>
                  <a:pt x="262" y="270"/>
                </a:lnTo>
                <a:lnTo>
                  <a:pt x="256" y="270"/>
                </a:lnTo>
                <a:lnTo>
                  <a:pt x="250" y="268"/>
                </a:lnTo>
                <a:lnTo>
                  <a:pt x="250" y="268"/>
                </a:lnTo>
                <a:lnTo>
                  <a:pt x="248" y="268"/>
                </a:lnTo>
                <a:lnTo>
                  <a:pt x="248" y="266"/>
                </a:lnTo>
                <a:lnTo>
                  <a:pt x="250" y="262"/>
                </a:lnTo>
                <a:lnTo>
                  <a:pt x="250" y="262"/>
                </a:lnTo>
                <a:lnTo>
                  <a:pt x="248" y="262"/>
                </a:lnTo>
                <a:lnTo>
                  <a:pt x="248" y="260"/>
                </a:lnTo>
                <a:lnTo>
                  <a:pt x="246" y="260"/>
                </a:lnTo>
                <a:lnTo>
                  <a:pt x="246" y="260"/>
                </a:lnTo>
                <a:lnTo>
                  <a:pt x="246" y="260"/>
                </a:lnTo>
                <a:lnTo>
                  <a:pt x="246" y="256"/>
                </a:lnTo>
                <a:lnTo>
                  <a:pt x="242" y="256"/>
                </a:lnTo>
                <a:lnTo>
                  <a:pt x="242" y="256"/>
                </a:lnTo>
                <a:lnTo>
                  <a:pt x="238" y="256"/>
                </a:lnTo>
                <a:lnTo>
                  <a:pt x="234" y="254"/>
                </a:lnTo>
                <a:lnTo>
                  <a:pt x="234" y="254"/>
                </a:lnTo>
                <a:lnTo>
                  <a:pt x="230" y="246"/>
                </a:lnTo>
                <a:lnTo>
                  <a:pt x="228" y="250"/>
                </a:lnTo>
                <a:lnTo>
                  <a:pt x="228" y="250"/>
                </a:lnTo>
                <a:lnTo>
                  <a:pt x="212" y="246"/>
                </a:lnTo>
                <a:lnTo>
                  <a:pt x="212" y="246"/>
                </a:lnTo>
                <a:lnTo>
                  <a:pt x="202" y="246"/>
                </a:lnTo>
                <a:lnTo>
                  <a:pt x="198" y="246"/>
                </a:lnTo>
                <a:lnTo>
                  <a:pt x="198" y="246"/>
                </a:lnTo>
                <a:lnTo>
                  <a:pt x="196" y="230"/>
                </a:lnTo>
                <a:lnTo>
                  <a:pt x="196" y="230"/>
                </a:lnTo>
                <a:lnTo>
                  <a:pt x="194" y="226"/>
                </a:lnTo>
                <a:lnTo>
                  <a:pt x="194" y="222"/>
                </a:lnTo>
                <a:lnTo>
                  <a:pt x="192" y="222"/>
                </a:lnTo>
                <a:lnTo>
                  <a:pt x="192" y="222"/>
                </a:lnTo>
                <a:lnTo>
                  <a:pt x="194" y="220"/>
                </a:lnTo>
                <a:lnTo>
                  <a:pt x="196" y="218"/>
                </a:lnTo>
                <a:lnTo>
                  <a:pt x="196" y="218"/>
                </a:lnTo>
                <a:lnTo>
                  <a:pt x="196" y="214"/>
                </a:lnTo>
                <a:lnTo>
                  <a:pt x="200" y="212"/>
                </a:lnTo>
                <a:lnTo>
                  <a:pt x="200" y="210"/>
                </a:lnTo>
                <a:lnTo>
                  <a:pt x="200" y="210"/>
                </a:lnTo>
                <a:lnTo>
                  <a:pt x="192" y="206"/>
                </a:lnTo>
                <a:lnTo>
                  <a:pt x="190" y="204"/>
                </a:lnTo>
                <a:lnTo>
                  <a:pt x="188" y="200"/>
                </a:lnTo>
                <a:lnTo>
                  <a:pt x="188" y="200"/>
                </a:lnTo>
                <a:lnTo>
                  <a:pt x="188" y="196"/>
                </a:lnTo>
                <a:lnTo>
                  <a:pt x="188" y="192"/>
                </a:lnTo>
                <a:lnTo>
                  <a:pt x="188" y="192"/>
                </a:lnTo>
                <a:lnTo>
                  <a:pt x="188" y="186"/>
                </a:lnTo>
                <a:lnTo>
                  <a:pt x="188" y="186"/>
                </a:lnTo>
                <a:lnTo>
                  <a:pt x="196" y="172"/>
                </a:lnTo>
                <a:lnTo>
                  <a:pt x="196" y="172"/>
                </a:lnTo>
                <a:lnTo>
                  <a:pt x="194" y="172"/>
                </a:lnTo>
                <a:lnTo>
                  <a:pt x="192" y="174"/>
                </a:lnTo>
                <a:lnTo>
                  <a:pt x="192" y="174"/>
                </a:lnTo>
                <a:lnTo>
                  <a:pt x="188" y="172"/>
                </a:lnTo>
                <a:lnTo>
                  <a:pt x="188" y="172"/>
                </a:lnTo>
                <a:lnTo>
                  <a:pt x="188" y="172"/>
                </a:lnTo>
                <a:lnTo>
                  <a:pt x="188" y="174"/>
                </a:lnTo>
                <a:lnTo>
                  <a:pt x="188" y="174"/>
                </a:lnTo>
                <a:lnTo>
                  <a:pt x="178" y="174"/>
                </a:lnTo>
                <a:lnTo>
                  <a:pt x="178" y="174"/>
                </a:lnTo>
                <a:lnTo>
                  <a:pt x="178" y="176"/>
                </a:lnTo>
                <a:lnTo>
                  <a:pt x="178" y="176"/>
                </a:lnTo>
                <a:lnTo>
                  <a:pt x="180" y="178"/>
                </a:lnTo>
                <a:lnTo>
                  <a:pt x="180" y="178"/>
                </a:lnTo>
                <a:lnTo>
                  <a:pt x="178" y="182"/>
                </a:lnTo>
                <a:lnTo>
                  <a:pt x="178" y="182"/>
                </a:lnTo>
                <a:lnTo>
                  <a:pt x="172" y="180"/>
                </a:lnTo>
                <a:lnTo>
                  <a:pt x="170" y="184"/>
                </a:lnTo>
                <a:lnTo>
                  <a:pt x="170" y="184"/>
                </a:lnTo>
                <a:lnTo>
                  <a:pt x="166" y="184"/>
                </a:lnTo>
                <a:lnTo>
                  <a:pt x="166" y="184"/>
                </a:lnTo>
                <a:lnTo>
                  <a:pt x="164" y="190"/>
                </a:lnTo>
                <a:lnTo>
                  <a:pt x="164" y="190"/>
                </a:lnTo>
                <a:lnTo>
                  <a:pt x="164" y="192"/>
                </a:lnTo>
                <a:lnTo>
                  <a:pt x="164" y="194"/>
                </a:lnTo>
                <a:lnTo>
                  <a:pt x="164" y="194"/>
                </a:lnTo>
                <a:lnTo>
                  <a:pt x="162" y="194"/>
                </a:lnTo>
                <a:lnTo>
                  <a:pt x="162" y="192"/>
                </a:lnTo>
                <a:lnTo>
                  <a:pt x="162" y="188"/>
                </a:lnTo>
                <a:lnTo>
                  <a:pt x="162" y="188"/>
                </a:lnTo>
                <a:lnTo>
                  <a:pt x="160" y="188"/>
                </a:lnTo>
                <a:lnTo>
                  <a:pt x="160" y="188"/>
                </a:lnTo>
                <a:lnTo>
                  <a:pt x="156" y="190"/>
                </a:lnTo>
                <a:lnTo>
                  <a:pt x="156" y="190"/>
                </a:lnTo>
                <a:lnTo>
                  <a:pt x="154" y="192"/>
                </a:lnTo>
                <a:lnTo>
                  <a:pt x="154" y="194"/>
                </a:lnTo>
                <a:lnTo>
                  <a:pt x="154" y="196"/>
                </a:lnTo>
                <a:lnTo>
                  <a:pt x="154" y="196"/>
                </a:lnTo>
                <a:lnTo>
                  <a:pt x="148" y="194"/>
                </a:lnTo>
                <a:lnTo>
                  <a:pt x="148" y="194"/>
                </a:lnTo>
                <a:lnTo>
                  <a:pt x="142" y="196"/>
                </a:lnTo>
                <a:lnTo>
                  <a:pt x="136" y="196"/>
                </a:lnTo>
                <a:lnTo>
                  <a:pt x="136" y="196"/>
                </a:lnTo>
                <a:lnTo>
                  <a:pt x="128" y="200"/>
                </a:lnTo>
                <a:lnTo>
                  <a:pt x="122" y="202"/>
                </a:lnTo>
                <a:lnTo>
                  <a:pt x="120" y="266"/>
                </a:lnTo>
                <a:lnTo>
                  <a:pt x="120" y="266"/>
                </a:lnTo>
                <a:lnTo>
                  <a:pt x="116" y="266"/>
                </a:lnTo>
                <a:lnTo>
                  <a:pt x="108" y="266"/>
                </a:lnTo>
                <a:lnTo>
                  <a:pt x="108" y="266"/>
                </a:lnTo>
                <a:lnTo>
                  <a:pt x="102" y="258"/>
                </a:lnTo>
                <a:lnTo>
                  <a:pt x="98" y="254"/>
                </a:lnTo>
                <a:lnTo>
                  <a:pt x="94" y="252"/>
                </a:lnTo>
                <a:lnTo>
                  <a:pt x="90" y="252"/>
                </a:lnTo>
                <a:lnTo>
                  <a:pt x="90" y="252"/>
                </a:lnTo>
                <a:lnTo>
                  <a:pt x="80" y="252"/>
                </a:lnTo>
                <a:lnTo>
                  <a:pt x="76" y="254"/>
                </a:lnTo>
                <a:lnTo>
                  <a:pt x="76" y="260"/>
                </a:lnTo>
                <a:lnTo>
                  <a:pt x="76" y="260"/>
                </a:lnTo>
                <a:lnTo>
                  <a:pt x="74" y="264"/>
                </a:lnTo>
                <a:lnTo>
                  <a:pt x="72" y="264"/>
                </a:lnTo>
                <a:lnTo>
                  <a:pt x="72" y="264"/>
                </a:lnTo>
                <a:lnTo>
                  <a:pt x="72" y="264"/>
                </a:lnTo>
                <a:lnTo>
                  <a:pt x="74" y="256"/>
                </a:lnTo>
                <a:lnTo>
                  <a:pt x="76" y="246"/>
                </a:lnTo>
                <a:lnTo>
                  <a:pt x="76" y="246"/>
                </a:lnTo>
                <a:lnTo>
                  <a:pt x="66" y="244"/>
                </a:lnTo>
                <a:lnTo>
                  <a:pt x="66" y="244"/>
                </a:lnTo>
                <a:lnTo>
                  <a:pt x="64" y="242"/>
                </a:lnTo>
                <a:lnTo>
                  <a:pt x="64" y="240"/>
                </a:lnTo>
                <a:lnTo>
                  <a:pt x="62" y="238"/>
                </a:lnTo>
                <a:lnTo>
                  <a:pt x="58" y="240"/>
                </a:lnTo>
                <a:lnTo>
                  <a:pt x="58" y="240"/>
                </a:lnTo>
                <a:lnTo>
                  <a:pt x="58" y="236"/>
                </a:lnTo>
                <a:lnTo>
                  <a:pt x="58" y="234"/>
                </a:lnTo>
                <a:lnTo>
                  <a:pt x="56" y="234"/>
                </a:lnTo>
                <a:lnTo>
                  <a:pt x="56" y="234"/>
                </a:lnTo>
                <a:lnTo>
                  <a:pt x="52" y="226"/>
                </a:lnTo>
                <a:lnTo>
                  <a:pt x="44" y="220"/>
                </a:lnTo>
                <a:lnTo>
                  <a:pt x="44" y="220"/>
                </a:lnTo>
                <a:lnTo>
                  <a:pt x="46" y="216"/>
                </a:lnTo>
                <a:lnTo>
                  <a:pt x="46" y="216"/>
                </a:lnTo>
                <a:lnTo>
                  <a:pt x="54" y="218"/>
                </a:lnTo>
                <a:lnTo>
                  <a:pt x="60" y="218"/>
                </a:lnTo>
                <a:lnTo>
                  <a:pt x="62" y="214"/>
                </a:lnTo>
                <a:lnTo>
                  <a:pt x="62" y="214"/>
                </a:lnTo>
                <a:lnTo>
                  <a:pt x="56" y="214"/>
                </a:lnTo>
                <a:lnTo>
                  <a:pt x="56" y="214"/>
                </a:lnTo>
                <a:lnTo>
                  <a:pt x="52" y="208"/>
                </a:lnTo>
                <a:lnTo>
                  <a:pt x="52" y="208"/>
                </a:lnTo>
                <a:lnTo>
                  <a:pt x="52" y="206"/>
                </a:lnTo>
                <a:lnTo>
                  <a:pt x="54" y="206"/>
                </a:lnTo>
                <a:lnTo>
                  <a:pt x="54" y="206"/>
                </a:lnTo>
                <a:lnTo>
                  <a:pt x="56" y="208"/>
                </a:lnTo>
                <a:lnTo>
                  <a:pt x="56" y="208"/>
                </a:lnTo>
                <a:lnTo>
                  <a:pt x="60" y="206"/>
                </a:lnTo>
                <a:lnTo>
                  <a:pt x="62" y="206"/>
                </a:lnTo>
                <a:lnTo>
                  <a:pt x="62" y="206"/>
                </a:lnTo>
                <a:lnTo>
                  <a:pt x="64" y="206"/>
                </a:lnTo>
                <a:lnTo>
                  <a:pt x="66" y="206"/>
                </a:lnTo>
                <a:lnTo>
                  <a:pt x="66" y="206"/>
                </a:lnTo>
                <a:lnTo>
                  <a:pt x="66" y="198"/>
                </a:lnTo>
                <a:lnTo>
                  <a:pt x="66" y="198"/>
                </a:lnTo>
                <a:lnTo>
                  <a:pt x="72" y="198"/>
                </a:lnTo>
                <a:lnTo>
                  <a:pt x="72" y="198"/>
                </a:lnTo>
                <a:lnTo>
                  <a:pt x="76" y="202"/>
                </a:lnTo>
                <a:lnTo>
                  <a:pt x="76" y="202"/>
                </a:lnTo>
                <a:lnTo>
                  <a:pt x="88" y="204"/>
                </a:lnTo>
                <a:lnTo>
                  <a:pt x="88" y="204"/>
                </a:lnTo>
                <a:lnTo>
                  <a:pt x="84" y="210"/>
                </a:lnTo>
                <a:lnTo>
                  <a:pt x="84" y="210"/>
                </a:lnTo>
                <a:lnTo>
                  <a:pt x="88" y="208"/>
                </a:lnTo>
                <a:lnTo>
                  <a:pt x="92" y="206"/>
                </a:lnTo>
                <a:lnTo>
                  <a:pt x="92" y="206"/>
                </a:lnTo>
                <a:lnTo>
                  <a:pt x="92" y="206"/>
                </a:lnTo>
                <a:lnTo>
                  <a:pt x="94" y="208"/>
                </a:lnTo>
                <a:lnTo>
                  <a:pt x="94" y="208"/>
                </a:lnTo>
                <a:lnTo>
                  <a:pt x="96" y="206"/>
                </a:lnTo>
                <a:lnTo>
                  <a:pt x="96" y="206"/>
                </a:lnTo>
                <a:lnTo>
                  <a:pt x="96" y="206"/>
                </a:lnTo>
                <a:lnTo>
                  <a:pt x="98" y="194"/>
                </a:lnTo>
                <a:lnTo>
                  <a:pt x="98" y="194"/>
                </a:lnTo>
                <a:lnTo>
                  <a:pt x="96" y="194"/>
                </a:lnTo>
                <a:lnTo>
                  <a:pt x="96" y="194"/>
                </a:lnTo>
                <a:lnTo>
                  <a:pt x="94" y="190"/>
                </a:lnTo>
                <a:lnTo>
                  <a:pt x="94" y="190"/>
                </a:lnTo>
                <a:lnTo>
                  <a:pt x="94" y="190"/>
                </a:lnTo>
                <a:lnTo>
                  <a:pt x="92" y="190"/>
                </a:lnTo>
                <a:lnTo>
                  <a:pt x="92" y="190"/>
                </a:lnTo>
                <a:lnTo>
                  <a:pt x="90" y="184"/>
                </a:lnTo>
                <a:lnTo>
                  <a:pt x="90" y="178"/>
                </a:lnTo>
                <a:lnTo>
                  <a:pt x="90" y="178"/>
                </a:lnTo>
                <a:lnTo>
                  <a:pt x="86" y="178"/>
                </a:lnTo>
                <a:lnTo>
                  <a:pt x="84" y="178"/>
                </a:lnTo>
                <a:lnTo>
                  <a:pt x="84" y="178"/>
                </a:lnTo>
                <a:lnTo>
                  <a:pt x="82" y="172"/>
                </a:lnTo>
                <a:lnTo>
                  <a:pt x="82" y="172"/>
                </a:lnTo>
                <a:lnTo>
                  <a:pt x="78" y="172"/>
                </a:lnTo>
                <a:lnTo>
                  <a:pt x="78" y="172"/>
                </a:lnTo>
                <a:lnTo>
                  <a:pt x="74" y="166"/>
                </a:lnTo>
                <a:lnTo>
                  <a:pt x="74" y="166"/>
                </a:lnTo>
                <a:lnTo>
                  <a:pt x="72" y="166"/>
                </a:lnTo>
                <a:lnTo>
                  <a:pt x="70" y="166"/>
                </a:lnTo>
                <a:lnTo>
                  <a:pt x="68" y="164"/>
                </a:lnTo>
                <a:lnTo>
                  <a:pt x="68" y="164"/>
                </a:lnTo>
                <a:lnTo>
                  <a:pt x="60" y="164"/>
                </a:lnTo>
                <a:lnTo>
                  <a:pt x="60" y="164"/>
                </a:lnTo>
                <a:lnTo>
                  <a:pt x="60" y="160"/>
                </a:lnTo>
                <a:lnTo>
                  <a:pt x="60" y="160"/>
                </a:lnTo>
                <a:lnTo>
                  <a:pt x="56" y="158"/>
                </a:lnTo>
                <a:lnTo>
                  <a:pt x="56" y="158"/>
                </a:lnTo>
                <a:lnTo>
                  <a:pt x="52" y="158"/>
                </a:lnTo>
                <a:lnTo>
                  <a:pt x="52" y="158"/>
                </a:lnTo>
                <a:lnTo>
                  <a:pt x="50" y="158"/>
                </a:lnTo>
                <a:lnTo>
                  <a:pt x="50" y="158"/>
                </a:lnTo>
                <a:lnTo>
                  <a:pt x="50" y="162"/>
                </a:lnTo>
                <a:lnTo>
                  <a:pt x="50" y="162"/>
                </a:lnTo>
                <a:lnTo>
                  <a:pt x="46" y="166"/>
                </a:lnTo>
                <a:lnTo>
                  <a:pt x="42" y="166"/>
                </a:lnTo>
                <a:lnTo>
                  <a:pt x="42" y="166"/>
                </a:lnTo>
                <a:lnTo>
                  <a:pt x="40" y="170"/>
                </a:lnTo>
                <a:lnTo>
                  <a:pt x="40" y="170"/>
                </a:lnTo>
                <a:lnTo>
                  <a:pt x="36" y="170"/>
                </a:lnTo>
                <a:lnTo>
                  <a:pt x="32" y="170"/>
                </a:lnTo>
                <a:lnTo>
                  <a:pt x="32" y="170"/>
                </a:lnTo>
                <a:lnTo>
                  <a:pt x="28" y="174"/>
                </a:lnTo>
                <a:lnTo>
                  <a:pt x="28" y="174"/>
                </a:lnTo>
                <a:lnTo>
                  <a:pt x="26" y="174"/>
                </a:lnTo>
                <a:lnTo>
                  <a:pt x="22" y="174"/>
                </a:lnTo>
                <a:lnTo>
                  <a:pt x="22" y="174"/>
                </a:lnTo>
                <a:lnTo>
                  <a:pt x="22" y="172"/>
                </a:lnTo>
                <a:lnTo>
                  <a:pt x="20" y="168"/>
                </a:lnTo>
                <a:lnTo>
                  <a:pt x="20" y="166"/>
                </a:lnTo>
                <a:lnTo>
                  <a:pt x="20" y="166"/>
                </a:lnTo>
                <a:lnTo>
                  <a:pt x="22" y="162"/>
                </a:lnTo>
                <a:lnTo>
                  <a:pt x="20" y="160"/>
                </a:lnTo>
                <a:lnTo>
                  <a:pt x="16" y="148"/>
                </a:lnTo>
                <a:lnTo>
                  <a:pt x="16" y="148"/>
                </a:lnTo>
                <a:lnTo>
                  <a:pt x="12" y="150"/>
                </a:lnTo>
                <a:lnTo>
                  <a:pt x="10" y="150"/>
                </a:lnTo>
                <a:lnTo>
                  <a:pt x="8" y="148"/>
                </a:lnTo>
                <a:lnTo>
                  <a:pt x="8" y="148"/>
                </a:lnTo>
                <a:lnTo>
                  <a:pt x="8" y="142"/>
                </a:lnTo>
                <a:lnTo>
                  <a:pt x="8" y="140"/>
                </a:lnTo>
                <a:lnTo>
                  <a:pt x="6" y="138"/>
                </a:lnTo>
                <a:lnTo>
                  <a:pt x="6" y="138"/>
                </a:lnTo>
                <a:lnTo>
                  <a:pt x="2" y="134"/>
                </a:lnTo>
                <a:lnTo>
                  <a:pt x="0" y="132"/>
                </a:lnTo>
                <a:lnTo>
                  <a:pt x="2" y="130"/>
                </a:lnTo>
                <a:lnTo>
                  <a:pt x="2" y="130"/>
                </a:lnTo>
                <a:lnTo>
                  <a:pt x="8" y="122"/>
                </a:lnTo>
                <a:lnTo>
                  <a:pt x="8" y="122"/>
                </a:lnTo>
                <a:lnTo>
                  <a:pt x="8" y="120"/>
                </a:lnTo>
                <a:lnTo>
                  <a:pt x="10" y="118"/>
                </a:lnTo>
                <a:lnTo>
                  <a:pt x="10" y="116"/>
                </a:lnTo>
                <a:lnTo>
                  <a:pt x="10" y="116"/>
                </a:lnTo>
                <a:lnTo>
                  <a:pt x="8" y="114"/>
                </a:lnTo>
                <a:lnTo>
                  <a:pt x="6" y="114"/>
                </a:lnTo>
                <a:lnTo>
                  <a:pt x="6" y="114"/>
                </a:lnTo>
                <a:lnTo>
                  <a:pt x="8" y="110"/>
                </a:lnTo>
                <a:lnTo>
                  <a:pt x="10" y="106"/>
                </a:lnTo>
                <a:lnTo>
                  <a:pt x="10" y="100"/>
                </a:lnTo>
                <a:lnTo>
                  <a:pt x="10" y="100"/>
                </a:lnTo>
                <a:lnTo>
                  <a:pt x="10" y="100"/>
                </a:lnTo>
                <a:lnTo>
                  <a:pt x="12" y="100"/>
                </a:lnTo>
                <a:lnTo>
                  <a:pt x="14" y="98"/>
                </a:lnTo>
                <a:lnTo>
                  <a:pt x="16" y="98"/>
                </a:lnTo>
                <a:lnTo>
                  <a:pt x="16" y="98"/>
                </a:lnTo>
                <a:lnTo>
                  <a:pt x="18" y="92"/>
                </a:lnTo>
                <a:lnTo>
                  <a:pt x="22" y="92"/>
                </a:lnTo>
                <a:lnTo>
                  <a:pt x="22" y="92"/>
                </a:lnTo>
                <a:lnTo>
                  <a:pt x="22" y="92"/>
                </a:lnTo>
                <a:lnTo>
                  <a:pt x="26" y="102"/>
                </a:lnTo>
                <a:lnTo>
                  <a:pt x="36" y="98"/>
                </a:lnTo>
                <a:lnTo>
                  <a:pt x="36" y="98"/>
                </a:lnTo>
                <a:lnTo>
                  <a:pt x="32" y="94"/>
                </a:lnTo>
                <a:lnTo>
                  <a:pt x="30" y="92"/>
                </a:lnTo>
                <a:lnTo>
                  <a:pt x="30" y="90"/>
                </a:lnTo>
                <a:lnTo>
                  <a:pt x="30" y="90"/>
                </a:lnTo>
                <a:lnTo>
                  <a:pt x="30" y="84"/>
                </a:lnTo>
                <a:lnTo>
                  <a:pt x="32" y="80"/>
                </a:lnTo>
                <a:lnTo>
                  <a:pt x="34" y="80"/>
                </a:lnTo>
                <a:lnTo>
                  <a:pt x="34" y="80"/>
                </a:lnTo>
                <a:lnTo>
                  <a:pt x="36" y="78"/>
                </a:lnTo>
                <a:lnTo>
                  <a:pt x="36" y="76"/>
                </a:lnTo>
                <a:lnTo>
                  <a:pt x="38" y="76"/>
                </a:lnTo>
                <a:lnTo>
                  <a:pt x="40" y="76"/>
                </a:lnTo>
                <a:lnTo>
                  <a:pt x="40" y="76"/>
                </a:lnTo>
                <a:lnTo>
                  <a:pt x="46" y="76"/>
                </a:lnTo>
                <a:lnTo>
                  <a:pt x="50" y="76"/>
                </a:lnTo>
                <a:lnTo>
                  <a:pt x="50" y="76"/>
                </a:lnTo>
                <a:lnTo>
                  <a:pt x="60" y="64"/>
                </a:lnTo>
                <a:lnTo>
                  <a:pt x="60" y="64"/>
                </a:lnTo>
                <a:lnTo>
                  <a:pt x="60" y="62"/>
                </a:lnTo>
                <a:lnTo>
                  <a:pt x="60" y="62"/>
                </a:lnTo>
                <a:lnTo>
                  <a:pt x="58" y="60"/>
                </a:lnTo>
                <a:lnTo>
                  <a:pt x="70" y="58"/>
                </a:lnTo>
                <a:lnTo>
                  <a:pt x="70" y="62"/>
                </a:lnTo>
                <a:lnTo>
                  <a:pt x="76" y="62"/>
                </a:lnTo>
                <a:lnTo>
                  <a:pt x="76" y="62"/>
                </a:lnTo>
                <a:lnTo>
                  <a:pt x="76" y="60"/>
                </a:lnTo>
                <a:lnTo>
                  <a:pt x="76" y="58"/>
                </a:lnTo>
                <a:lnTo>
                  <a:pt x="76" y="58"/>
                </a:lnTo>
                <a:lnTo>
                  <a:pt x="76" y="58"/>
                </a:lnTo>
                <a:lnTo>
                  <a:pt x="80" y="60"/>
                </a:lnTo>
                <a:lnTo>
                  <a:pt x="84" y="62"/>
                </a:lnTo>
                <a:lnTo>
                  <a:pt x="84" y="62"/>
                </a:lnTo>
                <a:lnTo>
                  <a:pt x="84" y="66"/>
                </a:lnTo>
                <a:lnTo>
                  <a:pt x="84" y="68"/>
                </a:lnTo>
                <a:lnTo>
                  <a:pt x="84" y="68"/>
                </a:lnTo>
                <a:lnTo>
                  <a:pt x="88" y="68"/>
                </a:lnTo>
                <a:lnTo>
                  <a:pt x="92" y="70"/>
                </a:lnTo>
                <a:lnTo>
                  <a:pt x="92" y="70"/>
                </a:lnTo>
                <a:lnTo>
                  <a:pt x="96" y="72"/>
                </a:lnTo>
                <a:lnTo>
                  <a:pt x="100" y="76"/>
                </a:lnTo>
                <a:lnTo>
                  <a:pt x="100" y="76"/>
                </a:lnTo>
                <a:lnTo>
                  <a:pt x="102" y="80"/>
                </a:lnTo>
                <a:lnTo>
                  <a:pt x="104" y="80"/>
                </a:lnTo>
                <a:lnTo>
                  <a:pt x="104" y="80"/>
                </a:lnTo>
                <a:lnTo>
                  <a:pt x="110" y="80"/>
                </a:lnTo>
                <a:lnTo>
                  <a:pt x="112" y="80"/>
                </a:lnTo>
                <a:lnTo>
                  <a:pt x="112" y="82"/>
                </a:lnTo>
                <a:lnTo>
                  <a:pt x="112" y="82"/>
                </a:lnTo>
                <a:lnTo>
                  <a:pt x="114" y="86"/>
                </a:lnTo>
                <a:lnTo>
                  <a:pt x="112" y="88"/>
                </a:lnTo>
                <a:lnTo>
                  <a:pt x="110" y="90"/>
                </a:lnTo>
                <a:lnTo>
                  <a:pt x="118" y="92"/>
                </a:lnTo>
                <a:lnTo>
                  <a:pt x="118" y="92"/>
                </a:lnTo>
                <a:lnTo>
                  <a:pt x="118" y="88"/>
                </a:lnTo>
                <a:lnTo>
                  <a:pt x="118" y="86"/>
                </a:lnTo>
                <a:lnTo>
                  <a:pt x="118" y="84"/>
                </a:lnTo>
                <a:lnTo>
                  <a:pt x="118" y="84"/>
                </a:lnTo>
                <a:lnTo>
                  <a:pt x="120" y="82"/>
                </a:lnTo>
                <a:lnTo>
                  <a:pt x="122" y="82"/>
                </a:lnTo>
                <a:lnTo>
                  <a:pt x="126" y="82"/>
                </a:lnTo>
                <a:lnTo>
                  <a:pt x="126" y="82"/>
                </a:lnTo>
                <a:lnTo>
                  <a:pt x="132" y="86"/>
                </a:lnTo>
                <a:lnTo>
                  <a:pt x="136" y="86"/>
                </a:lnTo>
                <a:lnTo>
                  <a:pt x="138" y="86"/>
                </a:lnTo>
                <a:lnTo>
                  <a:pt x="138" y="86"/>
                </a:lnTo>
                <a:lnTo>
                  <a:pt x="142" y="82"/>
                </a:lnTo>
                <a:lnTo>
                  <a:pt x="148" y="78"/>
                </a:lnTo>
                <a:lnTo>
                  <a:pt x="148" y="78"/>
                </a:lnTo>
                <a:lnTo>
                  <a:pt x="152" y="78"/>
                </a:lnTo>
                <a:lnTo>
                  <a:pt x="152" y="80"/>
                </a:lnTo>
                <a:lnTo>
                  <a:pt x="154" y="82"/>
                </a:lnTo>
                <a:lnTo>
                  <a:pt x="156" y="82"/>
                </a:lnTo>
                <a:lnTo>
                  <a:pt x="156" y="82"/>
                </a:lnTo>
                <a:lnTo>
                  <a:pt x="158" y="80"/>
                </a:lnTo>
                <a:lnTo>
                  <a:pt x="160" y="80"/>
                </a:lnTo>
                <a:lnTo>
                  <a:pt x="162" y="80"/>
                </a:lnTo>
                <a:lnTo>
                  <a:pt x="162" y="80"/>
                </a:lnTo>
                <a:lnTo>
                  <a:pt x="166" y="88"/>
                </a:lnTo>
                <a:lnTo>
                  <a:pt x="168" y="92"/>
                </a:lnTo>
                <a:lnTo>
                  <a:pt x="176" y="94"/>
                </a:lnTo>
                <a:lnTo>
                  <a:pt x="182" y="94"/>
                </a:lnTo>
                <a:lnTo>
                  <a:pt x="182" y="94"/>
                </a:lnTo>
                <a:lnTo>
                  <a:pt x="186" y="92"/>
                </a:lnTo>
                <a:lnTo>
                  <a:pt x="188" y="90"/>
                </a:lnTo>
                <a:lnTo>
                  <a:pt x="188" y="86"/>
                </a:lnTo>
                <a:lnTo>
                  <a:pt x="188" y="86"/>
                </a:lnTo>
                <a:lnTo>
                  <a:pt x="182" y="80"/>
                </a:lnTo>
                <a:lnTo>
                  <a:pt x="180" y="80"/>
                </a:lnTo>
                <a:lnTo>
                  <a:pt x="174" y="76"/>
                </a:lnTo>
                <a:lnTo>
                  <a:pt x="180" y="66"/>
                </a:lnTo>
                <a:lnTo>
                  <a:pt x="178" y="62"/>
                </a:lnTo>
                <a:lnTo>
                  <a:pt x="172" y="54"/>
                </a:lnTo>
                <a:lnTo>
                  <a:pt x="172" y="48"/>
                </a:lnTo>
                <a:lnTo>
                  <a:pt x="176" y="42"/>
                </a:lnTo>
                <a:lnTo>
                  <a:pt x="176" y="34"/>
                </a:lnTo>
                <a:lnTo>
                  <a:pt x="182" y="28"/>
                </a:lnTo>
                <a:lnTo>
                  <a:pt x="182" y="20"/>
                </a:lnTo>
                <a:lnTo>
                  <a:pt x="180" y="16"/>
                </a:lnTo>
                <a:lnTo>
                  <a:pt x="186" y="12"/>
                </a:lnTo>
                <a:lnTo>
                  <a:pt x="194" y="16"/>
                </a:lnTo>
                <a:lnTo>
                  <a:pt x="202" y="18"/>
                </a:lnTo>
                <a:lnTo>
                  <a:pt x="208" y="20"/>
                </a:lnTo>
                <a:lnTo>
                  <a:pt x="220" y="18"/>
                </a:lnTo>
                <a:lnTo>
                  <a:pt x="230" y="14"/>
                </a:lnTo>
                <a:lnTo>
                  <a:pt x="242" y="16"/>
                </a:lnTo>
                <a:lnTo>
                  <a:pt x="256" y="12"/>
                </a:lnTo>
                <a:lnTo>
                  <a:pt x="260" y="12"/>
                </a:lnTo>
                <a:lnTo>
                  <a:pt x="272" y="4"/>
                </a:lnTo>
                <a:lnTo>
                  <a:pt x="282" y="2"/>
                </a:lnTo>
                <a:lnTo>
                  <a:pt x="288" y="0"/>
                </a:lnTo>
                <a:lnTo>
                  <a:pt x="290" y="4"/>
                </a:lnTo>
                <a:lnTo>
                  <a:pt x="296" y="6"/>
                </a:lnTo>
                <a:lnTo>
                  <a:pt x="296" y="10"/>
                </a:lnTo>
                <a:lnTo>
                  <a:pt x="294" y="16"/>
                </a:lnTo>
                <a:lnTo>
                  <a:pt x="298" y="18"/>
                </a:lnTo>
                <a:lnTo>
                  <a:pt x="304" y="24"/>
                </a:lnTo>
                <a:lnTo>
                  <a:pt x="310" y="22"/>
                </a:lnTo>
                <a:lnTo>
                  <a:pt x="316" y="14"/>
                </a:lnTo>
                <a:lnTo>
                  <a:pt x="324" y="20"/>
                </a:lnTo>
                <a:lnTo>
                  <a:pt x="326" y="22"/>
                </a:lnTo>
                <a:lnTo>
                  <a:pt x="332" y="20"/>
                </a:lnTo>
                <a:lnTo>
                  <a:pt x="332" y="20"/>
                </a:lnTo>
                <a:lnTo>
                  <a:pt x="332" y="20"/>
                </a:lnTo>
                <a:lnTo>
                  <a:pt x="334" y="20"/>
                </a:lnTo>
                <a:lnTo>
                  <a:pt x="336" y="22"/>
                </a:lnTo>
                <a:lnTo>
                  <a:pt x="336" y="22"/>
                </a:lnTo>
                <a:lnTo>
                  <a:pt x="336" y="26"/>
                </a:lnTo>
                <a:lnTo>
                  <a:pt x="336" y="28"/>
                </a:lnTo>
                <a:lnTo>
                  <a:pt x="348" y="28"/>
                </a:lnTo>
                <a:lnTo>
                  <a:pt x="358" y="24"/>
                </a:lnTo>
                <a:lnTo>
                  <a:pt x="372" y="18"/>
                </a:lnTo>
                <a:lnTo>
                  <a:pt x="382" y="14"/>
                </a:lnTo>
                <a:lnTo>
                  <a:pt x="394" y="12"/>
                </a:lnTo>
                <a:lnTo>
                  <a:pt x="396" y="14"/>
                </a:lnTo>
                <a:lnTo>
                  <a:pt x="394" y="20"/>
                </a:lnTo>
                <a:lnTo>
                  <a:pt x="404" y="36"/>
                </a:lnTo>
                <a:lnTo>
                  <a:pt x="414" y="58"/>
                </a:lnTo>
                <a:lnTo>
                  <a:pt x="420" y="74"/>
                </a:lnTo>
                <a:lnTo>
                  <a:pt x="420" y="74"/>
                </a:lnTo>
                <a:lnTo>
                  <a:pt x="424" y="78"/>
                </a:lnTo>
                <a:lnTo>
                  <a:pt x="426" y="82"/>
                </a:lnTo>
                <a:lnTo>
                  <a:pt x="430" y="84"/>
                </a:lnTo>
                <a:lnTo>
                  <a:pt x="430" y="84"/>
                </a:lnTo>
                <a:lnTo>
                  <a:pt x="438" y="82"/>
                </a:lnTo>
                <a:lnTo>
                  <a:pt x="442" y="80"/>
                </a:lnTo>
                <a:lnTo>
                  <a:pt x="456" y="80"/>
                </a:lnTo>
                <a:lnTo>
                  <a:pt x="456" y="80"/>
                </a:lnTo>
                <a:lnTo>
                  <a:pt x="460" y="82"/>
                </a:lnTo>
                <a:lnTo>
                  <a:pt x="464" y="86"/>
                </a:lnTo>
                <a:lnTo>
                  <a:pt x="470" y="92"/>
                </a:lnTo>
                <a:lnTo>
                  <a:pt x="472" y="100"/>
                </a:lnTo>
                <a:lnTo>
                  <a:pt x="474" y="110"/>
                </a:lnTo>
                <a:lnTo>
                  <a:pt x="478" y="114"/>
                </a:lnTo>
                <a:lnTo>
                  <a:pt x="484" y="118"/>
                </a:lnTo>
                <a:lnTo>
                  <a:pt x="494" y="116"/>
                </a:lnTo>
                <a:lnTo>
                  <a:pt x="510" y="108"/>
                </a:lnTo>
                <a:lnTo>
                  <a:pt x="520" y="106"/>
                </a:lnTo>
                <a:lnTo>
                  <a:pt x="528" y="106"/>
                </a:lnTo>
                <a:lnTo>
                  <a:pt x="530" y="114"/>
                </a:lnTo>
                <a:lnTo>
                  <a:pt x="536" y="118"/>
                </a:lnTo>
                <a:lnTo>
                  <a:pt x="538" y="122"/>
                </a:lnTo>
                <a:lnTo>
                  <a:pt x="548" y="124"/>
                </a:lnTo>
                <a:lnTo>
                  <a:pt x="548" y="1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3" name="Freeform 157">
            <a:extLst>
              <a:ext uri="{FF2B5EF4-FFF2-40B4-BE49-F238E27FC236}">
                <a16:creationId xmlns:a16="http://schemas.microsoft.com/office/drawing/2014/main" id="{2F0BD361-8A34-4186-8B1A-215A1C64FFBF}"/>
              </a:ext>
            </a:extLst>
          </p:cNvPr>
          <p:cNvSpPr>
            <a:spLocks/>
          </p:cNvSpPr>
          <p:nvPr userDrawn="1"/>
        </p:nvSpPr>
        <p:spPr bwMode="auto">
          <a:xfrm>
            <a:off x="6642346" y="2719695"/>
            <a:ext cx="100622" cy="123551"/>
          </a:xfrm>
          <a:custGeom>
            <a:avLst/>
            <a:gdLst>
              <a:gd name="T0" fmla="*/ 10 w 60"/>
              <a:gd name="T1" fmla="*/ 24 h 72"/>
              <a:gd name="T2" fmla="*/ 10 w 60"/>
              <a:gd name="T3" fmla="*/ 24 h 72"/>
              <a:gd name="T4" fmla="*/ 12 w 60"/>
              <a:gd name="T5" fmla="*/ 22 h 72"/>
              <a:gd name="T6" fmla="*/ 12 w 60"/>
              <a:gd name="T7" fmla="*/ 22 h 72"/>
              <a:gd name="T8" fmla="*/ 12 w 60"/>
              <a:gd name="T9" fmla="*/ 22 h 72"/>
              <a:gd name="T10" fmla="*/ 12 w 60"/>
              <a:gd name="T11" fmla="*/ 20 h 72"/>
              <a:gd name="T12" fmla="*/ 14 w 60"/>
              <a:gd name="T13" fmla="*/ 16 h 72"/>
              <a:gd name="T14" fmla="*/ 14 w 60"/>
              <a:gd name="T15" fmla="*/ 16 h 72"/>
              <a:gd name="T16" fmla="*/ 18 w 60"/>
              <a:gd name="T17" fmla="*/ 12 h 72"/>
              <a:gd name="T18" fmla="*/ 20 w 60"/>
              <a:gd name="T19" fmla="*/ 12 h 72"/>
              <a:gd name="T20" fmla="*/ 22 w 60"/>
              <a:gd name="T21" fmla="*/ 12 h 72"/>
              <a:gd name="T22" fmla="*/ 22 w 60"/>
              <a:gd name="T23" fmla="*/ 12 h 72"/>
              <a:gd name="T24" fmla="*/ 28 w 60"/>
              <a:gd name="T25" fmla="*/ 14 h 72"/>
              <a:gd name="T26" fmla="*/ 32 w 60"/>
              <a:gd name="T27" fmla="*/ 16 h 72"/>
              <a:gd name="T28" fmla="*/ 52 w 60"/>
              <a:gd name="T29" fmla="*/ 0 h 72"/>
              <a:gd name="T30" fmla="*/ 60 w 60"/>
              <a:gd name="T31" fmla="*/ 24 h 72"/>
              <a:gd name="T32" fmla="*/ 60 w 60"/>
              <a:gd name="T33" fmla="*/ 26 h 72"/>
              <a:gd name="T34" fmla="*/ 32 w 60"/>
              <a:gd name="T35" fmla="*/ 34 h 72"/>
              <a:gd name="T36" fmla="*/ 42 w 60"/>
              <a:gd name="T37" fmla="*/ 48 h 72"/>
              <a:gd name="T38" fmla="*/ 42 w 60"/>
              <a:gd name="T39" fmla="*/ 48 h 72"/>
              <a:gd name="T40" fmla="*/ 38 w 60"/>
              <a:gd name="T41" fmla="*/ 50 h 72"/>
              <a:gd name="T42" fmla="*/ 36 w 60"/>
              <a:gd name="T43" fmla="*/ 52 h 72"/>
              <a:gd name="T44" fmla="*/ 34 w 60"/>
              <a:gd name="T45" fmla="*/ 54 h 72"/>
              <a:gd name="T46" fmla="*/ 34 w 60"/>
              <a:gd name="T47" fmla="*/ 54 h 72"/>
              <a:gd name="T48" fmla="*/ 32 w 60"/>
              <a:gd name="T49" fmla="*/ 56 h 72"/>
              <a:gd name="T50" fmla="*/ 28 w 60"/>
              <a:gd name="T51" fmla="*/ 60 h 72"/>
              <a:gd name="T52" fmla="*/ 28 w 60"/>
              <a:gd name="T53" fmla="*/ 60 h 72"/>
              <a:gd name="T54" fmla="*/ 26 w 60"/>
              <a:gd name="T55" fmla="*/ 64 h 72"/>
              <a:gd name="T56" fmla="*/ 24 w 60"/>
              <a:gd name="T57" fmla="*/ 64 h 72"/>
              <a:gd name="T58" fmla="*/ 14 w 60"/>
              <a:gd name="T59" fmla="*/ 72 h 72"/>
              <a:gd name="T60" fmla="*/ 0 w 60"/>
              <a:gd name="T61" fmla="*/ 72 h 72"/>
              <a:gd name="T62" fmla="*/ 0 w 60"/>
              <a:gd name="T63" fmla="*/ 72 h 72"/>
              <a:gd name="T64" fmla="*/ 0 w 60"/>
              <a:gd name="T65" fmla="*/ 70 h 72"/>
              <a:gd name="T66" fmla="*/ 0 w 60"/>
              <a:gd name="T67" fmla="*/ 70 h 72"/>
              <a:gd name="T68" fmla="*/ 4 w 60"/>
              <a:gd name="T69" fmla="*/ 64 h 72"/>
              <a:gd name="T70" fmla="*/ 8 w 60"/>
              <a:gd name="T71" fmla="*/ 58 h 72"/>
              <a:gd name="T72" fmla="*/ 8 w 60"/>
              <a:gd name="T73" fmla="*/ 54 h 72"/>
              <a:gd name="T74" fmla="*/ 8 w 60"/>
              <a:gd name="T75" fmla="*/ 54 h 72"/>
              <a:gd name="T76" fmla="*/ 8 w 60"/>
              <a:gd name="T77" fmla="*/ 48 h 72"/>
              <a:gd name="T78" fmla="*/ 10 w 60"/>
              <a:gd name="T79" fmla="*/ 44 h 72"/>
              <a:gd name="T80" fmla="*/ 12 w 60"/>
              <a:gd name="T81" fmla="*/ 38 h 72"/>
              <a:gd name="T82" fmla="*/ 12 w 60"/>
              <a:gd name="T83" fmla="*/ 38 h 72"/>
              <a:gd name="T84" fmla="*/ 12 w 60"/>
              <a:gd name="T85" fmla="*/ 32 h 72"/>
              <a:gd name="T86" fmla="*/ 12 w 60"/>
              <a:gd name="T87" fmla="*/ 32 h 72"/>
              <a:gd name="T88" fmla="*/ 12 w 60"/>
              <a:gd name="T89" fmla="*/ 30 h 72"/>
              <a:gd name="T90" fmla="*/ 12 w 60"/>
              <a:gd name="T91" fmla="*/ 30 h 72"/>
              <a:gd name="T92" fmla="*/ 12 w 60"/>
              <a:gd name="T93" fmla="*/ 30 h 72"/>
              <a:gd name="T94" fmla="*/ 12 w 60"/>
              <a:gd name="T95" fmla="*/ 30 h 72"/>
              <a:gd name="T96" fmla="*/ 10 w 60"/>
              <a:gd name="T97" fmla="*/ 24 h 72"/>
              <a:gd name="T98" fmla="*/ 10 w 60"/>
              <a:gd name="T99"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72">
                <a:moveTo>
                  <a:pt x="10" y="24"/>
                </a:moveTo>
                <a:lnTo>
                  <a:pt x="10" y="24"/>
                </a:lnTo>
                <a:lnTo>
                  <a:pt x="12" y="22"/>
                </a:lnTo>
                <a:lnTo>
                  <a:pt x="12" y="22"/>
                </a:lnTo>
                <a:lnTo>
                  <a:pt x="12" y="22"/>
                </a:lnTo>
                <a:lnTo>
                  <a:pt x="12" y="20"/>
                </a:lnTo>
                <a:lnTo>
                  <a:pt x="14" y="16"/>
                </a:lnTo>
                <a:lnTo>
                  <a:pt x="14" y="16"/>
                </a:lnTo>
                <a:lnTo>
                  <a:pt x="18" y="12"/>
                </a:lnTo>
                <a:lnTo>
                  <a:pt x="20" y="12"/>
                </a:lnTo>
                <a:lnTo>
                  <a:pt x="22" y="12"/>
                </a:lnTo>
                <a:lnTo>
                  <a:pt x="22" y="12"/>
                </a:lnTo>
                <a:lnTo>
                  <a:pt x="28" y="14"/>
                </a:lnTo>
                <a:lnTo>
                  <a:pt x="32" y="16"/>
                </a:lnTo>
                <a:lnTo>
                  <a:pt x="52" y="0"/>
                </a:lnTo>
                <a:lnTo>
                  <a:pt x="60" y="24"/>
                </a:lnTo>
                <a:lnTo>
                  <a:pt x="60" y="26"/>
                </a:lnTo>
                <a:lnTo>
                  <a:pt x="32" y="34"/>
                </a:lnTo>
                <a:lnTo>
                  <a:pt x="42" y="48"/>
                </a:lnTo>
                <a:lnTo>
                  <a:pt x="42" y="48"/>
                </a:lnTo>
                <a:lnTo>
                  <a:pt x="38" y="50"/>
                </a:lnTo>
                <a:lnTo>
                  <a:pt x="36" y="52"/>
                </a:lnTo>
                <a:lnTo>
                  <a:pt x="34" y="54"/>
                </a:lnTo>
                <a:lnTo>
                  <a:pt x="34" y="54"/>
                </a:lnTo>
                <a:lnTo>
                  <a:pt x="32" y="56"/>
                </a:lnTo>
                <a:lnTo>
                  <a:pt x="28" y="60"/>
                </a:lnTo>
                <a:lnTo>
                  <a:pt x="28" y="60"/>
                </a:lnTo>
                <a:lnTo>
                  <a:pt x="26" y="64"/>
                </a:lnTo>
                <a:lnTo>
                  <a:pt x="24" y="64"/>
                </a:lnTo>
                <a:lnTo>
                  <a:pt x="14" y="72"/>
                </a:lnTo>
                <a:lnTo>
                  <a:pt x="0" y="72"/>
                </a:lnTo>
                <a:lnTo>
                  <a:pt x="0" y="72"/>
                </a:lnTo>
                <a:lnTo>
                  <a:pt x="0" y="70"/>
                </a:lnTo>
                <a:lnTo>
                  <a:pt x="0" y="70"/>
                </a:lnTo>
                <a:lnTo>
                  <a:pt x="4" y="64"/>
                </a:lnTo>
                <a:lnTo>
                  <a:pt x="8" y="58"/>
                </a:lnTo>
                <a:lnTo>
                  <a:pt x="8" y="54"/>
                </a:lnTo>
                <a:lnTo>
                  <a:pt x="8" y="54"/>
                </a:lnTo>
                <a:lnTo>
                  <a:pt x="8" y="48"/>
                </a:lnTo>
                <a:lnTo>
                  <a:pt x="10" y="44"/>
                </a:lnTo>
                <a:lnTo>
                  <a:pt x="12" y="38"/>
                </a:lnTo>
                <a:lnTo>
                  <a:pt x="12" y="38"/>
                </a:lnTo>
                <a:lnTo>
                  <a:pt x="12" y="32"/>
                </a:lnTo>
                <a:lnTo>
                  <a:pt x="12" y="32"/>
                </a:lnTo>
                <a:lnTo>
                  <a:pt x="12" y="30"/>
                </a:lnTo>
                <a:lnTo>
                  <a:pt x="12" y="30"/>
                </a:lnTo>
                <a:lnTo>
                  <a:pt x="12" y="30"/>
                </a:lnTo>
                <a:lnTo>
                  <a:pt x="12" y="30"/>
                </a:lnTo>
                <a:lnTo>
                  <a:pt x="10" y="24"/>
                </a:lnTo>
                <a:lnTo>
                  <a:pt x="10" y="2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4" name="Freeform 158">
            <a:extLst>
              <a:ext uri="{FF2B5EF4-FFF2-40B4-BE49-F238E27FC236}">
                <a16:creationId xmlns:a16="http://schemas.microsoft.com/office/drawing/2014/main" id="{1B800B12-974A-4CB5-9CE0-535D85D7DF34}"/>
              </a:ext>
            </a:extLst>
          </p:cNvPr>
          <p:cNvSpPr>
            <a:spLocks/>
          </p:cNvSpPr>
          <p:nvPr userDrawn="1"/>
        </p:nvSpPr>
        <p:spPr bwMode="auto">
          <a:xfrm>
            <a:off x="8835909" y="2664783"/>
            <a:ext cx="6708" cy="6864"/>
          </a:xfrm>
          <a:custGeom>
            <a:avLst/>
            <a:gdLst>
              <a:gd name="T0" fmla="*/ 2 w 4"/>
              <a:gd name="T1" fmla="*/ 0 h 4"/>
              <a:gd name="T2" fmla="*/ 2 w 4"/>
              <a:gd name="T3" fmla="*/ 0 h 4"/>
              <a:gd name="T4" fmla="*/ 4 w 4"/>
              <a:gd name="T5" fmla="*/ 0 h 4"/>
              <a:gd name="T6" fmla="*/ 4 w 4"/>
              <a:gd name="T7" fmla="*/ 2 h 4"/>
              <a:gd name="T8" fmla="*/ 4 w 4"/>
              <a:gd name="T9" fmla="*/ 4 h 4"/>
              <a:gd name="T10" fmla="*/ 4 w 4"/>
              <a:gd name="T11" fmla="*/ 4 h 4"/>
              <a:gd name="T12" fmla="*/ 0 w 4"/>
              <a:gd name="T13" fmla="*/ 4 h 4"/>
              <a:gd name="T14" fmla="*/ 0 w 4"/>
              <a:gd name="T15" fmla="*/ 4 h 4"/>
              <a:gd name="T16" fmla="*/ 0 w 4"/>
              <a:gd name="T17" fmla="*/ 2 h 4"/>
              <a:gd name="T18" fmla="*/ 0 w 4"/>
              <a:gd name="T19" fmla="*/ 0 h 4"/>
              <a:gd name="T20" fmla="*/ 0 w 4"/>
              <a:gd name="T21" fmla="*/ 0 h 4"/>
              <a:gd name="T22" fmla="*/ 2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2" y="0"/>
                </a:moveTo>
                <a:lnTo>
                  <a:pt x="2" y="0"/>
                </a:lnTo>
                <a:lnTo>
                  <a:pt x="4" y="0"/>
                </a:lnTo>
                <a:lnTo>
                  <a:pt x="4" y="2"/>
                </a:lnTo>
                <a:lnTo>
                  <a:pt x="4" y="4"/>
                </a:lnTo>
                <a:lnTo>
                  <a:pt x="4" y="4"/>
                </a:lnTo>
                <a:lnTo>
                  <a:pt x="0" y="4"/>
                </a:lnTo>
                <a:lnTo>
                  <a:pt x="0" y="4"/>
                </a:lnTo>
                <a:lnTo>
                  <a:pt x="0" y="2"/>
                </a:lnTo>
                <a:lnTo>
                  <a:pt x="0" y="0"/>
                </a:lnTo>
                <a:lnTo>
                  <a:pt x="0" y="0"/>
                </a:lnTo>
                <a:lnTo>
                  <a:pt x="2"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5" name="Freeform 159">
            <a:extLst>
              <a:ext uri="{FF2B5EF4-FFF2-40B4-BE49-F238E27FC236}">
                <a16:creationId xmlns:a16="http://schemas.microsoft.com/office/drawing/2014/main" id="{A2FD73AD-ADBF-4DC9-9093-AFB60B839466}"/>
              </a:ext>
            </a:extLst>
          </p:cNvPr>
          <p:cNvSpPr>
            <a:spLocks noEditPoints="1"/>
          </p:cNvSpPr>
          <p:nvPr userDrawn="1"/>
        </p:nvSpPr>
        <p:spPr bwMode="auto">
          <a:xfrm>
            <a:off x="8755411" y="2321586"/>
            <a:ext cx="358885" cy="463316"/>
          </a:xfrm>
          <a:custGeom>
            <a:avLst/>
            <a:gdLst>
              <a:gd name="T0" fmla="*/ 10 w 214"/>
              <a:gd name="T1" fmla="*/ 222 h 270"/>
              <a:gd name="T2" fmla="*/ 2 w 214"/>
              <a:gd name="T3" fmla="*/ 226 h 270"/>
              <a:gd name="T4" fmla="*/ 4 w 214"/>
              <a:gd name="T5" fmla="*/ 242 h 270"/>
              <a:gd name="T6" fmla="*/ 6 w 214"/>
              <a:gd name="T7" fmla="*/ 246 h 270"/>
              <a:gd name="T8" fmla="*/ 14 w 214"/>
              <a:gd name="T9" fmla="*/ 244 h 270"/>
              <a:gd name="T10" fmla="*/ 14 w 214"/>
              <a:gd name="T11" fmla="*/ 244 h 270"/>
              <a:gd name="T12" fmla="*/ 6 w 214"/>
              <a:gd name="T13" fmla="*/ 262 h 270"/>
              <a:gd name="T14" fmla="*/ 14 w 214"/>
              <a:gd name="T15" fmla="*/ 260 h 270"/>
              <a:gd name="T16" fmla="*/ 20 w 214"/>
              <a:gd name="T17" fmla="*/ 266 h 270"/>
              <a:gd name="T18" fmla="*/ 24 w 214"/>
              <a:gd name="T19" fmla="*/ 250 h 270"/>
              <a:gd name="T20" fmla="*/ 26 w 214"/>
              <a:gd name="T21" fmla="*/ 230 h 270"/>
              <a:gd name="T22" fmla="*/ 14 w 214"/>
              <a:gd name="T23" fmla="*/ 218 h 270"/>
              <a:gd name="T24" fmla="*/ 44 w 214"/>
              <a:gd name="T25" fmla="*/ 218 h 270"/>
              <a:gd name="T26" fmla="*/ 34 w 214"/>
              <a:gd name="T27" fmla="*/ 228 h 270"/>
              <a:gd name="T28" fmla="*/ 44 w 214"/>
              <a:gd name="T29" fmla="*/ 242 h 270"/>
              <a:gd name="T30" fmla="*/ 50 w 214"/>
              <a:gd name="T31" fmla="*/ 232 h 270"/>
              <a:gd name="T32" fmla="*/ 62 w 214"/>
              <a:gd name="T33" fmla="*/ 230 h 270"/>
              <a:gd name="T34" fmla="*/ 62 w 214"/>
              <a:gd name="T35" fmla="*/ 212 h 270"/>
              <a:gd name="T36" fmla="*/ 136 w 214"/>
              <a:gd name="T37" fmla="*/ 96 h 270"/>
              <a:gd name="T38" fmla="*/ 134 w 214"/>
              <a:gd name="T39" fmla="*/ 112 h 270"/>
              <a:gd name="T40" fmla="*/ 134 w 214"/>
              <a:gd name="T41" fmla="*/ 132 h 270"/>
              <a:gd name="T42" fmla="*/ 116 w 214"/>
              <a:gd name="T43" fmla="*/ 154 h 270"/>
              <a:gd name="T44" fmla="*/ 102 w 214"/>
              <a:gd name="T45" fmla="*/ 166 h 270"/>
              <a:gd name="T46" fmla="*/ 92 w 214"/>
              <a:gd name="T47" fmla="*/ 162 h 270"/>
              <a:gd name="T48" fmla="*/ 96 w 214"/>
              <a:gd name="T49" fmla="*/ 156 h 270"/>
              <a:gd name="T50" fmla="*/ 84 w 214"/>
              <a:gd name="T51" fmla="*/ 188 h 270"/>
              <a:gd name="T52" fmla="*/ 68 w 214"/>
              <a:gd name="T53" fmla="*/ 190 h 270"/>
              <a:gd name="T54" fmla="*/ 52 w 214"/>
              <a:gd name="T55" fmla="*/ 196 h 270"/>
              <a:gd name="T56" fmla="*/ 44 w 214"/>
              <a:gd name="T57" fmla="*/ 196 h 270"/>
              <a:gd name="T58" fmla="*/ 34 w 214"/>
              <a:gd name="T59" fmla="*/ 208 h 270"/>
              <a:gd name="T60" fmla="*/ 16 w 214"/>
              <a:gd name="T61" fmla="*/ 216 h 270"/>
              <a:gd name="T62" fmla="*/ 52 w 214"/>
              <a:gd name="T63" fmla="*/ 212 h 270"/>
              <a:gd name="T64" fmla="*/ 76 w 214"/>
              <a:gd name="T65" fmla="*/ 208 h 270"/>
              <a:gd name="T66" fmla="*/ 74 w 214"/>
              <a:gd name="T67" fmla="*/ 226 h 270"/>
              <a:gd name="T68" fmla="*/ 94 w 214"/>
              <a:gd name="T69" fmla="*/ 216 h 270"/>
              <a:gd name="T70" fmla="*/ 102 w 214"/>
              <a:gd name="T71" fmla="*/ 210 h 270"/>
              <a:gd name="T72" fmla="*/ 108 w 214"/>
              <a:gd name="T73" fmla="*/ 208 h 270"/>
              <a:gd name="T74" fmla="*/ 124 w 214"/>
              <a:gd name="T75" fmla="*/ 204 h 270"/>
              <a:gd name="T76" fmla="*/ 134 w 214"/>
              <a:gd name="T77" fmla="*/ 202 h 270"/>
              <a:gd name="T78" fmla="*/ 142 w 214"/>
              <a:gd name="T79" fmla="*/ 192 h 270"/>
              <a:gd name="T80" fmla="*/ 150 w 214"/>
              <a:gd name="T81" fmla="*/ 190 h 270"/>
              <a:gd name="T82" fmla="*/ 148 w 214"/>
              <a:gd name="T83" fmla="*/ 166 h 270"/>
              <a:gd name="T84" fmla="*/ 156 w 214"/>
              <a:gd name="T85" fmla="*/ 130 h 270"/>
              <a:gd name="T86" fmla="*/ 160 w 214"/>
              <a:gd name="T87" fmla="*/ 102 h 270"/>
              <a:gd name="T88" fmla="*/ 148 w 214"/>
              <a:gd name="T89" fmla="*/ 86 h 270"/>
              <a:gd name="T90" fmla="*/ 160 w 214"/>
              <a:gd name="T91" fmla="*/ 14 h 270"/>
              <a:gd name="T92" fmla="*/ 158 w 214"/>
              <a:gd name="T93" fmla="*/ 34 h 270"/>
              <a:gd name="T94" fmla="*/ 148 w 214"/>
              <a:gd name="T95" fmla="*/ 46 h 270"/>
              <a:gd name="T96" fmla="*/ 136 w 214"/>
              <a:gd name="T97" fmla="*/ 62 h 270"/>
              <a:gd name="T98" fmla="*/ 148 w 214"/>
              <a:gd name="T99" fmla="*/ 72 h 270"/>
              <a:gd name="T100" fmla="*/ 152 w 214"/>
              <a:gd name="T101" fmla="*/ 58 h 270"/>
              <a:gd name="T102" fmla="*/ 164 w 214"/>
              <a:gd name="T103" fmla="*/ 58 h 270"/>
              <a:gd name="T104" fmla="*/ 192 w 214"/>
              <a:gd name="T105" fmla="*/ 52 h 270"/>
              <a:gd name="T106" fmla="*/ 210 w 214"/>
              <a:gd name="T107" fmla="*/ 50 h 270"/>
              <a:gd name="T108" fmla="*/ 210 w 214"/>
              <a:gd name="T109" fmla="*/ 34 h 270"/>
              <a:gd name="T110" fmla="*/ 182 w 214"/>
              <a:gd name="T111" fmla="*/ 30 h 270"/>
              <a:gd name="T112" fmla="*/ 162 w 214"/>
              <a:gd name="T11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4" h="270">
                <a:moveTo>
                  <a:pt x="14" y="218"/>
                </a:moveTo>
                <a:lnTo>
                  <a:pt x="14" y="218"/>
                </a:lnTo>
                <a:lnTo>
                  <a:pt x="12" y="218"/>
                </a:lnTo>
                <a:lnTo>
                  <a:pt x="12" y="220"/>
                </a:lnTo>
                <a:lnTo>
                  <a:pt x="12" y="224"/>
                </a:lnTo>
                <a:lnTo>
                  <a:pt x="12" y="224"/>
                </a:lnTo>
                <a:lnTo>
                  <a:pt x="12" y="224"/>
                </a:lnTo>
                <a:lnTo>
                  <a:pt x="10" y="222"/>
                </a:lnTo>
                <a:lnTo>
                  <a:pt x="10" y="222"/>
                </a:lnTo>
                <a:lnTo>
                  <a:pt x="8" y="222"/>
                </a:lnTo>
                <a:lnTo>
                  <a:pt x="8" y="222"/>
                </a:lnTo>
                <a:lnTo>
                  <a:pt x="8" y="226"/>
                </a:lnTo>
                <a:lnTo>
                  <a:pt x="8" y="226"/>
                </a:lnTo>
                <a:lnTo>
                  <a:pt x="6" y="226"/>
                </a:lnTo>
                <a:lnTo>
                  <a:pt x="4" y="228"/>
                </a:lnTo>
                <a:lnTo>
                  <a:pt x="4" y="228"/>
                </a:lnTo>
                <a:lnTo>
                  <a:pt x="4" y="226"/>
                </a:lnTo>
                <a:lnTo>
                  <a:pt x="2" y="226"/>
                </a:lnTo>
                <a:lnTo>
                  <a:pt x="2" y="226"/>
                </a:lnTo>
                <a:lnTo>
                  <a:pt x="0" y="228"/>
                </a:lnTo>
                <a:lnTo>
                  <a:pt x="2" y="234"/>
                </a:lnTo>
                <a:lnTo>
                  <a:pt x="2" y="234"/>
                </a:lnTo>
                <a:lnTo>
                  <a:pt x="4" y="236"/>
                </a:lnTo>
                <a:lnTo>
                  <a:pt x="6" y="238"/>
                </a:lnTo>
                <a:lnTo>
                  <a:pt x="6" y="238"/>
                </a:lnTo>
                <a:lnTo>
                  <a:pt x="6" y="242"/>
                </a:lnTo>
                <a:lnTo>
                  <a:pt x="4" y="242"/>
                </a:lnTo>
                <a:lnTo>
                  <a:pt x="4" y="240"/>
                </a:lnTo>
                <a:lnTo>
                  <a:pt x="4" y="238"/>
                </a:lnTo>
                <a:lnTo>
                  <a:pt x="4" y="238"/>
                </a:lnTo>
                <a:lnTo>
                  <a:pt x="2" y="240"/>
                </a:lnTo>
                <a:lnTo>
                  <a:pt x="2" y="242"/>
                </a:lnTo>
                <a:lnTo>
                  <a:pt x="4" y="244"/>
                </a:lnTo>
                <a:lnTo>
                  <a:pt x="4" y="244"/>
                </a:lnTo>
                <a:lnTo>
                  <a:pt x="6" y="246"/>
                </a:lnTo>
                <a:lnTo>
                  <a:pt x="6" y="246"/>
                </a:lnTo>
                <a:lnTo>
                  <a:pt x="8" y="246"/>
                </a:lnTo>
                <a:lnTo>
                  <a:pt x="8" y="244"/>
                </a:lnTo>
                <a:lnTo>
                  <a:pt x="8" y="244"/>
                </a:lnTo>
                <a:lnTo>
                  <a:pt x="10" y="246"/>
                </a:lnTo>
                <a:lnTo>
                  <a:pt x="12" y="246"/>
                </a:lnTo>
                <a:lnTo>
                  <a:pt x="12" y="246"/>
                </a:lnTo>
                <a:lnTo>
                  <a:pt x="12" y="246"/>
                </a:lnTo>
                <a:lnTo>
                  <a:pt x="14" y="244"/>
                </a:lnTo>
                <a:lnTo>
                  <a:pt x="14" y="244"/>
                </a:lnTo>
                <a:lnTo>
                  <a:pt x="10" y="236"/>
                </a:lnTo>
                <a:lnTo>
                  <a:pt x="10" y="236"/>
                </a:lnTo>
                <a:lnTo>
                  <a:pt x="14" y="236"/>
                </a:lnTo>
                <a:lnTo>
                  <a:pt x="14" y="236"/>
                </a:lnTo>
                <a:lnTo>
                  <a:pt x="14" y="238"/>
                </a:lnTo>
                <a:lnTo>
                  <a:pt x="16" y="242"/>
                </a:lnTo>
                <a:lnTo>
                  <a:pt x="16" y="242"/>
                </a:lnTo>
                <a:lnTo>
                  <a:pt x="16" y="244"/>
                </a:lnTo>
                <a:lnTo>
                  <a:pt x="14" y="244"/>
                </a:lnTo>
                <a:lnTo>
                  <a:pt x="14" y="244"/>
                </a:lnTo>
                <a:lnTo>
                  <a:pt x="12" y="248"/>
                </a:lnTo>
                <a:lnTo>
                  <a:pt x="8" y="252"/>
                </a:lnTo>
                <a:lnTo>
                  <a:pt x="8" y="252"/>
                </a:lnTo>
                <a:lnTo>
                  <a:pt x="6" y="258"/>
                </a:lnTo>
                <a:lnTo>
                  <a:pt x="6" y="258"/>
                </a:lnTo>
                <a:lnTo>
                  <a:pt x="8" y="260"/>
                </a:lnTo>
                <a:lnTo>
                  <a:pt x="8" y="260"/>
                </a:lnTo>
                <a:lnTo>
                  <a:pt x="6" y="262"/>
                </a:lnTo>
                <a:lnTo>
                  <a:pt x="6" y="264"/>
                </a:lnTo>
                <a:lnTo>
                  <a:pt x="6" y="264"/>
                </a:lnTo>
                <a:lnTo>
                  <a:pt x="10" y="266"/>
                </a:lnTo>
                <a:lnTo>
                  <a:pt x="10" y="266"/>
                </a:lnTo>
                <a:lnTo>
                  <a:pt x="10" y="266"/>
                </a:lnTo>
                <a:lnTo>
                  <a:pt x="12" y="260"/>
                </a:lnTo>
                <a:lnTo>
                  <a:pt x="12" y="260"/>
                </a:lnTo>
                <a:lnTo>
                  <a:pt x="12" y="258"/>
                </a:lnTo>
                <a:lnTo>
                  <a:pt x="14" y="260"/>
                </a:lnTo>
                <a:lnTo>
                  <a:pt x="14" y="262"/>
                </a:lnTo>
                <a:lnTo>
                  <a:pt x="14" y="262"/>
                </a:lnTo>
                <a:lnTo>
                  <a:pt x="14" y="262"/>
                </a:lnTo>
                <a:lnTo>
                  <a:pt x="14" y="266"/>
                </a:lnTo>
                <a:lnTo>
                  <a:pt x="14" y="270"/>
                </a:lnTo>
                <a:lnTo>
                  <a:pt x="14" y="270"/>
                </a:lnTo>
                <a:lnTo>
                  <a:pt x="16" y="270"/>
                </a:lnTo>
                <a:lnTo>
                  <a:pt x="16" y="270"/>
                </a:lnTo>
                <a:lnTo>
                  <a:pt x="20" y="266"/>
                </a:lnTo>
                <a:lnTo>
                  <a:pt x="20" y="266"/>
                </a:lnTo>
                <a:lnTo>
                  <a:pt x="20" y="266"/>
                </a:lnTo>
                <a:lnTo>
                  <a:pt x="20" y="264"/>
                </a:lnTo>
                <a:lnTo>
                  <a:pt x="20" y="264"/>
                </a:lnTo>
                <a:lnTo>
                  <a:pt x="24" y="262"/>
                </a:lnTo>
                <a:lnTo>
                  <a:pt x="24" y="262"/>
                </a:lnTo>
                <a:lnTo>
                  <a:pt x="24" y="256"/>
                </a:lnTo>
                <a:lnTo>
                  <a:pt x="24" y="250"/>
                </a:lnTo>
                <a:lnTo>
                  <a:pt x="24" y="250"/>
                </a:lnTo>
                <a:lnTo>
                  <a:pt x="28" y="244"/>
                </a:lnTo>
                <a:lnTo>
                  <a:pt x="32" y="238"/>
                </a:lnTo>
                <a:lnTo>
                  <a:pt x="32" y="238"/>
                </a:lnTo>
                <a:lnTo>
                  <a:pt x="28" y="236"/>
                </a:lnTo>
                <a:lnTo>
                  <a:pt x="28" y="236"/>
                </a:lnTo>
                <a:lnTo>
                  <a:pt x="28" y="232"/>
                </a:lnTo>
                <a:lnTo>
                  <a:pt x="28" y="232"/>
                </a:lnTo>
                <a:lnTo>
                  <a:pt x="26" y="232"/>
                </a:lnTo>
                <a:lnTo>
                  <a:pt x="26" y="230"/>
                </a:lnTo>
                <a:lnTo>
                  <a:pt x="26" y="224"/>
                </a:lnTo>
                <a:lnTo>
                  <a:pt x="26" y="224"/>
                </a:lnTo>
                <a:lnTo>
                  <a:pt x="20" y="224"/>
                </a:lnTo>
                <a:lnTo>
                  <a:pt x="20" y="224"/>
                </a:lnTo>
                <a:lnTo>
                  <a:pt x="20" y="222"/>
                </a:lnTo>
                <a:lnTo>
                  <a:pt x="20" y="220"/>
                </a:lnTo>
                <a:lnTo>
                  <a:pt x="20" y="220"/>
                </a:lnTo>
                <a:lnTo>
                  <a:pt x="14" y="218"/>
                </a:lnTo>
                <a:lnTo>
                  <a:pt x="14" y="218"/>
                </a:lnTo>
                <a:close/>
                <a:moveTo>
                  <a:pt x="58" y="212"/>
                </a:moveTo>
                <a:lnTo>
                  <a:pt x="58" y="212"/>
                </a:lnTo>
                <a:lnTo>
                  <a:pt x="54" y="212"/>
                </a:lnTo>
                <a:lnTo>
                  <a:pt x="54" y="212"/>
                </a:lnTo>
                <a:lnTo>
                  <a:pt x="54" y="216"/>
                </a:lnTo>
                <a:lnTo>
                  <a:pt x="52" y="218"/>
                </a:lnTo>
                <a:lnTo>
                  <a:pt x="52" y="218"/>
                </a:lnTo>
                <a:lnTo>
                  <a:pt x="48" y="218"/>
                </a:lnTo>
                <a:lnTo>
                  <a:pt x="44" y="218"/>
                </a:lnTo>
                <a:lnTo>
                  <a:pt x="44" y="218"/>
                </a:lnTo>
                <a:lnTo>
                  <a:pt x="42" y="222"/>
                </a:lnTo>
                <a:lnTo>
                  <a:pt x="42" y="222"/>
                </a:lnTo>
                <a:lnTo>
                  <a:pt x="38" y="228"/>
                </a:lnTo>
                <a:lnTo>
                  <a:pt x="38" y="228"/>
                </a:lnTo>
                <a:lnTo>
                  <a:pt x="36" y="228"/>
                </a:lnTo>
                <a:lnTo>
                  <a:pt x="36" y="228"/>
                </a:lnTo>
                <a:lnTo>
                  <a:pt x="36" y="228"/>
                </a:lnTo>
                <a:lnTo>
                  <a:pt x="34" y="228"/>
                </a:lnTo>
                <a:lnTo>
                  <a:pt x="36" y="230"/>
                </a:lnTo>
                <a:lnTo>
                  <a:pt x="40" y="234"/>
                </a:lnTo>
                <a:lnTo>
                  <a:pt x="40" y="234"/>
                </a:lnTo>
                <a:lnTo>
                  <a:pt x="40" y="234"/>
                </a:lnTo>
                <a:lnTo>
                  <a:pt x="40" y="236"/>
                </a:lnTo>
                <a:lnTo>
                  <a:pt x="42" y="240"/>
                </a:lnTo>
                <a:lnTo>
                  <a:pt x="42" y="240"/>
                </a:lnTo>
                <a:lnTo>
                  <a:pt x="44" y="242"/>
                </a:lnTo>
                <a:lnTo>
                  <a:pt x="44" y="242"/>
                </a:lnTo>
                <a:lnTo>
                  <a:pt x="44" y="244"/>
                </a:lnTo>
                <a:lnTo>
                  <a:pt x="44" y="244"/>
                </a:lnTo>
                <a:lnTo>
                  <a:pt x="46" y="244"/>
                </a:lnTo>
                <a:lnTo>
                  <a:pt x="46" y="244"/>
                </a:lnTo>
                <a:lnTo>
                  <a:pt x="48" y="240"/>
                </a:lnTo>
                <a:lnTo>
                  <a:pt x="48" y="240"/>
                </a:lnTo>
                <a:lnTo>
                  <a:pt x="48" y="236"/>
                </a:lnTo>
                <a:lnTo>
                  <a:pt x="50" y="232"/>
                </a:lnTo>
                <a:lnTo>
                  <a:pt x="50" y="232"/>
                </a:lnTo>
                <a:lnTo>
                  <a:pt x="54" y="232"/>
                </a:lnTo>
                <a:lnTo>
                  <a:pt x="54" y="232"/>
                </a:lnTo>
                <a:lnTo>
                  <a:pt x="56" y="230"/>
                </a:lnTo>
                <a:lnTo>
                  <a:pt x="58" y="228"/>
                </a:lnTo>
                <a:lnTo>
                  <a:pt x="58" y="228"/>
                </a:lnTo>
                <a:lnTo>
                  <a:pt x="58" y="232"/>
                </a:lnTo>
                <a:lnTo>
                  <a:pt x="58" y="232"/>
                </a:lnTo>
                <a:lnTo>
                  <a:pt x="62" y="230"/>
                </a:lnTo>
                <a:lnTo>
                  <a:pt x="62" y="230"/>
                </a:lnTo>
                <a:lnTo>
                  <a:pt x="62" y="228"/>
                </a:lnTo>
                <a:lnTo>
                  <a:pt x="62" y="228"/>
                </a:lnTo>
                <a:lnTo>
                  <a:pt x="66" y="224"/>
                </a:lnTo>
                <a:lnTo>
                  <a:pt x="66" y="224"/>
                </a:lnTo>
                <a:lnTo>
                  <a:pt x="66" y="220"/>
                </a:lnTo>
                <a:lnTo>
                  <a:pt x="66" y="220"/>
                </a:lnTo>
                <a:lnTo>
                  <a:pt x="62" y="218"/>
                </a:lnTo>
                <a:lnTo>
                  <a:pt x="62" y="218"/>
                </a:lnTo>
                <a:lnTo>
                  <a:pt x="62" y="212"/>
                </a:lnTo>
                <a:lnTo>
                  <a:pt x="62" y="212"/>
                </a:lnTo>
                <a:lnTo>
                  <a:pt x="58" y="212"/>
                </a:lnTo>
                <a:lnTo>
                  <a:pt x="58" y="212"/>
                </a:lnTo>
                <a:close/>
                <a:moveTo>
                  <a:pt x="146" y="84"/>
                </a:moveTo>
                <a:lnTo>
                  <a:pt x="146" y="84"/>
                </a:lnTo>
                <a:lnTo>
                  <a:pt x="142" y="84"/>
                </a:lnTo>
                <a:lnTo>
                  <a:pt x="142" y="84"/>
                </a:lnTo>
                <a:lnTo>
                  <a:pt x="142" y="92"/>
                </a:lnTo>
                <a:lnTo>
                  <a:pt x="136" y="96"/>
                </a:lnTo>
                <a:lnTo>
                  <a:pt x="136" y="96"/>
                </a:lnTo>
                <a:lnTo>
                  <a:pt x="136" y="98"/>
                </a:lnTo>
                <a:lnTo>
                  <a:pt x="138" y="98"/>
                </a:lnTo>
                <a:lnTo>
                  <a:pt x="138" y="98"/>
                </a:lnTo>
                <a:lnTo>
                  <a:pt x="138" y="106"/>
                </a:lnTo>
                <a:lnTo>
                  <a:pt x="132" y="112"/>
                </a:lnTo>
                <a:lnTo>
                  <a:pt x="132" y="112"/>
                </a:lnTo>
                <a:lnTo>
                  <a:pt x="134" y="112"/>
                </a:lnTo>
                <a:lnTo>
                  <a:pt x="134" y="112"/>
                </a:lnTo>
                <a:lnTo>
                  <a:pt x="134" y="112"/>
                </a:lnTo>
                <a:lnTo>
                  <a:pt x="140" y="110"/>
                </a:lnTo>
                <a:lnTo>
                  <a:pt x="140" y="110"/>
                </a:lnTo>
                <a:lnTo>
                  <a:pt x="138" y="116"/>
                </a:lnTo>
                <a:lnTo>
                  <a:pt x="138" y="120"/>
                </a:lnTo>
                <a:lnTo>
                  <a:pt x="138" y="120"/>
                </a:lnTo>
                <a:lnTo>
                  <a:pt x="134" y="124"/>
                </a:lnTo>
                <a:lnTo>
                  <a:pt x="134" y="124"/>
                </a:lnTo>
                <a:lnTo>
                  <a:pt x="134" y="132"/>
                </a:lnTo>
                <a:lnTo>
                  <a:pt x="134" y="132"/>
                </a:lnTo>
                <a:lnTo>
                  <a:pt x="130" y="134"/>
                </a:lnTo>
                <a:lnTo>
                  <a:pt x="130" y="134"/>
                </a:lnTo>
                <a:lnTo>
                  <a:pt x="128" y="140"/>
                </a:lnTo>
                <a:lnTo>
                  <a:pt x="128" y="140"/>
                </a:lnTo>
                <a:lnTo>
                  <a:pt x="120" y="150"/>
                </a:lnTo>
                <a:lnTo>
                  <a:pt x="120" y="150"/>
                </a:lnTo>
                <a:lnTo>
                  <a:pt x="118" y="152"/>
                </a:lnTo>
                <a:lnTo>
                  <a:pt x="116" y="154"/>
                </a:lnTo>
                <a:lnTo>
                  <a:pt x="116" y="154"/>
                </a:lnTo>
                <a:lnTo>
                  <a:pt x="114" y="158"/>
                </a:lnTo>
                <a:lnTo>
                  <a:pt x="114" y="160"/>
                </a:lnTo>
                <a:lnTo>
                  <a:pt x="112" y="162"/>
                </a:lnTo>
                <a:lnTo>
                  <a:pt x="112" y="164"/>
                </a:lnTo>
                <a:lnTo>
                  <a:pt x="112" y="164"/>
                </a:lnTo>
                <a:lnTo>
                  <a:pt x="108" y="164"/>
                </a:lnTo>
                <a:lnTo>
                  <a:pt x="108" y="164"/>
                </a:lnTo>
                <a:lnTo>
                  <a:pt x="102" y="166"/>
                </a:lnTo>
                <a:lnTo>
                  <a:pt x="98" y="170"/>
                </a:lnTo>
                <a:lnTo>
                  <a:pt x="98" y="170"/>
                </a:lnTo>
                <a:lnTo>
                  <a:pt x="94" y="168"/>
                </a:lnTo>
                <a:lnTo>
                  <a:pt x="94" y="168"/>
                </a:lnTo>
                <a:lnTo>
                  <a:pt x="94" y="166"/>
                </a:lnTo>
                <a:lnTo>
                  <a:pt x="94" y="166"/>
                </a:lnTo>
                <a:lnTo>
                  <a:pt x="92" y="166"/>
                </a:lnTo>
                <a:lnTo>
                  <a:pt x="92" y="164"/>
                </a:lnTo>
                <a:lnTo>
                  <a:pt x="92" y="162"/>
                </a:lnTo>
                <a:lnTo>
                  <a:pt x="92" y="162"/>
                </a:lnTo>
                <a:lnTo>
                  <a:pt x="96" y="160"/>
                </a:lnTo>
                <a:lnTo>
                  <a:pt x="98" y="158"/>
                </a:lnTo>
                <a:lnTo>
                  <a:pt x="98" y="158"/>
                </a:lnTo>
                <a:lnTo>
                  <a:pt x="98" y="156"/>
                </a:lnTo>
                <a:lnTo>
                  <a:pt x="98" y="156"/>
                </a:lnTo>
                <a:lnTo>
                  <a:pt x="98" y="154"/>
                </a:lnTo>
                <a:lnTo>
                  <a:pt x="96" y="156"/>
                </a:lnTo>
                <a:lnTo>
                  <a:pt x="96" y="156"/>
                </a:lnTo>
                <a:lnTo>
                  <a:pt x="92" y="158"/>
                </a:lnTo>
                <a:lnTo>
                  <a:pt x="90" y="162"/>
                </a:lnTo>
                <a:lnTo>
                  <a:pt x="90" y="162"/>
                </a:lnTo>
                <a:lnTo>
                  <a:pt x="90" y="166"/>
                </a:lnTo>
                <a:lnTo>
                  <a:pt x="90" y="170"/>
                </a:lnTo>
                <a:lnTo>
                  <a:pt x="90" y="170"/>
                </a:lnTo>
                <a:lnTo>
                  <a:pt x="84" y="180"/>
                </a:lnTo>
                <a:lnTo>
                  <a:pt x="84" y="180"/>
                </a:lnTo>
                <a:lnTo>
                  <a:pt x="84" y="188"/>
                </a:lnTo>
                <a:lnTo>
                  <a:pt x="84" y="188"/>
                </a:lnTo>
                <a:lnTo>
                  <a:pt x="84" y="190"/>
                </a:lnTo>
                <a:lnTo>
                  <a:pt x="84" y="190"/>
                </a:lnTo>
                <a:lnTo>
                  <a:pt x="80" y="192"/>
                </a:lnTo>
                <a:lnTo>
                  <a:pt x="78" y="194"/>
                </a:lnTo>
                <a:lnTo>
                  <a:pt x="72" y="192"/>
                </a:lnTo>
                <a:lnTo>
                  <a:pt x="72" y="190"/>
                </a:lnTo>
                <a:lnTo>
                  <a:pt x="72" y="190"/>
                </a:lnTo>
                <a:lnTo>
                  <a:pt x="68" y="190"/>
                </a:lnTo>
                <a:lnTo>
                  <a:pt x="64" y="190"/>
                </a:lnTo>
                <a:lnTo>
                  <a:pt x="60" y="194"/>
                </a:lnTo>
                <a:lnTo>
                  <a:pt x="60" y="194"/>
                </a:lnTo>
                <a:lnTo>
                  <a:pt x="54" y="194"/>
                </a:lnTo>
                <a:lnTo>
                  <a:pt x="50" y="192"/>
                </a:lnTo>
                <a:lnTo>
                  <a:pt x="50" y="192"/>
                </a:lnTo>
                <a:lnTo>
                  <a:pt x="50" y="194"/>
                </a:lnTo>
                <a:lnTo>
                  <a:pt x="50" y="196"/>
                </a:lnTo>
                <a:lnTo>
                  <a:pt x="52" y="196"/>
                </a:lnTo>
                <a:lnTo>
                  <a:pt x="52" y="196"/>
                </a:lnTo>
                <a:lnTo>
                  <a:pt x="52" y="198"/>
                </a:lnTo>
                <a:lnTo>
                  <a:pt x="50" y="198"/>
                </a:lnTo>
                <a:lnTo>
                  <a:pt x="48" y="198"/>
                </a:lnTo>
                <a:lnTo>
                  <a:pt x="48" y="198"/>
                </a:lnTo>
                <a:lnTo>
                  <a:pt x="48" y="194"/>
                </a:lnTo>
                <a:lnTo>
                  <a:pt x="46" y="194"/>
                </a:lnTo>
                <a:lnTo>
                  <a:pt x="46" y="194"/>
                </a:lnTo>
                <a:lnTo>
                  <a:pt x="44" y="196"/>
                </a:lnTo>
                <a:lnTo>
                  <a:pt x="44" y="196"/>
                </a:lnTo>
                <a:lnTo>
                  <a:pt x="42" y="198"/>
                </a:lnTo>
                <a:lnTo>
                  <a:pt x="42" y="200"/>
                </a:lnTo>
                <a:lnTo>
                  <a:pt x="42" y="200"/>
                </a:lnTo>
                <a:lnTo>
                  <a:pt x="38" y="202"/>
                </a:lnTo>
                <a:lnTo>
                  <a:pt x="36" y="202"/>
                </a:lnTo>
                <a:lnTo>
                  <a:pt x="36" y="202"/>
                </a:lnTo>
                <a:lnTo>
                  <a:pt x="36" y="206"/>
                </a:lnTo>
                <a:lnTo>
                  <a:pt x="34" y="208"/>
                </a:lnTo>
                <a:lnTo>
                  <a:pt x="34" y="208"/>
                </a:lnTo>
                <a:lnTo>
                  <a:pt x="28" y="212"/>
                </a:lnTo>
                <a:lnTo>
                  <a:pt x="22" y="212"/>
                </a:lnTo>
                <a:lnTo>
                  <a:pt x="22" y="212"/>
                </a:lnTo>
                <a:lnTo>
                  <a:pt x="20" y="212"/>
                </a:lnTo>
                <a:lnTo>
                  <a:pt x="20" y="210"/>
                </a:lnTo>
                <a:lnTo>
                  <a:pt x="20" y="210"/>
                </a:lnTo>
                <a:lnTo>
                  <a:pt x="16" y="216"/>
                </a:lnTo>
                <a:lnTo>
                  <a:pt x="16" y="216"/>
                </a:lnTo>
                <a:lnTo>
                  <a:pt x="26" y="218"/>
                </a:lnTo>
                <a:lnTo>
                  <a:pt x="36" y="218"/>
                </a:lnTo>
                <a:lnTo>
                  <a:pt x="36" y="218"/>
                </a:lnTo>
                <a:lnTo>
                  <a:pt x="36" y="216"/>
                </a:lnTo>
                <a:lnTo>
                  <a:pt x="38" y="212"/>
                </a:lnTo>
                <a:lnTo>
                  <a:pt x="38" y="212"/>
                </a:lnTo>
                <a:lnTo>
                  <a:pt x="44" y="214"/>
                </a:lnTo>
                <a:lnTo>
                  <a:pt x="52" y="212"/>
                </a:lnTo>
                <a:lnTo>
                  <a:pt x="52" y="212"/>
                </a:lnTo>
                <a:lnTo>
                  <a:pt x="56" y="208"/>
                </a:lnTo>
                <a:lnTo>
                  <a:pt x="56" y="208"/>
                </a:lnTo>
                <a:lnTo>
                  <a:pt x="58" y="210"/>
                </a:lnTo>
                <a:lnTo>
                  <a:pt x="60" y="210"/>
                </a:lnTo>
                <a:lnTo>
                  <a:pt x="60" y="210"/>
                </a:lnTo>
                <a:lnTo>
                  <a:pt x="64" y="206"/>
                </a:lnTo>
                <a:lnTo>
                  <a:pt x="64" y="206"/>
                </a:lnTo>
                <a:lnTo>
                  <a:pt x="76" y="208"/>
                </a:lnTo>
                <a:lnTo>
                  <a:pt x="76" y="208"/>
                </a:lnTo>
                <a:lnTo>
                  <a:pt x="74" y="212"/>
                </a:lnTo>
                <a:lnTo>
                  <a:pt x="74" y="212"/>
                </a:lnTo>
                <a:lnTo>
                  <a:pt x="72" y="214"/>
                </a:lnTo>
                <a:lnTo>
                  <a:pt x="72" y="220"/>
                </a:lnTo>
                <a:lnTo>
                  <a:pt x="72" y="220"/>
                </a:lnTo>
                <a:lnTo>
                  <a:pt x="70" y="220"/>
                </a:lnTo>
                <a:lnTo>
                  <a:pt x="70" y="220"/>
                </a:lnTo>
                <a:lnTo>
                  <a:pt x="70" y="220"/>
                </a:lnTo>
                <a:lnTo>
                  <a:pt x="74" y="226"/>
                </a:lnTo>
                <a:lnTo>
                  <a:pt x="76" y="228"/>
                </a:lnTo>
                <a:lnTo>
                  <a:pt x="80" y="228"/>
                </a:lnTo>
                <a:lnTo>
                  <a:pt x="80" y="228"/>
                </a:lnTo>
                <a:lnTo>
                  <a:pt x="82" y="228"/>
                </a:lnTo>
                <a:lnTo>
                  <a:pt x="84" y="224"/>
                </a:lnTo>
                <a:lnTo>
                  <a:pt x="88" y="220"/>
                </a:lnTo>
                <a:lnTo>
                  <a:pt x="88" y="220"/>
                </a:lnTo>
                <a:lnTo>
                  <a:pt x="94" y="216"/>
                </a:lnTo>
                <a:lnTo>
                  <a:pt x="94" y="216"/>
                </a:lnTo>
                <a:lnTo>
                  <a:pt x="92" y="210"/>
                </a:lnTo>
                <a:lnTo>
                  <a:pt x="92" y="210"/>
                </a:lnTo>
                <a:lnTo>
                  <a:pt x="92" y="210"/>
                </a:lnTo>
                <a:lnTo>
                  <a:pt x="92" y="208"/>
                </a:lnTo>
                <a:lnTo>
                  <a:pt x="92" y="208"/>
                </a:lnTo>
                <a:lnTo>
                  <a:pt x="96" y="208"/>
                </a:lnTo>
                <a:lnTo>
                  <a:pt x="96" y="208"/>
                </a:lnTo>
                <a:lnTo>
                  <a:pt x="102" y="208"/>
                </a:lnTo>
                <a:lnTo>
                  <a:pt x="102" y="210"/>
                </a:lnTo>
                <a:lnTo>
                  <a:pt x="102" y="210"/>
                </a:lnTo>
                <a:lnTo>
                  <a:pt x="102" y="210"/>
                </a:lnTo>
                <a:lnTo>
                  <a:pt x="100" y="212"/>
                </a:lnTo>
                <a:lnTo>
                  <a:pt x="100" y="212"/>
                </a:lnTo>
                <a:lnTo>
                  <a:pt x="100" y="212"/>
                </a:lnTo>
                <a:lnTo>
                  <a:pt x="106" y="212"/>
                </a:lnTo>
                <a:lnTo>
                  <a:pt x="106" y="212"/>
                </a:lnTo>
                <a:lnTo>
                  <a:pt x="108" y="208"/>
                </a:lnTo>
                <a:lnTo>
                  <a:pt x="108" y="208"/>
                </a:lnTo>
                <a:lnTo>
                  <a:pt x="110" y="210"/>
                </a:lnTo>
                <a:lnTo>
                  <a:pt x="116" y="210"/>
                </a:lnTo>
                <a:lnTo>
                  <a:pt x="116" y="210"/>
                </a:lnTo>
                <a:lnTo>
                  <a:pt x="116" y="208"/>
                </a:lnTo>
                <a:lnTo>
                  <a:pt x="116" y="208"/>
                </a:lnTo>
                <a:lnTo>
                  <a:pt x="120" y="208"/>
                </a:lnTo>
                <a:lnTo>
                  <a:pt x="120" y="208"/>
                </a:lnTo>
                <a:lnTo>
                  <a:pt x="124" y="204"/>
                </a:lnTo>
                <a:lnTo>
                  <a:pt x="124" y="204"/>
                </a:lnTo>
                <a:lnTo>
                  <a:pt x="124" y="212"/>
                </a:lnTo>
                <a:lnTo>
                  <a:pt x="126" y="212"/>
                </a:lnTo>
                <a:lnTo>
                  <a:pt x="126" y="212"/>
                </a:lnTo>
                <a:lnTo>
                  <a:pt x="128" y="202"/>
                </a:lnTo>
                <a:lnTo>
                  <a:pt x="132" y="200"/>
                </a:lnTo>
                <a:lnTo>
                  <a:pt x="132" y="200"/>
                </a:lnTo>
                <a:lnTo>
                  <a:pt x="134" y="202"/>
                </a:lnTo>
                <a:lnTo>
                  <a:pt x="134" y="202"/>
                </a:lnTo>
                <a:lnTo>
                  <a:pt x="134" y="202"/>
                </a:lnTo>
                <a:lnTo>
                  <a:pt x="136" y="200"/>
                </a:lnTo>
                <a:lnTo>
                  <a:pt x="134" y="200"/>
                </a:lnTo>
                <a:lnTo>
                  <a:pt x="134" y="200"/>
                </a:lnTo>
                <a:lnTo>
                  <a:pt x="136" y="190"/>
                </a:lnTo>
                <a:lnTo>
                  <a:pt x="136" y="190"/>
                </a:lnTo>
                <a:lnTo>
                  <a:pt x="142" y="188"/>
                </a:lnTo>
                <a:lnTo>
                  <a:pt x="142" y="188"/>
                </a:lnTo>
                <a:lnTo>
                  <a:pt x="142" y="190"/>
                </a:lnTo>
                <a:lnTo>
                  <a:pt x="142" y="192"/>
                </a:lnTo>
                <a:lnTo>
                  <a:pt x="142" y="192"/>
                </a:lnTo>
                <a:lnTo>
                  <a:pt x="140" y="194"/>
                </a:lnTo>
                <a:lnTo>
                  <a:pt x="140" y="194"/>
                </a:lnTo>
                <a:lnTo>
                  <a:pt x="138" y="198"/>
                </a:lnTo>
                <a:lnTo>
                  <a:pt x="138" y="202"/>
                </a:lnTo>
                <a:lnTo>
                  <a:pt x="142" y="204"/>
                </a:lnTo>
                <a:lnTo>
                  <a:pt x="142" y="204"/>
                </a:lnTo>
                <a:lnTo>
                  <a:pt x="150" y="190"/>
                </a:lnTo>
                <a:lnTo>
                  <a:pt x="150" y="190"/>
                </a:lnTo>
                <a:lnTo>
                  <a:pt x="150" y="188"/>
                </a:lnTo>
                <a:lnTo>
                  <a:pt x="150" y="188"/>
                </a:lnTo>
                <a:lnTo>
                  <a:pt x="144" y="186"/>
                </a:lnTo>
                <a:lnTo>
                  <a:pt x="144" y="186"/>
                </a:lnTo>
                <a:lnTo>
                  <a:pt x="148" y="184"/>
                </a:lnTo>
                <a:lnTo>
                  <a:pt x="148" y="184"/>
                </a:lnTo>
                <a:lnTo>
                  <a:pt x="146" y="172"/>
                </a:lnTo>
                <a:lnTo>
                  <a:pt x="146" y="172"/>
                </a:lnTo>
                <a:lnTo>
                  <a:pt x="148" y="166"/>
                </a:lnTo>
                <a:lnTo>
                  <a:pt x="150" y="158"/>
                </a:lnTo>
                <a:lnTo>
                  <a:pt x="150" y="158"/>
                </a:lnTo>
                <a:lnTo>
                  <a:pt x="150" y="148"/>
                </a:lnTo>
                <a:lnTo>
                  <a:pt x="150" y="136"/>
                </a:lnTo>
                <a:lnTo>
                  <a:pt x="150" y="136"/>
                </a:lnTo>
                <a:lnTo>
                  <a:pt x="156" y="136"/>
                </a:lnTo>
                <a:lnTo>
                  <a:pt x="156" y="136"/>
                </a:lnTo>
                <a:lnTo>
                  <a:pt x="156" y="132"/>
                </a:lnTo>
                <a:lnTo>
                  <a:pt x="156" y="130"/>
                </a:lnTo>
                <a:lnTo>
                  <a:pt x="156" y="130"/>
                </a:lnTo>
                <a:lnTo>
                  <a:pt x="160" y="130"/>
                </a:lnTo>
                <a:lnTo>
                  <a:pt x="160" y="130"/>
                </a:lnTo>
                <a:lnTo>
                  <a:pt x="160" y="126"/>
                </a:lnTo>
                <a:lnTo>
                  <a:pt x="160" y="126"/>
                </a:lnTo>
                <a:lnTo>
                  <a:pt x="164" y="120"/>
                </a:lnTo>
                <a:lnTo>
                  <a:pt x="164" y="120"/>
                </a:lnTo>
                <a:lnTo>
                  <a:pt x="162" y="104"/>
                </a:lnTo>
                <a:lnTo>
                  <a:pt x="160" y="102"/>
                </a:lnTo>
                <a:lnTo>
                  <a:pt x="160" y="102"/>
                </a:lnTo>
                <a:lnTo>
                  <a:pt x="158" y="96"/>
                </a:lnTo>
                <a:lnTo>
                  <a:pt x="158" y="92"/>
                </a:lnTo>
                <a:lnTo>
                  <a:pt x="156" y="90"/>
                </a:lnTo>
                <a:lnTo>
                  <a:pt x="156" y="90"/>
                </a:lnTo>
                <a:lnTo>
                  <a:pt x="148" y="88"/>
                </a:lnTo>
                <a:lnTo>
                  <a:pt x="148" y="88"/>
                </a:lnTo>
                <a:lnTo>
                  <a:pt x="148" y="86"/>
                </a:lnTo>
                <a:lnTo>
                  <a:pt x="148" y="86"/>
                </a:lnTo>
                <a:lnTo>
                  <a:pt x="148" y="86"/>
                </a:lnTo>
                <a:lnTo>
                  <a:pt x="146" y="84"/>
                </a:lnTo>
                <a:lnTo>
                  <a:pt x="146" y="84"/>
                </a:lnTo>
                <a:close/>
                <a:moveTo>
                  <a:pt x="162" y="0"/>
                </a:moveTo>
                <a:lnTo>
                  <a:pt x="162" y="0"/>
                </a:lnTo>
                <a:lnTo>
                  <a:pt x="158" y="4"/>
                </a:lnTo>
                <a:lnTo>
                  <a:pt x="158" y="6"/>
                </a:lnTo>
                <a:lnTo>
                  <a:pt x="158" y="10"/>
                </a:lnTo>
                <a:lnTo>
                  <a:pt x="160" y="14"/>
                </a:lnTo>
                <a:lnTo>
                  <a:pt x="160" y="14"/>
                </a:lnTo>
                <a:lnTo>
                  <a:pt x="164" y="16"/>
                </a:lnTo>
                <a:lnTo>
                  <a:pt x="164" y="16"/>
                </a:lnTo>
                <a:lnTo>
                  <a:pt x="162" y="20"/>
                </a:lnTo>
                <a:lnTo>
                  <a:pt x="160" y="24"/>
                </a:lnTo>
                <a:lnTo>
                  <a:pt x="160" y="24"/>
                </a:lnTo>
                <a:lnTo>
                  <a:pt x="160" y="32"/>
                </a:lnTo>
                <a:lnTo>
                  <a:pt x="160" y="32"/>
                </a:lnTo>
                <a:lnTo>
                  <a:pt x="158" y="34"/>
                </a:lnTo>
                <a:lnTo>
                  <a:pt x="156" y="36"/>
                </a:lnTo>
                <a:lnTo>
                  <a:pt x="156" y="36"/>
                </a:lnTo>
                <a:lnTo>
                  <a:pt x="156" y="40"/>
                </a:lnTo>
                <a:lnTo>
                  <a:pt x="158" y="46"/>
                </a:lnTo>
                <a:lnTo>
                  <a:pt x="158" y="48"/>
                </a:lnTo>
                <a:lnTo>
                  <a:pt x="156" y="48"/>
                </a:lnTo>
                <a:lnTo>
                  <a:pt x="150" y="48"/>
                </a:lnTo>
                <a:lnTo>
                  <a:pt x="150" y="48"/>
                </a:lnTo>
                <a:lnTo>
                  <a:pt x="148" y="46"/>
                </a:lnTo>
                <a:lnTo>
                  <a:pt x="144" y="44"/>
                </a:lnTo>
                <a:lnTo>
                  <a:pt x="144" y="44"/>
                </a:lnTo>
                <a:lnTo>
                  <a:pt x="142" y="46"/>
                </a:lnTo>
                <a:lnTo>
                  <a:pt x="144" y="48"/>
                </a:lnTo>
                <a:lnTo>
                  <a:pt x="144" y="48"/>
                </a:lnTo>
                <a:lnTo>
                  <a:pt x="142" y="52"/>
                </a:lnTo>
                <a:lnTo>
                  <a:pt x="136" y="56"/>
                </a:lnTo>
                <a:lnTo>
                  <a:pt x="136" y="56"/>
                </a:lnTo>
                <a:lnTo>
                  <a:pt x="136" y="62"/>
                </a:lnTo>
                <a:lnTo>
                  <a:pt x="136" y="62"/>
                </a:lnTo>
                <a:lnTo>
                  <a:pt x="140" y="66"/>
                </a:lnTo>
                <a:lnTo>
                  <a:pt x="140" y="66"/>
                </a:lnTo>
                <a:lnTo>
                  <a:pt x="140" y="76"/>
                </a:lnTo>
                <a:lnTo>
                  <a:pt x="140" y="76"/>
                </a:lnTo>
                <a:lnTo>
                  <a:pt x="142" y="76"/>
                </a:lnTo>
                <a:lnTo>
                  <a:pt x="144" y="76"/>
                </a:lnTo>
                <a:lnTo>
                  <a:pt x="144" y="76"/>
                </a:lnTo>
                <a:lnTo>
                  <a:pt x="148" y="72"/>
                </a:lnTo>
                <a:lnTo>
                  <a:pt x="148" y="72"/>
                </a:lnTo>
                <a:lnTo>
                  <a:pt x="156" y="72"/>
                </a:lnTo>
                <a:lnTo>
                  <a:pt x="156" y="72"/>
                </a:lnTo>
                <a:lnTo>
                  <a:pt x="146" y="66"/>
                </a:lnTo>
                <a:lnTo>
                  <a:pt x="146" y="66"/>
                </a:lnTo>
                <a:lnTo>
                  <a:pt x="146" y="60"/>
                </a:lnTo>
                <a:lnTo>
                  <a:pt x="146" y="60"/>
                </a:lnTo>
                <a:lnTo>
                  <a:pt x="148" y="58"/>
                </a:lnTo>
                <a:lnTo>
                  <a:pt x="152" y="58"/>
                </a:lnTo>
                <a:lnTo>
                  <a:pt x="152" y="58"/>
                </a:lnTo>
                <a:lnTo>
                  <a:pt x="154" y="60"/>
                </a:lnTo>
                <a:lnTo>
                  <a:pt x="156" y="60"/>
                </a:lnTo>
                <a:lnTo>
                  <a:pt x="156" y="60"/>
                </a:lnTo>
                <a:lnTo>
                  <a:pt x="158" y="58"/>
                </a:lnTo>
                <a:lnTo>
                  <a:pt x="158" y="58"/>
                </a:lnTo>
                <a:lnTo>
                  <a:pt x="160" y="58"/>
                </a:lnTo>
                <a:lnTo>
                  <a:pt x="162" y="58"/>
                </a:lnTo>
                <a:lnTo>
                  <a:pt x="164" y="58"/>
                </a:lnTo>
                <a:lnTo>
                  <a:pt x="164" y="58"/>
                </a:lnTo>
                <a:lnTo>
                  <a:pt x="166" y="62"/>
                </a:lnTo>
                <a:lnTo>
                  <a:pt x="166" y="62"/>
                </a:lnTo>
                <a:lnTo>
                  <a:pt x="166" y="66"/>
                </a:lnTo>
                <a:lnTo>
                  <a:pt x="166" y="66"/>
                </a:lnTo>
                <a:lnTo>
                  <a:pt x="182" y="66"/>
                </a:lnTo>
                <a:lnTo>
                  <a:pt x="182" y="66"/>
                </a:lnTo>
                <a:lnTo>
                  <a:pt x="186" y="54"/>
                </a:lnTo>
                <a:lnTo>
                  <a:pt x="192" y="52"/>
                </a:lnTo>
                <a:lnTo>
                  <a:pt x="198" y="50"/>
                </a:lnTo>
                <a:lnTo>
                  <a:pt x="198" y="50"/>
                </a:lnTo>
                <a:lnTo>
                  <a:pt x="200" y="54"/>
                </a:lnTo>
                <a:lnTo>
                  <a:pt x="200" y="54"/>
                </a:lnTo>
                <a:lnTo>
                  <a:pt x="202" y="52"/>
                </a:lnTo>
                <a:lnTo>
                  <a:pt x="202" y="50"/>
                </a:lnTo>
                <a:lnTo>
                  <a:pt x="202" y="50"/>
                </a:lnTo>
                <a:lnTo>
                  <a:pt x="210" y="50"/>
                </a:lnTo>
                <a:lnTo>
                  <a:pt x="210" y="50"/>
                </a:lnTo>
                <a:lnTo>
                  <a:pt x="214" y="48"/>
                </a:lnTo>
                <a:lnTo>
                  <a:pt x="214" y="46"/>
                </a:lnTo>
                <a:lnTo>
                  <a:pt x="212" y="44"/>
                </a:lnTo>
                <a:lnTo>
                  <a:pt x="212" y="44"/>
                </a:lnTo>
                <a:lnTo>
                  <a:pt x="212" y="42"/>
                </a:lnTo>
                <a:lnTo>
                  <a:pt x="212" y="42"/>
                </a:lnTo>
                <a:lnTo>
                  <a:pt x="208" y="42"/>
                </a:lnTo>
                <a:lnTo>
                  <a:pt x="208" y="40"/>
                </a:lnTo>
                <a:lnTo>
                  <a:pt x="210" y="34"/>
                </a:lnTo>
                <a:lnTo>
                  <a:pt x="210" y="34"/>
                </a:lnTo>
                <a:lnTo>
                  <a:pt x="202" y="34"/>
                </a:lnTo>
                <a:lnTo>
                  <a:pt x="200" y="32"/>
                </a:lnTo>
                <a:lnTo>
                  <a:pt x="196" y="28"/>
                </a:lnTo>
                <a:lnTo>
                  <a:pt x="196" y="28"/>
                </a:lnTo>
                <a:lnTo>
                  <a:pt x="190" y="30"/>
                </a:lnTo>
                <a:lnTo>
                  <a:pt x="184" y="30"/>
                </a:lnTo>
                <a:lnTo>
                  <a:pt x="182" y="30"/>
                </a:lnTo>
                <a:lnTo>
                  <a:pt x="182" y="30"/>
                </a:lnTo>
                <a:lnTo>
                  <a:pt x="178" y="22"/>
                </a:lnTo>
                <a:lnTo>
                  <a:pt x="174" y="12"/>
                </a:lnTo>
                <a:lnTo>
                  <a:pt x="174" y="12"/>
                </a:lnTo>
                <a:lnTo>
                  <a:pt x="168" y="10"/>
                </a:lnTo>
                <a:lnTo>
                  <a:pt x="168" y="10"/>
                </a:lnTo>
                <a:lnTo>
                  <a:pt x="166" y="4"/>
                </a:lnTo>
                <a:lnTo>
                  <a:pt x="166" y="4"/>
                </a:lnTo>
                <a:lnTo>
                  <a:pt x="162" y="0"/>
                </a:lnTo>
                <a:lnTo>
                  <a:pt x="16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6" name="Freeform 160">
            <a:extLst>
              <a:ext uri="{FF2B5EF4-FFF2-40B4-BE49-F238E27FC236}">
                <a16:creationId xmlns:a16="http://schemas.microsoft.com/office/drawing/2014/main" id="{E72A8D1E-99F7-4981-8595-80E8FF6F4CDA}"/>
              </a:ext>
            </a:extLst>
          </p:cNvPr>
          <p:cNvSpPr>
            <a:spLocks/>
          </p:cNvSpPr>
          <p:nvPr userDrawn="1"/>
        </p:nvSpPr>
        <p:spPr bwMode="auto">
          <a:xfrm>
            <a:off x="4094928" y="3141828"/>
            <a:ext cx="50311" cy="27456"/>
          </a:xfrm>
          <a:custGeom>
            <a:avLst/>
            <a:gdLst>
              <a:gd name="T0" fmla="*/ 8 w 30"/>
              <a:gd name="T1" fmla="*/ 0 h 16"/>
              <a:gd name="T2" fmla="*/ 8 w 30"/>
              <a:gd name="T3" fmla="*/ 0 h 16"/>
              <a:gd name="T4" fmla="*/ 4 w 30"/>
              <a:gd name="T5" fmla="*/ 2 h 16"/>
              <a:gd name="T6" fmla="*/ 0 w 30"/>
              <a:gd name="T7" fmla="*/ 4 h 16"/>
              <a:gd name="T8" fmla="*/ 0 w 30"/>
              <a:gd name="T9" fmla="*/ 4 h 16"/>
              <a:gd name="T10" fmla="*/ 2 w 30"/>
              <a:gd name="T11" fmla="*/ 6 h 16"/>
              <a:gd name="T12" fmla="*/ 2 w 30"/>
              <a:gd name="T13" fmla="*/ 6 h 16"/>
              <a:gd name="T14" fmla="*/ 6 w 30"/>
              <a:gd name="T15" fmla="*/ 6 h 16"/>
              <a:gd name="T16" fmla="*/ 6 w 30"/>
              <a:gd name="T17" fmla="*/ 6 h 16"/>
              <a:gd name="T18" fmla="*/ 6 w 30"/>
              <a:gd name="T19" fmla="*/ 8 h 16"/>
              <a:gd name="T20" fmla="*/ 8 w 30"/>
              <a:gd name="T21" fmla="*/ 10 h 16"/>
              <a:gd name="T22" fmla="*/ 8 w 30"/>
              <a:gd name="T23" fmla="*/ 10 h 16"/>
              <a:gd name="T24" fmla="*/ 14 w 30"/>
              <a:gd name="T25" fmla="*/ 14 h 16"/>
              <a:gd name="T26" fmla="*/ 22 w 30"/>
              <a:gd name="T27" fmla="*/ 16 h 16"/>
              <a:gd name="T28" fmla="*/ 22 w 30"/>
              <a:gd name="T29" fmla="*/ 16 h 16"/>
              <a:gd name="T30" fmla="*/ 22 w 30"/>
              <a:gd name="T31" fmla="*/ 12 h 16"/>
              <a:gd name="T32" fmla="*/ 22 w 30"/>
              <a:gd name="T33" fmla="*/ 12 h 16"/>
              <a:gd name="T34" fmla="*/ 30 w 30"/>
              <a:gd name="T35" fmla="*/ 12 h 16"/>
              <a:gd name="T36" fmla="*/ 30 w 30"/>
              <a:gd name="T37" fmla="*/ 12 h 16"/>
              <a:gd name="T38" fmla="*/ 30 w 30"/>
              <a:gd name="T39" fmla="*/ 8 h 16"/>
              <a:gd name="T40" fmla="*/ 30 w 30"/>
              <a:gd name="T41" fmla="*/ 8 h 16"/>
              <a:gd name="T42" fmla="*/ 24 w 30"/>
              <a:gd name="T43" fmla="*/ 2 h 16"/>
              <a:gd name="T44" fmla="*/ 24 w 30"/>
              <a:gd name="T45" fmla="*/ 2 h 16"/>
              <a:gd name="T46" fmla="*/ 20 w 30"/>
              <a:gd name="T47" fmla="*/ 2 h 16"/>
              <a:gd name="T48" fmla="*/ 14 w 30"/>
              <a:gd name="T49" fmla="*/ 2 h 16"/>
              <a:gd name="T50" fmla="*/ 14 w 30"/>
              <a:gd name="T51" fmla="*/ 2 h 16"/>
              <a:gd name="T52" fmla="*/ 14 w 30"/>
              <a:gd name="T53" fmla="*/ 2 h 16"/>
              <a:gd name="T54" fmla="*/ 8 w 30"/>
              <a:gd name="T55" fmla="*/ 0 h 16"/>
              <a:gd name="T56" fmla="*/ 8 w 30"/>
              <a:gd name="T5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16">
                <a:moveTo>
                  <a:pt x="8" y="0"/>
                </a:moveTo>
                <a:lnTo>
                  <a:pt x="8" y="0"/>
                </a:lnTo>
                <a:lnTo>
                  <a:pt x="4" y="2"/>
                </a:lnTo>
                <a:lnTo>
                  <a:pt x="0" y="4"/>
                </a:lnTo>
                <a:lnTo>
                  <a:pt x="0" y="4"/>
                </a:lnTo>
                <a:lnTo>
                  <a:pt x="2" y="6"/>
                </a:lnTo>
                <a:lnTo>
                  <a:pt x="2" y="6"/>
                </a:lnTo>
                <a:lnTo>
                  <a:pt x="6" y="6"/>
                </a:lnTo>
                <a:lnTo>
                  <a:pt x="6" y="6"/>
                </a:lnTo>
                <a:lnTo>
                  <a:pt x="6" y="8"/>
                </a:lnTo>
                <a:lnTo>
                  <a:pt x="8" y="10"/>
                </a:lnTo>
                <a:lnTo>
                  <a:pt x="8" y="10"/>
                </a:lnTo>
                <a:lnTo>
                  <a:pt x="14" y="14"/>
                </a:lnTo>
                <a:lnTo>
                  <a:pt x="22" y="16"/>
                </a:lnTo>
                <a:lnTo>
                  <a:pt x="22" y="16"/>
                </a:lnTo>
                <a:lnTo>
                  <a:pt x="22" y="12"/>
                </a:lnTo>
                <a:lnTo>
                  <a:pt x="22" y="12"/>
                </a:lnTo>
                <a:lnTo>
                  <a:pt x="30" y="12"/>
                </a:lnTo>
                <a:lnTo>
                  <a:pt x="30" y="12"/>
                </a:lnTo>
                <a:lnTo>
                  <a:pt x="30" y="8"/>
                </a:lnTo>
                <a:lnTo>
                  <a:pt x="30" y="8"/>
                </a:lnTo>
                <a:lnTo>
                  <a:pt x="24" y="2"/>
                </a:lnTo>
                <a:lnTo>
                  <a:pt x="24" y="2"/>
                </a:lnTo>
                <a:lnTo>
                  <a:pt x="20" y="2"/>
                </a:lnTo>
                <a:lnTo>
                  <a:pt x="14" y="2"/>
                </a:lnTo>
                <a:lnTo>
                  <a:pt x="14" y="2"/>
                </a:lnTo>
                <a:lnTo>
                  <a:pt x="14" y="2"/>
                </a:lnTo>
                <a:lnTo>
                  <a:pt x="8" y="0"/>
                </a:lnTo>
                <a:lnTo>
                  <a:pt x="8"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7" name="Freeform 161">
            <a:extLst>
              <a:ext uri="{FF2B5EF4-FFF2-40B4-BE49-F238E27FC236}">
                <a16:creationId xmlns:a16="http://schemas.microsoft.com/office/drawing/2014/main" id="{1680E49F-44BA-48FA-9E8D-514303F31807}"/>
              </a:ext>
            </a:extLst>
          </p:cNvPr>
          <p:cNvSpPr>
            <a:spLocks/>
          </p:cNvSpPr>
          <p:nvPr userDrawn="1"/>
        </p:nvSpPr>
        <p:spPr bwMode="auto">
          <a:xfrm>
            <a:off x="5651217" y="3378634"/>
            <a:ext cx="147579" cy="185327"/>
          </a:xfrm>
          <a:custGeom>
            <a:avLst/>
            <a:gdLst>
              <a:gd name="T0" fmla="*/ 18 w 88"/>
              <a:gd name="T1" fmla="*/ 108 h 108"/>
              <a:gd name="T2" fmla="*/ 36 w 88"/>
              <a:gd name="T3" fmla="*/ 100 h 108"/>
              <a:gd name="T4" fmla="*/ 40 w 88"/>
              <a:gd name="T5" fmla="*/ 94 h 108"/>
              <a:gd name="T6" fmla="*/ 50 w 88"/>
              <a:gd name="T7" fmla="*/ 94 h 108"/>
              <a:gd name="T8" fmla="*/ 60 w 88"/>
              <a:gd name="T9" fmla="*/ 94 h 108"/>
              <a:gd name="T10" fmla="*/ 70 w 88"/>
              <a:gd name="T11" fmla="*/ 100 h 108"/>
              <a:gd name="T12" fmla="*/ 74 w 88"/>
              <a:gd name="T13" fmla="*/ 92 h 108"/>
              <a:gd name="T14" fmla="*/ 74 w 88"/>
              <a:gd name="T15" fmla="*/ 88 h 108"/>
              <a:gd name="T16" fmla="*/ 72 w 88"/>
              <a:gd name="T17" fmla="*/ 76 h 108"/>
              <a:gd name="T18" fmla="*/ 74 w 88"/>
              <a:gd name="T19" fmla="*/ 66 h 108"/>
              <a:gd name="T20" fmla="*/ 78 w 88"/>
              <a:gd name="T21" fmla="*/ 56 h 108"/>
              <a:gd name="T22" fmla="*/ 82 w 88"/>
              <a:gd name="T23" fmla="*/ 46 h 108"/>
              <a:gd name="T24" fmla="*/ 86 w 88"/>
              <a:gd name="T25" fmla="*/ 38 h 108"/>
              <a:gd name="T26" fmla="*/ 88 w 88"/>
              <a:gd name="T27" fmla="*/ 26 h 108"/>
              <a:gd name="T28" fmla="*/ 86 w 88"/>
              <a:gd name="T29" fmla="*/ 20 h 108"/>
              <a:gd name="T30" fmla="*/ 84 w 88"/>
              <a:gd name="T31" fmla="*/ 18 h 108"/>
              <a:gd name="T32" fmla="*/ 84 w 88"/>
              <a:gd name="T33" fmla="*/ 12 h 108"/>
              <a:gd name="T34" fmla="*/ 84 w 88"/>
              <a:gd name="T35" fmla="*/ 8 h 108"/>
              <a:gd name="T36" fmla="*/ 74 w 88"/>
              <a:gd name="T37" fmla="*/ 10 h 108"/>
              <a:gd name="T38" fmla="*/ 72 w 88"/>
              <a:gd name="T39" fmla="*/ 6 h 108"/>
              <a:gd name="T40" fmla="*/ 66 w 88"/>
              <a:gd name="T41" fmla="*/ 2 h 108"/>
              <a:gd name="T42" fmla="*/ 56 w 88"/>
              <a:gd name="T43" fmla="*/ 4 h 108"/>
              <a:gd name="T44" fmla="*/ 44 w 88"/>
              <a:gd name="T45" fmla="*/ 0 h 108"/>
              <a:gd name="T46" fmla="*/ 42 w 88"/>
              <a:gd name="T47" fmla="*/ 4 h 108"/>
              <a:gd name="T48" fmla="*/ 40 w 88"/>
              <a:gd name="T49" fmla="*/ 8 h 108"/>
              <a:gd name="T50" fmla="*/ 38 w 88"/>
              <a:gd name="T51" fmla="*/ 10 h 108"/>
              <a:gd name="T52" fmla="*/ 34 w 88"/>
              <a:gd name="T53" fmla="*/ 8 h 108"/>
              <a:gd name="T54" fmla="*/ 30 w 88"/>
              <a:gd name="T55" fmla="*/ 8 h 108"/>
              <a:gd name="T56" fmla="*/ 28 w 88"/>
              <a:gd name="T57" fmla="*/ 16 h 108"/>
              <a:gd name="T58" fmla="*/ 26 w 88"/>
              <a:gd name="T59" fmla="*/ 12 h 108"/>
              <a:gd name="T60" fmla="*/ 24 w 88"/>
              <a:gd name="T61" fmla="*/ 14 h 108"/>
              <a:gd name="T62" fmla="*/ 18 w 88"/>
              <a:gd name="T63" fmla="*/ 18 h 108"/>
              <a:gd name="T64" fmla="*/ 16 w 88"/>
              <a:gd name="T65" fmla="*/ 22 h 108"/>
              <a:gd name="T66" fmla="*/ 14 w 88"/>
              <a:gd name="T67" fmla="*/ 26 h 108"/>
              <a:gd name="T68" fmla="*/ 18 w 88"/>
              <a:gd name="T69" fmla="*/ 30 h 108"/>
              <a:gd name="T70" fmla="*/ 18 w 88"/>
              <a:gd name="T71" fmla="*/ 34 h 108"/>
              <a:gd name="T72" fmla="*/ 16 w 88"/>
              <a:gd name="T73" fmla="*/ 36 h 108"/>
              <a:gd name="T74" fmla="*/ 10 w 88"/>
              <a:gd name="T75" fmla="*/ 38 h 108"/>
              <a:gd name="T76" fmla="*/ 10 w 88"/>
              <a:gd name="T77" fmla="*/ 40 h 108"/>
              <a:gd name="T78" fmla="*/ 6 w 88"/>
              <a:gd name="T79" fmla="*/ 48 h 108"/>
              <a:gd name="T80" fmla="*/ 8 w 88"/>
              <a:gd name="T81" fmla="*/ 52 h 108"/>
              <a:gd name="T82" fmla="*/ 8 w 88"/>
              <a:gd name="T83" fmla="*/ 58 h 108"/>
              <a:gd name="T84" fmla="*/ 4 w 88"/>
              <a:gd name="T85" fmla="*/ 64 h 108"/>
              <a:gd name="T86" fmla="*/ 0 w 88"/>
              <a:gd name="T87" fmla="*/ 68 h 108"/>
              <a:gd name="T88" fmla="*/ 10 w 88"/>
              <a:gd name="T89" fmla="*/ 70 h 108"/>
              <a:gd name="T90" fmla="*/ 14 w 88"/>
              <a:gd name="T91" fmla="*/ 78 h 108"/>
              <a:gd name="T92" fmla="*/ 16 w 88"/>
              <a:gd name="T93" fmla="*/ 84 h 108"/>
              <a:gd name="T94" fmla="*/ 20 w 88"/>
              <a:gd name="T95" fmla="*/ 86 h 108"/>
              <a:gd name="T96" fmla="*/ 22 w 88"/>
              <a:gd name="T97" fmla="*/ 86 h 108"/>
              <a:gd name="T98" fmla="*/ 20 w 88"/>
              <a:gd name="T99" fmla="*/ 90 h 108"/>
              <a:gd name="T100" fmla="*/ 18 w 88"/>
              <a:gd name="T101" fmla="*/ 98 h 108"/>
              <a:gd name="T102" fmla="*/ 16 w 88"/>
              <a:gd name="T103" fmla="*/ 100 h 108"/>
              <a:gd name="T104" fmla="*/ 18 w 88"/>
              <a:gd name="T105" fmla="*/ 104 h 108"/>
              <a:gd name="T106" fmla="*/ 16 w 88"/>
              <a:gd name="T10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108">
                <a:moveTo>
                  <a:pt x="18" y="108"/>
                </a:moveTo>
                <a:lnTo>
                  <a:pt x="18" y="108"/>
                </a:lnTo>
                <a:lnTo>
                  <a:pt x="28" y="104"/>
                </a:lnTo>
                <a:lnTo>
                  <a:pt x="36" y="100"/>
                </a:lnTo>
                <a:lnTo>
                  <a:pt x="36" y="100"/>
                </a:lnTo>
                <a:lnTo>
                  <a:pt x="40" y="94"/>
                </a:lnTo>
                <a:lnTo>
                  <a:pt x="40" y="94"/>
                </a:lnTo>
                <a:lnTo>
                  <a:pt x="50" y="94"/>
                </a:lnTo>
                <a:lnTo>
                  <a:pt x="60" y="94"/>
                </a:lnTo>
                <a:lnTo>
                  <a:pt x="60" y="94"/>
                </a:lnTo>
                <a:lnTo>
                  <a:pt x="66" y="96"/>
                </a:lnTo>
                <a:lnTo>
                  <a:pt x="70" y="100"/>
                </a:lnTo>
                <a:lnTo>
                  <a:pt x="70" y="100"/>
                </a:lnTo>
                <a:lnTo>
                  <a:pt x="74" y="92"/>
                </a:lnTo>
                <a:lnTo>
                  <a:pt x="74" y="92"/>
                </a:lnTo>
                <a:lnTo>
                  <a:pt x="74" y="88"/>
                </a:lnTo>
                <a:lnTo>
                  <a:pt x="72" y="86"/>
                </a:lnTo>
                <a:lnTo>
                  <a:pt x="72" y="76"/>
                </a:lnTo>
                <a:lnTo>
                  <a:pt x="74" y="66"/>
                </a:lnTo>
                <a:lnTo>
                  <a:pt x="74" y="66"/>
                </a:lnTo>
                <a:lnTo>
                  <a:pt x="78" y="56"/>
                </a:lnTo>
                <a:lnTo>
                  <a:pt x="78" y="56"/>
                </a:lnTo>
                <a:lnTo>
                  <a:pt x="82" y="46"/>
                </a:lnTo>
                <a:lnTo>
                  <a:pt x="82" y="46"/>
                </a:lnTo>
                <a:lnTo>
                  <a:pt x="84" y="40"/>
                </a:lnTo>
                <a:lnTo>
                  <a:pt x="86" y="38"/>
                </a:lnTo>
                <a:lnTo>
                  <a:pt x="86" y="38"/>
                </a:lnTo>
                <a:lnTo>
                  <a:pt x="88" y="26"/>
                </a:lnTo>
                <a:lnTo>
                  <a:pt x="88" y="26"/>
                </a:lnTo>
                <a:lnTo>
                  <a:pt x="86" y="20"/>
                </a:lnTo>
                <a:lnTo>
                  <a:pt x="84" y="20"/>
                </a:lnTo>
                <a:lnTo>
                  <a:pt x="84" y="18"/>
                </a:lnTo>
                <a:lnTo>
                  <a:pt x="84" y="18"/>
                </a:lnTo>
                <a:lnTo>
                  <a:pt x="84" y="12"/>
                </a:lnTo>
                <a:lnTo>
                  <a:pt x="84" y="8"/>
                </a:lnTo>
                <a:lnTo>
                  <a:pt x="84" y="8"/>
                </a:lnTo>
                <a:lnTo>
                  <a:pt x="74" y="10"/>
                </a:lnTo>
                <a:lnTo>
                  <a:pt x="74" y="10"/>
                </a:lnTo>
                <a:lnTo>
                  <a:pt x="72" y="8"/>
                </a:lnTo>
                <a:lnTo>
                  <a:pt x="72" y="6"/>
                </a:lnTo>
                <a:lnTo>
                  <a:pt x="72" y="2"/>
                </a:lnTo>
                <a:lnTo>
                  <a:pt x="66" y="2"/>
                </a:lnTo>
                <a:lnTo>
                  <a:pt x="62" y="6"/>
                </a:lnTo>
                <a:lnTo>
                  <a:pt x="56" y="4"/>
                </a:lnTo>
                <a:lnTo>
                  <a:pt x="56" y="0"/>
                </a:lnTo>
                <a:lnTo>
                  <a:pt x="44" y="0"/>
                </a:lnTo>
                <a:lnTo>
                  <a:pt x="42" y="4"/>
                </a:lnTo>
                <a:lnTo>
                  <a:pt x="42" y="4"/>
                </a:lnTo>
                <a:lnTo>
                  <a:pt x="42" y="6"/>
                </a:lnTo>
                <a:lnTo>
                  <a:pt x="40" y="8"/>
                </a:lnTo>
                <a:lnTo>
                  <a:pt x="38" y="10"/>
                </a:lnTo>
                <a:lnTo>
                  <a:pt x="38" y="10"/>
                </a:lnTo>
                <a:lnTo>
                  <a:pt x="36" y="10"/>
                </a:lnTo>
                <a:lnTo>
                  <a:pt x="34" y="8"/>
                </a:lnTo>
                <a:lnTo>
                  <a:pt x="32" y="6"/>
                </a:lnTo>
                <a:lnTo>
                  <a:pt x="30" y="8"/>
                </a:lnTo>
                <a:lnTo>
                  <a:pt x="28" y="16"/>
                </a:lnTo>
                <a:lnTo>
                  <a:pt x="28" y="16"/>
                </a:lnTo>
                <a:lnTo>
                  <a:pt x="28" y="14"/>
                </a:lnTo>
                <a:lnTo>
                  <a:pt x="26" y="12"/>
                </a:lnTo>
                <a:lnTo>
                  <a:pt x="24" y="14"/>
                </a:lnTo>
                <a:lnTo>
                  <a:pt x="24" y="14"/>
                </a:lnTo>
                <a:lnTo>
                  <a:pt x="20" y="16"/>
                </a:lnTo>
                <a:lnTo>
                  <a:pt x="18" y="18"/>
                </a:lnTo>
                <a:lnTo>
                  <a:pt x="18" y="18"/>
                </a:lnTo>
                <a:lnTo>
                  <a:pt x="16" y="22"/>
                </a:lnTo>
                <a:lnTo>
                  <a:pt x="14" y="24"/>
                </a:lnTo>
                <a:lnTo>
                  <a:pt x="14" y="26"/>
                </a:lnTo>
                <a:lnTo>
                  <a:pt x="14" y="26"/>
                </a:lnTo>
                <a:lnTo>
                  <a:pt x="18" y="30"/>
                </a:lnTo>
                <a:lnTo>
                  <a:pt x="18" y="32"/>
                </a:lnTo>
                <a:lnTo>
                  <a:pt x="18" y="34"/>
                </a:lnTo>
                <a:lnTo>
                  <a:pt x="18" y="34"/>
                </a:lnTo>
                <a:lnTo>
                  <a:pt x="16" y="36"/>
                </a:lnTo>
                <a:lnTo>
                  <a:pt x="12" y="38"/>
                </a:lnTo>
                <a:lnTo>
                  <a:pt x="10" y="38"/>
                </a:lnTo>
                <a:lnTo>
                  <a:pt x="10" y="40"/>
                </a:lnTo>
                <a:lnTo>
                  <a:pt x="10" y="40"/>
                </a:lnTo>
                <a:lnTo>
                  <a:pt x="10" y="44"/>
                </a:lnTo>
                <a:lnTo>
                  <a:pt x="6" y="48"/>
                </a:lnTo>
                <a:lnTo>
                  <a:pt x="6" y="48"/>
                </a:lnTo>
                <a:lnTo>
                  <a:pt x="8" y="52"/>
                </a:lnTo>
                <a:lnTo>
                  <a:pt x="8" y="54"/>
                </a:lnTo>
                <a:lnTo>
                  <a:pt x="8" y="58"/>
                </a:lnTo>
                <a:lnTo>
                  <a:pt x="8" y="58"/>
                </a:lnTo>
                <a:lnTo>
                  <a:pt x="4" y="64"/>
                </a:lnTo>
                <a:lnTo>
                  <a:pt x="0" y="68"/>
                </a:lnTo>
                <a:lnTo>
                  <a:pt x="0" y="68"/>
                </a:lnTo>
                <a:lnTo>
                  <a:pt x="10" y="70"/>
                </a:lnTo>
                <a:lnTo>
                  <a:pt x="10" y="70"/>
                </a:lnTo>
                <a:lnTo>
                  <a:pt x="12" y="74"/>
                </a:lnTo>
                <a:lnTo>
                  <a:pt x="14" y="78"/>
                </a:lnTo>
                <a:lnTo>
                  <a:pt x="14" y="78"/>
                </a:lnTo>
                <a:lnTo>
                  <a:pt x="16" y="84"/>
                </a:lnTo>
                <a:lnTo>
                  <a:pt x="18" y="86"/>
                </a:lnTo>
                <a:lnTo>
                  <a:pt x="20" y="86"/>
                </a:lnTo>
                <a:lnTo>
                  <a:pt x="20" y="86"/>
                </a:lnTo>
                <a:lnTo>
                  <a:pt x="22" y="86"/>
                </a:lnTo>
                <a:lnTo>
                  <a:pt x="20" y="90"/>
                </a:lnTo>
                <a:lnTo>
                  <a:pt x="20" y="90"/>
                </a:lnTo>
                <a:lnTo>
                  <a:pt x="20" y="94"/>
                </a:lnTo>
                <a:lnTo>
                  <a:pt x="18" y="98"/>
                </a:lnTo>
                <a:lnTo>
                  <a:pt x="18" y="98"/>
                </a:lnTo>
                <a:lnTo>
                  <a:pt x="16" y="100"/>
                </a:lnTo>
                <a:lnTo>
                  <a:pt x="16" y="100"/>
                </a:lnTo>
                <a:lnTo>
                  <a:pt x="18" y="104"/>
                </a:lnTo>
                <a:lnTo>
                  <a:pt x="18" y="104"/>
                </a:lnTo>
                <a:lnTo>
                  <a:pt x="16" y="108"/>
                </a:lnTo>
                <a:lnTo>
                  <a:pt x="18"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8" name="Freeform 162">
            <a:extLst>
              <a:ext uri="{FF2B5EF4-FFF2-40B4-BE49-F238E27FC236}">
                <a16:creationId xmlns:a16="http://schemas.microsoft.com/office/drawing/2014/main" id="{950DD46D-7669-40BC-9F24-DBD8889439A2}"/>
              </a:ext>
            </a:extLst>
          </p:cNvPr>
          <p:cNvSpPr>
            <a:spLocks noEditPoints="1"/>
          </p:cNvSpPr>
          <p:nvPr userDrawn="1"/>
        </p:nvSpPr>
        <p:spPr bwMode="auto">
          <a:xfrm>
            <a:off x="6003394" y="2276970"/>
            <a:ext cx="259941" cy="332902"/>
          </a:xfrm>
          <a:custGeom>
            <a:avLst/>
            <a:gdLst>
              <a:gd name="T0" fmla="*/ 79 w 155"/>
              <a:gd name="T1" fmla="*/ 176 h 194"/>
              <a:gd name="T2" fmla="*/ 93 w 155"/>
              <a:gd name="T3" fmla="*/ 186 h 194"/>
              <a:gd name="T4" fmla="*/ 107 w 155"/>
              <a:gd name="T5" fmla="*/ 192 h 194"/>
              <a:gd name="T6" fmla="*/ 111 w 155"/>
              <a:gd name="T7" fmla="*/ 188 h 194"/>
              <a:gd name="T8" fmla="*/ 115 w 155"/>
              <a:gd name="T9" fmla="*/ 178 h 194"/>
              <a:gd name="T10" fmla="*/ 117 w 155"/>
              <a:gd name="T11" fmla="*/ 168 h 194"/>
              <a:gd name="T12" fmla="*/ 89 w 155"/>
              <a:gd name="T13" fmla="*/ 170 h 194"/>
              <a:gd name="T14" fmla="*/ 81 w 155"/>
              <a:gd name="T15" fmla="*/ 168 h 194"/>
              <a:gd name="T16" fmla="*/ 18 w 155"/>
              <a:gd name="T17" fmla="*/ 62 h 194"/>
              <a:gd name="T18" fmla="*/ 22 w 155"/>
              <a:gd name="T19" fmla="*/ 52 h 194"/>
              <a:gd name="T20" fmla="*/ 40 w 155"/>
              <a:gd name="T21" fmla="*/ 54 h 194"/>
              <a:gd name="T22" fmla="*/ 48 w 155"/>
              <a:gd name="T23" fmla="*/ 64 h 194"/>
              <a:gd name="T24" fmla="*/ 52 w 155"/>
              <a:gd name="T25" fmla="*/ 76 h 194"/>
              <a:gd name="T26" fmla="*/ 61 w 155"/>
              <a:gd name="T27" fmla="*/ 90 h 194"/>
              <a:gd name="T28" fmla="*/ 77 w 155"/>
              <a:gd name="T29" fmla="*/ 108 h 194"/>
              <a:gd name="T30" fmla="*/ 93 w 155"/>
              <a:gd name="T31" fmla="*/ 112 h 194"/>
              <a:gd name="T32" fmla="*/ 103 w 155"/>
              <a:gd name="T33" fmla="*/ 124 h 194"/>
              <a:gd name="T34" fmla="*/ 111 w 155"/>
              <a:gd name="T35" fmla="*/ 132 h 194"/>
              <a:gd name="T36" fmla="*/ 125 w 155"/>
              <a:gd name="T37" fmla="*/ 158 h 194"/>
              <a:gd name="T38" fmla="*/ 119 w 155"/>
              <a:gd name="T39" fmla="*/ 170 h 194"/>
              <a:gd name="T40" fmla="*/ 125 w 155"/>
              <a:gd name="T41" fmla="*/ 176 h 194"/>
              <a:gd name="T42" fmla="*/ 133 w 155"/>
              <a:gd name="T43" fmla="*/ 158 h 194"/>
              <a:gd name="T44" fmla="*/ 137 w 155"/>
              <a:gd name="T45" fmla="*/ 148 h 194"/>
              <a:gd name="T46" fmla="*/ 129 w 155"/>
              <a:gd name="T47" fmla="*/ 138 h 194"/>
              <a:gd name="T48" fmla="*/ 139 w 155"/>
              <a:gd name="T49" fmla="*/ 128 h 194"/>
              <a:gd name="T50" fmla="*/ 153 w 155"/>
              <a:gd name="T51" fmla="*/ 136 h 194"/>
              <a:gd name="T52" fmla="*/ 153 w 155"/>
              <a:gd name="T53" fmla="*/ 126 h 194"/>
              <a:gd name="T54" fmla="*/ 143 w 155"/>
              <a:gd name="T55" fmla="*/ 118 h 194"/>
              <a:gd name="T56" fmla="*/ 117 w 155"/>
              <a:gd name="T57" fmla="*/ 100 h 194"/>
              <a:gd name="T58" fmla="*/ 95 w 155"/>
              <a:gd name="T59" fmla="*/ 76 h 194"/>
              <a:gd name="T60" fmla="*/ 87 w 155"/>
              <a:gd name="T61" fmla="*/ 64 h 194"/>
              <a:gd name="T62" fmla="*/ 75 w 155"/>
              <a:gd name="T63" fmla="*/ 56 h 194"/>
              <a:gd name="T64" fmla="*/ 77 w 155"/>
              <a:gd name="T65" fmla="*/ 42 h 194"/>
              <a:gd name="T66" fmla="*/ 75 w 155"/>
              <a:gd name="T67" fmla="*/ 32 h 194"/>
              <a:gd name="T68" fmla="*/ 93 w 155"/>
              <a:gd name="T69" fmla="*/ 26 h 194"/>
              <a:gd name="T70" fmla="*/ 91 w 155"/>
              <a:gd name="T71" fmla="*/ 14 h 194"/>
              <a:gd name="T72" fmla="*/ 89 w 155"/>
              <a:gd name="T73" fmla="*/ 4 h 194"/>
              <a:gd name="T74" fmla="*/ 75 w 155"/>
              <a:gd name="T75" fmla="*/ 6 h 194"/>
              <a:gd name="T76" fmla="*/ 65 w 155"/>
              <a:gd name="T77" fmla="*/ 2 h 194"/>
              <a:gd name="T78" fmla="*/ 59 w 155"/>
              <a:gd name="T79" fmla="*/ 2 h 194"/>
              <a:gd name="T80" fmla="*/ 50 w 155"/>
              <a:gd name="T81" fmla="*/ 4 h 194"/>
              <a:gd name="T82" fmla="*/ 48 w 155"/>
              <a:gd name="T83" fmla="*/ 10 h 194"/>
              <a:gd name="T84" fmla="*/ 40 w 155"/>
              <a:gd name="T85" fmla="*/ 12 h 194"/>
              <a:gd name="T86" fmla="*/ 36 w 155"/>
              <a:gd name="T87" fmla="*/ 22 h 194"/>
              <a:gd name="T88" fmla="*/ 24 w 155"/>
              <a:gd name="T89" fmla="*/ 20 h 194"/>
              <a:gd name="T90" fmla="*/ 20 w 155"/>
              <a:gd name="T91" fmla="*/ 20 h 194"/>
              <a:gd name="T92" fmla="*/ 8 w 155"/>
              <a:gd name="T93" fmla="*/ 32 h 194"/>
              <a:gd name="T94" fmla="*/ 0 w 155"/>
              <a:gd name="T95" fmla="*/ 40 h 194"/>
              <a:gd name="T96" fmla="*/ 2 w 155"/>
              <a:gd name="T97" fmla="*/ 52 h 194"/>
              <a:gd name="T98" fmla="*/ 10 w 155"/>
              <a:gd name="T99" fmla="*/ 56 h 194"/>
              <a:gd name="T100" fmla="*/ 8 w 155"/>
              <a:gd name="T101" fmla="*/ 64 h 194"/>
              <a:gd name="T102" fmla="*/ 22 w 155"/>
              <a:gd name="T103" fmla="*/ 118 h 194"/>
              <a:gd name="T104" fmla="*/ 28 w 155"/>
              <a:gd name="T105" fmla="*/ 148 h 194"/>
              <a:gd name="T106" fmla="*/ 36 w 155"/>
              <a:gd name="T107" fmla="*/ 152 h 194"/>
              <a:gd name="T108" fmla="*/ 40 w 155"/>
              <a:gd name="T109" fmla="*/ 118 h 194"/>
              <a:gd name="T110" fmla="*/ 34 w 155"/>
              <a:gd name="T111" fmla="*/ 1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194">
                <a:moveTo>
                  <a:pt x="81" y="168"/>
                </a:moveTo>
                <a:lnTo>
                  <a:pt x="81" y="168"/>
                </a:lnTo>
                <a:lnTo>
                  <a:pt x="81" y="170"/>
                </a:lnTo>
                <a:lnTo>
                  <a:pt x="79" y="170"/>
                </a:lnTo>
                <a:lnTo>
                  <a:pt x="79" y="170"/>
                </a:lnTo>
                <a:lnTo>
                  <a:pt x="79" y="176"/>
                </a:lnTo>
                <a:lnTo>
                  <a:pt x="79" y="176"/>
                </a:lnTo>
                <a:lnTo>
                  <a:pt x="85" y="180"/>
                </a:lnTo>
                <a:lnTo>
                  <a:pt x="85" y="180"/>
                </a:lnTo>
                <a:lnTo>
                  <a:pt x="91" y="182"/>
                </a:lnTo>
                <a:lnTo>
                  <a:pt x="91" y="182"/>
                </a:lnTo>
                <a:lnTo>
                  <a:pt x="93" y="186"/>
                </a:lnTo>
                <a:lnTo>
                  <a:pt x="93" y="186"/>
                </a:lnTo>
                <a:lnTo>
                  <a:pt x="95" y="186"/>
                </a:lnTo>
                <a:lnTo>
                  <a:pt x="99" y="186"/>
                </a:lnTo>
                <a:lnTo>
                  <a:pt x="99" y="186"/>
                </a:lnTo>
                <a:lnTo>
                  <a:pt x="101" y="188"/>
                </a:lnTo>
                <a:lnTo>
                  <a:pt x="107" y="192"/>
                </a:lnTo>
                <a:lnTo>
                  <a:pt x="107" y="194"/>
                </a:lnTo>
                <a:lnTo>
                  <a:pt x="107" y="194"/>
                </a:lnTo>
                <a:lnTo>
                  <a:pt x="113" y="194"/>
                </a:lnTo>
                <a:lnTo>
                  <a:pt x="113" y="194"/>
                </a:lnTo>
                <a:lnTo>
                  <a:pt x="111" y="188"/>
                </a:lnTo>
                <a:lnTo>
                  <a:pt x="111" y="188"/>
                </a:lnTo>
                <a:lnTo>
                  <a:pt x="115" y="186"/>
                </a:lnTo>
                <a:lnTo>
                  <a:pt x="115" y="186"/>
                </a:lnTo>
                <a:lnTo>
                  <a:pt x="115" y="182"/>
                </a:lnTo>
                <a:lnTo>
                  <a:pt x="115" y="178"/>
                </a:lnTo>
                <a:lnTo>
                  <a:pt x="115" y="178"/>
                </a:lnTo>
                <a:lnTo>
                  <a:pt x="115" y="178"/>
                </a:lnTo>
                <a:lnTo>
                  <a:pt x="115" y="176"/>
                </a:lnTo>
                <a:lnTo>
                  <a:pt x="115" y="176"/>
                </a:lnTo>
                <a:lnTo>
                  <a:pt x="115" y="174"/>
                </a:lnTo>
                <a:lnTo>
                  <a:pt x="117" y="172"/>
                </a:lnTo>
                <a:lnTo>
                  <a:pt x="117" y="172"/>
                </a:lnTo>
                <a:lnTo>
                  <a:pt x="117" y="168"/>
                </a:lnTo>
                <a:lnTo>
                  <a:pt x="117" y="168"/>
                </a:lnTo>
                <a:lnTo>
                  <a:pt x="105" y="172"/>
                </a:lnTo>
                <a:lnTo>
                  <a:pt x="99" y="174"/>
                </a:lnTo>
                <a:lnTo>
                  <a:pt x="93" y="172"/>
                </a:lnTo>
                <a:lnTo>
                  <a:pt x="93" y="172"/>
                </a:lnTo>
                <a:lnTo>
                  <a:pt x="89" y="170"/>
                </a:lnTo>
                <a:lnTo>
                  <a:pt x="89" y="170"/>
                </a:lnTo>
                <a:lnTo>
                  <a:pt x="87" y="170"/>
                </a:lnTo>
                <a:lnTo>
                  <a:pt x="83" y="170"/>
                </a:lnTo>
                <a:lnTo>
                  <a:pt x="83" y="170"/>
                </a:lnTo>
                <a:lnTo>
                  <a:pt x="81" y="168"/>
                </a:lnTo>
                <a:lnTo>
                  <a:pt x="81" y="168"/>
                </a:lnTo>
                <a:close/>
                <a:moveTo>
                  <a:pt x="8" y="64"/>
                </a:moveTo>
                <a:lnTo>
                  <a:pt x="8" y="64"/>
                </a:lnTo>
                <a:lnTo>
                  <a:pt x="12" y="62"/>
                </a:lnTo>
                <a:lnTo>
                  <a:pt x="12" y="62"/>
                </a:lnTo>
                <a:lnTo>
                  <a:pt x="18" y="62"/>
                </a:lnTo>
                <a:lnTo>
                  <a:pt x="18" y="62"/>
                </a:lnTo>
                <a:lnTo>
                  <a:pt x="18" y="58"/>
                </a:lnTo>
                <a:lnTo>
                  <a:pt x="18" y="58"/>
                </a:lnTo>
                <a:lnTo>
                  <a:pt x="22" y="56"/>
                </a:lnTo>
                <a:lnTo>
                  <a:pt x="22" y="56"/>
                </a:lnTo>
                <a:lnTo>
                  <a:pt x="22" y="52"/>
                </a:lnTo>
                <a:lnTo>
                  <a:pt x="22" y="52"/>
                </a:lnTo>
                <a:lnTo>
                  <a:pt x="26" y="50"/>
                </a:lnTo>
                <a:lnTo>
                  <a:pt x="32" y="50"/>
                </a:lnTo>
                <a:lnTo>
                  <a:pt x="32" y="50"/>
                </a:lnTo>
                <a:lnTo>
                  <a:pt x="36" y="54"/>
                </a:lnTo>
                <a:lnTo>
                  <a:pt x="36" y="54"/>
                </a:lnTo>
                <a:lnTo>
                  <a:pt x="40" y="54"/>
                </a:lnTo>
                <a:lnTo>
                  <a:pt x="40" y="54"/>
                </a:lnTo>
                <a:lnTo>
                  <a:pt x="46" y="58"/>
                </a:lnTo>
                <a:lnTo>
                  <a:pt x="46" y="60"/>
                </a:lnTo>
                <a:lnTo>
                  <a:pt x="48" y="60"/>
                </a:lnTo>
                <a:lnTo>
                  <a:pt x="48" y="60"/>
                </a:lnTo>
                <a:lnTo>
                  <a:pt x="48" y="64"/>
                </a:lnTo>
                <a:lnTo>
                  <a:pt x="48" y="66"/>
                </a:lnTo>
                <a:lnTo>
                  <a:pt x="48" y="66"/>
                </a:lnTo>
                <a:lnTo>
                  <a:pt x="52" y="70"/>
                </a:lnTo>
                <a:lnTo>
                  <a:pt x="52" y="70"/>
                </a:lnTo>
                <a:lnTo>
                  <a:pt x="52" y="76"/>
                </a:lnTo>
                <a:lnTo>
                  <a:pt x="52" y="76"/>
                </a:lnTo>
                <a:lnTo>
                  <a:pt x="57" y="78"/>
                </a:lnTo>
                <a:lnTo>
                  <a:pt x="57" y="78"/>
                </a:lnTo>
                <a:lnTo>
                  <a:pt x="57" y="82"/>
                </a:lnTo>
                <a:lnTo>
                  <a:pt x="59" y="88"/>
                </a:lnTo>
                <a:lnTo>
                  <a:pt x="59" y="88"/>
                </a:lnTo>
                <a:lnTo>
                  <a:pt x="61" y="90"/>
                </a:lnTo>
                <a:lnTo>
                  <a:pt x="65" y="94"/>
                </a:lnTo>
                <a:lnTo>
                  <a:pt x="73" y="100"/>
                </a:lnTo>
                <a:lnTo>
                  <a:pt x="73" y="100"/>
                </a:lnTo>
                <a:lnTo>
                  <a:pt x="75" y="104"/>
                </a:lnTo>
                <a:lnTo>
                  <a:pt x="77" y="108"/>
                </a:lnTo>
                <a:lnTo>
                  <a:pt x="77" y="108"/>
                </a:lnTo>
                <a:lnTo>
                  <a:pt x="87" y="112"/>
                </a:lnTo>
                <a:lnTo>
                  <a:pt x="87" y="114"/>
                </a:lnTo>
                <a:lnTo>
                  <a:pt x="87" y="114"/>
                </a:lnTo>
                <a:lnTo>
                  <a:pt x="91" y="112"/>
                </a:lnTo>
                <a:lnTo>
                  <a:pt x="93" y="112"/>
                </a:lnTo>
                <a:lnTo>
                  <a:pt x="93" y="112"/>
                </a:lnTo>
                <a:lnTo>
                  <a:pt x="97" y="116"/>
                </a:lnTo>
                <a:lnTo>
                  <a:pt x="101" y="120"/>
                </a:lnTo>
                <a:lnTo>
                  <a:pt x="103" y="120"/>
                </a:lnTo>
                <a:lnTo>
                  <a:pt x="103" y="120"/>
                </a:lnTo>
                <a:lnTo>
                  <a:pt x="103" y="122"/>
                </a:lnTo>
                <a:lnTo>
                  <a:pt x="103" y="124"/>
                </a:lnTo>
                <a:lnTo>
                  <a:pt x="103" y="124"/>
                </a:lnTo>
                <a:lnTo>
                  <a:pt x="105" y="124"/>
                </a:lnTo>
                <a:lnTo>
                  <a:pt x="109" y="124"/>
                </a:lnTo>
                <a:lnTo>
                  <a:pt x="109" y="124"/>
                </a:lnTo>
                <a:lnTo>
                  <a:pt x="109" y="128"/>
                </a:lnTo>
                <a:lnTo>
                  <a:pt x="111" y="132"/>
                </a:lnTo>
                <a:lnTo>
                  <a:pt x="111" y="132"/>
                </a:lnTo>
                <a:lnTo>
                  <a:pt x="115" y="134"/>
                </a:lnTo>
                <a:lnTo>
                  <a:pt x="119" y="136"/>
                </a:lnTo>
                <a:lnTo>
                  <a:pt x="119" y="136"/>
                </a:lnTo>
                <a:lnTo>
                  <a:pt x="123" y="146"/>
                </a:lnTo>
                <a:lnTo>
                  <a:pt x="125" y="158"/>
                </a:lnTo>
                <a:lnTo>
                  <a:pt x="121" y="158"/>
                </a:lnTo>
                <a:lnTo>
                  <a:pt x="121" y="158"/>
                </a:lnTo>
                <a:lnTo>
                  <a:pt x="121" y="166"/>
                </a:lnTo>
                <a:lnTo>
                  <a:pt x="121" y="166"/>
                </a:lnTo>
                <a:lnTo>
                  <a:pt x="119" y="170"/>
                </a:lnTo>
                <a:lnTo>
                  <a:pt x="119" y="170"/>
                </a:lnTo>
                <a:lnTo>
                  <a:pt x="119" y="174"/>
                </a:lnTo>
                <a:lnTo>
                  <a:pt x="121" y="176"/>
                </a:lnTo>
                <a:lnTo>
                  <a:pt x="121" y="176"/>
                </a:lnTo>
                <a:lnTo>
                  <a:pt x="123" y="176"/>
                </a:lnTo>
                <a:lnTo>
                  <a:pt x="125" y="176"/>
                </a:lnTo>
                <a:lnTo>
                  <a:pt x="125" y="176"/>
                </a:lnTo>
                <a:lnTo>
                  <a:pt x="127" y="170"/>
                </a:lnTo>
                <a:lnTo>
                  <a:pt x="127" y="170"/>
                </a:lnTo>
                <a:lnTo>
                  <a:pt x="133" y="166"/>
                </a:lnTo>
                <a:lnTo>
                  <a:pt x="133" y="166"/>
                </a:lnTo>
                <a:lnTo>
                  <a:pt x="133" y="162"/>
                </a:lnTo>
                <a:lnTo>
                  <a:pt x="133" y="158"/>
                </a:lnTo>
                <a:lnTo>
                  <a:pt x="133" y="158"/>
                </a:lnTo>
                <a:lnTo>
                  <a:pt x="135" y="158"/>
                </a:lnTo>
                <a:lnTo>
                  <a:pt x="139" y="156"/>
                </a:lnTo>
                <a:lnTo>
                  <a:pt x="139" y="156"/>
                </a:lnTo>
                <a:lnTo>
                  <a:pt x="139" y="150"/>
                </a:lnTo>
                <a:lnTo>
                  <a:pt x="137" y="148"/>
                </a:lnTo>
                <a:lnTo>
                  <a:pt x="137" y="148"/>
                </a:lnTo>
                <a:lnTo>
                  <a:pt x="135" y="146"/>
                </a:lnTo>
                <a:lnTo>
                  <a:pt x="135" y="146"/>
                </a:lnTo>
                <a:lnTo>
                  <a:pt x="133" y="140"/>
                </a:lnTo>
                <a:lnTo>
                  <a:pt x="133" y="140"/>
                </a:lnTo>
                <a:lnTo>
                  <a:pt x="129" y="138"/>
                </a:lnTo>
                <a:lnTo>
                  <a:pt x="129" y="138"/>
                </a:lnTo>
                <a:lnTo>
                  <a:pt x="133" y="130"/>
                </a:lnTo>
                <a:lnTo>
                  <a:pt x="135" y="126"/>
                </a:lnTo>
                <a:lnTo>
                  <a:pt x="139" y="126"/>
                </a:lnTo>
                <a:lnTo>
                  <a:pt x="139" y="128"/>
                </a:lnTo>
                <a:lnTo>
                  <a:pt x="139" y="128"/>
                </a:lnTo>
                <a:lnTo>
                  <a:pt x="149" y="130"/>
                </a:lnTo>
                <a:lnTo>
                  <a:pt x="149" y="130"/>
                </a:lnTo>
                <a:lnTo>
                  <a:pt x="149" y="136"/>
                </a:lnTo>
                <a:lnTo>
                  <a:pt x="149" y="136"/>
                </a:lnTo>
                <a:lnTo>
                  <a:pt x="153" y="136"/>
                </a:lnTo>
                <a:lnTo>
                  <a:pt x="153" y="136"/>
                </a:lnTo>
                <a:lnTo>
                  <a:pt x="153" y="134"/>
                </a:lnTo>
                <a:lnTo>
                  <a:pt x="155" y="132"/>
                </a:lnTo>
                <a:lnTo>
                  <a:pt x="155" y="132"/>
                </a:lnTo>
                <a:lnTo>
                  <a:pt x="153" y="130"/>
                </a:lnTo>
                <a:lnTo>
                  <a:pt x="153" y="130"/>
                </a:lnTo>
                <a:lnTo>
                  <a:pt x="153" y="126"/>
                </a:lnTo>
                <a:lnTo>
                  <a:pt x="153" y="126"/>
                </a:lnTo>
                <a:lnTo>
                  <a:pt x="151" y="126"/>
                </a:lnTo>
                <a:lnTo>
                  <a:pt x="149" y="124"/>
                </a:lnTo>
                <a:lnTo>
                  <a:pt x="149" y="124"/>
                </a:lnTo>
                <a:lnTo>
                  <a:pt x="143" y="118"/>
                </a:lnTo>
                <a:lnTo>
                  <a:pt x="143" y="118"/>
                </a:lnTo>
                <a:lnTo>
                  <a:pt x="135" y="112"/>
                </a:lnTo>
                <a:lnTo>
                  <a:pt x="125" y="108"/>
                </a:lnTo>
                <a:lnTo>
                  <a:pt x="125" y="108"/>
                </a:lnTo>
                <a:lnTo>
                  <a:pt x="125" y="100"/>
                </a:lnTo>
                <a:lnTo>
                  <a:pt x="125" y="100"/>
                </a:lnTo>
                <a:lnTo>
                  <a:pt x="117" y="100"/>
                </a:lnTo>
                <a:lnTo>
                  <a:pt x="109" y="96"/>
                </a:lnTo>
                <a:lnTo>
                  <a:pt x="109" y="96"/>
                </a:lnTo>
                <a:lnTo>
                  <a:pt x="101" y="90"/>
                </a:lnTo>
                <a:lnTo>
                  <a:pt x="95" y="80"/>
                </a:lnTo>
                <a:lnTo>
                  <a:pt x="95" y="80"/>
                </a:lnTo>
                <a:lnTo>
                  <a:pt x="95" y="76"/>
                </a:lnTo>
                <a:lnTo>
                  <a:pt x="93" y="72"/>
                </a:lnTo>
                <a:lnTo>
                  <a:pt x="93" y="72"/>
                </a:lnTo>
                <a:lnTo>
                  <a:pt x="93" y="72"/>
                </a:lnTo>
                <a:lnTo>
                  <a:pt x="91" y="70"/>
                </a:lnTo>
                <a:lnTo>
                  <a:pt x="91" y="70"/>
                </a:lnTo>
                <a:lnTo>
                  <a:pt x="87" y="64"/>
                </a:lnTo>
                <a:lnTo>
                  <a:pt x="87" y="64"/>
                </a:lnTo>
                <a:lnTo>
                  <a:pt x="87" y="64"/>
                </a:lnTo>
                <a:lnTo>
                  <a:pt x="87" y="64"/>
                </a:lnTo>
                <a:lnTo>
                  <a:pt x="81" y="60"/>
                </a:lnTo>
                <a:lnTo>
                  <a:pt x="77" y="60"/>
                </a:lnTo>
                <a:lnTo>
                  <a:pt x="75" y="56"/>
                </a:lnTo>
                <a:lnTo>
                  <a:pt x="75" y="56"/>
                </a:lnTo>
                <a:lnTo>
                  <a:pt x="73" y="56"/>
                </a:lnTo>
                <a:lnTo>
                  <a:pt x="73" y="56"/>
                </a:lnTo>
                <a:lnTo>
                  <a:pt x="73" y="52"/>
                </a:lnTo>
                <a:lnTo>
                  <a:pt x="75" y="46"/>
                </a:lnTo>
                <a:lnTo>
                  <a:pt x="77" y="42"/>
                </a:lnTo>
                <a:lnTo>
                  <a:pt x="77" y="42"/>
                </a:lnTo>
                <a:lnTo>
                  <a:pt x="77" y="38"/>
                </a:lnTo>
                <a:lnTo>
                  <a:pt x="77" y="36"/>
                </a:lnTo>
                <a:lnTo>
                  <a:pt x="75" y="34"/>
                </a:lnTo>
                <a:lnTo>
                  <a:pt x="75" y="34"/>
                </a:lnTo>
                <a:lnTo>
                  <a:pt x="75" y="32"/>
                </a:lnTo>
                <a:lnTo>
                  <a:pt x="75" y="30"/>
                </a:lnTo>
                <a:lnTo>
                  <a:pt x="75" y="30"/>
                </a:lnTo>
                <a:lnTo>
                  <a:pt x="77" y="30"/>
                </a:lnTo>
                <a:lnTo>
                  <a:pt x="77" y="32"/>
                </a:lnTo>
                <a:lnTo>
                  <a:pt x="77" y="32"/>
                </a:lnTo>
                <a:lnTo>
                  <a:pt x="93" y="26"/>
                </a:lnTo>
                <a:lnTo>
                  <a:pt x="93" y="26"/>
                </a:lnTo>
                <a:lnTo>
                  <a:pt x="91" y="24"/>
                </a:lnTo>
                <a:lnTo>
                  <a:pt x="91" y="22"/>
                </a:lnTo>
                <a:lnTo>
                  <a:pt x="93" y="18"/>
                </a:lnTo>
                <a:lnTo>
                  <a:pt x="93" y="18"/>
                </a:lnTo>
                <a:lnTo>
                  <a:pt x="91" y="14"/>
                </a:lnTo>
                <a:lnTo>
                  <a:pt x="91" y="14"/>
                </a:lnTo>
                <a:lnTo>
                  <a:pt x="89" y="14"/>
                </a:lnTo>
                <a:lnTo>
                  <a:pt x="89" y="14"/>
                </a:lnTo>
                <a:lnTo>
                  <a:pt x="87" y="12"/>
                </a:lnTo>
                <a:lnTo>
                  <a:pt x="87" y="8"/>
                </a:lnTo>
                <a:lnTo>
                  <a:pt x="89" y="4"/>
                </a:lnTo>
                <a:lnTo>
                  <a:pt x="89" y="4"/>
                </a:lnTo>
                <a:lnTo>
                  <a:pt x="81" y="4"/>
                </a:lnTo>
                <a:lnTo>
                  <a:pt x="81" y="4"/>
                </a:lnTo>
                <a:lnTo>
                  <a:pt x="77" y="6"/>
                </a:lnTo>
                <a:lnTo>
                  <a:pt x="75" y="6"/>
                </a:lnTo>
                <a:lnTo>
                  <a:pt x="75" y="6"/>
                </a:lnTo>
                <a:lnTo>
                  <a:pt x="73" y="4"/>
                </a:lnTo>
                <a:lnTo>
                  <a:pt x="73" y="4"/>
                </a:lnTo>
                <a:lnTo>
                  <a:pt x="71" y="2"/>
                </a:lnTo>
                <a:lnTo>
                  <a:pt x="69" y="2"/>
                </a:lnTo>
                <a:lnTo>
                  <a:pt x="69" y="2"/>
                </a:lnTo>
                <a:lnTo>
                  <a:pt x="65" y="2"/>
                </a:lnTo>
                <a:lnTo>
                  <a:pt x="63" y="0"/>
                </a:lnTo>
                <a:lnTo>
                  <a:pt x="63" y="0"/>
                </a:lnTo>
                <a:lnTo>
                  <a:pt x="59" y="0"/>
                </a:lnTo>
                <a:lnTo>
                  <a:pt x="59" y="2"/>
                </a:lnTo>
                <a:lnTo>
                  <a:pt x="59" y="2"/>
                </a:lnTo>
                <a:lnTo>
                  <a:pt x="59" y="2"/>
                </a:lnTo>
                <a:lnTo>
                  <a:pt x="57" y="2"/>
                </a:lnTo>
                <a:lnTo>
                  <a:pt x="52" y="0"/>
                </a:lnTo>
                <a:lnTo>
                  <a:pt x="52" y="0"/>
                </a:lnTo>
                <a:lnTo>
                  <a:pt x="52" y="2"/>
                </a:lnTo>
                <a:lnTo>
                  <a:pt x="50" y="4"/>
                </a:lnTo>
                <a:lnTo>
                  <a:pt x="50" y="4"/>
                </a:lnTo>
                <a:lnTo>
                  <a:pt x="48" y="6"/>
                </a:lnTo>
                <a:lnTo>
                  <a:pt x="50" y="6"/>
                </a:lnTo>
                <a:lnTo>
                  <a:pt x="52" y="8"/>
                </a:lnTo>
                <a:lnTo>
                  <a:pt x="50" y="8"/>
                </a:lnTo>
                <a:lnTo>
                  <a:pt x="50" y="8"/>
                </a:lnTo>
                <a:lnTo>
                  <a:pt x="48" y="10"/>
                </a:lnTo>
                <a:lnTo>
                  <a:pt x="46" y="10"/>
                </a:lnTo>
                <a:lnTo>
                  <a:pt x="46" y="10"/>
                </a:lnTo>
                <a:lnTo>
                  <a:pt x="44" y="8"/>
                </a:lnTo>
                <a:lnTo>
                  <a:pt x="42" y="10"/>
                </a:lnTo>
                <a:lnTo>
                  <a:pt x="40" y="12"/>
                </a:lnTo>
                <a:lnTo>
                  <a:pt x="40" y="12"/>
                </a:lnTo>
                <a:lnTo>
                  <a:pt x="40" y="14"/>
                </a:lnTo>
                <a:lnTo>
                  <a:pt x="38" y="14"/>
                </a:lnTo>
                <a:lnTo>
                  <a:pt x="36" y="16"/>
                </a:lnTo>
                <a:lnTo>
                  <a:pt x="34" y="18"/>
                </a:lnTo>
                <a:lnTo>
                  <a:pt x="34" y="18"/>
                </a:lnTo>
                <a:lnTo>
                  <a:pt x="36" y="22"/>
                </a:lnTo>
                <a:lnTo>
                  <a:pt x="34" y="22"/>
                </a:lnTo>
                <a:lnTo>
                  <a:pt x="34" y="22"/>
                </a:lnTo>
                <a:lnTo>
                  <a:pt x="32" y="22"/>
                </a:lnTo>
                <a:lnTo>
                  <a:pt x="28" y="20"/>
                </a:lnTo>
                <a:lnTo>
                  <a:pt x="28" y="20"/>
                </a:lnTo>
                <a:lnTo>
                  <a:pt x="24" y="20"/>
                </a:lnTo>
                <a:lnTo>
                  <a:pt x="22" y="16"/>
                </a:lnTo>
                <a:lnTo>
                  <a:pt x="22" y="16"/>
                </a:lnTo>
                <a:lnTo>
                  <a:pt x="20" y="14"/>
                </a:lnTo>
                <a:lnTo>
                  <a:pt x="20" y="16"/>
                </a:lnTo>
                <a:lnTo>
                  <a:pt x="20" y="20"/>
                </a:lnTo>
                <a:lnTo>
                  <a:pt x="20" y="20"/>
                </a:lnTo>
                <a:lnTo>
                  <a:pt x="18" y="22"/>
                </a:lnTo>
                <a:lnTo>
                  <a:pt x="16" y="24"/>
                </a:lnTo>
                <a:lnTo>
                  <a:pt x="12" y="24"/>
                </a:lnTo>
                <a:lnTo>
                  <a:pt x="10" y="26"/>
                </a:lnTo>
                <a:lnTo>
                  <a:pt x="8" y="32"/>
                </a:lnTo>
                <a:lnTo>
                  <a:pt x="8" y="32"/>
                </a:lnTo>
                <a:lnTo>
                  <a:pt x="6" y="34"/>
                </a:lnTo>
                <a:lnTo>
                  <a:pt x="4" y="36"/>
                </a:lnTo>
                <a:lnTo>
                  <a:pt x="2" y="36"/>
                </a:lnTo>
                <a:lnTo>
                  <a:pt x="2" y="36"/>
                </a:lnTo>
                <a:lnTo>
                  <a:pt x="0" y="38"/>
                </a:lnTo>
                <a:lnTo>
                  <a:pt x="0" y="40"/>
                </a:lnTo>
                <a:lnTo>
                  <a:pt x="0" y="42"/>
                </a:lnTo>
                <a:lnTo>
                  <a:pt x="2" y="44"/>
                </a:lnTo>
                <a:lnTo>
                  <a:pt x="2" y="44"/>
                </a:lnTo>
                <a:lnTo>
                  <a:pt x="4" y="46"/>
                </a:lnTo>
                <a:lnTo>
                  <a:pt x="4" y="48"/>
                </a:lnTo>
                <a:lnTo>
                  <a:pt x="2" y="52"/>
                </a:lnTo>
                <a:lnTo>
                  <a:pt x="4" y="56"/>
                </a:lnTo>
                <a:lnTo>
                  <a:pt x="4" y="56"/>
                </a:lnTo>
                <a:lnTo>
                  <a:pt x="6" y="56"/>
                </a:lnTo>
                <a:lnTo>
                  <a:pt x="8" y="56"/>
                </a:lnTo>
                <a:lnTo>
                  <a:pt x="10" y="56"/>
                </a:lnTo>
                <a:lnTo>
                  <a:pt x="10" y="56"/>
                </a:lnTo>
                <a:lnTo>
                  <a:pt x="10" y="56"/>
                </a:lnTo>
                <a:lnTo>
                  <a:pt x="6" y="60"/>
                </a:lnTo>
                <a:lnTo>
                  <a:pt x="6" y="60"/>
                </a:lnTo>
                <a:lnTo>
                  <a:pt x="6" y="62"/>
                </a:lnTo>
                <a:lnTo>
                  <a:pt x="6" y="62"/>
                </a:lnTo>
                <a:lnTo>
                  <a:pt x="8" y="64"/>
                </a:lnTo>
                <a:lnTo>
                  <a:pt x="8" y="64"/>
                </a:lnTo>
                <a:close/>
                <a:moveTo>
                  <a:pt x="34" y="110"/>
                </a:moveTo>
                <a:lnTo>
                  <a:pt x="34" y="110"/>
                </a:lnTo>
                <a:lnTo>
                  <a:pt x="24" y="118"/>
                </a:lnTo>
                <a:lnTo>
                  <a:pt x="24" y="118"/>
                </a:lnTo>
                <a:lnTo>
                  <a:pt x="22" y="118"/>
                </a:lnTo>
                <a:lnTo>
                  <a:pt x="22" y="118"/>
                </a:lnTo>
                <a:lnTo>
                  <a:pt x="24" y="126"/>
                </a:lnTo>
                <a:lnTo>
                  <a:pt x="24" y="126"/>
                </a:lnTo>
                <a:lnTo>
                  <a:pt x="24" y="138"/>
                </a:lnTo>
                <a:lnTo>
                  <a:pt x="28" y="148"/>
                </a:lnTo>
                <a:lnTo>
                  <a:pt x="28" y="148"/>
                </a:lnTo>
                <a:lnTo>
                  <a:pt x="30" y="150"/>
                </a:lnTo>
                <a:lnTo>
                  <a:pt x="32" y="152"/>
                </a:lnTo>
                <a:lnTo>
                  <a:pt x="32" y="152"/>
                </a:lnTo>
                <a:lnTo>
                  <a:pt x="32" y="152"/>
                </a:lnTo>
                <a:lnTo>
                  <a:pt x="36" y="152"/>
                </a:lnTo>
                <a:lnTo>
                  <a:pt x="36" y="152"/>
                </a:lnTo>
                <a:lnTo>
                  <a:pt x="40" y="148"/>
                </a:lnTo>
                <a:lnTo>
                  <a:pt x="40" y="148"/>
                </a:lnTo>
                <a:lnTo>
                  <a:pt x="40" y="148"/>
                </a:lnTo>
                <a:lnTo>
                  <a:pt x="44" y="122"/>
                </a:lnTo>
                <a:lnTo>
                  <a:pt x="44" y="122"/>
                </a:lnTo>
                <a:lnTo>
                  <a:pt x="40" y="118"/>
                </a:lnTo>
                <a:lnTo>
                  <a:pt x="40" y="118"/>
                </a:lnTo>
                <a:lnTo>
                  <a:pt x="40" y="114"/>
                </a:lnTo>
                <a:lnTo>
                  <a:pt x="38" y="112"/>
                </a:lnTo>
                <a:lnTo>
                  <a:pt x="38" y="112"/>
                </a:lnTo>
                <a:lnTo>
                  <a:pt x="34" y="110"/>
                </a:lnTo>
                <a:lnTo>
                  <a:pt x="34" y="1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9" name="Freeform 163">
            <a:extLst>
              <a:ext uri="{FF2B5EF4-FFF2-40B4-BE49-F238E27FC236}">
                <a16:creationId xmlns:a16="http://schemas.microsoft.com/office/drawing/2014/main" id="{8F785BCB-938A-4EBC-96AA-A8D79954A8D1}"/>
              </a:ext>
            </a:extLst>
          </p:cNvPr>
          <p:cNvSpPr>
            <a:spLocks noEditPoints="1"/>
          </p:cNvSpPr>
          <p:nvPr userDrawn="1"/>
        </p:nvSpPr>
        <p:spPr bwMode="auto">
          <a:xfrm>
            <a:off x="6628929" y="2736855"/>
            <a:ext cx="36895" cy="102959"/>
          </a:xfrm>
          <a:custGeom>
            <a:avLst/>
            <a:gdLst>
              <a:gd name="T0" fmla="*/ 20 w 22"/>
              <a:gd name="T1" fmla="*/ 20 h 60"/>
              <a:gd name="T2" fmla="*/ 20 w 22"/>
              <a:gd name="T3" fmla="*/ 22 h 60"/>
              <a:gd name="T4" fmla="*/ 20 w 22"/>
              <a:gd name="T5" fmla="*/ 28 h 60"/>
              <a:gd name="T6" fmla="*/ 16 w 22"/>
              <a:gd name="T7" fmla="*/ 28 h 60"/>
              <a:gd name="T8" fmla="*/ 14 w 22"/>
              <a:gd name="T9" fmla="*/ 28 h 60"/>
              <a:gd name="T10" fmla="*/ 14 w 22"/>
              <a:gd name="T11" fmla="*/ 20 h 60"/>
              <a:gd name="T12" fmla="*/ 14 w 22"/>
              <a:gd name="T13" fmla="*/ 12 h 60"/>
              <a:gd name="T14" fmla="*/ 16 w 22"/>
              <a:gd name="T15" fmla="*/ 10 h 60"/>
              <a:gd name="T16" fmla="*/ 20 w 22"/>
              <a:gd name="T17" fmla="*/ 12 h 60"/>
              <a:gd name="T18" fmla="*/ 18 w 22"/>
              <a:gd name="T19" fmla="*/ 14 h 60"/>
              <a:gd name="T20" fmla="*/ 16 w 22"/>
              <a:gd name="T21" fmla="*/ 16 h 60"/>
              <a:gd name="T22" fmla="*/ 16 w 22"/>
              <a:gd name="T23" fmla="*/ 22 h 60"/>
              <a:gd name="T24" fmla="*/ 20 w 22"/>
              <a:gd name="T25" fmla="*/ 20 h 60"/>
              <a:gd name="T26" fmla="*/ 4 w 22"/>
              <a:gd name="T27" fmla="*/ 20 h 60"/>
              <a:gd name="T28" fmla="*/ 2 w 22"/>
              <a:gd name="T29" fmla="*/ 26 h 60"/>
              <a:gd name="T30" fmla="*/ 4 w 22"/>
              <a:gd name="T31" fmla="*/ 20 h 60"/>
              <a:gd name="T32" fmla="*/ 6 w 22"/>
              <a:gd name="T33" fmla="*/ 60 h 60"/>
              <a:gd name="T34" fmla="*/ 16 w 22"/>
              <a:gd name="T35" fmla="*/ 48 h 60"/>
              <a:gd name="T36" fmla="*/ 16 w 22"/>
              <a:gd name="T37" fmla="*/ 44 h 60"/>
              <a:gd name="T38" fmla="*/ 18 w 22"/>
              <a:gd name="T39" fmla="*/ 34 h 60"/>
              <a:gd name="T40" fmla="*/ 20 w 22"/>
              <a:gd name="T41" fmla="*/ 28 h 60"/>
              <a:gd name="T42" fmla="*/ 16 w 22"/>
              <a:gd name="T43" fmla="*/ 28 h 60"/>
              <a:gd name="T44" fmla="*/ 14 w 22"/>
              <a:gd name="T45" fmla="*/ 28 h 60"/>
              <a:gd name="T46" fmla="*/ 14 w 22"/>
              <a:gd name="T47" fmla="*/ 20 h 60"/>
              <a:gd name="T48" fmla="*/ 14 w 22"/>
              <a:gd name="T49" fmla="*/ 12 h 60"/>
              <a:gd name="T50" fmla="*/ 16 w 22"/>
              <a:gd name="T51" fmla="*/ 10 h 60"/>
              <a:gd name="T52" fmla="*/ 20 w 22"/>
              <a:gd name="T53" fmla="*/ 12 h 60"/>
              <a:gd name="T54" fmla="*/ 20 w 22"/>
              <a:gd name="T55" fmla="*/ 12 h 60"/>
              <a:gd name="T56" fmla="*/ 22 w 22"/>
              <a:gd name="T57" fmla="*/ 6 h 60"/>
              <a:gd name="T58" fmla="*/ 20 w 22"/>
              <a:gd name="T59" fmla="*/ 0 h 60"/>
              <a:gd name="T60" fmla="*/ 16 w 22"/>
              <a:gd name="T61" fmla="*/ 2 h 60"/>
              <a:gd name="T62" fmla="*/ 16 w 22"/>
              <a:gd name="T63" fmla="*/ 2 h 60"/>
              <a:gd name="T64" fmla="*/ 10 w 22"/>
              <a:gd name="T65" fmla="*/ 2 h 60"/>
              <a:gd name="T66" fmla="*/ 10 w 22"/>
              <a:gd name="T67" fmla="*/ 6 h 60"/>
              <a:gd name="T68" fmla="*/ 6 w 22"/>
              <a:gd name="T69" fmla="*/ 12 h 60"/>
              <a:gd name="T70" fmla="*/ 6 w 22"/>
              <a:gd name="T71" fmla="*/ 16 h 60"/>
              <a:gd name="T72" fmla="*/ 6 w 22"/>
              <a:gd name="T73" fmla="*/ 20 h 60"/>
              <a:gd name="T74" fmla="*/ 6 w 22"/>
              <a:gd name="T75" fmla="*/ 24 h 60"/>
              <a:gd name="T76" fmla="*/ 4 w 22"/>
              <a:gd name="T77"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60">
                <a:moveTo>
                  <a:pt x="20" y="20"/>
                </a:moveTo>
                <a:lnTo>
                  <a:pt x="20" y="20"/>
                </a:lnTo>
                <a:lnTo>
                  <a:pt x="20" y="22"/>
                </a:lnTo>
                <a:lnTo>
                  <a:pt x="20" y="22"/>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18" y="14"/>
                </a:lnTo>
                <a:lnTo>
                  <a:pt x="16" y="16"/>
                </a:lnTo>
                <a:lnTo>
                  <a:pt x="16" y="16"/>
                </a:lnTo>
                <a:lnTo>
                  <a:pt x="16" y="22"/>
                </a:lnTo>
                <a:lnTo>
                  <a:pt x="16" y="22"/>
                </a:lnTo>
                <a:lnTo>
                  <a:pt x="20" y="20"/>
                </a:lnTo>
                <a:lnTo>
                  <a:pt x="20" y="20"/>
                </a:lnTo>
                <a:close/>
                <a:moveTo>
                  <a:pt x="4" y="20"/>
                </a:moveTo>
                <a:lnTo>
                  <a:pt x="4" y="20"/>
                </a:lnTo>
                <a:lnTo>
                  <a:pt x="0" y="24"/>
                </a:lnTo>
                <a:lnTo>
                  <a:pt x="2" y="26"/>
                </a:lnTo>
                <a:lnTo>
                  <a:pt x="6" y="24"/>
                </a:lnTo>
                <a:lnTo>
                  <a:pt x="4" y="20"/>
                </a:lnTo>
                <a:close/>
                <a:moveTo>
                  <a:pt x="6" y="60"/>
                </a:moveTo>
                <a:lnTo>
                  <a:pt x="6" y="60"/>
                </a:lnTo>
                <a:lnTo>
                  <a:pt x="12" y="54"/>
                </a:lnTo>
                <a:lnTo>
                  <a:pt x="16" y="48"/>
                </a:lnTo>
                <a:lnTo>
                  <a:pt x="16" y="44"/>
                </a:lnTo>
                <a:lnTo>
                  <a:pt x="16" y="44"/>
                </a:lnTo>
                <a:lnTo>
                  <a:pt x="16" y="38"/>
                </a:lnTo>
                <a:lnTo>
                  <a:pt x="18" y="34"/>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20" y="12"/>
                </a:lnTo>
                <a:lnTo>
                  <a:pt x="20" y="10"/>
                </a:lnTo>
                <a:lnTo>
                  <a:pt x="22" y="6"/>
                </a:lnTo>
                <a:lnTo>
                  <a:pt x="20" y="0"/>
                </a:lnTo>
                <a:lnTo>
                  <a:pt x="20" y="0"/>
                </a:lnTo>
                <a:lnTo>
                  <a:pt x="18" y="0"/>
                </a:lnTo>
                <a:lnTo>
                  <a:pt x="16" y="2"/>
                </a:lnTo>
                <a:lnTo>
                  <a:pt x="16" y="2"/>
                </a:lnTo>
                <a:lnTo>
                  <a:pt x="16" y="2"/>
                </a:lnTo>
                <a:lnTo>
                  <a:pt x="14" y="2"/>
                </a:lnTo>
                <a:lnTo>
                  <a:pt x="10" y="2"/>
                </a:lnTo>
                <a:lnTo>
                  <a:pt x="10" y="2"/>
                </a:lnTo>
                <a:lnTo>
                  <a:pt x="10" y="6"/>
                </a:lnTo>
                <a:lnTo>
                  <a:pt x="10" y="6"/>
                </a:lnTo>
                <a:lnTo>
                  <a:pt x="6" y="12"/>
                </a:lnTo>
                <a:lnTo>
                  <a:pt x="6" y="12"/>
                </a:lnTo>
                <a:lnTo>
                  <a:pt x="6" y="16"/>
                </a:lnTo>
                <a:lnTo>
                  <a:pt x="6" y="20"/>
                </a:lnTo>
                <a:lnTo>
                  <a:pt x="6" y="20"/>
                </a:lnTo>
                <a:lnTo>
                  <a:pt x="4" y="20"/>
                </a:lnTo>
                <a:lnTo>
                  <a:pt x="6" y="24"/>
                </a:lnTo>
                <a:lnTo>
                  <a:pt x="2" y="26"/>
                </a:lnTo>
                <a:lnTo>
                  <a:pt x="4" y="34"/>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0" name="Freeform 164">
            <a:extLst>
              <a:ext uri="{FF2B5EF4-FFF2-40B4-BE49-F238E27FC236}">
                <a16:creationId xmlns:a16="http://schemas.microsoft.com/office/drawing/2014/main" id="{9E33A3E9-3D64-44A2-A429-8E2DA7755C9E}"/>
              </a:ext>
            </a:extLst>
          </p:cNvPr>
          <p:cNvSpPr>
            <a:spLocks noEditPoints="1"/>
          </p:cNvSpPr>
          <p:nvPr userDrawn="1"/>
        </p:nvSpPr>
        <p:spPr bwMode="auto">
          <a:xfrm>
            <a:off x="5624384" y="1978388"/>
            <a:ext cx="90560" cy="144143"/>
          </a:xfrm>
          <a:custGeom>
            <a:avLst/>
            <a:gdLst>
              <a:gd name="T0" fmla="*/ 46 w 54"/>
              <a:gd name="T1" fmla="*/ 4 h 84"/>
              <a:gd name="T2" fmla="*/ 42 w 54"/>
              <a:gd name="T3" fmla="*/ 0 h 84"/>
              <a:gd name="T4" fmla="*/ 42 w 54"/>
              <a:gd name="T5" fmla="*/ 4 h 84"/>
              <a:gd name="T6" fmla="*/ 38 w 54"/>
              <a:gd name="T7" fmla="*/ 6 h 84"/>
              <a:gd name="T8" fmla="*/ 34 w 54"/>
              <a:gd name="T9" fmla="*/ 4 h 84"/>
              <a:gd name="T10" fmla="*/ 30 w 54"/>
              <a:gd name="T11" fmla="*/ 10 h 84"/>
              <a:gd name="T12" fmla="*/ 30 w 54"/>
              <a:gd name="T13" fmla="*/ 12 h 84"/>
              <a:gd name="T14" fmla="*/ 28 w 54"/>
              <a:gd name="T15" fmla="*/ 16 h 84"/>
              <a:gd name="T16" fmla="*/ 24 w 54"/>
              <a:gd name="T17" fmla="*/ 20 h 84"/>
              <a:gd name="T18" fmla="*/ 22 w 54"/>
              <a:gd name="T19" fmla="*/ 24 h 84"/>
              <a:gd name="T20" fmla="*/ 22 w 54"/>
              <a:gd name="T21" fmla="*/ 24 h 84"/>
              <a:gd name="T22" fmla="*/ 14 w 54"/>
              <a:gd name="T23" fmla="*/ 24 h 84"/>
              <a:gd name="T24" fmla="*/ 12 w 54"/>
              <a:gd name="T25" fmla="*/ 24 h 84"/>
              <a:gd name="T26" fmla="*/ 8 w 54"/>
              <a:gd name="T27" fmla="*/ 20 h 84"/>
              <a:gd name="T28" fmla="*/ 14 w 54"/>
              <a:gd name="T29" fmla="*/ 30 h 84"/>
              <a:gd name="T30" fmla="*/ 12 w 54"/>
              <a:gd name="T31" fmla="*/ 34 h 84"/>
              <a:gd name="T32" fmla="*/ 4 w 54"/>
              <a:gd name="T33" fmla="*/ 34 h 84"/>
              <a:gd name="T34" fmla="*/ 2 w 54"/>
              <a:gd name="T35" fmla="*/ 38 h 84"/>
              <a:gd name="T36" fmla="*/ 2 w 54"/>
              <a:gd name="T37" fmla="*/ 44 h 84"/>
              <a:gd name="T38" fmla="*/ 18 w 54"/>
              <a:gd name="T39" fmla="*/ 46 h 84"/>
              <a:gd name="T40" fmla="*/ 18 w 54"/>
              <a:gd name="T41" fmla="*/ 42 h 84"/>
              <a:gd name="T42" fmla="*/ 18 w 54"/>
              <a:gd name="T43" fmla="*/ 46 h 84"/>
              <a:gd name="T44" fmla="*/ 14 w 54"/>
              <a:gd name="T45" fmla="*/ 50 h 84"/>
              <a:gd name="T46" fmla="*/ 12 w 54"/>
              <a:gd name="T47" fmla="*/ 56 h 84"/>
              <a:gd name="T48" fmla="*/ 12 w 54"/>
              <a:gd name="T49" fmla="*/ 62 h 84"/>
              <a:gd name="T50" fmla="*/ 6 w 54"/>
              <a:gd name="T51" fmla="*/ 64 h 84"/>
              <a:gd name="T52" fmla="*/ 4 w 54"/>
              <a:gd name="T53" fmla="*/ 68 h 84"/>
              <a:gd name="T54" fmla="*/ 0 w 54"/>
              <a:gd name="T55" fmla="*/ 72 h 84"/>
              <a:gd name="T56" fmla="*/ 2 w 54"/>
              <a:gd name="T57" fmla="*/ 76 h 84"/>
              <a:gd name="T58" fmla="*/ 0 w 54"/>
              <a:gd name="T59" fmla="*/ 80 h 84"/>
              <a:gd name="T60" fmla="*/ 4 w 54"/>
              <a:gd name="T61" fmla="*/ 78 h 84"/>
              <a:gd name="T62" fmla="*/ 8 w 54"/>
              <a:gd name="T63" fmla="*/ 80 h 84"/>
              <a:gd name="T64" fmla="*/ 6 w 54"/>
              <a:gd name="T65" fmla="*/ 84 h 84"/>
              <a:gd name="T66" fmla="*/ 16 w 54"/>
              <a:gd name="T67" fmla="*/ 78 h 84"/>
              <a:gd name="T68" fmla="*/ 16 w 54"/>
              <a:gd name="T69" fmla="*/ 82 h 84"/>
              <a:gd name="T70" fmla="*/ 24 w 54"/>
              <a:gd name="T71" fmla="*/ 80 h 84"/>
              <a:gd name="T72" fmla="*/ 26 w 54"/>
              <a:gd name="T73" fmla="*/ 80 h 84"/>
              <a:gd name="T74" fmla="*/ 28 w 54"/>
              <a:gd name="T75" fmla="*/ 74 h 84"/>
              <a:gd name="T76" fmla="*/ 34 w 54"/>
              <a:gd name="T77" fmla="*/ 76 h 84"/>
              <a:gd name="T78" fmla="*/ 38 w 54"/>
              <a:gd name="T79" fmla="*/ 72 h 84"/>
              <a:gd name="T80" fmla="*/ 38 w 54"/>
              <a:gd name="T81" fmla="*/ 68 h 84"/>
              <a:gd name="T82" fmla="*/ 44 w 54"/>
              <a:gd name="T83" fmla="*/ 66 h 84"/>
              <a:gd name="T84" fmla="*/ 46 w 54"/>
              <a:gd name="T85" fmla="*/ 64 h 84"/>
              <a:gd name="T86" fmla="*/ 48 w 54"/>
              <a:gd name="T87" fmla="*/ 64 h 84"/>
              <a:gd name="T88" fmla="*/ 48 w 54"/>
              <a:gd name="T89" fmla="*/ 60 h 84"/>
              <a:gd name="T90" fmla="*/ 52 w 54"/>
              <a:gd name="T91" fmla="*/ 48 h 84"/>
              <a:gd name="T92" fmla="*/ 50 w 54"/>
              <a:gd name="T93" fmla="*/ 44 h 84"/>
              <a:gd name="T94" fmla="*/ 50 w 54"/>
              <a:gd name="T95" fmla="*/ 36 h 84"/>
              <a:gd name="T96" fmla="*/ 50 w 54"/>
              <a:gd name="T97" fmla="*/ 34 h 84"/>
              <a:gd name="T98" fmla="*/ 50 w 54"/>
              <a:gd name="T99" fmla="*/ 30 h 84"/>
              <a:gd name="T100" fmla="*/ 52 w 54"/>
              <a:gd name="T101" fmla="*/ 28 h 84"/>
              <a:gd name="T102" fmla="*/ 44 w 54"/>
              <a:gd name="T103" fmla="*/ 26 h 84"/>
              <a:gd name="T104" fmla="*/ 40 w 54"/>
              <a:gd name="T105" fmla="*/ 28 h 84"/>
              <a:gd name="T106" fmla="*/ 38 w 54"/>
              <a:gd name="T107" fmla="*/ 24 h 84"/>
              <a:gd name="T108" fmla="*/ 34 w 54"/>
              <a:gd name="T109" fmla="*/ 22 h 84"/>
              <a:gd name="T110" fmla="*/ 34 w 54"/>
              <a:gd name="T111" fmla="*/ 18 h 84"/>
              <a:gd name="T112" fmla="*/ 38 w 54"/>
              <a:gd name="T113" fmla="*/ 14 h 84"/>
              <a:gd name="T114" fmla="*/ 42 w 54"/>
              <a:gd name="T115" fmla="*/ 8 h 84"/>
              <a:gd name="T116" fmla="*/ 18 w 54"/>
              <a:gd name="T117" fmla="*/ 56 h 84"/>
              <a:gd name="T118" fmla="*/ 18 w 54"/>
              <a:gd name="T119" fmla="*/ 58 h 84"/>
              <a:gd name="T120" fmla="*/ 14 w 54"/>
              <a:gd name="T121" fmla="*/ 60 h 84"/>
              <a:gd name="T122" fmla="*/ 18 w 54"/>
              <a:gd name="T123" fmla="*/ 5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4">
                <a:moveTo>
                  <a:pt x="46" y="6"/>
                </a:moveTo>
                <a:lnTo>
                  <a:pt x="46" y="6"/>
                </a:lnTo>
                <a:lnTo>
                  <a:pt x="46" y="4"/>
                </a:lnTo>
                <a:lnTo>
                  <a:pt x="46" y="4"/>
                </a:lnTo>
                <a:lnTo>
                  <a:pt x="44" y="2"/>
                </a:lnTo>
                <a:lnTo>
                  <a:pt x="42" y="0"/>
                </a:lnTo>
                <a:lnTo>
                  <a:pt x="42" y="0"/>
                </a:lnTo>
                <a:lnTo>
                  <a:pt x="42" y="0"/>
                </a:lnTo>
                <a:lnTo>
                  <a:pt x="42" y="4"/>
                </a:lnTo>
                <a:lnTo>
                  <a:pt x="42" y="4"/>
                </a:lnTo>
                <a:lnTo>
                  <a:pt x="40" y="6"/>
                </a:lnTo>
                <a:lnTo>
                  <a:pt x="38" y="6"/>
                </a:lnTo>
                <a:lnTo>
                  <a:pt x="38" y="4"/>
                </a:lnTo>
                <a:lnTo>
                  <a:pt x="38" y="4"/>
                </a:lnTo>
                <a:lnTo>
                  <a:pt x="34" y="4"/>
                </a:lnTo>
                <a:lnTo>
                  <a:pt x="30" y="4"/>
                </a:lnTo>
                <a:lnTo>
                  <a:pt x="30" y="4"/>
                </a:lnTo>
                <a:lnTo>
                  <a:pt x="30" y="10"/>
                </a:lnTo>
                <a:lnTo>
                  <a:pt x="30" y="10"/>
                </a:lnTo>
                <a:lnTo>
                  <a:pt x="26" y="10"/>
                </a:lnTo>
                <a:lnTo>
                  <a:pt x="30" y="12"/>
                </a:lnTo>
                <a:lnTo>
                  <a:pt x="30" y="16"/>
                </a:lnTo>
                <a:lnTo>
                  <a:pt x="30" y="16"/>
                </a:lnTo>
                <a:lnTo>
                  <a:pt x="28" y="16"/>
                </a:lnTo>
                <a:lnTo>
                  <a:pt x="24" y="18"/>
                </a:lnTo>
                <a:lnTo>
                  <a:pt x="24" y="18"/>
                </a:lnTo>
                <a:lnTo>
                  <a:pt x="24" y="20"/>
                </a:lnTo>
                <a:lnTo>
                  <a:pt x="24" y="24"/>
                </a:lnTo>
                <a:lnTo>
                  <a:pt x="24" y="24"/>
                </a:lnTo>
                <a:lnTo>
                  <a:pt x="22" y="24"/>
                </a:lnTo>
                <a:lnTo>
                  <a:pt x="22" y="24"/>
                </a:lnTo>
                <a:lnTo>
                  <a:pt x="22" y="24"/>
                </a:lnTo>
                <a:lnTo>
                  <a:pt x="22" y="24"/>
                </a:lnTo>
                <a:lnTo>
                  <a:pt x="16" y="22"/>
                </a:lnTo>
                <a:lnTo>
                  <a:pt x="16" y="22"/>
                </a:lnTo>
                <a:lnTo>
                  <a:pt x="14" y="24"/>
                </a:lnTo>
                <a:lnTo>
                  <a:pt x="14" y="24"/>
                </a:lnTo>
                <a:lnTo>
                  <a:pt x="12" y="24"/>
                </a:lnTo>
                <a:lnTo>
                  <a:pt x="12" y="24"/>
                </a:lnTo>
                <a:lnTo>
                  <a:pt x="10" y="20"/>
                </a:lnTo>
                <a:lnTo>
                  <a:pt x="8" y="20"/>
                </a:lnTo>
                <a:lnTo>
                  <a:pt x="8" y="20"/>
                </a:lnTo>
                <a:lnTo>
                  <a:pt x="8" y="26"/>
                </a:lnTo>
                <a:lnTo>
                  <a:pt x="14" y="30"/>
                </a:lnTo>
                <a:lnTo>
                  <a:pt x="14" y="30"/>
                </a:lnTo>
                <a:lnTo>
                  <a:pt x="12" y="32"/>
                </a:lnTo>
                <a:lnTo>
                  <a:pt x="12" y="34"/>
                </a:lnTo>
                <a:lnTo>
                  <a:pt x="12" y="34"/>
                </a:lnTo>
                <a:lnTo>
                  <a:pt x="8" y="34"/>
                </a:lnTo>
                <a:lnTo>
                  <a:pt x="4" y="34"/>
                </a:lnTo>
                <a:lnTo>
                  <a:pt x="4" y="34"/>
                </a:lnTo>
                <a:lnTo>
                  <a:pt x="6" y="38"/>
                </a:lnTo>
                <a:lnTo>
                  <a:pt x="6" y="38"/>
                </a:lnTo>
                <a:lnTo>
                  <a:pt x="2" y="38"/>
                </a:lnTo>
                <a:lnTo>
                  <a:pt x="2" y="38"/>
                </a:lnTo>
                <a:lnTo>
                  <a:pt x="2" y="44"/>
                </a:lnTo>
                <a:lnTo>
                  <a:pt x="2" y="44"/>
                </a:lnTo>
                <a:lnTo>
                  <a:pt x="10" y="44"/>
                </a:lnTo>
                <a:lnTo>
                  <a:pt x="18" y="46"/>
                </a:lnTo>
                <a:lnTo>
                  <a:pt x="18" y="46"/>
                </a:lnTo>
                <a:lnTo>
                  <a:pt x="18" y="42"/>
                </a:lnTo>
                <a:lnTo>
                  <a:pt x="18" y="42"/>
                </a:lnTo>
                <a:lnTo>
                  <a:pt x="18" y="42"/>
                </a:lnTo>
                <a:lnTo>
                  <a:pt x="18" y="42"/>
                </a:lnTo>
                <a:lnTo>
                  <a:pt x="18" y="44"/>
                </a:lnTo>
                <a:lnTo>
                  <a:pt x="18" y="46"/>
                </a:lnTo>
                <a:lnTo>
                  <a:pt x="18" y="46"/>
                </a:lnTo>
                <a:lnTo>
                  <a:pt x="14" y="50"/>
                </a:lnTo>
                <a:lnTo>
                  <a:pt x="14" y="50"/>
                </a:lnTo>
                <a:lnTo>
                  <a:pt x="14" y="54"/>
                </a:lnTo>
                <a:lnTo>
                  <a:pt x="14" y="54"/>
                </a:lnTo>
                <a:lnTo>
                  <a:pt x="12" y="56"/>
                </a:lnTo>
                <a:lnTo>
                  <a:pt x="8" y="58"/>
                </a:lnTo>
                <a:lnTo>
                  <a:pt x="8" y="60"/>
                </a:lnTo>
                <a:lnTo>
                  <a:pt x="12" y="62"/>
                </a:lnTo>
                <a:lnTo>
                  <a:pt x="12" y="62"/>
                </a:lnTo>
                <a:lnTo>
                  <a:pt x="6" y="64"/>
                </a:lnTo>
                <a:lnTo>
                  <a:pt x="6" y="64"/>
                </a:lnTo>
                <a:lnTo>
                  <a:pt x="8" y="68"/>
                </a:lnTo>
                <a:lnTo>
                  <a:pt x="8" y="68"/>
                </a:lnTo>
                <a:lnTo>
                  <a:pt x="4" y="68"/>
                </a:lnTo>
                <a:lnTo>
                  <a:pt x="0" y="68"/>
                </a:lnTo>
                <a:lnTo>
                  <a:pt x="0" y="72"/>
                </a:lnTo>
                <a:lnTo>
                  <a:pt x="0" y="72"/>
                </a:lnTo>
                <a:lnTo>
                  <a:pt x="4" y="72"/>
                </a:lnTo>
                <a:lnTo>
                  <a:pt x="4" y="72"/>
                </a:lnTo>
                <a:lnTo>
                  <a:pt x="2" y="76"/>
                </a:lnTo>
                <a:lnTo>
                  <a:pt x="2" y="76"/>
                </a:lnTo>
                <a:lnTo>
                  <a:pt x="2" y="76"/>
                </a:lnTo>
                <a:lnTo>
                  <a:pt x="0" y="80"/>
                </a:lnTo>
                <a:lnTo>
                  <a:pt x="0" y="80"/>
                </a:lnTo>
                <a:lnTo>
                  <a:pt x="4" y="78"/>
                </a:lnTo>
                <a:lnTo>
                  <a:pt x="4" y="78"/>
                </a:lnTo>
                <a:lnTo>
                  <a:pt x="10" y="78"/>
                </a:lnTo>
                <a:lnTo>
                  <a:pt x="10" y="78"/>
                </a:lnTo>
                <a:lnTo>
                  <a:pt x="8" y="80"/>
                </a:lnTo>
                <a:lnTo>
                  <a:pt x="8" y="80"/>
                </a:lnTo>
                <a:lnTo>
                  <a:pt x="6" y="82"/>
                </a:lnTo>
                <a:lnTo>
                  <a:pt x="6" y="84"/>
                </a:lnTo>
                <a:lnTo>
                  <a:pt x="8" y="84"/>
                </a:lnTo>
                <a:lnTo>
                  <a:pt x="8" y="84"/>
                </a:lnTo>
                <a:lnTo>
                  <a:pt x="16" y="78"/>
                </a:lnTo>
                <a:lnTo>
                  <a:pt x="16" y="78"/>
                </a:lnTo>
                <a:lnTo>
                  <a:pt x="16" y="82"/>
                </a:lnTo>
                <a:lnTo>
                  <a:pt x="16" y="82"/>
                </a:lnTo>
                <a:lnTo>
                  <a:pt x="20" y="84"/>
                </a:lnTo>
                <a:lnTo>
                  <a:pt x="20" y="84"/>
                </a:lnTo>
                <a:lnTo>
                  <a:pt x="24" y="80"/>
                </a:lnTo>
                <a:lnTo>
                  <a:pt x="24" y="80"/>
                </a:lnTo>
                <a:lnTo>
                  <a:pt x="26" y="80"/>
                </a:lnTo>
                <a:lnTo>
                  <a:pt x="26" y="80"/>
                </a:lnTo>
                <a:lnTo>
                  <a:pt x="28" y="78"/>
                </a:lnTo>
                <a:lnTo>
                  <a:pt x="28" y="76"/>
                </a:lnTo>
                <a:lnTo>
                  <a:pt x="28" y="74"/>
                </a:lnTo>
                <a:lnTo>
                  <a:pt x="28" y="74"/>
                </a:lnTo>
                <a:lnTo>
                  <a:pt x="32" y="74"/>
                </a:lnTo>
                <a:lnTo>
                  <a:pt x="34" y="76"/>
                </a:lnTo>
                <a:lnTo>
                  <a:pt x="34" y="76"/>
                </a:lnTo>
                <a:lnTo>
                  <a:pt x="36" y="72"/>
                </a:lnTo>
                <a:lnTo>
                  <a:pt x="38" y="72"/>
                </a:lnTo>
                <a:lnTo>
                  <a:pt x="38" y="72"/>
                </a:lnTo>
                <a:lnTo>
                  <a:pt x="38" y="68"/>
                </a:lnTo>
                <a:lnTo>
                  <a:pt x="38" y="68"/>
                </a:lnTo>
                <a:lnTo>
                  <a:pt x="44" y="68"/>
                </a:lnTo>
                <a:lnTo>
                  <a:pt x="44" y="68"/>
                </a:lnTo>
                <a:lnTo>
                  <a:pt x="44" y="66"/>
                </a:lnTo>
                <a:lnTo>
                  <a:pt x="44" y="64"/>
                </a:lnTo>
                <a:lnTo>
                  <a:pt x="44" y="64"/>
                </a:lnTo>
                <a:lnTo>
                  <a:pt x="46" y="64"/>
                </a:lnTo>
                <a:lnTo>
                  <a:pt x="50" y="66"/>
                </a:lnTo>
                <a:lnTo>
                  <a:pt x="50" y="66"/>
                </a:lnTo>
                <a:lnTo>
                  <a:pt x="48" y="64"/>
                </a:lnTo>
                <a:lnTo>
                  <a:pt x="48" y="62"/>
                </a:lnTo>
                <a:lnTo>
                  <a:pt x="48" y="60"/>
                </a:lnTo>
                <a:lnTo>
                  <a:pt x="48" y="60"/>
                </a:lnTo>
                <a:lnTo>
                  <a:pt x="52" y="60"/>
                </a:lnTo>
                <a:lnTo>
                  <a:pt x="52" y="60"/>
                </a:lnTo>
                <a:lnTo>
                  <a:pt x="52" y="48"/>
                </a:lnTo>
                <a:lnTo>
                  <a:pt x="50" y="48"/>
                </a:lnTo>
                <a:lnTo>
                  <a:pt x="50" y="48"/>
                </a:lnTo>
                <a:lnTo>
                  <a:pt x="50" y="44"/>
                </a:lnTo>
                <a:lnTo>
                  <a:pt x="48" y="44"/>
                </a:lnTo>
                <a:lnTo>
                  <a:pt x="48" y="44"/>
                </a:lnTo>
                <a:lnTo>
                  <a:pt x="50" y="36"/>
                </a:lnTo>
                <a:lnTo>
                  <a:pt x="50" y="36"/>
                </a:lnTo>
                <a:lnTo>
                  <a:pt x="50" y="34"/>
                </a:lnTo>
                <a:lnTo>
                  <a:pt x="50" y="34"/>
                </a:lnTo>
                <a:lnTo>
                  <a:pt x="50" y="34"/>
                </a:lnTo>
                <a:lnTo>
                  <a:pt x="50" y="34"/>
                </a:lnTo>
                <a:lnTo>
                  <a:pt x="50" y="30"/>
                </a:lnTo>
                <a:lnTo>
                  <a:pt x="50" y="30"/>
                </a:lnTo>
                <a:lnTo>
                  <a:pt x="54" y="28"/>
                </a:lnTo>
                <a:lnTo>
                  <a:pt x="52" y="28"/>
                </a:lnTo>
                <a:lnTo>
                  <a:pt x="48" y="28"/>
                </a:lnTo>
                <a:lnTo>
                  <a:pt x="44" y="26"/>
                </a:lnTo>
                <a:lnTo>
                  <a:pt x="44" y="26"/>
                </a:lnTo>
                <a:lnTo>
                  <a:pt x="44" y="26"/>
                </a:lnTo>
                <a:lnTo>
                  <a:pt x="40" y="28"/>
                </a:lnTo>
                <a:lnTo>
                  <a:pt x="40" y="28"/>
                </a:lnTo>
                <a:lnTo>
                  <a:pt x="38" y="28"/>
                </a:lnTo>
                <a:lnTo>
                  <a:pt x="38" y="26"/>
                </a:lnTo>
                <a:lnTo>
                  <a:pt x="38" y="24"/>
                </a:lnTo>
                <a:lnTo>
                  <a:pt x="36" y="22"/>
                </a:lnTo>
                <a:lnTo>
                  <a:pt x="36" y="22"/>
                </a:lnTo>
                <a:lnTo>
                  <a:pt x="34" y="22"/>
                </a:lnTo>
                <a:lnTo>
                  <a:pt x="34" y="20"/>
                </a:lnTo>
                <a:lnTo>
                  <a:pt x="34" y="20"/>
                </a:lnTo>
                <a:lnTo>
                  <a:pt x="34" y="18"/>
                </a:lnTo>
                <a:lnTo>
                  <a:pt x="36" y="18"/>
                </a:lnTo>
                <a:lnTo>
                  <a:pt x="38" y="16"/>
                </a:lnTo>
                <a:lnTo>
                  <a:pt x="38" y="14"/>
                </a:lnTo>
                <a:lnTo>
                  <a:pt x="38" y="14"/>
                </a:lnTo>
                <a:lnTo>
                  <a:pt x="40" y="10"/>
                </a:lnTo>
                <a:lnTo>
                  <a:pt x="42" y="8"/>
                </a:lnTo>
                <a:lnTo>
                  <a:pt x="46" y="6"/>
                </a:lnTo>
                <a:lnTo>
                  <a:pt x="46" y="6"/>
                </a:lnTo>
                <a:close/>
                <a:moveTo>
                  <a:pt x="18" y="56"/>
                </a:moveTo>
                <a:lnTo>
                  <a:pt x="18" y="56"/>
                </a:lnTo>
                <a:lnTo>
                  <a:pt x="18" y="56"/>
                </a:lnTo>
                <a:lnTo>
                  <a:pt x="18" y="58"/>
                </a:lnTo>
                <a:lnTo>
                  <a:pt x="16" y="60"/>
                </a:lnTo>
                <a:lnTo>
                  <a:pt x="16" y="60"/>
                </a:lnTo>
                <a:lnTo>
                  <a:pt x="14" y="60"/>
                </a:lnTo>
                <a:lnTo>
                  <a:pt x="14" y="60"/>
                </a:lnTo>
                <a:lnTo>
                  <a:pt x="18" y="56"/>
                </a:lnTo>
                <a:lnTo>
                  <a:pt x="18" y="5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1" name="Freeform 165">
            <a:extLst>
              <a:ext uri="{FF2B5EF4-FFF2-40B4-BE49-F238E27FC236}">
                <a16:creationId xmlns:a16="http://schemas.microsoft.com/office/drawing/2014/main" id="{85A60478-DBF6-409C-8992-F8C7C2C82E6F}"/>
              </a:ext>
            </a:extLst>
          </p:cNvPr>
          <p:cNvSpPr>
            <a:spLocks/>
          </p:cNvSpPr>
          <p:nvPr userDrawn="1"/>
        </p:nvSpPr>
        <p:spPr bwMode="auto">
          <a:xfrm>
            <a:off x="6729551" y="2589280"/>
            <a:ext cx="231431" cy="243670"/>
          </a:xfrm>
          <a:custGeom>
            <a:avLst/>
            <a:gdLst>
              <a:gd name="T0" fmla="*/ 136 w 138"/>
              <a:gd name="T1" fmla="*/ 128 h 142"/>
              <a:gd name="T2" fmla="*/ 132 w 138"/>
              <a:gd name="T3" fmla="*/ 122 h 142"/>
              <a:gd name="T4" fmla="*/ 126 w 138"/>
              <a:gd name="T5" fmla="*/ 114 h 142"/>
              <a:gd name="T6" fmla="*/ 124 w 138"/>
              <a:gd name="T7" fmla="*/ 102 h 142"/>
              <a:gd name="T8" fmla="*/ 122 w 138"/>
              <a:gd name="T9" fmla="*/ 94 h 142"/>
              <a:gd name="T10" fmla="*/ 116 w 138"/>
              <a:gd name="T11" fmla="*/ 86 h 142"/>
              <a:gd name="T12" fmla="*/ 110 w 138"/>
              <a:gd name="T13" fmla="*/ 84 h 142"/>
              <a:gd name="T14" fmla="*/ 110 w 138"/>
              <a:gd name="T15" fmla="*/ 82 h 142"/>
              <a:gd name="T16" fmla="*/ 106 w 138"/>
              <a:gd name="T17" fmla="*/ 74 h 142"/>
              <a:gd name="T18" fmla="*/ 96 w 138"/>
              <a:gd name="T19" fmla="*/ 68 h 142"/>
              <a:gd name="T20" fmla="*/ 92 w 138"/>
              <a:gd name="T21" fmla="*/ 58 h 142"/>
              <a:gd name="T22" fmla="*/ 88 w 138"/>
              <a:gd name="T23" fmla="*/ 52 h 142"/>
              <a:gd name="T24" fmla="*/ 90 w 138"/>
              <a:gd name="T25" fmla="*/ 50 h 142"/>
              <a:gd name="T26" fmla="*/ 90 w 138"/>
              <a:gd name="T27" fmla="*/ 46 h 142"/>
              <a:gd name="T28" fmla="*/ 94 w 138"/>
              <a:gd name="T29" fmla="*/ 44 h 142"/>
              <a:gd name="T30" fmla="*/ 96 w 138"/>
              <a:gd name="T31" fmla="*/ 40 h 142"/>
              <a:gd name="T32" fmla="*/ 94 w 138"/>
              <a:gd name="T33" fmla="*/ 34 h 142"/>
              <a:gd name="T34" fmla="*/ 100 w 138"/>
              <a:gd name="T35" fmla="*/ 34 h 142"/>
              <a:gd name="T36" fmla="*/ 102 w 138"/>
              <a:gd name="T37" fmla="*/ 30 h 142"/>
              <a:gd name="T38" fmla="*/ 98 w 138"/>
              <a:gd name="T39" fmla="*/ 30 h 142"/>
              <a:gd name="T40" fmla="*/ 90 w 138"/>
              <a:gd name="T41" fmla="*/ 28 h 142"/>
              <a:gd name="T42" fmla="*/ 86 w 138"/>
              <a:gd name="T43" fmla="*/ 28 h 142"/>
              <a:gd name="T44" fmla="*/ 82 w 138"/>
              <a:gd name="T45" fmla="*/ 26 h 142"/>
              <a:gd name="T46" fmla="*/ 80 w 138"/>
              <a:gd name="T47" fmla="*/ 22 h 142"/>
              <a:gd name="T48" fmla="*/ 78 w 138"/>
              <a:gd name="T49" fmla="*/ 20 h 142"/>
              <a:gd name="T50" fmla="*/ 78 w 138"/>
              <a:gd name="T51" fmla="*/ 16 h 142"/>
              <a:gd name="T52" fmla="*/ 78 w 138"/>
              <a:gd name="T53" fmla="*/ 14 h 142"/>
              <a:gd name="T54" fmla="*/ 78 w 138"/>
              <a:gd name="T55" fmla="*/ 10 h 142"/>
              <a:gd name="T56" fmla="*/ 66 w 138"/>
              <a:gd name="T57" fmla="*/ 6 h 142"/>
              <a:gd name="T58" fmla="*/ 62 w 138"/>
              <a:gd name="T59" fmla="*/ 0 h 142"/>
              <a:gd name="T60" fmla="*/ 56 w 138"/>
              <a:gd name="T61" fmla="*/ 4 h 142"/>
              <a:gd name="T62" fmla="*/ 50 w 138"/>
              <a:gd name="T63" fmla="*/ 2 h 142"/>
              <a:gd name="T64" fmla="*/ 46 w 138"/>
              <a:gd name="T65" fmla="*/ 4 h 142"/>
              <a:gd name="T66" fmla="*/ 42 w 138"/>
              <a:gd name="T67" fmla="*/ 12 h 142"/>
              <a:gd name="T68" fmla="*/ 36 w 138"/>
              <a:gd name="T69" fmla="*/ 18 h 142"/>
              <a:gd name="T70" fmla="*/ 36 w 138"/>
              <a:gd name="T71" fmla="*/ 24 h 142"/>
              <a:gd name="T72" fmla="*/ 34 w 138"/>
              <a:gd name="T73" fmla="*/ 30 h 142"/>
              <a:gd name="T74" fmla="*/ 34 w 138"/>
              <a:gd name="T75" fmla="*/ 36 h 142"/>
              <a:gd name="T76" fmla="*/ 34 w 138"/>
              <a:gd name="T77" fmla="*/ 42 h 142"/>
              <a:gd name="T78" fmla="*/ 28 w 138"/>
              <a:gd name="T79" fmla="*/ 54 h 142"/>
              <a:gd name="T80" fmla="*/ 46 w 138"/>
              <a:gd name="T81" fmla="*/ 120 h 142"/>
              <a:gd name="T82" fmla="*/ 58 w 138"/>
              <a:gd name="T83" fmla="*/ 134 h 142"/>
              <a:gd name="T84" fmla="*/ 92 w 138"/>
              <a:gd name="T85" fmla="*/ 142 h 142"/>
              <a:gd name="T86" fmla="*/ 104 w 138"/>
              <a:gd name="T87" fmla="*/ 132 h 142"/>
              <a:gd name="T88" fmla="*/ 114 w 138"/>
              <a:gd name="T89" fmla="*/ 122 h 142"/>
              <a:gd name="T90" fmla="*/ 122 w 138"/>
              <a:gd name="T91" fmla="*/ 124 h 142"/>
              <a:gd name="T92" fmla="*/ 126 w 138"/>
              <a:gd name="T93" fmla="*/ 128 h 142"/>
              <a:gd name="T94" fmla="*/ 132 w 138"/>
              <a:gd name="T95" fmla="*/ 128 h 142"/>
              <a:gd name="T96" fmla="*/ 134 w 138"/>
              <a:gd name="T97" fmla="*/ 126 h 142"/>
              <a:gd name="T98" fmla="*/ 138 w 138"/>
              <a:gd name="T99" fmla="*/ 1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8" h="142">
                <a:moveTo>
                  <a:pt x="138" y="130"/>
                </a:moveTo>
                <a:lnTo>
                  <a:pt x="136" y="128"/>
                </a:lnTo>
                <a:lnTo>
                  <a:pt x="136" y="128"/>
                </a:lnTo>
                <a:lnTo>
                  <a:pt x="134" y="124"/>
                </a:lnTo>
                <a:lnTo>
                  <a:pt x="134" y="124"/>
                </a:lnTo>
                <a:lnTo>
                  <a:pt x="132" y="122"/>
                </a:lnTo>
                <a:lnTo>
                  <a:pt x="130" y="120"/>
                </a:lnTo>
                <a:lnTo>
                  <a:pt x="130" y="114"/>
                </a:lnTo>
                <a:lnTo>
                  <a:pt x="126" y="114"/>
                </a:lnTo>
                <a:lnTo>
                  <a:pt x="126" y="114"/>
                </a:lnTo>
                <a:lnTo>
                  <a:pt x="124" y="108"/>
                </a:lnTo>
                <a:lnTo>
                  <a:pt x="124" y="102"/>
                </a:lnTo>
                <a:lnTo>
                  <a:pt x="124" y="102"/>
                </a:lnTo>
                <a:lnTo>
                  <a:pt x="124" y="98"/>
                </a:lnTo>
                <a:lnTo>
                  <a:pt x="122" y="94"/>
                </a:lnTo>
                <a:lnTo>
                  <a:pt x="122" y="94"/>
                </a:lnTo>
                <a:lnTo>
                  <a:pt x="116" y="86"/>
                </a:lnTo>
                <a:lnTo>
                  <a:pt x="116" y="86"/>
                </a:lnTo>
                <a:lnTo>
                  <a:pt x="114" y="84"/>
                </a:lnTo>
                <a:lnTo>
                  <a:pt x="110" y="84"/>
                </a:lnTo>
                <a:lnTo>
                  <a:pt x="110" y="84"/>
                </a:lnTo>
                <a:lnTo>
                  <a:pt x="108" y="84"/>
                </a:lnTo>
                <a:lnTo>
                  <a:pt x="108" y="84"/>
                </a:lnTo>
                <a:lnTo>
                  <a:pt x="110" y="82"/>
                </a:lnTo>
                <a:lnTo>
                  <a:pt x="110" y="80"/>
                </a:lnTo>
                <a:lnTo>
                  <a:pt x="110" y="80"/>
                </a:lnTo>
                <a:lnTo>
                  <a:pt x="106" y="74"/>
                </a:lnTo>
                <a:lnTo>
                  <a:pt x="100" y="70"/>
                </a:lnTo>
                <a:lnTo>
                  <a:pt x="100" y="70"/>
                </a:lnTo>
                <a:lnTo>
                  <a:pt x="96" y="68"/>
                </a:lnTo>
                <a:lnTo>
                  <a:pt x="96" y="64"/>
                </a:lnTo>
                <a:lnTo>
                  <a:pt x="94" y="62"/>
                </a:lnTo>
                <a:lnTo>
                  <a:pt x="92" y="58"/>
                </a:lnTo>
                <a:lnTo>
                  <a:pt x="92" y="58"/>
                </a:lnTo>
                <a:lnTo>
                  <a:pt x="90" y="56"/>
                </a:lnTo>
                <a:lnTo>
                  <a:pt x="88" y="52"/>
                </a:lnTo>
                <a:lnTo>
                  <a:pt x="88" y="52"/>
                </a:lnTo>
                <a:lnTo>
                  <a:pt x="88" y="52"/>
                </a:lnTo>
                <a:lnTo>
                  <a:pt x="90" y="50"/>
                </a:lnTo>
                <a:lnTo>
                  <a:pt x="92" y="48"/>
                </a:lnTo>
                <a:lnTo>
                  <a:pt x="90" y="46"/>
                </a:lnTo>
                <a:lnTo>
                  <a:pt x="90" y="46"/>
                </a:lnTo>
                <a:lnTo>
                  <a:pt x="90" y="44"/>
                </a:lnTo>
                <a:lnTo>
                  <a:pt x="92" y="44"/>
                </a:lnTo>
                <a:lnTo>
                  <a:pt x="94" y="44"/>
                </a:lnTo>
                <a:lnTo>
                  <a:pt x="96" y="44"/>
                </a:lnTo>
                <a:lnTo>
                  <a:pt x="96" y="44"/>
                </a:lnTo>
                <a:lnTo>
                  <a:pt x="96" y="40"/>
                </a:lnTo>
                <a:lnTo>
                  <a:pt x="94" y="36"/>
                </a:lnTo>
                <a:lnTo>
                  <a:pt x="94" y="36"/>
                </a:lnTo>
                <a:lnTo>
                  <a:pt x="94" y="34"/>
                </a:lnTo>
                <a:lnTo>
                  <a:pt x="96" y="34"/>
                </a:lnTo>
                <a:lnTo>
                  <a:pt x="98" y="34"/>
                </a:lnTo>
                <a:lnTo>
                  <a:pt x="100" y="34"/>
                </a:lnTo>
                <a:lnTo>
                  <a:pt x="100" y="34"/>
                </a:lnTo>
                <a:lnTo>
                  <a:pt x="102" y="32"/>
                </a:lnTo>
                <a:lnTo>
                  <a:pt x="102" y="30"/>
                </a:lnTo>
                <a:lnTo>
                  <a:pt x="100" y="30"/>
                </a:lnTo>
                <a:lnTo>
                  <a:pt x="100" y="30"/>
                </a:lnTo>
                <a:lnTo>
                  <a:pt x="98" y="30"/>
                </a:lnTo>
                <a:lnTo>
                  <a:pt x="94" y="30"/>
                </a:lnTo>
                <a:lnTo>
                  <a:pt x="94" y="30"/>
                </a:lnTo>
                <a:lnTo>
                  <a:pt x="90" y="28"/>
                </a:lnTo>
                <a:lnTo>
                  <a:pt x="88" y="28"/>
                </a:lnTo>
                <a:lnTo>
                  <a:pt x="88" y="28"/>
                </a:lnTo>
                <a:lnTo>
                  <a:pt x="86" y="28"/>
                </a:lnTo>
                <a:lnTo>
                  <a:pt x="86" y="26"/>
                </a:lnTo>
                <a:lnTo>
                  <a:pt x="82" y="26"/>
                </a:lnTo>
                <a:lnTo>
                  <a:pt x="82" y="26"/>
                </a:lnTo>
                <a:lnTo>
                  <a:pt x="82" y="24"/>
                </a:lnTo>
                <a:lnTo>
                  <a:pt x="82" y="24"/>
                </a:lnTo>
                <a:lnTo>
                  <a:pt x="80" y="22"/>
                </a:lnTo>
                <a:lnTo>
                  <a:pt x="80" y="20"/>
                </a:lnTo>
                <a:lnTo>
                  <a:pt x="80" y="20"/>
                </a:lnTo>
                <a:lnTo>
                  <a:pt x="78" y="20"/>
                </a:lnTo>
                <a:lnTo>
                  <a:pt x="80" y="18"/>
                </a:lnTo>
                <a:lnTo>
                  <a:pt x="80" y="16"/>
                </a:lnTo>
                <a:lnTo>
                  <a:pt x="78" y="16"/>
                </a:lnTo>
                <a:lnTo>
                  <a:pt x="78" y="16"/>
                </a:lnTo>
                <a:lnTo>
                  <a:pt x="76" y="16"/>
                </a:lnTo>
                <a:lnTo>
                  <a:pt x="78" y="14"/>
                </a:lnTo>
                <a:lnTo>
                  <a:pt x="78" y="12"/>
                </a:lnTo>
                <a:lnTo>
                  <a:pt x="78" y="10"/>
                </a:lnTo>
                <a:lnTo>
                  <a:pt x="78" y="10"/>
                </a:lnTo>
                <a:lnTo>
                  <a:pt x="76" y="4"/>
                </a:lnTo>
                <a:lnTo>
                  <a:pt x="70" y="2"/>
                </a:lnTo>
                <a:lnTo>
                  <a:pt x="66" y="6"/>
                </a:lnTo>
                <a:lnTo>
                  <a:pt x="64" y="2"/>
                </a:lnTo>
                <a:lnTo>
                  <a:pt x="62" y="0"/>
                </a:lnTo>
                <a:lnTo>
                  <a:pt x="62" y="0"/>
                </a:lnTo>
                <a:lnTo>
                  <a:pt x="58" y="4"/>
                </a:lnTo>
                <a:lnTo>
                  <a:pt x="58" y="4"/>
                </a:lnTo>
                <a:lnTo>
                  <a:pt x="56" y="4"/>
                </a:lnTo>
                <a:lnTo>
                  <a:pt x="54" y="4"/>
                </a:lnTo>
                <a:lnTo>
                  <a:pt x="52" y="2"/>
                </a:lnTo>
                <a:lnTo>
                  <a:pt x="50" y="2"/>
                </a:lnTo>
                <a:lnTo>
                  <a:pt x="50" y="2"/>
                </a:lnTo>
                <a:lnTo>
                  <a:pt x="46" y="4"/>
                </a:lnTo>
                <a:lnTo>
                  <a:pt x="46" y="4"/>
                </a:lnTo>
                <a:lnTo>
                  <a:pt x="46" y="6"/>
                </a:lnTo>
                <a:lnTo>
                  <a:pt x="44" y="10"/>
                </a:lnTo>
                <a:lnTo>
                  <a:pt x="42" y="12"/>
                </a:lnTo>
                <a:lnTo>
                  <a:pt x="42" y="12"/>
                </a:lnTo>
                <a:lnTo>
                  <a:pt x="38" y="16"/>
                </a:lnTo>
                <a:lnTo>
                  <a:pt x="36" y="18"/>
                </a:lnTo>
                <a:lnTo>
                  <a:pt x="36" y="20"/>
                </a:lnTo>
                <a:lnTo>
                  <a:pt x="36" y="20"/>
                </a:lnTo>
                <a:lnTo>
                  <a:pt x="36" y="24"/>
                </a:lnTo>
                <a:lnTo>
                  <a:pt x="38" y="28"/>
                </a:lnTo>
                <a:lnTo>
                  <a:pt x="38" y="28"/>
                </a:lnTo>
                <a:lnTo>
                  <a:pt x="34" y="30"/>
                </a:lnTo>
                <a:lnTo>
                  <a:pt x="34" y="32"/>
                </a:lnTo>
                <a:lnTo>
                  <a:pt x="34" y="36"/>
                </a:lnTo>
                <a:lnTo>
                  <a:pt x="34" y="36"/>
                </a:lnTo>
                <a:lnTo>
                  <a:pt x="36" y="40"/>
                </a:lnTo>
                <a:lnTo>
                  <a:pt x="34" y="42"/>
                </a:lnTo>
                <a:lnTo>
                  <a:pt x="34" y="42"/>
                </a:lnTo>
                <a:lnTo>
                  <a:pt x="32" y="50"/>
                </a:lnTo>
                <a:lnTo>
                  <a:pt x="32" y="50"/>
                </a:lnTo>
                <a:lnTo>
                  <a:pt x="28" y="54"/>
                </a:lnTo>
                <a:lnTo>
                  <a:pt x="0" y="76"/>
                </a:lnTo>
                <a:lnTo>
                  <a:pt x="8" y="100"/>
                </a:lnTo>
                <a:lnTo>
                  <a:pt x="46" y="120"/>
                </a:lnTo>
                <a:lnTo>
                  <a:pt x="46" y="126"/>
                </a:lnTo>
                <a:lnTo>
                  <a:pt x="56" y="126"/>
                </a:lnTo>
                <a:lnTo>
                  <a:pt x="58" y="134"/>
                </a:lnTo>
                <a:lnTo>
                  <a:pt x="68" y="140"/>
                </a:lnTo>
                <a:lnTo>
                  <a:pt x="92" y="142"/>
                </a:lnTo>
                <a:lnTo>
                  <a:pt x="92" y="142"/>
                </a:lnTo>
                <a:lnTo>
                  <a:pt x="98" y="140"/>
                </a:lnTo>
                <a:lnTo>
                  <a:pt x="104" y="132"/>
                </a:lnTo>
                <a:lnTo>
                  <a:pt x="104" y="132"/>
                </a:lnTo>
                <a:lnTo>
                  <a:pt x="110" y="126"/>
                </a:lnTo>
                <a:lnTo>
                  <a:pt x="112" y="124"/>
                </a:lnTo>
                <a:lnTo>
                  <a:pt x="114" y="122"/>
                </a:lnTo>
                <a:lnTo>
                  <a:pt x="114" y="122"/>
                </a:lnTo>
                <a:lnTo>
                  <a:pt x="122" y="124"/>
                </a:lnTo>
                <a:lnTo>
                  <a:pt x="122" y="124"/>
                </a:lnTo>
                <a:lnTo>
                  <a:pt x="124" y="124"/>
                </a:lnTo>
                <a:lnTo>
                  <a:pt x="124" y="124"/>
                </a:lnTo>
                <a:lnTo>
                  <a:pt x="126" y="128"/>
                </a:lnTo>
                <a:lnTo>
                  <a:pt x="126" y="128"/>
                </a:lnTo>
                <a:lnTo>
                  <a:pt x="132" y="128"/>
                </a:lnTo>
                <a:lnTo>
                  <a:pt x="132" y="128"/>
                </a:lnTo>
                <a:lnTo>
                  <a:pt x="132" y="128"/>
                </a:lnTo>
                <a:lnTo>
                  <a:pt x="134" y="126"/>
                </a:lnTo>
                <a:lnTo>
                  <a:pt x="134" y="126"/>
                </a:lnTo>
                <a:lnTo>
                  <a:pt x="136" y="128"/>
                </a:lnTo>
                <a:lnTo>
                  <a:pt x="136" y="128"/>
                </a:lnTo>
                <a:lnTo>
                  <a:pt x="138" y="130"/>
                </a:lnTo>
                <a:lnTo>
                  <a:pt x="138" y="1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2" name="Freeform 166">
            <a:extLst>
              <a:ext uri="{FF2B5EF4-FFF2-40B4-BE49-F238E27FC236}">
                <a16:creationId xmlns:a16="http://schemas.microsoft.com/office/drawing/2014/main" id="{E600EEDA-7AEC-448E-9892-F46E5ADCBBBB}"/>
              </a:ext>
            </a:extLst>
          </p:cNvPr>
          <p:cNvSpPr>
            <a:spLocks/>
          </p:cNvSpPr>
          <p:nvPr userDrawn="1"/>
        </p:nvSpPr>
        <p:spPr bwMode="auto">
          <a:xfrm>
            <a:off x="6843590" y="2513777"/>
            <a:ext cx="439384" cy="453021"/>
          </a:xfrm>
          <a:custGeom>
            <a:avLst/>
            <a:gdLst>
              <a:gd name="T0" fmla="*/ 256 w 262"/>
              <a:gd name="T1" fmla="*/ 232 h 264"/>
              <a:gd name="T2" fmla="*/ 252 w 262"/>
              <a:gd name="T3" fmla="*/ 206 h 264"/>
              <a:gd name="T4" fmla="*/ 234 w 262"/>
              <a:gd name="T5" fmla="*/ 172 h 264"/>
              <a:gd name="T6" fmla="*/ 232 w 262"/>
              <a:gd name="T7" fmla="*/ 144 h 264"/>
              <a:gd name="T8" fmla="*/ 228 w 262"/>
              <a:gd name="T9" fmla="*/ 112 h 264"/>
              <a:gd name="T10" fmla="*/ 230 w 262"/>
              <a:gd name="T11" fmla="*/ 88 h 264"/>
              <a:gd name="T12" fmla="*/ 242 w 262"/>
              <a:gd name="T13" fmla="*/ 64 h 264"/>
              <a:gd name="T14" fmla="*/ 224 w 262"/>
              <a:gd name="T15" fmla="*/ 44 h 264"/>
              <a:gd name="T16" fmla="*/ 186 w 262"/>
              <a:gd name="T17" fmla="*/ 28 h 264"/>
              <a:gd name="T18" fmla="*/ 146 w 262"/>
              <a:gd name="T19" fmla="*/ 30 h 264"/>
              <a:gd name="T20" fmla="*/ 132 w 262"/>
              <a:gd name="T21" fmla="*/ 42 h 264"/>
              <a:gd name="T22" fmla="*/ 126 w 262"/>
              <a:gd name="T23" fmla="*/ 54 h 264"/>
              <a:gd name="T24" fmla="*/ 124 w 262"/>
              <a:gd name="T25" fmla="*/ 50 h 264"/>
              <a:gd name="T26" fmla="*/ 106 w 262"/>
              <a:gd name="T27" fmla="*/ 58 h 264"/>
              <a:gd name="T28" fmla="*/ 82 w 262"/>
              <a:gd name="T29" fmla="*/ 42 h 264"/>
              <a:gd name="T30" fmla="*/ 72 w 262"/>
              <a:gd name="T31" fmla="*/ 42 h 264"/>
              <a:gd name="T32" fmla="*/ 64 w 262"/>
              <a:gd name="T33" fmla="*/ 30 h 264"/>
              <a:gd name="T34" fmla="*/ 56 w 262"/>
              <a:gd name="T35" fmla="*/ 14 h 264"/>
              <a:gd name="T36" fmla="*/ 54 w 262"/>
              <a:gd name="T37" fmla="*/ 8 h 264"/>
              <a:gd name="T38" fmla="*/ 52 w 262"/>
              <a:gd name="T39" fmla="*/ 0 h 264"/>
              <a:gd name="T40" fmla="*/ 48 w 262"/>
              <a:gd name="T41" fmla="*/ 2 h 264"/>
              <a:gd name="T42" fmla="*/ 38 w 262"/>
              <a:gd name="T43" fmla="*/ 12 h 264"/>
              <a:gd name="T44" fmla="*/ 26 w 262"/>
              <a:gd name="T45" fmla="*/ 14 h 264"/>
              <a:gd name="T46" fmla="*/ 18 w 262"/>
              <a:gd name="T47" fmla="*/ 6 h 264"/>
              <a:gd name="T48" fmla="*/ 12 w 262"/>
              <a:gd name="T49" fmla="*/ 6 h 264"/>
              <a:gd name="T50" fmla="*/ 6 w 262"/>
              <a:gd name="T51" fmla="*/ 4 h 264"/>
              <a:gd name="T52" fmla="*/ 4 w 262"/>
              <a:gd name="T53" fmla="*/ 14 h 264"/>
              <a:gd name="T54" fmla="*/ 4 w 262"/>
              <a:gd name="T55" fmla="*/ 22 h 264"/>
              <a:gd name="T56" fmla="*/ 6 w 262"/>
              <a:gd name="T57" fmla="*/ 34 h 264"/>
              <a:gd name="T58" fmla="*/ 8 w 262"/>
              <a:gd name="T59" fmla="*/ 46 h 264"/>
              <a:gd name="T60" fmla="*/ 10 w 262"/>
              <a:gd name="T61" fmla="*/ 56 h 264"/>
              <a:gd name="T62" fmla="*/ 12 w 262"/>
              <a:gd name="T63" fmla="*/ 60 h 264"/>
              <a:gd name="T64" fmla="*/ 12 w 262"/>
              <a:gd name="T65" fmla="*/ 66 h 264"/>
              <a:gd name="T66" fmla="*/ 18 w 262"/>
              <a:gd name="T67" fmla="*/ 70 h 264"/>
              <a:gd name="T68" fmla="*/ 26 w 262"/>
              <a:gd name="T69" fmla="*/ 74 h 264"/>
              <a:gd name="T70" fmla="*/ 34 w 262"/>
              <a:gd name="T71" fmla="*/ 74 h 264"/>
              <a:gd name="T72" fmla="*/ 28 w 262"/>
              <a:gd name="T73" fmla="*/ 78 h 264"/>
              <a:gd name="T74" fmla="*/ 28 w 262"/>
              <a:gd name="T75" fmla="*/ 88 h 264"/>
              <a:gd name="T76" fmla="*/ 22 w 262"/>
              <a:gd name="T77" fmla="*/ 90 h 264"/>
              <a:gd name="T78" fmla="*/ 20 w 262"/>
              <a:gd name="T79" fmla="*/ 96 h 264"/>
              <a:gd name="T80" fmla="*/ 26 w 262"/>
              <a:gd name="T81" fmla="*/ 106 h 264"/>
              <a:gd name="T82" fmla="*/ 38 w 262"/>
              <a:gd name="T83" fmla="*/ 118 h 264"/>
              <a:gd name="T84" fmla="*/ 40 w 262"/>
              <a:gd name="T85" fmla="*/ 128 h 264"/>
              <a:gd name="T86" fmla="*/ 48 w 262"/>
              <a:gd name="T87" fmla="*/ 130 h 264"/>
              <a:gd name="T88" fmla="*/ 56 w 262"/>
              <a:gd name="T89" fmla="*/ 146 h 264"/>
              <a:gd name="T90" fmla="*/ 62 w 262"/>
              <a:gd name="T91" fmla="*/ 164 h 264"/>
              <a:gd name="T92" fmla="*/ 68 w 262"/>
              <a:gd name="T93" fmla="*/ 172 h 264"/>
              <a:gd name="T94" fmla="*/ 82 w 262"/>
              <a:gd name="T95" fmla="*/ 172 h 264"/>
              <a:gd name="T96" fmla="*/ 88 w 262"/>
              <a:gd name="T97" fmla="*/ 190 h 264"/>
              <a:gd name="T98" fmla="*/ 96 w 262"/>
              <a:gd name="T99" fmla="*/ 202 h 264"/>
              <a:gd name="T100" fmla="*/ 102 w 262"/>
              <a:gd name="T101" fmla="*/ 210 h 264"/>
              <a:gd name="T102" fmla="*/ 108 w 262"/>
              <a:gd name="T103" fmla="*/ 222 h 264"/>
              <a:gd name="T104" fmla="*/ 120 w 262"/>
              <a:gd name="T105" fmla="*/ 234 h 264"/>
              <a:gd name="T106" fmla="*/ 132 w 262"/>
              <a:gd name="T107" fmla="*/ 238 h 264"/>
              <a:gd name="T108" fmla="*/ 144 w 262"/>
              <a:gd name="T109" fmla="*/ 238 h 264"/>
              <a:gd name="T110" fmla="*/ 172 w 262"/>
              <a:gd name="T111" fmla="*/ 232 h 264"/>
              <a:gd name="T112" fmla="*/ 184 w 262"/>
              <a:gd name="T113" fmla="*/ 256 h 264"/>
              <a:gd name="T114" fmla="*/ 202 w 262"/>
              <a:gd name="T115" fmla="*/ 260 h 264"/>
              <a:gd name="T116" fmla="*/ 226 w 262"/>
              <a:gd name="T11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264">
                <a:moveTo>
                  <a:pt x="230" y="264"/>
                </a:moveTo>
                <a:lnTo>
                  <a:pt x="232" y="248"/>
                </a:lnTo>
                <a:lnTo>
                  <a:pt x="240" y="236"/>
                </a:lnTo>
                <a:lnTo>
                  <a:pt x="248" y="234"/>
                </a:lnTo>
                <a:lnTo>
                  <a:pt x="256" y="232"/>
                </a:lnTo>
                <a:lnTo>
                  <a:pt x="262" y="228"/>
                </a:lnTo>
                <a:lnTo>
                  <a:pt x="262" y="222"/>
                </a:lnTo>
                <a:lnTo>
                  <a:pt x="256" y="220"/>
                </a:lnTo>
                <a:lnTo>
                  <a:pt x="256" y="212"/>
                </a:lnTo>
                <a:lnTo>
                  <a:pt x="252" y="206"/>
                </a:lnTo>
                <a:lnTo>
                  <a:pt x="246" y="204"/>
                </a:lnTo>
                <a:lnTo>
                  <a:pt x="240" y="194"/>
                </a:lnTo>
                <a:lnTo>
                  <a:pt x="238" y="190"/>
                </a:lnTo>
                <a:lnTo>
                  <a:pt x="240" y="186"/>
                </a:lnTo>
                <a:lnTo>
                  <a:pt x="234" y="172"/>
                </a:lnTo>
                <a:lnTo>
                  <a:pt x="248" y="156"/>
                </a:lnTo>
                <a:lnTo>
                  <a:pt x="248" y="152"/>
                </a:lnTo>
                <a:lnTo>
                  <a:pt x="246" y="148"/>
                </a:lnTo>
                <a:lnTo>
                  <a:pt x="234" y="146"/>
                </a:lnTo>
                <a:lnTo>
                  <a:pt x="232" y="144"/>
                </a:lnTo>
                <a:lnTo>
                  <a:pt x="232" y="136"/>
                </a:lnTo>
                <a:lnTo>
                  <a:pt x="230" y="128"/>
                </a:lnTo>
                <a:lnTo>
                  <a:pt x="224" y="122"/>
                </a:lnTo>
                <a:lnTo>
                  <a:pt x="224" y="116"/>
                </a:lnTo>
                <a:lnTo>
                  <a:pt x="228" y="112"/>
                </a:lnTo>
                <a:lnTo>
                  <a:pt x="224" y="110"/>
                </a:lnTo>
                <a:lnTo>
                  <a:pt x="224" y="106"/>
                </a:lnTo>
                <a:lnTo>
                  <a:pt x="224" y="96"/>
                </a:lnTo>
                <a:lnTo>
                  <a:pt x="228" y="90"/>
                </a:lnTo>
                <a:lnTo>
                  <a:pt x="230" y="88"/>
                </a:lnTo>
                <a:lnTo>
                  <a:pt x="236" y="88"/>
                </a:lnTo>
                <a:lnTo>
                  <a:pt x="238" y="82"/>
                </a:lnTo>
                <a:lnTo>
                  <a:pt x="240" y="76"/>
                </a:lnTo>
                <a:lnTo>
                  <a:pt x="242" y="70"/>
                </a:lnTo>
                <a:lnTo>
                  <a:pt x="242" y="64"/>
                </a:lnTo>
                <a:lnTo>
                  <a:pt x="242" y="58"/>
                </a:lnTo>
                <a:lnTo>
                  <a:pt x="234" y="56"/>
                </a:lnTo>
                <a:lnTo>
                  <a:pt x="230" y="50"/>
                </a:lnTo>
                <a:lnTo>
                  <a:pt x="228" y="46"/>
                </a:lnTo>
                <a:lnTo>
                  <a:pt x="224" y="44"/>
                </a:lnTo>
                <a:lnTo>
                  <a:pt x="216" y="38"/>
                </a:lnTo>
                <a:lnTo>
                  <a:pt x="208" y="34"/>
                </a:lnTo>
                <a:lnTo>
                  <a:pt x="198" y="30"/>
                </a:lnTo>
                <a:lnTo>
                  <a:pt x="194" y="28"/>
                </a:lnTo>
                <a:lnTo>
                  <a:pt x="186" y="28"/>
                </a:lnTo>
                <a:lnTo>
                  <a:pt x="170" y="24"/>
                </a:lnTo>
                <a:lnTo>
                  <a:pt x="164" y="26"/>
                </a:lnTo>
                <a:lnTo>
                  <a:pt x="158" y="28"/>
                </a:lnTo>
                <a:lnTo>
                  <a:pt x="150" y="28"/>
                </a:lnTo>
                <a:lnTo>
                  <a:pt x="146" y="30"/>
                </a:lnTo>
                <a:lnTo>
                  <a:pt x="144" y="34"/>
                </a:lnTo>
                <a:lnTo>
                  <a:pt x="144" y="36"/>
                </a:lnTo>
                <a:lnTo>
                  <a:pt x="140" y="42"/>
                </a:lnTo>
                <a:lnTo>
                  <a:pt x="132" y="42"/>
                </a:lnTo>
                <a:lnTo>
                  <a:pt x="132" y="42"/>
                </a:lnTo>
                <a:lnTo>
                  <a:pt x="132" y="52"/>
                </a:lnTo>
                <a:lnTo>
                  <a:pt x="132" y="52"/>
                </a:lnTo>
                <a:lnTo>
                  <a:pt x="130" y="54"/>
                </a:lnTo>
                <a:lnTo>
                  <a:pt x="130" y="54"/>
                </a:lnTo>
                <a:lnTo>
                  <a:pt x="126" y="54"/>
                </a:lnTo>
                <a:lnTo>
                  <a:pt x="124" y="52"/>
                </a:lnTo>
                <a:lnTo>
                  <a:pt x="124" y="52"/>
                </a:lnTo>
                <a:lnTo>
                  <a:pt x="126" y="52"/>
                </a:lnTo>
                <a:lnTo>
                  <a:pt x="126" y="52"/>
                </a:lnTo>
                <a:lnTo>
                  <a:pt x="124" y="50"/>
                </a:lnTo>
                <a:lnTo>
                  <a:pt x="120" y="50"/>
                </a:lnTo>
                <a:lnTo>
                  <a:pt x="120" y="50"/>
                </a:lnTo>
                <a:lnTo>
                  <a:pt x="112" y="54"/>
                </a:lnTo>
                <a:lnTo>
                  <a:pt x="106" y="58"/>
                </a:lnTo>
                <a:lnTo>
                  <a:pt x="106" y="58"/>
                </a:lnTo>
                <a:lnTo>
                  <a:pt x="96" y="54"/>
                </a:lnTo>
                <a:lnTo>
                  <a:pt x="86" y="48"/>
                </a:lnTo>
                <a:lnTo>
                  <a:pt x="86" y="48"/>
                </a:lnTo>
                <a:lnTo>
                  <a:pt x="82" y="42"/>
                </a:lnTo>
                <a:lnTo>
                  <a:pt x="82" y="42"/>
                </a:lnTo>
                <a:lnTo>
                  <a:pt x="78" y="42"/>
                </a:lnTo>
                <a:lnTo>
                  <a:pt x="78" y="40"/>
                </a:lnTo>
                <a:lnTo>
                  <a:pt x="78" y="40"/>
                </a:lnTo>
                <a:lnTo>
                  <a:pt x="74" y="42"/>
                </a:lnTo>
                <a:lnTo>
                  <a:pt x="72" y="42"/>
                </a:lnTo>
                <a:lnTo>
                  <a:pt x="70" y="44"/>
                </a:lnTo>
                <a:lnTo>
                  <a:pt x="68" y="40"/>
                </a:lnTo>
                <a:lnTo>
                  <a:pt x="66" y="38"/>
                </a:lnTo>
                <a:lnTo>
                  <a:pt x="66" y="38"/>
                </a:lnTo>
                <a:lnTo>
                  <a:pt x="64" y="30"/>
                </a:lnTo>
                <a:lnTo>
                  <a:pt x="62" y="20"/>
                </a:lnTo>
                <a:lnTo>
                  <a:pt x="62" y="20"/>
                </a:lnTo>
                <a:lnTo>
                  <a:pt x="58" y="16"/>
                </a:lnTo>
                <a:lnTo>
                  <a:pt x="58" y="16"/>
                </a:lnTo>
                <a:lnTo>
                  <a:pt x="56" y="14"/>
                </a:lnTo>
                <a:lnTo>
                  <a:pt x="54" y="12"/>
                </a:lnTo>
                <a:lnTo>
                  <a:pt x="54" y="12"/>
                </a:lnTo>
                <a:lnTo>
                  <a:pt x="54" y="10"/>
                </a:lnTo>
                <a:lnTo>
                  <a:pt x="54" y="8"/>
                </a:lnTo>
                <a:lnTo>
                  <a:pt x="54" y="8"/>
                </a:lnTo>
                <a:lnTo>
                  <a:pt x="56" y="6"/>
                </a:lnTo>
                <a:lnTo>
                  <a:pt x="56" y="6"/>
                </a:lnTo>
                <a:lnTo>
                  <a:pt x="56" y="4"/>
                </a:lnTo>
                <a:lnTo>
                  <a:pt x="52" y="0"/>
                </a:lnTo>
                <a:lnTo>
                  <a:pt x="52" y="0"/>
                </a:lnTo>
                <a:lnTo>
                  <a:pt x="52" y="0"/>
                </a:lnTo>
                <a:lnTo>
                  <a:pt x="52" y="0"/>
                </a:lnTo>
                <a:lnTo>
                  <a:pt x="50" y="2"/>
                </a:lnTo>
                <a:lnTo>
                  <a:pt x="48" y="2"/>
                </a:lnTo>
                <a:lnTo>
                  <a:pt x="48" y="2"/>
                </a:lnTo>
                <a:lnTo>
                  <a:pt x="44" y="6"/>
                </a:lnTo>
                <a:lnTo>
                  <a:pt x="42" y="10"/>
                </a:lnTo>
                <a:lnTo>
                  <a:pt x="42" y="10"/>
                </a:lnTo>
                <a:lnTo>
                  <a:pt x="38" y="12"/>
                </a:lnTo>
                <a:lnTo>
                  <a:pt x="38" y="12"/>
                </a:lnTo>
                <a:lnTo>
                  <a:pt x="34" y="14"/>
                </a:lnTo>
                <a:lnTo>
                  <a:pt x="34" y="14"/>
                </a:lnTo>
                <a:lnTo>
                  <a:pt x="28" y="16"/>
                </a:lnTo>
                <a:lnTo>
                  <a:pt x="28" y="16"/>
                </a:lnTo>
                <a:lnTo>
                  <a:pt x="26" y="14"/>
                </a:lnTo>
                <a:lnTo>
                  <a:pt x="24" y="12"/>
                </a:lnTo>
                <a:lnTo>
                  <a:pt x="24" y="12"/>
                </a:lnTo>
                <a:lnTo>
                  <a:pt x="22" y="10"/>
                </a:lnTo>
                <a:lnTo>
                  <a:pt x="18" y="6"/>
                </a:lnTo>
                <a:lnTo>
                  <a:pt x="18" y="6"/>
                </a:lnTo>
                <a:lnTo>
                  <a:pt x="16" y="4"/>
                </a:lnTo>
                <a:lnTo>
                  <a:pt x="16" y="2"/>
                </a:lnTo>
                <a:lnTo>
                  <a:pt x="14" y="2"/>
                </a:lnTo>
                <a:lnTo>
                  <a:pt x="12" y="6"/>
                </a:lnTo>
                <a:lnTo>
                  <a:pt x="12" y="6"/>
                </a:lnTo>
                <a:lnTo>
                  <a:pt x="12" y="6"/>
                </a:lnTo>
                <a:lnTo>
                  <a:pt x="8" y="4"/>
                </a:lnTo>
                <a:lnTo>
                  <a:pt x="8" y="4"/>
                </a:lnTo>
                <a:lnTo>
                  <a:pt x="6" y="4"/>
                </a:lnTo>
                <a:lnTo>
                  <a:pt x="6" y="4"/>
                </a:lnTo>
                <a:lnTo>
                  <a:pt x="4" y="8"/>
                </a:lnTo>
                <a:lnTo>
                  <a:pt x="4" y="8"/>
                </a:lnTo>
                <a:lnTo>
                  <a:pt x="2" y="10"/>
                </a:lnTo>
                <a:lnTo>
                  <a:pt x="2" y="10"/>
                </a:lnTo>
                <a:lnTo>
                  <a:pt x="4" y="14"/>
                </a:lnTo>
                <a:lnTo>
                  <a:pt x="4" y="14"/>
                </a:lnTo>
                <a:lnTo>
                  <a:pt x="4" y="16"/>
                </a:lnTo>
                <a:lnTo>
                  <a:pt x="4" y="18"/>
                </a:lnTo>
                <a:lnTo>
                  <a:pt x="4" y="18"/>
                </a:lnTo>
                <a:lnTo>
                  <a:pt x="4" y="22"/>
                </a:lnTo>
                <a:lnTo>
                  <a:pt x="2" y="24"/>
                </a:lnTo>
                <a:lnTo>
                  <a:pt x="2" y="24"/>
                </a:lnTo>
                <a:lnTo>
                  <a:pt x="0" y="26"/>
                </a:lnTo>
                <a:lnTo>
                  <a:pt x="2" y="30"/>
                </a:lnTo>
                <a:lnTo>
                  <a:pt x="6" y="34"/>
                </a:lnTo>
                <a:lnTo>
                  <a:pt x="6" y="34"/>
                </a:lnTo>
                <a:lnTo>
                  <a:pt x="6" y="38"/>
                </a:lnTo>
                <a:lnTo>
                  <a:pt x="8" y="42"/>
                </a:lnTo>
                <a:lnTo>
                  <a:pt x="8" y="42"/>
                </a:lnTo>
                <a:lnTo>
                  <a:pt x="8" y="46"/>
                </a:lnTo>
                <a:lnTo>
                  <a:pt x="8" y="48"/>
                </a:lnTo>
                <a:lnTo>
                  <a:pt x="8" y="48"/>
                </a:lnTo>
                <a:lnTo>
                  <a:pt x="10" y="54"/>
                </a:lnTo>
                <a:lnTo>
                  <a:pt x="10" y="54"/>
                </a:lnTo>
                <a:lnTo>
                  <a:pt x="10" y="56"/>
                </a:lnTo>
                <a:lnTo>
                  <a:pt x="10" y="58"/>
                </a:lnTo>
                <a:lnTo>
                  <a:pt x="8" y="60"/>
                </a:lnTo>
                <a:lnTo>
                  <a:pt x="10" y="60"/>
                </a:lnTo>
                <a:lnTo>
                  <a:pt x="10" y="60"/>
                </a:lnTo>
                <a:lnTo>
                  <a:pt x="12" y="60"/>
                </a:lnTo>
                <a:lnTo>
                  <a:pt x="12" y="62"/>
                </a:lnTo>
                <a:lnTo>
                  <a:pt x="10" y="64"/>
                </a:lnTo>
                <a:lnTo>
                  <a:pt x="12" y="64"/>
                </a:lnTo>
                <a:lnTo>
                  <a:pt x="12" y="64"/>
                </a:lnTo>
                <a:lnTo>
                  <a:pt x="12" y="66"/>
                </a:lnTo>
                <a:lnTo>
                  <a:pt x="14" y="68"/>
                </a:lnTo>
                <a:lnTo>
                  <a:pt x="14" y="68"/>
                </a:lnTo>
                <a:lnTo>
                  <a:pt x="14" y="70"/>
                </a:lnTo>
                <a:lnTo>
                  <a:pt x="14" y="70"/>
                </a:lnTo>
                <a:lnTo>
                  <a:pt x="18" y="70"/>
                </a:lnTo>
                <a:lnTo>
                  <a:pt x="18" y="72"/>
                </a:lnTo>
                <a:lnTo>
                  <a:pt x="20" y="72"/>
                </a:lnTo>
                <a:lnTo>
                  <a:pt x="20" y="72"/>
                </a:lnTo>
                <a:lnTo>
                  <a:pt x="22" y="72"/>
                </a:lnTo>
                <a:lnTo>
                  <a:pt x="26" y="74"/>
                </a:lnTo>
                <a:lnTo>
                  <a:pt x="26" y="74"/>
                </a:lnTo>
                <a:lnTo>
                  <a:pt x="30" y="74"/>
                </a:lnTo>
                <a:lnTo>
                  <a:pt x="32" y="74"/>
                </a:lnTo>
                <a:lnTo>
                  <a:pt x="32" y="74"/>
                </a:lnTo>
                <a:lnTo>
                  <a:pt x="34" y="74"/>
                </a:lnTo>
                <a:lnTo>
                  <a:pt x="34" y="76"/>
                </a:lnTo>
                <a:lnTo>
                  <a:pt x="32" y="78"/>
                </a:lnTo>
                <a:lnTo>
                  <a:pt x="32" y="78"/>
                </a:lnTo>
                <a:lnTo>
                  <a:pt x="30" y="78"/>
                </a:lnTo>
                <a:lnTo>
                  <a:pt x="28" y="78"/>
                </a:lnTo>
                <a:lnTo>
                  <a:pt x="26" y="78"/>
                </a:lnTo>
                <a:lnTo>
                  <a:pt x="26" y="80"/>
                </a:lnTo>
                <a:lnTo>
                  <a:pt x="26" y="80"/>
                </a:lnTo>
                <a:lnTo>
                  <a:pt x="28" y="84"/>
                </a:lnTo>
                <a:lnTo>
                  <a:pt x="28" y="88"/>
                </a:lnTo>
                <a:lnTo>
                  <a:pt x="28" y="88"/>
                </a:lnTo>
                <a:lnTo>
                  <a:pt x="26" y="88"/>
                </a:lnTo>
                <a:lnTo>
                  <a:pt x="24" y="88"/>
                </a:lnTo>
                <a:lnTo>
                  <a:pt x="22" y="88"/>
                </a:lnTo>
                <a:lnTo>
                  <a:pt x="22" y="90"/>
                </a:lnTo>
                <a:lnTo>
                  <a:pt x="22" y="90"/>
                </a:lnTo>
                <a:lnTo>
                  <a:pt x="24" y="92"/>
                </a:lnTo>
                <a:lnTo>
                  <a:pt x="22" y="94"/>
                </a:lnTo>
                <a:lnTo>
                  <a:pt x="20" y="96"/>
                </a:lnTo>
                <a:lnTo>
                  <a:pt x="20" y="96"/>
                </a:lnTo>
                <a:lnTo>
                  <a:pt x="20" y="96"/>
                </a:lnTo>
                <a:lnTo>
                  <a:pt x="22" y="100"/>
                </a:lnTo>
                <a:lnTo>
                  <a:pt x="24" y="102"/>
                </a:lnTo>
                <a:lnTo>
                  <a:pt x="24" y="102"/>
                </a:lnTo>
                <a:lnTo>
                  <a:pt x="26" y="106"/>
                </a:lnTo>
                <a:lnTo>
                  <a:pt x="28" y="108"/>
                </a:lnTo>
                <a:lnTo>
                  <a:pt x="28" y="112"/>
                </a:lnTo>
                <a:lnTo>
                  <a:pt x="32" y="114"/>
                </a:lnTo>
                <a:lnTo>
                  <a:pt x="32" y="114"/>
                </a:lnTo>
                <a:lnTo>
                  <a:pt x="38" y="118"/>
                </a:lnTo>
                <a:lnTo>
                  <a:pt x="42" y="124"/>
                </a:lnTo>
                <a:lnTo>
                  <a:pt x="42" y="124"/>
                </a:lnTo>
                <a:lnTo>
                  <a:pt x="42" y="126"/>
                </a:lnTo>
                <a:lnTo>
                  <a:pt x="40" y="128"/>
                </a:lnTo>
                <a:lnTo>
                  <a:pt x="40" y="128"/>
                </a:lnTo>
                <a:lnTo>
                  <a:pt x="42" y="128"/>
                </a:lnTo>
                <a:lnTo>
                  <a:pt x="42" y="128"/>
                </a:lnTo>
                <a:lnTo>
                  <a:pt x="46" y="128"/>
                </a:lnTo>
                <a:lnTo>
                  <a:pt x="48" y="130"/>
                </a:lnTo>
                <a:lnTo>
                  <a:pt x="48" y="130"/>
                </a:lnTo>
                <a:lnTo>
                  <a:pt x="54" y="138"/>
                </a:lnTo>
                <a:lnTo>
                  <a:pt x="54" y="138"/>
                </a:lnTo>
                <a:lnTo>
                  <a:pt x="56" y="142"/>
                </a:lnTo>
                <a:lnTo>
                  <a:pt x="56" y="146"/>
                </a:lnTo>
                <a:lnTo>
                  <a:pt x="56" y="146"/>
                </a:lnTo>
                <a:lnTo>
                  <a:pt x="56" y="152"/>
                </a:lnTo>
                <a:lnTo>
                  <a:pt x="58" y="158"/>
                </a:lnTo>
                <a:lnTo>
                  <a:pt x="62" y="158"/>
                </a:lnTo>
                <a:lnTo>
                  <a:pt x="62" y="164"/>
                </a:lnTo>
                <a:lnTo>
                  <a:pt x="62" y="164"/>
                </a:lnTo>
                <a:lnTo>
                  <a:pt x="64" y="166"/>
                </a:lnTo>
                <a:lnTo>
                  <a:pt x="66" y="168"/>
                </a:lnTo>
                <a:lnTo>
                  <a:pt x="66" y="168"/>
                </a:lnTo>
                <a:lnTo>
                  <a:pt x="68" y="172"/>
                </a:lnTo>
                <a:lnTo>
                  <a:pt x="68" y="172"/>
                </a:lnTo>
                <a:lnTo>
                  <a:pt x="68" y="172"/>
                </a:lnTo>
                <a:lnTo>
                  <a:pt x="68" y="172"/>
                </a:lnTo>
                <a:lnTo>
                  <a:pt x="76" y="174"/>
                </a:lnTo>
                <a:lnTo>
                  <a:pt x="82" y="172"/>
                </a:lnTo>
                <a:lnTo>
                  <a:pt x="82" y="172"/>
                </a:lnTo>
                <a:lnTo>
                  <a:pt x="88" y="184"/>
                </a:lnTo>
                <a:lnTo>
                  <a:pt x="88" y="184"/>
                </a:lnTo>
                <a:lnTo>
                  <a:pt x="88" y="188"/>
                </a:lnTo>
                <a:lnTo>
                  <a:pt x="88" y="190"/>
                </a:lnTo>
                <a:lnTo>
                  <a:pt x="88" y="190"/>
                </a:lnTo>
                <a:lnTo>
                  <a:pt x="92" y="192"/>
                </a:lnTo>
                <a:lnTo>
                  <a:pt x="92" y="196"/>
                </a:lnTo>
                <a:lnTo>
                  <a:pt x="92" y="196"/>
                </a:lnTo>
                <a:lnTo>
                  <a:pt x="94" y="200"/>
                </a:lnTo>
                <a:lnTo>
                  <a:pt x="96" y="202"/>
                </a:lnTo>
                <a:lnTo>
                  <a:pt x="96" y="202"/>
                </a:lnTo>
                <a:lnTo>
                  <a:pt x="96" y="206"/>
                </a:lnTo>
                <a:lnTo>
                  <a:pt x="96" y="206"/>
                </a:lnTo>
                <a:lnTo>
                  <a:pt x="100" y="208"/>
                </a:lnTo>
                <a:lnTo>
                  <a:pt x="102" y="210"/>
                </a:lnTo>
                <a:lnTo>
                  <a:pt x="102" y="210"/>
                </a:lnTo>
                <a:lnTo>
                  <a:pt x="102" y="212"/>
                </a:lnTo>
                <a:lnTo>
                  <a:pt x="102" y="216"/>
                </a:lnTo>
                <a:lnTo>
                  <a:pt x="102" y="216"/>
                </a:lnTo>
                <a:lnTo>
                  <a:pt x="108" y="222"/>
                </a:lnTo>
                <a:lnTo>
                  <a:pt x="112" y="222"/>
                </a:lnTo>
                <a:lnTo>
                  <a:pt x="112" y="222"/>
                </a:lnTo>
                <a:lnTo>
                  <a:pt x="112" y="226"/>
                </a:lnTo>
                <a:lnTo>
                  <a:pt x="120" y="234"/>
                </a:lnTo>
                <a:lnTo>
                  <a:pt x="120" y="234"/>
                </a:lnTo>
                <a:lnTo>
                  <a:pt x="124" y="234"/>
                </a:lnTo>
                <a:lnTo>
                  <a:pt x="124" y="234"/>
                </a:lnTo>
                <a:lnTo>
                  <a:pt x="128" y="238"/>
                </a:lnTo>
                <a:lnTo>
                  <a:pt x="128" y="238"/>
                </a:lnTo>
                <a:lnTo>
                  <a:pt x="132" y="238"/>
                </a:lnTo>
                <a:lnTo>
                  <a:pt x="132" y="238"/>
                </a:lnTo>
                <a:lnTo>
                  <a:pt x="136" y="240"/>
                </a:lnTo>
                <a:lnTo>
                  <a:pt x="140" y="242"/>
                </a:lnTo>
                <a:lnTo>
                  <a:pt x="142" y="240"/>
                </a:lnTo>
                <a:lnTo>
                  <a:pt x="144" y="238"/>
                </a:lnTo>
                <a:lnTo>
                  <a:pt x="144" y="238"/>
                </a:lnTo>
                <a:lnTo>
                  <a:pt x="156" y="234"/>
                </a:lnTo>
                <a:lnTo>
                  <a:pt x="166" y="228"/>
                </a:lnTo>
                <a:lnTo>
                  <a:pt x="166" y="228"/>
                </a:lnTo>
                <a:lnTo>
                  <a:pt x="172" y="232"/>
                </a:lnTo>
                <a:lnTo>
                  <a:pt x="176" y="238"/>
                </a:lnTo>
                <a:lnTo>
                  <a:pt x="176" y="238"/>
                </a:lnTo>
                <a:lnTo>
                  <a:pt x="178" y="248"/>
                </a:lnTo>
                <a:lnTo>
                  <a:pt x="180" y="252"/>
                </a:lnTo>
                <a:lnTo>
                  <a:pt x="184" y="256"/>
                </a:lnTo>
                <a:lnTo>
                  <a:pt x="184" y="256"/>
                </a:lnTo>
                <a:lnTo>
                  <a:pt x="192" y="258"/>
                </a:lnTo>
                <a:lnTo>
                  <a:pt x="202" y="258"/>
                </a:lnTo>
                <a:lnTo>
                  <a:pt x="202" y="260"/>
                </a:lnTo>
                <a:lnTo>
                  <a:pt x="202" y="260"/>
                </a:lnTo>
                <a:lnTo>
                  <a:pt x="212" y="260"/>
                </a:lnTo>
                <a:lnTo>
                  <a:pt x="220" y="258"/>
                </a:lnTo>
                <a:lnTo>
                  <a:pt x="220" y="258"/>
                </a:lnTo>
                <a:lnTo>
                  <a:pt x="226" y="262"/>
                </a:lnTo>
                <a:lnTo>
                  <a:pt x="226" y="264"/>
                </a:lnTo>
                <a:lnTo>
                  <a:pt x="226" y="264"/>
                </a:lnTo>
                <a:lnTo>
                  <a:pt x="230" y="264"/>
                </a:lnTo>
                <a:lnTo>
                  <a:pt x="230" y="26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3" name="Line 167">
            <a:extLst>
              <a:ext uri="{FF2B5EF4-FFF2-40B4-BE49-F238E27FC236}">
                <a16:creationId xmlns:a16="http://schemas.microsoft.com/office/drawing/2014/main" id="{0A08B6AB-15C4-455F-86BC-A68EE77D0F28}"/>
              </a:ext>
            </a:extLst>
          </p:cNvPr>
          <p:cNvSpPr>
            <a:spLocks noChangeShapeType="1"/>
          </p:cNvSpPr>
          <p:nvPr userDrawn="1"/>
        </p:nvSpPr>
        <p:spPr bwMode="auto">
          <a:xfrm>
            <a:off x="8631310" y="3742423"/>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4" name="Line 168">
            <a:extLst>
              <a:ext uri="{FF2B5EF4-FFF2-40B4-BE49-F238E27FC236}">
                <a16:creationId xmlns:a16="http://schemas.microsoft.com/office/drawing/2014/main" id="{B4FD65DF-4665-4A78-99C8-446A170E112C}"/>
              </a:ext>
            </a:extLst>
          </p:cNvPr>
          <p:cNvSpPr>
            <a:spLocks noChangeShapeType="1"/>
          </p:cNvSpPr>
          <p:nvPr userDrawn="1"/>
        </p:nvSpPr>
        <p:spPr bwMode="auto">
          <a:xfrm>
            <a:off x="8631310" y="3742423"/>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5" name="Freeform 169">
            <a:extLst>
              <a:ext uri="{FF2B5EF4-FFF2-40B4-BE49-F238E27FC236}">
                <a16:creationId xmlns:a16="http://schemas.microsoft.com/office/drawing/2014/main" id="{7309FCE3-C804-4F05-8CB8-ACDD40C0C313}"/>
              </a:ext>
            </a:extLst>
          </p:cNvPr>
          <p:cNvSpPr>
            <a:spLocks/>
          </p:cNvSpPr>
          <p:nvPr userDrawn="1"/>
        </p:nvSpPr>
        <p:spPr bwMode="auto">
          <a:xfrm>
            <a:off x="8178511" y="3701239"/>
            <a:ext cx="3354" cy="6864"/>
          </a:xfrm>
          <a:custGeom>
            <a:avLst/>
            <a:gdLst>
              <a:gd name="T0" fmla="*/ 0 w 2"/>
              <a:gd name="T1" fmla="*/ 0 h 4"/>
              <a:gd name="T2" fmla="*/ 0 w 2"/>
              <a:gd name="T3" fmla="*/ 4 h 4"/>
              <a:gd name="T4" fmla="*/ 0 w 2"/>
              <a:gd name="T5" fmla="*/ 4 h 4"/>
              <a:gd name="T6" fmla="*/ 2 w 2"/>
              <a:gd name="T7" fmla="*/ 2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4"/>
                </a:lnTo>
                <a:lnTo>
                  <a:pt x="0" y="4"/>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6" name="Freeform 170">
            <a:extLst>
              <a:ext uri="{FF2B5EF4-FFF2-40B4-BE49-F238E27FC236}">
                <a16:creationId xmlns:a16="http://schemas.microsoft.com/office/drawing/2014/main" id="{F29224B5-933B-4F56-A561-4640AB1DE52F}"/>
              </a:ext>
            </a:extLst>
          </p:cNvPr>
          <p:cNvSpPr>
            <a:spLocks noEditPoints="1"/>
          </p:cNvSpPr>
          <p:nvPr userDrawn="1"/>
        </p:nvSpPr>
        <p:spPr bwMode="auto">
          <a:xfrm>
            <a:off x="7983975" y="3522777"/>
            <a:ext cx="1016284" cy="487340"/>
          </a:xfrm>
          <a:custGeom>
            <a:avLst/>
            <a:gdLst>
              <a:gd name="T0" fmla="*/ 18 w 606"/>
              <a:gd name="T1" fmla="*/ 34 h 284"/>
              <a:gd name="T2" fmla="*/ 50 w 606"/>
              <a:gd name="T3" fmla="*/ 66 h 284"/>
              <a:gd name="T4" fmla="*/ 80 w 606"/>
              <a:gd name="T5" fmla="*/ 126 h 284"/>
              <a:gd name="T6" fmla="*/ 112 w 606"/>
              <a:gd name="T7" fmla="*/ 178 h 284"/>
              <a:gd name="T8" fmla="*/ 140 w 606"/>
              <a:gd name="T9" fmla="*/ 184 h 284"/>
              <a:gd name="T10" fmla="*/ 128 w 606"/>
              <a:gd name="T11" fmla="*/ 116 h 284"/>
              <a:gd name="T12" fmla="*/ 112 w 606"/>
              <a:gd name="T13" fmla="*/ 86 h 284"/>
              <a:gd name="T14" fmla="*/ 90 w 606"/>
              <a:gd name="T15" fmla="*/ 70 h 284"/>
              <a:gd name="T16" fmla="*/ 72 w 606"/>
              <a:gd name="T17" fmla="*/ 46 h 284"/>
              <a:gd name="T18" fmla="*/ 34 w 606"/>
              <a:gd name="T19" fmla="*/ 6 h 284"/>
              <a:gd name="T20" fmla="*/ 434 w 606"/>
              <a:gd name="T21" fmla="*/ 58 h 284"/>
              <a:gd name="T22" fmla="*/ 438 w 606"/>
              <a:gd name="T23" fmla="*/ 106 h 284"/>
              <a:gd name="T24" fmla="*/ 446 w 606"/>
              <a:gd name="T25" fmla="*/ 78 h 284"/>
              <a:gd name="T26" fmla="*/ 434 w 606"/>
              <a:gd name="T27" fmla="*/ 58 h 284"/>
              <a:gd name="T28" fmla="*/ 340 w 606"/>
              <a:gd name="T29" fmla="*/ 78 h 284"/>
              <a:gd name="T30" fmla="*/ 320 w 606"/>
              <a:gd name="T31" fmla="*/ 132 h 284"/>
              <a:gd name="T32" fmla="*/ 336 w 606"/>
              <a:gd name="T33" fmla="*/ 188 h 284"/>
              <a:gd name="T34" fmla="*/ 348 w 606"/>
              <a:gd name="T35" fmla="*/ 168 h 284"/>
              <a:gd name="T36" fmla="*/ 364 w 606"/>
              <a:gd name="T37" fmla="*/ 160 h 284"/>
              <a:gd name="T38" fmla="*/ 368 w 606"/>
              <a:gd name="T39" fmla="*/ 122 h 284"/>
              <a:gd name="T40" fmla="*/ 336 w 606"/>
              <a:gd name="T41" fmla="*/ 100 h 284"/>
              <a:gd name="T42" fmla="*/ 388 w 606"/>
              <a:gd name="T43" fmla="*/ 92 h 284"/>
              <a:gd name="T44" fmla="*/ 478 w 606"/>
              <a:gd name="T45" fmla="*/ 106 h 284"/>
              <a:gd name="T46" fmla="*/ 154 w 606"/>
              <a:gd name="T47" fmla="*/ 148 h 284"/>
              <a:gd name="T48" fmla="*/ 444 w 606"/>
              <a:gd name="T49" fmla="*/ 156 h 284"/>
              <a:gd name="T50" fmla="*/ 450 w 606"/>
              <a:gd name="T51" fmla="*/ 148 h 284"/>
              <a:gd name="T52" fmla="*/ 424 w 606"/>
              <a:gd name="T53" fmla="*/ 150 h 284"/>
              <a:gd name="T54" fmla="*/ 364 w 606"/>
              <a:gd name="T55" fmla="*/ 186 h 284"/>
              <a:gd name="T56" fmla="*/ 140 w 606"/>
              <a:gd name="T57" fmla="*/ 190 h 284"/>
              <a:gd name="T58" fmla="*/ 194 w 606"/>
              <a:gd name="T59" fmla="*/ 222 h 284"/>
              <a:gd name="T60" fmla="*/ 258 w 606"/>
              <a:gd name="T61" fmla="*/ 238 h 284"/>
              <a:gd name="T62" fmla="*/ 226 w 606"/>
              <a:gd name="T63" fmla="*/ 204 h 284"/>
              <a:gd name="T64" fmla="*/ 158 w 606"/>
              <a:gd name="T65" fmla="*/ 190 h 284"/>
              <a:gd name="T66" fmla="*/ 526 w 606"/>
              <a:gd name="T67" fmla="*/ 210 h 284"/>
              <a:gd name="T68" fmla="*/ 266 w 606"/>
              <a:gd name="T69" fmla="*/ 244 h 284"/>
              <a:gd name="T70" fmla="*/ 408 w 606"/>
              <a:gd name="T71" fmla="*/ 234 h 284"/>
              <a:gd name="T72" fmla="*/ 298 w 606"/>
              <a:gd name="T73" fmla="*/ 248 h 284"/>
              <a:gd name="T74" fmla="*/ 316 w 606"/>
              <a:gd name="T75" fmla="*/ 244 h 284"/>
              <a:gd name="T76" fmla="*/ 368 w 606"/>
              <a:gd name="T77" fmla="*/ 250 h 284"/>
              <a:gd name="T78" fmla="*/ 416 w 606"/>
              <a:gd name="T79" fmla="*/ 246 h 284"/>
              <a:gd name="T80" fmla="*/ 376 w 606"/>
              <a:gd name="T81" fmla="*/ 274 h 284"/>
              <a:gd name="T82" fmla="*/ 398 w 606"/>
              <a:gd name="T83" fmla="*/ 264 h 284"/>
              <a:gd name="T84" fmla="*/ 420 w 606"/>
              <a:gd name="T85" fmla="*/ 244 h 284"/>
              <a:gd name="T86" fmla="*/ 192 w 606"/>
              <a:gd name="T87" fmla="*/ 62 h 284"/>
              <a:gd name="T88" fmla="*/ 188 w 606"/>
              <a:gd name="T89" fmla="*/ 114 h 284"/>
              <a:gd name="T90" fmla="*/ 216 w 606"/>
              <a:gd name="T91" fmla="*/ 150 h 284"/>
              <a:gd name="T92" fmla="*/ 250 w 606"/>
              <a:gd name="T93" fmla="*/ 154 h 284"/>
              <a:gd name="T94" fmla="*/ 294 w 606"/>
              <a:gd name="T95" fmla="*/ 136 h 284"/>
              <a:gd name="T96" fmla="*/ 316 w 606"/>
              <a:gd name="T97" fmla="*/ 82 h 284"/>
              <a:gd name="T98" fmla="*/ 300 w 606"/>
              <a:gd name="T99" fmla="*/ 38 h 284"/>
              <a:gd name="T100" fmla="*/ 242 w 606"/>
              <a:gd name="T101" fmla="*/ 78 h 284"/>
              <a:gd name="T102" fmla="*/ 478 w 606"/>
              <a:gd name="T103" fmla="*/ 128 h 284"/>
              <a:gd name="T104" fmla="*/ 504 w 606"/>
              <a:gd name="T105" fmla="*/ 142 h 284"/>
              <a:gd name="T106" fmla="*/ 508 w 606"/>
              <a:gd name="T107" fmla="*/ 154 h 284"/>
              <a:gd name="T108" fmla="*/ 542 w 606"/>
              <a:gd name="T109" fmla="*/ 174 h 284"/>
              <a:gd name="T110" fmla="*/ 576 w 606"/>
              <a:gd name="T111" fmla="*/ 216 h 284"/>
              <a:gd name="T112" fmla="*/ 584 w 606"/>
              <a:gd name="T113" fmla="*/ 236 h 284"/>
              <a:gd name="T114" fmla="*/ 602 w 606"/>
              <a:gd name="T115" fmla="*/ 142 h 284"/>
              <a:gd name="T116" fmla="*/ 542 w 606"/>
              <a:gd name="T117" fmla="*/ 146 h 284"/>
              <a:gd name="T118" fmla="*/ 518 w 606"/>
              <a:gd name="T119" fmla="*/ 126 h 284"/>
              <a:gd name="T120" fmla="*/ 490 w 606"/>
              <a:gd name="T121" fmla="*/ 11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6" h="284">
                <a:moveTo>
                  <a:pt x="18" y="6"/>
                </a:moveTo>
                <a:lnTo>
                  <a:pt x="18" y="6"/>
                </a:lnTo>
                <a:lnTo>
                  <a:pt x="14" y="2"/>
                </a:lnTo>
                <a:lnTo>
                  <a:pt x="12" y="0"/>
                </a:lnTo>
                <a:lnTo>
                  <a:pt x="12" y="0"/>
                </a:lnTo>
                <a:lnTo>
                  <a:pt x="6" y="0"/>
                </a:lnTo>
                <a:lnTo>
                  <a:pt x="0" y="0"/>
                </a:lnTo>
                <a:lnTo>
                  <a:pt x="0" y="0"/>
                </a:lnTo>
                <a:lnTo>
                  <a:pt x="0" y="10"/>
                </a:lnTo>
                <a:lnTo>
                  <a:pt x="2" y="10"/>
                </a:lnTo>
                <a:lnTo>
                  <a:pt x="2" y="10"/>
                </a:lnTo>
                <a:lnTo>
                  <a:pt x="6" y="18"/>
                </a:lnTo>
                <a:lnTo>
                  <a:pt x="8" y="22"/>
                </a:lnTo>
                <a:lnTo>
                  <a:pt x="10" y="24"/>
                </a:lnTo>
                <a:lnTo>
                  <a:pt x="10" y="24"/>
                </a:lnTo>
                <a:lnTo>
                  <a:pt x="14" y="26"/>
                </a:lnTo>
                <a:lnTo>
                  <a:pt x="14" y="26"/>
                </a:lnTo>
                <a:lnTo>
                  <a:pt x="16" y="30"/>
                </a:lnTo>
                <a:lnTo>
                  <a:pt x="18" y="34"/>
                </a:lnTo>
                <a:lnTo>
                  <a:pt x="18" y="34"/>
                </a:lnTo>
                <a:lnTo>
                  <a:pt x="22" y="34"/>
                </a:lnTo>
                <a:lnTo>
                  <a:pt x="24" y="36"/>
                </a:lnTo>
                <a:lnTo>
                  <a:pt x="24" y="36"/>
                </a:lnTo>
                <a:lnTo>
                  <a:pt x="26" y="40"/>
                </a:lnTo>
                <a:lnTo>
                  <a:pt x="26" y="40"/>
                </a:lnTo>
                <a:lnTo>
                  <a:pt x="32" y="46"/>
                </a:lnTo>
                <a:lnTo>
                  <a:pt x="32" y="46"/>
                </a:lnTo>
                <a:lnTo>
                  <a:pt x="32" y="50"/>
                </a:lnTo>
                <a:lnTo>
                  <a:pt x="32" y="50"/>
                </a:lnTo>
                <a:lnTo>
                  <a:pt x="36" y="52"/>
                </a:lnTo>
                <a:lnTo>
                  <a:pt x="36" y="52"/>
                </a:lnTo>
                <a:lnTo>
                  <a:pt x="36" y="56"/>
                </a:lnTo>
                <a:lnTo>
                  <a:pt x="36" y="60"/>
                </a:lnTo>
                <a:lnTo>
                  <a:pt x="36" y="60"/>
                </a:lnTo>
                <a:lnTo>
                  <a:pt x="42" y="60"/>
                </a:lnTo>
                <a:lnTo>
                  <a:pt x="44" y="62"/>
                </a:lnTo>
                <a:lnTo>
                  <a:pt x="44" y="62"/>
                </a:lnTo>
                <a:lnTo>
                  <a:pt x="48" y="66"/>
                </a:lnTo>
                <a:lnTo>
                  <a:pt x="48" y="66"/>
                </a:lnTo>
                <a:lnTo>
                  <a:pt x="50" y="66"/>
                </a:lnTo>
                <a:lnTo>
                  <a:pt x="52" y="68"/>
                </a:lnTo>
                <a:lnTo>
                  <a:pt x="52" y="68"/>
                </a:lnTo>
                <a:lnTo>
                  <a:pt x="52" y="72"/>
                </a:lnTo>
                <a:lnTo>
                  <a:pt x="52" y="78"/>
                </a:lnTo>
                <a:lnTo>
                  <a:pt x="52" y="78"/>
                </a:lnTo>
                <a:lnTo>
                  <a:pt x="56" y="86"/>
                </a:lnTo>
                <a:lnTo>
                  <a:pt x="56" y="86"/>
                </a:lnTo>
                <a:lnTo>
                  <a:pt x="56" y="90"/>
                </a:lnTo>
                <a:lnTo>
                  <a:pt x="56" y="90"/>
                </a:lnTo>
                <a:lnTo>
                  <a:pt x="58" y="92"/>
                </a:lnTo>
                <a:lnTo>
                  <a:pt x="60" y="94"/>
                </a:lnTo>
                <a:lnTo>
                  <a:pt x="60" y="94"/>
                </a:lnTo>
                <a:lnTo>
                  <a:pt x="64" y="102"/>
                </a:lnTo>
                <a:lnTo>
                  <a:pt x="64" y="102"/>
                </a:lnTo>
                <a:lnTo>
                  <a:pt x="68" y="104"/>
                </a:lnTo>
                <a:lnTo>
                  <a:pt x="72" y="108"/>
                </a:lnTo>
                <a:lnTo>
                  <a:pt x="72" y="108"/>
                </a:lnTo>
                <a:lnTo>
                  <a:pt x="76" y="118"/>
                </a:lnTo>
                <a:lnTo>
                  <a:pt x="78" y="122"/>
                </a:lnTo>
                <a:lnTo>
                  <a:pt x="80" y="126"/>
                </a:lnTo>
                <a:lnTo>
                  <a:pt x="82" y="126"/>
                </a:lnTo>
                <a:lnTo>
                  <a:pt x="82" y="126"/>
                </a:lnTo>
                <a:lnTo>
                  <a:pt x="82" y="130"/>
                </a:lnTo>
                <a:lnTo>
                  <a:pt x="82" y="134"/>
                </a:lnTo>
                <a:lnTo>
                  <a:pt x="82" y="134"/>
                </a:lnTo>
                <a:lnTo>
                  <a:pt x="86" y="136"/>
                </a:lnTo>
                <a:lnTo>
                  <a:pt x="86" y="136"/>
                </a:lnTo>
                <a:lnTo>
                  <a:pt x="88" y="144"/>
                </a:lnTo>
                <a:lnTo>
                  <a:pt x="92" y="150"/>
                </a:lnTo>
                <a:lnTo>
                  <a:pt x="92" y="150"/>
                </a:lnTo>
                <a:lnTo>
                  <a:pt x="94" y="152"/>
                </a:lnTo>
                <a:lnTo>
                  <a:pt x="94" y="152"/>
                </a:lnTo>
                <a:lnTo>
                  <a:pt x="96" y="158"/>
                </a:lnTo>
                <a:lnTo>
                  <a:pt x="98" y="166"/>
                </a:lnTo>
                <a:lnTo>
                  <a:pt x="98" y="166"/>
                </a:lnTo>
                <a:lnTo>
                  <a:pt x="102" y="172"/>
                </a:lnTo>
                <a:lnTo>
                  <a:pt x="102" y="174"/>
                </a:lnTo>
                <a:lnTo>
                  <a:pt x="102" y="174"/>
                </a:lnTo>
                <a:lnTo>
                  <a:pt x="112" y="178"/>
                </a:lnTo>
                <a:lnTo>
                  <a:pt x="112" y="178"/>
                </a:lnTo>
                <a:lnTo>
                  <a:pt x="116" y="180"/>
                </a:lnTo>
                <a:lnTo>
                  <a:pt x="116" y="180"/>
                </a:lnTo>
                <a:lnTo>
                  <a:pt x="124" y="188"/>
                </a:lnTo>
                <a:lnTo>
                  <a:pt x="124" y="188"/>
                </a:lnTo>
                <a:lnTo>
                  <a:pt x="130" y="190"/>
                </a:lnTo>
                <a:lnTo>
                  <a:pt x="130" y="190"/>
                </a:lnTo>
                <a:lnTo>
                  <a:pt x="130" y="186"/>
                </a:lnTo>
                <a:lnTo>
                  <a:pt x="128" y="184"/>
                </a:lnTo>
                <a:lnTo>
                  <a:pt x="128" y="184"/>
                </a:lnTo>
                <a:lnTo>
                  <a:pt x="128" y="184"/>
                </a:lnTo>
                <a:lnTo>
                  <a:pt x="130" y="184"/>
                </a:lnTo>
                <a:lnTo>
                  <a:pt x="130" y="184"/>
                </a:lnTo>
                <a:lnTo>
                  <a:pt x="134" y="186"/>
                </a:lnTo>
                <a:lnTo>
                  <a:pt x="136" y="186"/>
                </a:lnTo>
                <a:lnTo>
                  <a:pt x="138" y="186"/>
                </a:lnTo>
                <a:lnTo>
                  <a:pt x="138" y="186"/>
                </a:lnTo>
                <a:lnTo>
                  <a:pt x="138" y="184"/>
                </a:lnTo>
                <a:lnTo>
                  <a:pt x="140" y="184"/>
                </a:lnTo>
                <a:lnTo>
                  <a:pt x="140" y="184"/>
                </a:lnTo>
                <a:lnTo>
                  <a:pt x="140" y="184"/>
                </a:lnTo>
                <a:lnTo>
                  <a:pt x="144" y="184"/>
                </a:lnTo>
                <a:lnTo>
                  <a:pt x="144" y="184"/>
                </a:lnTo>
                <a:lnTo>
                  <a:pt x="144" y="180"/>
                </a:lnTo>
                <a:lnTo>
                  <a:pt x="144" y="168"/>
                </a:lnTo>
                <a:lnTo>
                  <a:pt x="148" y="150"/>
                </a:lnTo>
                <a:lnTo>
                  <a:pt x="148" y="150"/>
                </a:lnTo>
                <a:lnTo>
                  <a:pt x="144" y="148"/>
                </a:lnTo>
                <a:lnTo>
                  <a:pt x="144" y="148"/>
                </a:lnTo>
                <a:lnTo>
                  <a:pt x="140" y="138"/>
                </a:lnTo>
                <a:lnTo>
                  <a:pt x="140" y="138"/>
                </a:lnTo>
                <a:lnTo>
                  <a:pt x="134" y="138"/>
                </a:lnTo>
                <a:lnTo>
                  <a:pt x="134" y="138"/>
                </a:lnTo>
                <a:lnTo>
                  <a:pt x="130" y="136"/>
                </a:lnTo>
                <a:lnTo>
                  <a:pt x="130" y="136"/>
                </a:lnTo>
                <a:lnTo>
                  <a:pt x="132" y="134"/>
                </a:lnTo>
                <a:lnTo>
                  <a:pt x="132" y="130"/>
                </a:lnTo>
                <a:lnTo>
                  <a:pt x="132" y="130"/>
                </a:lnTo>
                <a:lnTo>
                  <a:pt x="126" y="128"/>
                </a:lnTo>
                <a:lnTo>
                  <a:pt x="126" y="128"/>
                </a:lnTo>
                <a:lnTo>
                  <a:pt x="128" y="116"/>
                </a:lnTo>
                <a:lnTo>
                  <a:pt x="128" y="116"/>
                </a:lnTo>
                <a:lnTo>
                  <a:pt x="122" y="116"/>
                </a:lnTo>
                <a:lnTo>
                  <a:pt x="122" y="114"/>
                </a:lnTo>
                <a:lnTo>
                  <a:pt x="120" y="114"/>
                </a:lnTo>
                <a:lnTo>
                  <a:pt x="120" y="114"/>
                </a:lnTo>
                <a:lnTo>
                  <a:pt x="118" y="116"/>
                </a:lnTo>
                <a:lnTo>
                  <a:pt x="118" y="116"/>
                </a:lnTo>
                <a:lnTo>
                  <a:pt x="118" y="116"/>
                </a:lnTo>
                <a:lnTo>
                  <a:pt x="112" y="114"/>
                </a:lnTo>
                <a:lnTo>
                  <a:pt x="112" y="114"/>
                </a:lnTo>
                <a:lnTo>
                  <a:pt x="112" y="106"/>
                </a:lnTo>
                <a:lnTo>
                  <a:pt x="112" y="106"/>
                </a:lnTo>
                <a:lnTo>
                  <a:pt x="118" y="102"/>
                </a:lnTo>
                <a:lnTo>
                  <a:pt x="118" y="102"/>
                </a:lnTo>
                <a:lnTo>
                  <a:pt x="118" y="98"/>
                </a:lnTo>
                <a:lnTo>
                  <a:pt x="118" y="98"/>
                </a:lnTo>
                <a:lnTo>
                  <a:pt x="112" y="90"/>
                </a:lnTo>
                <a:lnTo>
                  <a:pt x="112" y="90"/>
                </a:lnTo>
                <a:lnTo>
                  <a:pt x="112" y="86"/>
                </a:lnTo>
                <a:lnTo>
                  <a:pt x="112" y="86"/>
                </a:lnTo>
                <a:lnTo>
                  <a:pt x="110" y="84"/>
                </a:lnTo>
                <a:lnTo>
                  <a:pt x="106" y="84"/>
                </a:lnTo>
                <a:lnTo>
                  <a:pt x="106" y="84"/>
                </a:lnTo>
                <a:lnTo>
                  <a:pt x="108" y="78"/>
                </a:lnTo>
                <a:lnTo>
                  <a:pt x="108" y="78"/>
                </a:lnTo>
                <a:lnTo>
                  <a:pt x="106" y="78"/>
                </a:lnTo>
                <a:lnTo>
                  <a:pt x="106" y="78"/>
                </a:lnTo>
                <a:lnTo>
                  <a:pt x="104" y="84"/>
                </a:lnTo>
                <a:lnTo>
                  <a:pt x="104" y="84"/>
                </a:lnTo>
                <a:lnTo>
                  <a:pt x="100" y="84"/>
                </a:lnTo>
                <a:lnTo>
                  <a:pt x="100" y="84"/>
                </a:lnTo>
                <a:lnTo>
                  <a:pt x="100" y="82"/>
                </a:lnTo>
                <a:lnTo>
                  <a:pt x="100" y="82"/>
                </a:lnTo>
                <a:lnTo>
                  <a:pt x="96" y="82"/>
                </a:lnTo>
                <a:lnTo>
                  <a:pt x="96" y="82"/>
                </a:lnTo>
                <a:lnTo>
                  <a:pt x="96" y="80"/>
                </a:lnTo>
                <a:lnTo>
                  <a:pt x="96" y="78"/>
                </a:lnTo>
                <a:lnTo>
                  <a:pt x="94" y="74"/>
                </a:lnTo>
                <a:lnTo>
                  <a:pt x="94" y="74"/>
                </a:lnTo>
                <a:lnTo>
                  <a:pt x="90" y="70"/>
                </a:lnTo>
                <a:lnTo>
                  <a:pt x="88" y="68"/>
                </a:lnTo>
                <a:lnTo>
                  <a:pt x="88" y="68"/>
                </a:lnTo>
                <a:lnTo>
                  <a:pt x="86" y="64"/>
                </a:lnTo>
                <a:lnTo>
                  <a:pt x="84" y="60"/>
                </a:lnTo>
                <a:lnTo>
                  <a:pt x="80" y="60"/>
                </a:lnTo>
                <a:lnTo>
                  <a:pt x="80" y="60"/>
                </a:lnTo>
                <a:lnTo>
                  <a:pt x="80" y="60"/>
                </a:lnTo>
                <a:lnTo>
                  <a:pt x="80" y="62"/>
                </a:lnTo>
                <a:lnTo>
                  <a:pt x="80" y="62"/>
                </a:lnTo>
                <a:lnTo>
                  <a:pt x="78" y="62"/>
                </a:lnTo>
                <a:lnTo>
                  <a:pt x="78" y="62"/>
                </a:lnTo>
                <a:lnTo>
                  <a:pt x="78" y="62"/>
                </a:lnTo>
                <a:lnTo>
                  <a:pt x="76" y="60"/>
                </a:lnTo>
                <a:lnTo>
                  <a:pt x="76" y="60"/>
                </a:lnTo>
                <a:lnTo>
                  <a:pt x="74" y="58"/>
                </a:lnTo>
                <a:lnTo>
                  <a:pt x="72" y="54"/>
                </a:lnTo>
                <a:lnTo>
                  <a:pt x="72" y="54"/>
                </a:lnTo>
                <a:lnTo>
                  <a:pt x="72" y="54"/>
                </a:lnTo>
                <a:lnTo>
                  <a:pt x="72" y="50"/>
                </a:lnTo>
                <a:lnTo>
                  <a:pt x="72" y="46"/>
                </a:lnTo>
                <a:lnTo>
                  <a:pt x="66" y="46"/>
                </a:lnTo>
                <a:lnTo>
                  <a:pt x="66" y="46"/>
                </a:lnTo>
                <a:lnTo>
                  <a:pt x="66" y="40"/>
                </a:lnTo>
                <a:lnTo>
                  <a:pt x="66" y="40"/>
                </a:lnTo>
                <a:lnTo>
                  <a:pt x="60" y="36"/>
                </a:lnTo>
                <a:lnTo>
                  <a:pt x="54" y="32"/>
                </a:lnTo>
                <a:lnTo>
                  <a:pt x="54" y="32"/>
                </a:lnTo>
                <a:lnTo>
                  <a:pt x="52" y="30"/>
                </a:lnTo>
                <a:lnTo>
                  <a:pt x="52" y="26"/>
                </a:lnTo>
                <a:lnTo>
                  <a:pt x="52" y="26"/>
                </a:lnTo>
                <a:lnTo>
                  <a:pt x="48" y="24"/>
                </a:lnTo>
                <a:lnTo>
                  <a:pt x="48" y="24"/>
                </a:lnTo>
                <a:lnTo>
                  <a:pt x="46" y="22"/>
                </a:lnTo>
                <a:lnTo>
                  <a:pt x="44" y="18"/>
                </a:lnTo>
                <a:lnTo>
                  <a:pt x="44" y="18"/>
                </a:lnTo>
                <a:lnTo>
                  <a:pt x="40" y="18"/>
                </a:lnTo>
                <a:lnTo>
                  <a:pt x="40" y="18"/>
                </a:lnTo>
                <a:lnTo>
                  <a:pt x="40" y="14"/>
                </a:lnTo>
                <a:lnTo>
                  <a:pt x="34" y="6"/>
                </a:lnTo>
                <a:lnTo>
                  <a:pt x="34" y="6"/>
                </a:lnTo>
                <a:lnTo>
                  <a:pt x="30" y="4"/>
                </a:lnTo>
                <a:lnTo>
                  <a:pt x="26" y="4"/>
                </a:lnTo>
                <a:lnTo>
                  <a:pt x="20" y="6"/>
                </a:lnTo>
                <a:lnTo>
                  <a:pt x="18" y="6"/>
                </a:lnTo>
                <a:lnTo>
                  <a:pt x="18" y="6"/>
                </a:lnTo>
                <a:close/>
                <a:moveTo>
                  <a:pt x="440" y="52"/>
                </a:moveTo>
                <a:lnTo>
                  <a:pt x="440" y="52"/>
                </a:lnTo>
                <a:lnTo>
                  <a:pt x="442" y="64"/>
                </a:lnTo>
                <a:lnTo>
                  <a:pt x="442" y="64"/>
                </a:lnTo>
                <a:lnTo>
                  <a:pt x="446" y="64"/>
                </a:lnTo>
                <a:lnTo>
                  <a:pt x="446" y="64"/>
                </a:lnTo>
                <a:lnTo>
                  <a:pt x="448" y="62"/>
                </a:lnTo>
                <a:lnTo>
                  <a:pt x="446" y="62"/>
                </a:lnTo>
                <a:lnTo>
                  <a:pt x="446" y="62"/>
                </a:lnTo>
                <a:lnTo>
                  <a:pt x="446" y="56"/>
                </a:lnTo>
                <a:lnTo>
                  <a:pt x="446" y="56"/>
                </a:lnTo>
                <a:lnTo>
                  <a:pt x="440" y="52"/>
                </a:lnTo>
                <a:lnTo>
                  <a:pt x="440" y="52"/>
                </a:lnTo>
                <a:close/>
                <a:moveTo>
                  <a:pt x="434" y="58"/>
                </a:moveTo>
                <a:lnTo>
                  <a:pt x="434" y="58"/>
                </a:lnTo>
                <a:lnTo>
                  <a:pt x="428" y="68"/>
                </a:lnTo>
                <a:lnTo>
                  <a:pt x="426" y="80"/>
                </a:lnTo>
                <a:lnTo>
                  <a:pt x="426" y="80"/>
                </a:lnTo>
                <a:lnTo>
                  <a:pt x="432" y="84"/>
                </a:lnTo>
                <a:lnTo>
                  <a:pt x="432" y="84"/>
                </a:lnTo>
                <a:lnTo>
                  <a:pt x="430" y="86"/>
                </a:lnTo>
                <a:lnTo>
                  <a:pt x="430" y="86"/>
                </a:lnTo>
                <a:lnTo>
                  <a:pt x="430" y="88"/>
                </a:lnTo>
                <a:lnTo>
                  <a:pt x="430" y="88"/>
                </a:lnTo>
                <a:lnTo>
                  <a:pt x="430" y="92"/>
                </a:lnTo>
                <a:lnTo>
                  <a:pt x="430" y="94"/>
                </a:lnTo>
                <a:lnTo>
                  <a:pt x="428" y="96"/>
                </a:lnTo>
                <a:lnTo>
                  <a:pt x="428" y="96"/>
                </a:lnTo>
                <a:lnTo>
                  <a:pt x="428" y="96"/>
                </a:lnTo>
                <a:lnTo>
                  <a:pt x="430" y="100"/>
                </a:lnTo>
                <a:lnTo>
                  <a:pt x="434" y="104"/>
                </a:lnTo>
                <a:lnTo>
                  <a:pt x="434" y="104"/>
                </a:lnTo>
                <a:lnTo>
                  <a:pt x="438" y="108"/>
                </a:lnTo>
                <a:lnTo>
                  <a:pt x="438" y="108"/>
                </a:lnTo>
                <a:lnTo>
                  <a:pt x="438" y="106"/>
                </a:lnTo>
                <a:lnTo>
                  <a:pt x="436" y="104"/>
                </a:lnTo>
                <a:lnTo>
                  <a:pt x="432" y="100"/>
                </a:lnTo>
                <a:lnTo>
                  <a:pt x="432" y="100"/>
                </a:lnTo>
                <a:lnTo>
                  <a:pt x="432" y="92"/>
                </a:lnTo>
                <a:lnTo>
                  <a:pt x="432" y="92"/>
                </a:lnTo>
                <a:lnTo>
                  <a:pt x="436" y="90"/>
                </a:lnTo>
                <a:lnTo>
                  <a:pt x="436" y="90"/>
                </a:lnTo>
                <a:lnTo>
                  <a:pt x="440" y="90"/>
                </a:lnTo>
                <a:lnTo>
                  <a:pt x="440" y="90"/>
                </a:lnTo>
                <a:lnTo>
                  <a:pt x="442" y="94"/>
                </a:lnTo>
                <a:lnTo>
                  <a:pt x="442" y="94"/>
                </a:lnTo>
                <a:lnTo>
                  <a:pt x="446" y="94"/>
                </a:lnTo>
                <a:lnTo>
                  <a:pt x="446" y="94"/>
                </a:lnTo>
                <a:lnTo>
                  <a:pt x="444" y="86"/>
                </a:lnTo>
                <a:lnTo>
                  <a:pt x="444" y="86"/>
                </a:lnTo>
                <a:lnTo>
                  <a:pt x="438" y="86"/>
                </a:lnTo>
                <a:lnTo>
                  <a:pt x="438" y="86"/>
                </a:lnTo>
                <a:lnTo>
                  <a:pt x="446" y="80"/>
                </a:lnTo>
                <a:lnTo>
                  <a:pt x="446" y="80"/>
                </a:lnTo>
                <a:lnTo>
                  <a:pt x="446" y="78"/>
                </a:lnTo>
                <a:lnTo>
                  <a:pt x="442" y="76"/>
                </a:lnTo>
                <a:lnTo>
                  <a:pt x="442" y="74"/>
                </a:lnTo>
                <a:lnTo>
                  <a:pt x="442" y="74"/>
                </a:lnTo>
                <a:lnTo>
                  <a:pt x="438" y="78"/>
                </a:lnTo>
                <a:lnTo>
                  <a:pt x="438" y="78"/>
                </a:lnTo>
                <a:lnTo>
                  <a:pt x="438" y="82"/>
                </a:lnTo>
                <a:lnTo>
                  <a:pt x="436" y="82"/>
                </a:lnTo>
                <a:lnTo>
                  <a:pt x="436" y="82"/>
                </a:lnTo>
                <a:lnTo>
                  <a:pt x="436" y="74"/>
                </a:lnTo>
                <a:lnTo>
                  <a:pt x="436" y="70"/>
                </a:lnTo>
                <a:lnTo>
                  <a:pt x="436" y="68"/>
                </a:lnTo>
                <a:lnTo>
                  <a:pt x="436" y="68"/>
                </a:lnTo>
                <a:lnTo>
                  <a:pt x="436" y="66"/>
                </a:lnTo>
                <a:lnTo>
                  <a:pt x="436" y="66"/>
                </a:lnTo>
                <a:lnTo>
                  <a:pt x="436" y="66"/>
                </a:lnTo>
                <a:lnTo>
                  <a:pt x="438" y="64"/>
                </a:lnTo>
                <a:lnTo>
                  <a:pt x="438" y="64"/>
                </a:lnTo>
                <a:lnTo>
                  <a:pt x="436" y="62"/>
                </a:lnTo>
                <a:lnTo>
                  <a:pt x="436" y="60"/>
                </a:lnTo>
                <a:lnTo>
                  <a:pt x="434" y="58"/>
                </a:lnTo>
                <a:close/>
                <a:moveTo>
                  <a:pt x="394" y="72"/>
                </a:moveTo>
                <a:lnTo>
                  <a:pt x="394" y="72"/>
                </a:lnTo>
                <a:lnTo>
                  <a:pt x="392" y="76"/>
                </a:lnTo>
                <a:lnTo>
                  <a:pt x="392" y="76"/>
                </a:lnTo>
                <a:lnTo>
                  <a:pt x="388" y="76"/>
                </a:lnTo>
                <a:lnTo>
                  <a:pt x="388" y="76"/>
                </a:lnTo>
                <a:lnTo>
                  <a:pt x="388" y="80"/>
                </a:lnTo>
                <a:lnTo>
                  <a:pt x="388" y="80"/>
                </a:lnTo>
                <a:lnTo>
                  <a:pt x="380" y="84"/>
                </a:lnTo>
                <a:lnTo>
                  <a:pt x="380" y="84"/>
                </a:lnTo>
                <a:lnTo>
                  <a:pt x="366" y="84"/>
                </a:lnTo>
                <a:lnTo>
                  <a:pt x="352" y="84"/>
                </a:lnTo>
                <a:lnTo>
                  <a:pt x="352" y="82"/>
                </a:lnTo>
                <a:lnTo>
                  <a:pt x="352" y="82"/>
                </a:lnTo>
                <a:lnTo>
                  <a:pt x="350" y="82"/>
                </a:lnTo>
                <a:lnTo>
                  <a:pt x="348" y="82"/>
                </a:lnTo>
                <a:lnTo>
                  <a:pt x="348" y="78"/>
                </a:lnTo>
                <a:lnTo>
                  <a:pt x="348" y="78"/>
                </a:lnTo>
                <a:lnTo>
                  <a:pt x="344" y="78"/>
                </a:lnTo>
                <a:lnTo>
                  <a:pt x="340" y="78"/>
                </a:lnTo>
                <a:lnTo>
                  <a:pt x="334" y="82"/>
                </a:lnTo>
                <a:lnTo>
                  <a:pt x="334" y="84"/>
                </a:lnTo>
                <a:lnTo>
                  <a:pt x="334" y="84"/>
                </a:lnTo>
                <a:lnTo>
                  <a:pt x="332" y="84"/>
                </a:lnTo>
                <a:lnTo>
                  <a:pt x="332" y="82"/>
                </a:lnTo>
                <a:lnTo>
                  <a:pt x="332" y="82"/>
                </a:lnTo>
                <a:lnTo>
                  <a:pt x="326" y="88"/>
                </a:lnTo>
                <a:lnTo>
                  <a:pt x="326" y="88"/>
                </a:lnTo>
                <a:lnTo>
                  <a:pt x="326" y="90"/>
                </a:lnTo>
                <a:lnTo>
                  <a:pt x="326" y="90"/>
                </a:lnTo>
                <a:lnTo>
                  <a:pt x="326" y="90"/>
                </a:lnTo>
                <a:lnTo>
                  <a:pt x="326" y="94"/>
                </a:lnTo>
                <a:lnTo>
                  <a:pt x="326" y="94"/>
                </a:lnTo>
                <a:lnTo>
                  <a:pt x="326" y="94"/>
                </a:lnTo>
                <a:lnTo>
                  <a:pt x="326" y="106"/>
                </a:lnTo>
                <a:lnTo>
                  <a:pt x="324" y="114"/>
                </a:lnTo>
                <a:lnTo>
                  <a:pt x="322" y="114"/>
                </a:lnTo>
                <a:lnTo>
                  <a:pt x="322" y="114"/>
                </a:lnTo>
                <a:lnTo>
                  <a:pt x="320" y="122"/>
                </a:lnTo>
                <a:lnTo>
                  <a:pt x="320" y="132"/>
                </a:lnTo>
                <a:lnTo>
                  <a:pt x="320" y="132"/>
                </a:lnTo>
                <a:lnTo>
                  <a:pt x="318" y="140"/>
                </a:lnTo>
                <a:lnTo>
                  <a:pt x="316" y="142"/>
                </a:lnTo>
                <a:lnTo>
                  <a:pt x="316" y="142"/>
                </a:lnTo>
                <a:lnTo>
                  <a:pt x="314" y="150"/>
                </a:lnTo>
                <a:lnTo>
                  <a:pt x="316" y="158"/>
                </a:lnTo>
                <a:lnTo>
                  <a:pt x="316" y="158"/>
                </a:lnTo>
                <a:lnTo>
                  <a:pt x="322" y="158"/>
                </a:lnTo>
                <a:lnTo>
                  <a:pt x="324" y="160"/>
                </a:lnTo>
                <a:lnTo>
                  <a:pt x="324" y="160"/>
                </a:lnTo>
                <a:lnTo>
                  <a:pt x="322" y="164"/>
                </a:lnTo>
                <a:lnTo>
                  <a:pt x="324" y="168"/>
                </a:lnTo>
                <a:lnTo>
                  <a:pt x="324" y="168"/>
                </a:lnTo>
                <a:lnTo>
                  <a:pt x="322" y="172"/>
                </a:lnTo>
                <a:lnTo>
                  <a:pt x="318" y="176"/>
                </a:lnTo>
                <a:lnTo>
                  <a:pt x="318" y="176"/>
                </a:lnTo>
                <a:lnTo>
                  <a:pt x="318" y="182"/>
                </a:lnTo>
                <a:lnTo>
                  <a:pt x="318" y="190"/>
                </a:lnTo>
                <a:lnTo>
                  <a:pt x="318" y="190"/>
                </a:lnTo>
                <a:lnTo>
                  <a:pt x="336" y="188"/>
                </a:lnTo>
                <a:lnTo>
                  <a:pt x="336" y="188"/>
                </a:lnTo>
                <a:lnTo>
                  <a:pt x="336" y="184"/>
                </a:lnTo>
                <a:lnTo>
                  <a:pt x="336" y="184"/>
                </a:lnTo>
                <a:lnTo>
                  <a:pt x="334" y="182"/>
                </a:lnTo>
                <a:lnTo>
                  <a:pt x="334" y="182"/>
                </a:lnTo>
                <a:lnTo>
                  <a:pt x="334" y="182"/>
                </a:lnTo>
                <a:lnTo>
                  <a:pt x="336" y="180"/>
                </a:lnTo>
                <a:lnTo>
                  <a:pt x="336" y="178"/>
                </a:lnTo>
                <a:lnTo>
                  <a:pt x="336" y="176"/>
                </a:lnTo>
                <a:lnTo>
                  <a:pt x="336" y="176"/>
                </a:lnTo>
                <a:lnTo>
                  <a:pt x="334" y="168"/>
                </a:lnTo>
                <a:lnTo>
                  <a:pt x="334" y="168"/>
                </a:lnTo>
                <a:lnTo>
                  <a:pt x="338" y="164"/>
                </a:lnTo>
                <a:lnTo>
                  <a:pt x="338" y="164"/>
                </a:lnTo>
                <a:lnTo>
                  <a:pt x="338" y="158"/>
                </a:lnTo>
                <a:lnTo>
                  <a:pt x="336" y="154"/>
                </a:lnTo>
                <a:lnTo>
                  <a:pt x="336" y="154"/>
                </a:lnTo>
                <a:lnTo>
                  <a:pt x="346" y="152"/>
                </a:lnTo>
                <a:lnTo>
                  <a:pt x="346" y="152"/>
                </a:lnTo>
                <a:lnTo>
                  <a:pt x="348" y="168"/>
                </a:lnTo>
                <a:lnTo>
                  <a:pt x="348" y="168"/>
                </a:lnTo>
                <a:lnTo>
                  <a:pt x="350" y="174"/>
                </a:lnTo>
                <a:lnTo>
                  <a:pt x="350" y="182"/>
                </a:lnTo>
                <a:lnTo>
                  <a:pt x="350" y="182"/>
                </a:lnTo>
                <a:lnTo>
                  <a:pt x="360" y="184"/>
                </a:lnTo>
                <a:lnTo>
                  <a:pt x="360" y="182"/>
                </a:lnTo>
                <a:lnTo>
                  <a:pt x="360" y="182"/>
                </a:lnTo>
                <a:lnTo>
                  <a:pt x="360" y="182"/>
                </a:lnTo>
                <a:lnTo>
                  <a:pt x="360" y="180"/>
                </a:lnTo>
                <a:lnTo>
                  <a:pt x="360" y="176"/>
                </a:lnTo>
                <a:lnTo>
                  <a:pt x="360" y="176"/>
                </a:lnTo>
                <a:lnTo>
                  <a:pt x="360" y="176"/>
                </a:lnTo>
                <a:lnTo>
                  <a:pt x="364" y="174"/>
                </a:lnTo>
                <a:lnTo>
                  <a:pt x="370" y="174"/>
                </a:lnTo>
                <a:lnTo>
                  <a:pt x="372" y="170"/>
                </a:lnTo>
                <a:lnTo>
                  <a:pt x="370" y="170"/>
                </a:lnTo>
                <a:lnTo>
                  <a:pt x="370" y="170"/>
                </a:lnTo>
                <a:lnTo>
                  <a:pt x="366" y="164"/>
                </a:lnTo>
                <a:lnTo>
                  <a:pt x="366" y="164"/>
                </a:lnTo>
                <a:lnTo>
                  <a:pt x="364" y="160"/>
                </a:lnTo>
                <a:lnTo>
                  <a:pt x="364" y="154"/>
                </a:lnTo>
                <a:lnTo>
                  <a:pt x="362" y="154"/>
                </a:lnTo>
                <a:lnTo>
                  <a:pt x="362" y="154"/>
                </a:lnTo>
                <a:lnTo>
                  <a:pt x="362" y="152"/>
                </a:lnTo>
                <a:lnTo>
                  <a:pt x="362" y="152"/>
                </a:lnTo>
                <a:lnTo>
                  <a:pt x="358" y="150"/>
                </a:lnTo>
                <a:lnTo>
                  <a:pt x="356" y="150"/>
                </a:lnTo>
                <a:lnTo>
                  <a:pt x="356" y="150"/>
                </a:lnTo>
                <a:lnTo>
                  <a:pt x="356" y="144"/>
                </a:lnTo>
                <a:lnTo>
                  <a:pt x="354" y="140"/>
                </a:lnTo>
                <a:lnTo>
                  <a:pt x="354" y="140"/>
                </a:lnTo>
                <a:lnTo>
                  <a:pt x="344" y="136"/>
                </a:lnTo>
                <a:lnTo>
                  <a:pt x="344" y="136"/>
                </a:lnTo>
                <a:lnTo>
                  <a:pt x="348" y="134"/>
                </a:lnTo>
                <a:lnTo>
                  <a:pt x="348" y="134"/>
                </a:lnTo>
                <a:lnTo>
                  <a:pt x="354" y="134"/>
                </a:lnTo>
                <a:lnTo>
                  <a:pt x="354" y="134"/>
                </a:lnTo>
                <a:lnTo>
                  <a:pt x="360" y="130"/>
                </a:lnTo>
                <a:lnTo>
                  <a:pt x="364" y="126"/>
                </a:lnTo>
                <a:lnTo>
                  <a:pt x="368" y="122"/>
                </a:lnTo>
                <a:lnTo>
                  <a:pt x="374" y="120"/>
                </a:lnTo>
                <a:lnTo>
                  <a:pt x="374" y="120"/>
                </a:lnTo>
                <a:lnTo>
                  <a:pt x="374" y="114"/>
                </a:lnTo>
                <a:lnTo>
                  <a:pt x="374" y="114"/>
                </a:lnTo>
                <a:lnTo>
                  <a:pt x="362" y="114"/>
                </a:lnTo>
                <a:lnTo>
                  <a:pt x="350" y="114"/>
                </a:lnTo>
                <a:lnTo>
                  <a:pt x="350" y="114"/>
                </a:lnTo>
                <a:lnTo>
                  <a:pt x="348" y="118"/>
                </a:lnTo>
                <a:lnTo>
                  <a:pt x="348" y="118"/>
                </a:lnTo>
                <a:lnTo>
                  <a:pt x="346" y="118"/>
                </a:lnTo>
                <a:lnTo>
                  <a:pt x="344" y="120"/>
                </a:lnTo>
                <a:lnTo>
                  <a:pt x="344" y="120"/>
                </a:lnTo>
                <a:lnTo>
                  <a:pt x="342" y="114"/>
                </a:lnTo>
                <a:lnTo>
                  <a:pt x="342" y="114"/>
                </a:lnTo>
                <a:lnTo>
                  <a:pt x="336" y="114"/>
                </a:lnTo>
                <a:lnTo>
                  <a:pt x="336" y="114"/>
                </a:lnTo>
                <a:lnTo>
                  <a:pt x="334" y="110"/>
                </a:lnTo>
                <a:lnTo>
                  <a:pt x="334" y="110"/>
                </a:lnTo>
                <a:lnTo>
                  <a:pt x="334" y="104"/>
                </a:lnTo>
                <a:lnTo>
                  <a:pt x="336" y="100"/>
                </a:lnTo>
                <a:lnTo>
                  <a:pt x="336" y="100"/>
                </a:lnTo>
                <a:lnTo>
                  <a:pt x="336" y="92"/>
                </a:lnTo>
                <a:lnTo>
                  <a:pt x="336" y="92"/>
                </a:lnTo>
                <a:lnTo>
                  <a:pt x="340" y="92"/>
                </a:lnTo>
                <a:lnTo>
                  <a:pt x="340" y="92"/>
                </a:lnTo>
                <a:lnTo>
                  <a:pt x="348" y="90"/>
                </a:lnTo>
                <a:lnTo>
                  <a:pt x="348" y="90"/>
                </a:lnTo>
                <a:lnTo>
                  <a:pt x="350" y="92"/>
                </a:lnTo>
                <a:lnTo>
                  <a:pt x="354" y="92"/>
                </a:lnTo>
                <a:lnTo>
                  <a:pt x="354" y="92"/>
                </a:lnTo>
                <a:lnTo>
                  <a:pt x="360" y="92"/>
                </a:lnTo>
                <a:lnTo>
                  <a:pt x="368" y="92"/>
                </a:lnTo>
                <a:lnTo>
                  <a:pt x="368" y="92"/>
                </a:lnTo>
                <a:lnTo>
                  <a:pt x="374" y="94"/>
                </a:lnTo>
                <a:lnTo>
                  <a:pt x="380" y="96"/>
                </a:lnTo>
                <a:lnTo>
                  <a:pt x="384" y="94"/>
                </a:lnTo>
                <a:lnTo>
                  <a:pt x="384" y="92"/>
                </a:lnTo>
                <a:lnTo>
                  <a:pt x="384" y="92"/>
                </a:lnTo>
                <a:lnTo>
                  <a:pt x="386" y="92"/>
                </a:lnTo>
                <a:lnTo>
                  <a:pt x="388" y="92"/>
                </a:lnTo>
                <a:lnTo>
                  <a:pt x="388" y="92"/>
                </a:lnTo>
                <a:lnTo>
                  <a:pt x="390" y="88"/>
                </a:lnTo>
                <a:lnTo>
                  <a:pt x="392" y="84"/>
                </a:lnTo>
                <a:lnTo>
                  <a:pt x="392" y="84"/>
                </a:lnTo>
                <a:lnTo>
                  <a:pt x="396" y="82"/>
                </a:lnTo>
                <a:lnTo>
                  <a:pt x="398" y="80"/>
                </a:lnTo>
                <a:lnTo>
                  <a:pt x="398" y="80"/>
                </a:lnTo>
                <a:lnTo>
                  <a:pt x="398" y="74"/>
                </a:lnTo>
                <a:lnTo>
                  <a:pt x="398" y="74"/>
                </a:lnTo>
                <a:lnTo>
                  <a:pt x="396" y="72"/>
                </a:lnTo>
                <a:lnTo>
                  <a:pt x="396" y="72"/>
                </a:lnTo>
                <a:lnTo>
                  <a:pt x="396" y="72"/>
                </a:lnTo>
                <a:lnTo>
                  <a:pt x="394" y="72"/>
                </a:lnTo>
                <a:lnTo>
                  <a:pt x="394" y="72"/>
                </a:lnTo>
                <a:close/>
                <a:moveTo>
                  <a:pt x="470" y="100"/>
                </a:moveTo>
                <a:lnTo>
                  <a:pt x="468" y="102"/>
                </a:lnTo>
                <a:lnTo>
                  <a:pt x="468" y="102"/>
                </a:lnTo>
                <a:lnTo>
                  <a:pt x="464" y="104"/>
                </a:lnTo>
                <a:lnTo>
                  <a:pt x="466" y="106"/>
                </a:lnTo>
                <a:lnTo>
                  <a:pt x="478" y="106"/>
                </a:lnTo>
                <a:lnTo>
                  <a:pt x="478" y="106"/>
                </a:lnTo>
                <a:lnTo>
                  <a:pt x="480" y="104"/>
                </a:lnTo>
                <a:lnTo>
                  <a:pt x="480" y="104"/>
                </a:lnTo>
                <a:lnTo>
                  <a:pt x="470" y="100"/>
                </a:lnTo>
                <a:lnTo>
                  <a:pt x="470" y="100"/>
                </a:lnTo>
                <a:close/>
                <a:moveTo>
                  <a:pt x="142" y="126"/>
                </a:moveTo>
                <a:lnTo>
                  <a:pt x="142" y="126"/>
                </a:lnTo>
                <a:lnTo>
                  <a:pt x="140" y="130"/>
                </a:lnTo>
                <a:lnTo>
                  <a:pt x="138" y="134"/>
                </a:lnTo>
                <a:lnTo>
                  <a:pt x="138" y="134"/>
                </a:lnTo>
                <a:lnTo>
                  <a:pt x="144" y="136"/>
                </a:lnTo>
                <a:lnTo>
                  <a:pt x="144" y="136"/>
                </a:lnTo>
                <a:lnTo>
                  <a:pt x="144" y="138"/>
                </a:lnTo>
                <a:lnTo>
                  <a:pt x="144" y="142"/>
                </a:lnTo>
                <a:lnTo>
                  <a:pt x="144" y="142"/>
                </a:lnTo>
                <a:lnTo>
                  <a:pt x="146" y="144"/>
                </a:lnTo>
                <a:lnTo>
                  <a:pt x="150" y="146"/>
                </a:lnTo>
                <a:lnTo>
                  <a:pt x="150" y="146"/>
                </a:lnTo>
                <a:lnTo>
                  <a:pt x="152" y="150"/>
                </a:lnTo>
                <a:lnTo>
                  <a:pt x="154" y="148"/>
                </a:lnTo>
                <a:lnTo>
                  <a:pt x="154" y="148"/>
                </a:lnTo>
                <a:lnTo>
                  <a:pt x="152" y="138"/>
                </a:lnTo>
                <a:lnTo>
                  <a:pt x="148" y="132"/>
                </a:lnTo>
                <a:lnTo>
                  <a:pt x="148" y="132"/>
                </a:lnTo>
                <a:lnTo>
                  <a:pt x="146" y="128"/>
                </a:lnTo>
                <a:lnTo>
                  <a:pt x="142" y="126"/>
                </a:lnTo>
                <a:lnTo>
                  <a:pt x="142" y="126"/>
                </a:lnTo>
                <a:close/>
                <a:moveTo>
                  <a:pt x="440" y="148"/>
                </a:moveTo>
                <a:lnTo>
                  <a:pt x="440" y="148"/>
                </a:lnTo>
                <a:lnTo>
                  <a:pt x="440" y="150"/>
                </a:lnTo>
                <a:lnTo>
                  <a:pt x="440" y="150"/>
                </a:lnTo>
                <a:lnTo>
                  <a:pt x="436" y="150"/>
                </a:lnTo>
                <a:lnTo>
                  <a:pt x="436" y="154"/>
                </a:lnTo>
                <a:lnTo>
                  <a:pt x="436" y="154"/>
                </a:lnTo>
                <a:lnTo>
                  <a:pt x="440" y="154"/>
                </a:lnTo>
                <a:lnTo>
                  <a:pt x="440" y="154"/>
                </a:lnTo>
                <a:lnTo>
                  <a:pt x="442" y="156"/>
                </a:lnTo>
                <a:lnTo>
                  <a:pt x="442" y="156"/>
                </a:lnTo>
                <a:lnTo>
                  <a:pt x="444" y="156"/>
                </a:lnTo>
                <a:lnTo>
                  <a:pt x="444" y="156"/>
                </a:lnTo>
                <a:lnTo>
                  <a:pt x="446" y="154"/>
                </a:lnTo>
                <a:lnTo>
                  <a:pt x="446" y="154"/>
                </a:lnTo>
                <a:lnTo>
                  <a:pt x="448" y="154"/>
                </a:lnTo>
                <a:lnTo>
                  <a:pt x="450" y="154"/>
                </a:lnTo>
                <a:lnTo>
                  <a:pt x="454" y="156"/>
                </a:lnTo>
                <a:lnTo>
                  <a:pt x="454" y="156"/>
                </a:lnTo>
                <a:lnTo>
                  <a:pt x="458" y="154"/>
                </a:lnTo>
                <a:lnTo>
                  <a:pt x="458" y="154"/>
                </a:lnTo>
                <a:lnTo>
                  <a:pt x="464" y="156"/>
                </a:lnTo>
                <a:lnTo>
                  <a:pt x="470" y="158"/>
                </a:lnTo>
                <a:lnTo>
                  <a:pt x="470" y="158"/>
                </a:lnTo>
                <a:lnTo>
                  <a:pt x="470" y="158"/>
                </a:lnTo>
                <a:lnTo>
                  <a:pt x="472" y="154"/>
                </a:lnTo>
                <a:lnTo>
                  <a:pt x="472" y="154"/>
                </a:lnTo>
                <a:lnTo>
                  <a:pt x="470" y="152"/>
                </a:lnTo>
                <a:lnTo>
                  <a:pt x="470" y="152"/>
                </a:lnTo>
                <a:lnTo>
                  <a:pt x="460" y="150"/>
                </a:lnTo>
                <a:lnTo>
                  <a:pt x="452" y="150"/>
                </a:lnTo>
                <a:lnTo>
                  <a:pt x="450" y="148"/>
                </a:lnTo>
                <a:lnTo>
                  <a:pt x="450" y="148"/>
                </a:lnTo>
                <a:lnTo>
                  <a:pt x="440" y="148"/>
                </a:lnTo>
                <a:lnTo>
                  <a:pt x="440" y="148"/>
                </a:lnTo>
                <a:close/>
                <a:moveTo>
                  <a:pt x="422" y="150"/>
                </a:moveTo>
                <a:lnTo>
                  <a:pt x="422" y="150"/>
                </a:lnTo>
                <a:lnTo>
                  <a:pt x="408" y="152"/>
                </a:lnTo>
                <a:lnTo>
                  <a:pt x="408" y="152"/>
                </a:lnTo>
                <a:lnTo>
                  <a:pt x="408" y="154"/>
                </a:lnTo>
                <a:lnTo>
                  <a:pt x="408" y="154"/>
                </a:lnTo>
                <a:lnTo>
                  <a:pt x="414" y="156"/>
                </a:lnTo>
                <a:lnTo>
                  <a:pt x="414" y="156"/>
                </a:lnTo>
                <a:lnTo>
                  <a:pt x="416" y="160"/>
                </a:lnTo>
                <a:lnTo>
                  <a:pt x="416" y="160"/>
                </a:lnTo>
                <a:lnTo>
                  <a:pt x="422" y="160"/>
                </a:lnTo>
                <a:lnTo>
                  <a:pt x="428" y="158"/>
                </a:lnTo>
                <a:lnTo>
                  <a:pt x="428" y="158"/>
                </a:lnTo>
                <a:lnTo>
                  <a:pt x="428" y="154"/>
                </a:lnTo>
                <a:lnTo>
                  <a:pt x="428" y="154"/>
                </a:lnTo>
                <a:lnTo>
                  <a:pt x="424" y="154"/>
                </a:lnTo>
                <a:lnTo>
                  <a:pt x="424" y="154"/>
                </a:lnTo>
                <a:lnTo>
                  <a:pt x="424" y="150"/>
                </a:lnTo>
                <a:lnTo>
                  <a:pt x="422" y="150"/>
                </a:lnTo>
                <a:lnTo>
                  <a:pt x="422" y="150"/>
                </a:lnTo>
                <a:close/>
                <a:moveTo>
                  <a:pt x="374" y="174"/>
                </a:moveTo>
                <a:lnTo>
                  <a:pt x="374" y="174"/>
                </a:lnTo>
                <a:lnTo>
                  <a:pt x="372" y="176"/>
                </a:lnTo>
                <a:lnTo>
                  <a:pt x="372" y="176"/>
                </a:lnTo>
                <a:lnTo>
                  <a:pt x="372" y="176"/>
                </a:lnTo>
                <a:lnTo>
                  <a:pt x="372" y="182"/>
                </a:lnTo>
                <a:lnTo>
                  <a:pt x="372" y="182"/>
                </a:lnTo>
                <a:lnTo>
                  <a:pt x="370" y="184"/>
                </a:lnTo>
                <a:lnTo>
                  <a:pt x="370" y="184"/>
                </a:lnTo>
                <a:lnTo>
                  <a:pt x="370" y="182"/>
                </a:lnTo>
                <a:lnTo>
                  <a:pt x="370" y="182"/>
                </a:lnTo>
                <a:lnTo>
                  <a:pt x="368" y="180"/>
                </a:lnTo>
                <a:lnTo>
                  <a:pt x="368" y="180"/>
                </a:lnTo>
                <a:lnTo>
                  <a:pt x="368" y="180"/>
                </a:lnTo>
                <a:lnTo>
                  <a:pt x="366" y="180"/>
                </a:lnTo>
                <a:lnTo>
                  <a:pt x="366" y="180"/>
                </a:lnTo>
                <a:lnTo>
                  <a:pt x="364" y="184"/>
                </a:lnTo>
                <a:lnTo>
                  <a:pt x="364" y="186"/>
                </a:lnTo>
                <a:lnTo>
                  <a:pt x="364" y="186"/>
                </a:lnTo>
                <a:lnTo>
                  <a:pt x="368" y="188"/>
                </a:lnTo>
                <a:lnTo>
                  <a:pt x="370" y="192"/>
                </a:lnTo>
                <a:lnTo>
                  <a:pt x="370" y="192"/>
                </a:lnTo>
                <a:lnTo>
                  <a:pt x="374" y="192"/>
                </a:lnTo>
                <a:lnTo>
                  <a:pt x="374" y="192"/>
                </a:lnTo>
                <a:lnTo>
                  <a:pt x="378" y="188"/>
                </a:lnTo>
                <a:lnTo>
                  <a:pt x="378" y="188"/>
                </a:lnTo>
                <a:lnTo>
                  <a:pt x="374" y="184"/>
                </a:lnTo>
                <a:lnTo>
                  <a:pt x="374" y="184"/>
                </a:lnTo>
                <a:lnTo>
                  <a:pt x="374" y="180"/>
                </a:lnTo>
                <a:lnTo>
                  <a:pt x="376" y="178"/>
                </a:lnTo>
                <a:lnTo>
                  <a:pt x="376" y="176"/>
                </a:lnTo>
                <a:lnTo>
                  <a:pt x="374" y="174"/>
                </a:lnTo>
                <a:lnTo>
                  <a:pt x="374" y="174"/>
                </a:lnTo>
                <a:close/>
                <a:moveTo>
                  <a:pt x="158" y="190"/>
                </a:moveTo>
                <a:lnTo>
                  <a:pt x="156" y="192"/>
                </a:lnTo>
                <a:lnTo>
                  <a:pt x="156" y="192"/>
                </a:lnTo>
                <a:lnTo>
                  <a:pt x="140" y="190"/>
                </a:lnTo>
                <a:lnTo>
                  <a:pt x="140" y="190"/>
                </a:lnTo>
                <a:lnTo>
                  <a:pt x="138" y="200"/>
                </a:lnTo>
                <a:lnTo>
                  <a:pt x="134" y="206"/>
                </a:lnTo>
                <a:lnTo>
                  <a:pt x="134" y="206"/>
                </a:lnTo>
                <a:lnTo>
                  <a:pt x="134" y="208"/>
                </a:lnTo>
                <a:lnTo>
                  <a:pt x="134" y="208"/>
                </a:lnTo>
                <a:lnTo>
                  <a:pt x="148" y="208"/>
                </a:lnTo>
                <a:lnTo>
                  <a:pt x="148" y="208"/>
                </a:lnTo>
                <a:lnTo>
                  <a:pt x="148" y="210"/>
                </a:lnTo>
                <a:lnTo>
                  <a:pt x="146" y="212"/>
                </a:lnTo>
                <a:lnTo>
                  <a:pt x="146" y="212"/>
                </a:lnTo>
                <a:lnTo>
                  <a:pt x="146" y="216"/>
                </a:lnTo>
                <a:lnTo>
                  <a:pt x="146" y="216"/>
                </a:lnTo>
                <a:lnTo>
                  <a:pt x="156" y="216"/>
                </a:lnTo>
                <a:lnTo>
                  <a:pt x="164" y="218"/>
                </a:lnTo>
                <a:lnTo>
                  <a:pt x="164" y="218"/>
                </a:lnTo>
                <a:lnTo>
                  <a:pt x="168" y="222"/>
                </a:lnTo>
                <a:lnTo>
                  <a:pt x="188" y="222"/>
                </a:lnTo>
                <a:lnTo>
                  <a:pt x="188" y="222"/>
                </a:lnTo>
                <a:lnTo>
                  <a:pt x="190" y="220"/>
                </a:lnTo>
                <a:lnTo>
                  <a:pt x="194" y="222"/>
                </a:lnTo>
                <a:lnTo>
                  <a:pt x="194" y="222"/>
                </a:lnTo>
                <a:lnTo>
                  <a:pt x="208" y="226"/>
                </a:lnTo>
                <a:lnTo>
                  <a:pt x="208" y="226"/>
                </a:lnTo>
                <a:lnTo>
                  <a:pt x="214" y="230"/>
                </a:lnTo>
                <a:lnTo>
                  <a:pt x="214" y="230"/>
                </a:lnTo>
                <a:lnTo>
                  <a:pt x="218" y="230"/>
                </a:lnTo>
                <a:lnTo>
                  <a:pt x="224" y="228"/>
                </a:lnTo>
                <a:lnTo>
                  <a:pt x="224" y="228"/>
                </a:lnTo>
                <a:lnTo>
                  <a:pt x="228" y="232"/>
                </a:lnTo>
                <a:lnTo>
                  <a:pt x="232" y="232"/>
                </a:lnTo>
                <a:lnTo>
                  <a:pt x="236" y="232"/>
                </a:lnTo>
                <a:lnTo>
                  <a:pt x="236" y="232"/>
                </a:lnTo>
                <a:lnTo>
                  <a:pt x="238" y="232"/>
                </a:lnTo>
                <a:lnTo>
                  <a:pt x="242" y="230"/>
                </a:lnTo>
                <a:lnTo>
                  <a:pt x="242" y="230"/>
                </a:lnTo>
                <a:lnTo>
                  <a:pt x="246" y="234"/>
                </a:lnTo>
                <a:lnTo>
                  <a:pt x="246" y="236"/>
                </a:lnTo>
                <a:lnTo>
                  <a:pt x="246" y="236"/>
                </a:lnTo>
                <a:lnTo>
                  <a:pt x="252" y="238"/>
                </a:lnTo>
                <a:lnTo>
                  <a:pt x="258" y="238"/>
                </a:lnTo>
                <a:lnTo>
                  <a:pt x="258" y="238"/>
                </a:lnTo>
                <a:lnTo>
                  <a:pt x="262" y="242"/>
                </a:lnTo>
                <a:lnTo>
                  <a:pt x="262" y="242"/>
                </a:lnTo>
                <a:lnTo>
                  <a:pt x="260" y="232"/>
                </a:lnTo>
                <a:lnTo>
                  <a:pt x="260" y="232"/>
                </a:lnTo>
                <a:lnTo>
                  <a:pt x="256" y="230"/>
                </a:lnTo>
                <a:lnTo>
                  <a:pt x="256" y="230"/>
                </a:lnTo>
                <a:lnTo>
                  <a:pt x="258" y="222"/>
                </a:lnTo>
                <a:lnTo>
                  <a:pt x="258" y="222"/>
                </a:lnTo>
                <a:lnTo>
                  <a:pt x="248" y="218"/>
                </a:lnTo>
                <a:lnTo>
                  <a:pt x="236" y="218"/>
                </a:lnTo>
                <a:lnTo>
                  <a:pt x="236" y="218"/>
                </a:lnTo>
                <a:lnTo>
                  <a:pt x="236" y="210"/>
                </a:lnTo>
                <a:lnTo>
                  <a:pt x="236" y="210"/>
                </a:lnTo>
                <a:lnTo>
                  <a:pt x="234" y="208"/>
                </a:lnTo>
                <a:lnTo>
                  <a:pt x="234" y="208"/>
                </a:lnTo>
                <a:lnTo>
                  <a:pt x="234" y="202"/>
                </a:lnTo>
                <a:lnTo>
                  <a:pt x="234" y="202"/>
                </a:lnTo>
                <a:lnTo>
                  <a:pt x="226" y="204"/>
                </a:lnTo>
                <a:lnTo>
                  <a:pt x="226" y="204"/>
                </a:lnTo>
                <a:lnTo>
                  <a:pt x="226" y="202"/>
                </a:lnTo>
                <a:lnTo>
                  <a:pt x="226" y="202"/>
                </a:lnTo>
                <a:lnTo>
                  <a:pt x="222" y="202"/>
                </a:lnTo>
                <a:lnTo>
                  <a:pt x="218" y="198"/>
                </a:lnTo>
                <a:lnTo>
                  <a:pt x="218" y="198"/>
                </a:lnTo>
                <a:lnTo>
                  <a:pt x="214" y="198"/>
                </a:lnTo>
                <a:lnTo>
                  <a:pt x="208" y="196"/>
                </a:lnTo>
                <a:lnTo>
                  <a:pt x="208" y="196"/>
                </a:lnTo>
                <a:lnTo>
                  <a:pt x="206" y="202"/>
                </a:lnTo>
                <a:lnTo>
                  <a:pt x="206" y="202"/>
                </a:lnTo>
                <a:lnTo>
                  <a:pt x="192" y="202"/>
                </a:lnTo>
                <a:lnTo>
                  <a:pt x="188" y="200"/>
                </a:lnTo>
                <a:lnTo>
                  <a:pt x="188" y="200"/>
                </a:lnTo>
                <a:lnTo>
                  <a:pt x="180" y="198"/>
                </a:lnTo>
                <a:lnTo>
                  <a:pt x="176" y="192"/>
                </a:lnTo>
                <a:lnTo>
                  <a:pt x="176" y="192"/>
                </a:lnTo>
                <a:lnTo>
                  <a:pt x="166" y="192"/>
                </a:lnTo>
                <a:lnTo>
                  <a:pt x="166" y="190"/>
                </a:lnTo>
                <a:lnTo>
                  <a:pt x="166" y="190"/>
                </a:lnTo>
                <a:lnTo>
                  <a:pt x="158" y="190"/>
                </a:lnTo>
                <a:lnTo>
                  <a:pt x="158" y="190"/>
                </a:lnTo>
                <a:close/>
                <a:moveTo>
                  <a:pt x="518" y="196"/>
                </a:moveTo>
                <a:lnTo>
                  <a:pt x="518" y="196"/>
                </a:lnTo>
                <a:lnTo>
                  <a:pt x="518" y="198"/>
                </a:lnTo>
                <a:lnTo>
                  <a:pt x="518" y="198"/>
                </a:lnTo>
                <a:lnTo>
                  <a:pt x="518" y="198"/>
                </a:lnTo>
                <a:lnTo>
                  <a:pt x="520" y="200"/>
                </a:lnTo>
                <a:lnTo>
                  <a:pt x="520" y="202"/>
                </a:lnTo>
                <a:lnTo>
                  <a:pt x="520" y="210"/>
                </a:lnTo>
                <a:lnTo>
                  <a:pt x="520" y="210"/>
                </a:lnTo>
                <a:lnTo>
                  <a:pt x="516" y="212"/>
                </a:lnTo>
                <a:lnTo>
                  <a:pt x="516" y="212"/>
                </a:lnTo>
                <a:lnTo>
                  <a:pt x="518" y="216"/>
                </a:lnTo>
                <a:lnTo>
                  <a:pt x="518" y="216"/>
                </a:lnTo>
                <a:lnTo>
                  <a:pt x="518" y="218"/>
                </a:lnTo>
                <a:lnTo>
                  <a:pt x="518" y="218"/>
                </a:lnTo>
                <a:lnTo>
                  <a:pt x="520" y="220"/>
                </a:lnTo>
                <a:lnTo>
                  <a:pt x="520" y="220"/>
                </a:lnTo>
                <a:lnTo>
                  <a:pt x="522" y="212"/>
                </a:lnTo>
                <a:lnTo>
                  <a:pt x="526" y="210"/>
                </a:lnTo>
                <a:lnTo>
                  <a:pt x="526" y="210"/>
                </a:lnTo>
                <a:lnTo>
                  <a:pt x="526" y="206"/>
                </a:lnTo>
                <a:lnTo>
                  <a:pt x="526" y="206"/>
                </a:lnTo>
                <a:lnTo>
                  <a:pt x="524" y="206"/>
                </a:lnTo>
                <a:lnTo>
                  <a:pt x="526" y="204"/>
                </a:lnTo>
                <a:lnTo>
                  <a:pt x="526" y="200"/>
                </a:lnTo>
                <a:lnTo>
                  <a:pt x="524" y="198"/>
                </a:lnTo>
                <a:lnTo>
                  <a:pt x="524" y="198"/>
                </a:lnTo>
                <a:lnTo>
                  <a:pt x="522" y="196"/>
                </a:lnTo>
                <a:lnTo>
                  <a:pt x="518" y="196"/>
                </a:lnTo>
                <a:lnTo>
                  <a:pt x="518" y="196"/>
                </a:lnTo>
                <a:close/>
                <a:moveTo>
                  <a:pt x="262" y="230"/>
                </a:moveTo>
                <a:lnTo>
                  <a:pt x="262" y="230"/>
                </a:lnTo>
                <a:lnTo>
                  <a:pt x="262" y="236"/>
                </a:lnTo>
                <a:lnTo>
                  <a:pt x="262" y="236"/>
                </a:lnTo>
                <a:lnTo>
                  <a:pt x="262" y="236"/>
                </a:lnTo>
                <a:lnTo>
                  <a:pt x="264" y="236"/>
                </a:lnTo>
                <a:lnTo>
                  <a:pt x="264" y="236"/>
                </a:lnTo>
                <a:lnTo>
                  <a:pt x="266" y="240"/>
                </a:lnTo>
                <a:lnTo>
                  <a:pt x="266" y="244"/>
                </a:lnTo>
                <a:lnTo>
                  <a:pt x="266" y="244"/>
                </a:lnTo>
                <a:lnTo>
                  <a:pt x="268" y="242"/>
                </a:lnTo>
                <a:lnTo>
                  <a:pt x="268" y="242"/>
                </a:lnTo>
                <a:lnTo>
                  <a:pt x="268" y="242"/>
                </a:lnTo>
                <a:lnTo>
                  <a:pt x="272" y="236"/>
                </a:lnTo>
                <a:lnTo>
                  <a:pt x="272" y="236"/>
                </a:lnTo>
                <a:lnTo>
                  <a:pt x="272" y="234"/>
                </a:lnTo>
                <a:lnTo>
                  <a:pt x="272" y="232"/>
                </a:lnTo>
                <a:lnTo>
                  <a:pt x="272" y="232"/>
                </a:lnTo>
                <a:lnTo>
                  <a:pt x="266" y="232"/>
                </a:lnTo>
                <a:lnTo>
                  <a:pt x="262" y="230"/>
                </a:lnTo>
                <a:lnTo>
                  <a:pt x="262" y="230"/>
                </a:lnTo>
                <a:close/>
                <a:moveTo>
                  <a:pt x="408" y="234"/>
                </a:moveTo>
                <a:lnTo>
                  <a:pt x="408" y="234"/>
                </a:lnTo>
                <a:lnTo>
                  <a:pt x="406" y="238"/>
                </a:lnTo>
                <a:lnTo>
                  <a:pt x="420" y="238"/>
                </a:lnTo>
                <a:lnTo>
                  <a:pt x="420" y="238"/>
                </a:lnTo>
                <a:lnTo>
                  <a:pt x="418" y="234"/>
                </a:lnTo>
                <a:lnTo>
                  <a:pt x="418" y="234"/>
                </a:lnTo>
                <a:lnTo>
                  <a:pt x="408" y="234"/>
                </a:lnTo>
                <a:lnTo>
                  <a:pt x="408" y="234"/>
                </a:lnTo>
                <a:close/>
                <a:moveTo>
                  <a:pt x="282" y="238"/>
                </a:moveTo>
                <a:lnTo>
                  <a:pt x="282" y="238"/>
                </a:lnTo>
                <a:lnTo>
                  <a:pt x="278" y="246"/>
                </a:lnTo>
                <a:lnTo>
                  <a:pt x="278" y="246"/>
                </a:lnTo>
                <a:lnTo>
                  <a:pt x="286" y="246"/>
                </a:lnTo>
                <a:lnTo>
                  <a:pt x="286" y="238"/>
                </a:lnTo>
                <a:lnTo>
                  <a:pt x="286" y="238"/>
                </a:lnTo>
                <a:lnTo>
                  <a:pt x="282" y="238"/>
                </a:lnTo>
                <a:lnTo>
                  <a:pt x="282" y="238"/>
                </a:lnTo>
                <a:close/>
                <a:moveTo>
                  <a:pt x="300" y="238"/>
                </a:moveTo>
                <a:lnTo>
                  <a:pt x="300" y="238"/>
                </a:lnTo>
                <a:lnTo>
                  <a:pt x="300" y="244"/>
                </a:lnTo>
                <a:lnTo>
                  <a:pt x="300" y="244"/>
                </a:lnTo>
                <a:lnTo>
                  <a:pt x="304" y="244"/>
                </a:lnTo>
                <a:lnTo>
                  <a:pt x="304" y="244"/>
                </a:lnTo>
                <a:lnTo>
                  <a:pt x="302" y="244"/>
                </a:lnTo>
                <a:lnTo>
                  <a:pt x="304" y="246"/>
                </a:lnTo>
                <a:lnTo>
                  <a:pt x="302" y="248"/>
                </a:lnTo>
                <a:lnTo>
                  <a:pt x="298" y="248"/>
                </a:lnTo>
                <a:lnTo>
                  <a:pt x="298" y="248"/>
                </a:lnTo>
                <a:lnTo>
                  <a:pt x="294" y="246"/>
                </a:lnTo>
                <a:lnTo>
                  <a:pt x="292" y="244"/>
                </a:lnTo>
                <a:lnTo>
                  <a:pt x="292" y="244"/>
                </a:lnTo>
                <a:lnTo>
                  <a:pt x="290" y="244"/>
                </a:lnTo>
                <a:lnTo>
                  <a:pt x="290" y="244"/>
                </a:lnTo>
                <a:lnTo>
                  <a:pt x="290" y="244"/>
                </a:lnTo>
                <a:lnTo>
                  <a:pt x="286" y="254"/>
                </a:lnTo>
                <a:lnTo>
                  <a:pt x="286" y="254"/>
                </a:lnTo>
                <a:lnTo>
                  <a:pt x="294" y="252"/>
                </a:lnTo>
                <a:lnTo>
                  <a:pt x="294" y="252"/>
                </a:lnTo>
                <a:lnTo>
                  <a:pt x="294" y="254"/>
                </a:lnTo>
                <a:lnTo>
                  <a:pt x="298" y="254"/>
                </a:lnTo>
                <a:lnTo>
                  <a:pt x="300" y="252"/>
                </a:lnTo>
                <a:lnTo>
                  <a:pt x="300" y="252"/>
                </a:lnTo>
                <a:lnTo>
                  <a:pt x="310" y="250"/>
                </a:lnTo>
                <a:lnTo>
                  <a:pt x="318" y="250"/>
                </a:lnTo>
                <a:lnTo>
                  <a:pt x="318" y="250"/>
                </a:lnTo>
                <a:lnTo>
                  <a:pt x="316" y="244"/>
                </a:lnTo>
                <a:lnTo>
                  <a:pt x="316" y="244"/>
                </a:lnTo>
                <a:lnTo>
                  <a:pt x="308" y="242"/>
                </a:lnTo>
                <a:lnTo>
                  <a:pt x="300" y="238"/>
                </a:lnTo>
                <a:lnTo>
                  <a:pt x="300" y="238"/>
                </a:lnTo>
                <a:close/>
                <a:moveTo>
                  <a:pt x="332" y="242"/>
                </a:moveTo>
                <a:lnTo>
                  <a:pt x="332" y="242"/>
                </a:lnTo>
                <a:lnTo>
                  <a:pt x="326" y="244"/>
                </a:lnTo>
                <a:lnTo>
                  <a:pt x="326" y="244"/>
                </a:lnTo>
                <a:lnTo>
                  <a:pt x="326" y="246"/>
                </a:lnTo>
                <a:lnTo>
                  <a:pt x="328" y="248"/>
                </a:lnTo>
                <a:lnTo>
                  <a:pt x="328" y="248"/>
                </a:lnTo>
                <a:lnTo>
                  <a:pt x="338" y="250"/>
                </a:lnTo>
                <a:lnTo>
                  <a:pt x="348" y="250"/>
                </a:lnTo>
                <a:lnTo>
                  <a:pt x="348" y="252"/>
                </a:lnTo>
                <a:lnTo>
                  <a:pt x="348" y="252"/>
                </a:lnTo>
                <a:lnTo>
                  <a:pt x="352" y="252"/>
                </a:lnTo>
                <a:lnTo>
                  <a:pt x="358" y="250"/>
                </a:lnTo>
                <a:lnTo>
                  <a:pt x="362" y="248"/>
                </a:lnTo>
                <a:lnTo>
                  <a:pt x="366" y="248"/>
                </a:lnTo>
                <a:lnTo>
                  <a:pt x="366" y="248"/>
                </a:lnTo>
                <a:lnTo>
                  <a:pt x="368" y="250"/>
                </a:lnTo>
                <a:lnTo>
                  <a:pt x="368" y="250"/>
                </a:lnTo>
                <a:lnTo>
                  <a:pt x="370" y="246"/>
                </a:lnTo>
                <a:lnTo>
                  <a:pt x="370" y="246"/>
                </a:lnTo>
                <a:lnTo>
                  <a:pt x="368" y="244"/>
                </a:lnTo>
                <a:lnTo>
                  <a:pt x="364" y="244"/>
                </a:lnTo>
                <a:lnTo>
                  <a:pt x="364" y="244"/>
                </a:lnTo>
                <a:lnTo>
                  <a:pt x="360" y="244"/>
                </a:lnTo>
                <a:lnTo>
                  <a:pt x="356" y="246"/>
                </a:lnTo>
                <a:lnTo>
                  <a:pt x="356" y="246"/>
                </a:lnTo>
                <a:lnTo>
                  <a:pt x="352" y="242"/>
                </a:lnTo>
                <a:lnTo>
                  <a:pt x="352" y="242"/>
                </a:lnTo>
                <a:lnTo>
                  <a:pt x="348" y="242"/>
                </a:lnTo>
                <a:lnTo>
                  <a:pt x="344" y="244"/>
                </a:lnTo>
                <a:lnTo>
                  <a:pt x="344" y="244"/>
                </a:lnTo>
                <a:lnTo>
                  <a:pt x="338" y="242"/>
                </a:lnTo>
                <a:lnTo>
                  <a:pt x="332" y="242"/>
                </a:lnTo>
                <a:lnTo>
                  <a:pt x="332" y="242"/>
                </a:lnTo>
                <a:close/>
                <a:moveTo>
                  <a:pt x="420" y="244"/>
                </a:moveTo>
                <a:lnTo>
                  <a:pt x="416" y="246"/>
                </a:lnTo>
                <a:lnTo>
                  <a:pt x="416" y="246"/>
                </a:lnTo>
                <a:lnTo>
                  <a:pt x="410" y="246"/>
                </a:lnTo>
                <a:lnTo>
                  <a:pt x="410" y="246"/>
                </a:lnTo>
                <a:lnTo>
                  <a:pt x="408" y="250"/>
                </a:lnTo>
                <a:lnTo>
                  <a:pt x="408" y="250"/>
                </a:lnTo>
                <a:lnTo>
                  <a:pt x="400" y="250"/>
                </a:lnTo>
                <a:lnTo>
                  <a:pt x="398" y="250"/>
                </a:lnTo>
                <a:lnTo>
                  <a:pt x="394" y="250"/>
                </a:lnTo>
                <a:lnTo>
                  <a:pt x="394" y="250"/>
                </a:lnTo>
                <a:lnTo>
                  <a:pt x="394" y="252"/>
                </a:lnTo>
                <a:lnTo>
                  <a:pt x="394" y="256"/>
                </a:lnTo>
                <a:lnTo>
                  <a:pt x="394" y="256"/>
                </a:lnTo>
                <a:lnTo>
                  <a:pt x="390" y="256"/>
                </a:lnTo>
                <a:lnTo>
                  <a:pt x="386" y="258"/>
                </a:lnTo>
                <a:lnTo>
                  <a:pt x="386" y="258"/>
                </a:lnTo>
                <a:lnTo>
                  <a:pt x="386" y="262"/>
                </a:lnTo>
                <a:lnTo>
                  <a:pt x="386" y="262"/>
                </a:lnTo>
                <a:lnTo>
                  <a:pt x="374" y="268"/>
                </a:lnTo>
                <a:lnTo>
                  <a:pt x="374" y="268"/>
                </a:lnTo>
                <a:lnTo>
                  <a:pt x="376" y="274"/>
                </a:lnTo>
                <a:lnTo>
                  <a:pt x="376" y="274"/>
                </a:lnTo>
                <a:lnTo>
                  <a:pt x="370" y="276"/>
                </a:lnTo>
                <a:lnTo>
                  <a:pt x="364" y="278"/>
                </a:lnTo>
                <a:lnTo>
                  <a:pt x="364" y="278"/>
                </a:lnTo>
                <a:lnTo>
                  <a:pt x="362" y="280"/>
                </a:lnTo>
                <a:lnTo>
                  <a:pt x="362" y="282"/>
                </a:lnTo>
                <a:lnTo>
                  <a:pt x="362" y="282"/>
                </a:lnTo>
                <a:lnTo>
                  <a:pt x="364" y="284"/>
                </a:lnTo>
                <a:lnTo>
                  <a:pt x="364" y="284"/>
                </a:lnTo>
                <a:lnTo>
                  <a:pt x="370" y="284"/>
                </a:lnTo>
                <a:lnTo>
                  <a:pt x="374" y="282"/>
                </a:lnTo>
                <a:lnTo>
                  <a:pt x="374" y="282"/>
                </a:lnTo>
                <a:lnTo>
                  <a:pt x="374" y="280"/>
                </a:lnTo>
                <a:lnTo>
                  <a:pt x="374" y="280"/>
                </a:lnTo>
                <a:lnTo>
                  <a:pt x="380" y="274"/>
                </a:lnTo>
                <a:lnTo>
                  <a:pt x="380" y="274"/>
                </a:lnTo>
                <a:lnTo>
                  <a:pt x="386" y="274"/>
                </a:lnTo>
                <a:lnTo>
                  <a:pt x="392" y="272"/>
                </a:lnTo>
                <a:lnTo>
                  <a:pt x="392" y="272"/>
                </a:lnTo>
                <a:lnTo>
                  <a:pt x="396" y="268"/>
                </a:lnTo>
                <a:lnTo>
                  <a:pt x="398" y="264"/>
                </a:lnTo>
                <a:lnTo>
                  <a:pt x="398" y="264"/>
                </a:lnTo>
                <a:lnTo>
                  <a:pt x="402" y="264"/>
                </a:lnTo>
                <a:lnTo>
                  <a:pt x="402" y="264"/>
                </a:lnTo>
                <a:lnTo>
                  <a:pt x="402" y="262"/>
                </a:lnTo>
                <a:lnTo>
                  <a:pt x="402" y="260"/>
                </a:lnTo>
                <a:lnTo>
                  <a:pt x="402" y="260"/>
                </a:lnTo>
                <a:lnTo>
                  <a:pt x="406" y="260"/>
                </a:lnTo>
                <a:lnTo>
                  <a:pt x="408" y="258"/>
                </a:lnTo>
                <a:lnTo>
                  <a:pt x="408" y="258"/>
                </a:lnTo>
                <a:lnTo>
                  <a:pt x="410" y="254"/>
                </a:lnTo>
                <a:lnTo>
                  <a:pt x="410" y="254"/>
                </a:lnTo>
                <a:lnTo>
                  <a:pt x="414" y="254"/>
                </a:lnTo>
                <a:lnTo>
                  <a:pt x="418" y="252"/>
                </a:lnTo>
                <a:lnTo>
                  <a:pt x="418" y="252"/>
                </a:lnTo>
                <a:lnTo>
                  <a:pt x="420" y="250"/>
                </a:lnTo>
                <a:lnTo>
                  <a:pt x="420" y="250"/>
                </a:lnTo>
                <a:lnTo>
                  <a:pt x="424" y="246"/>
                </a:lnTo>
                <a:lnTo>
                  <a:pt x="424" y="244"/>
                </a:lnTo>
                <a:lnTo>
                  <a:pt x="420" y="244"/>
                </a:lnTo>
                <a:lnTo>
                  <a:pt x="420" y="244"/>
                </a:lnTo>
                <a:close/>
                <a:moveTo>
                  <a:pt x="320" y="262"/>
                </a:moveTo>
                <a:lnTo>
                  <a:pt x="318" y="268"/>
                </a:lnTo>
                <a:lnTo>
                  <a:pt x="318" y="268"/>
                </a:lnTo>
                <a:lnTo>
                  <a:pt x="328" y="272"/>
                </a:lnTo>
                <a:lnTo>
                  <a:pt x="334" y="274"/>
                </a:lnTo>
                <a:lnTo>
                  <a:pt x="340" y="276"/>
                </a:lnTo>
                <a:lnTo>
                  <a:pt x="340" y="276"/>
                </a:lnTo>
                <a:lnTo>
                  <a:pt x="340" y="272"/>
                </a:lnTo>
                <a:lnTo>
                  <a:pt x="340" y="270"/>
                </a:lnTo>
                <a:lnTo>
                  <a:pt x="340" y="270"/>
                </a:lnTo>
                <a:lnTo>
                  <a:pt x="338" y="268"/>
                </a:lnTo>
                <a:lnTo>
                  <a:pt x="338" y="268"/>
                </a:lnTo>
                <a:lnTo>
                  <a:pt x="320" y="262"/>
                </a:lnTo>
                <a:lnTo>
                  <a:pt x="320" y="262"/>
                </a:lnTo>
                <a:close/>
                <a:moveTo>
                  <a:pt x="196" y="64"/>
                </a:moveTo>
                <a:lnTo>
                  <a:pt x="196" y="64"/>
                </a:lnTo>
                <a:lnTo>
                  <a:pt x="196" y="62"/>
                </a:lnTo>
                <a:lnTo>
                  <a:pt x="196" y="62"/>
                </a:lnTo>
                <a:lnTo>
                  <a:pt x="192" y="62"/>
                </a:lnTo>
                <a:lnTo>
                  <a:pt x="192" y="62"/>
                </a:lnTo>
                <a:lnTo>
                  <a:pt x="192" y="68"/>
                </a:lnTo>
                <a:lnTo>
                  <a:pt x="192" y="68"/>
                </a:lnTo>
                <a:lnTo>
                  <a:pt x="188" y="70"/>
                </a:lnTo>
                <a:lnTo>
                  <a:pt x="188" y="70"/>
                </a:lnTo>
                <a:lnTo>
                  <a:pt x="186" y="74"/>
                </a:lnTo>
                <a:lnTo>
                  <a:pt x="184" y="78"/>
                </a:lnTo>
                <a:lnTo>
                  <a:pt x="182" y="80"/>
                </a:lnTo>
                <a:lnTo>
                  <a:pt x="182" y="80"/>
                </a:lnTo>
                <a:lnTo>
                  <a:pt x="182" y="94"/>
                </a:lnTo>
                <a:lnTo>
                  <a:pt x="182" y="94"/>
                </a:lnTo>
                <a:lnTo>
                  <a:pt x="186" y="96"/>
                </a:lnTo>
                <a:lnTo>
                  <a:pt x="188" y="100"/>
                </a:lnTo>
                <a:lnTo>
                  <a:pt x="188" y="100"/>
                </a:lnTo>
                <a:lnTo>
                  <a:pt x="186" y="102"/>
                </a:lnTo>
                <a:lnTo>
                  <a:pt x="186" y="106"/>
                </a:lnTo>
                <a:lnTo>
                  <a:pt x="186" y="106"/>
                </a:lnTo>
                <a:lnTo>
                  <a:pt x="190" y="108"/>
                </a:lnTo>
                <a:lnTo>
                  <a:pt x="190" y="108"/>
                </a:lnTo>
                <a:lnTo>
                  <a:pt x="188" y="112"/>
                </a:lnTo>
                <a:lnTo>
                  <a:pt x="188" y="114"/>
                </a:lnTo>
                <a:lnTo>
                  <a:pt x="188" y="114"/>
                </a:lnTo>
                <a:lnTo>
                  <a:pt x="192" y="114"/>
                </a:lnTo>
                <a:lnTo>
                  <a:pt x="192" y="114"/>
                </a:lnTo>
                <a:lnTo>
                  <a:pt x="190" y="120"/>
                </a:lnTo>
                <a:lnTo>
                  <a:pt x="190" y="120"/>
                </a:lnTo>
                <a:lnTo>
                  <a:pt x="192" y="120"/>
                </a:lnTo>
                <a:lnTo>
                  <a:pt x="192" y="120"/>
                </a:lnTo>
                <a:lnTo>
                  <a:pt x="196" y="118"/>
                </a:lnTo>
                <a:lnTo>
                  <a:pt x="196" y="118"/>
                </a:lnTo>
                <a:lnTo>
                  <a:pt x="198" y="118"/>
                </a:lnTo>
                <a:lnTo>
                  <a:pt x="198" y="118"/>
                </a:lnTo>
                <a:lnTo>
                  <a:pt x="198" y="118"/>
                </a:lnTo>
                <a:lnTo>
                  <a:pt x="202" y="136"/>
                </a:lnTo>
                <a:lnTo>
                  <a:pt x="202" y="136"/>
                </a:lnTo>
                <a:lnTo>
                  <a:pt x="204" y="140"/>
                </a:lnTo>
                <a:lnTo>
                  <a:pt x="204" y="140"/>
                </a:lnTo>
                <a:lnTo>
                  <a:pt x="206" y="148"/>
                </a:lnTo>
                <a:lnTo>
                  <a:pt x="206" y="148"/>
                </a:lnTo>
                <a:lnTo>
                  <a:pt x="210" y="148"/>
                </a:lnTo>
                <a:lnTo>
                  <a:pt x="216" y="150"/>
                </a:lnTo>
                <a:lnTo>
                  <a:pt x="216" y="150"/>
                </a:lnTo>
                <a:lnTo>
                  <a:pt x="218" y="148"/>
                </a:lnTo>
                <a:lnTo>
                  <a:pt x="218" y="146"/>
                </a:lnTo>
                <a:lnTo>
                  <a:pt x="222" y="146"/>
                </a:lnTo>
                <a:lnTo>
                  <a:pt x="222" y="148"/>
                </a:lnTo>
                <a:lnTo>
                  <a:pt x="222" y="148"/>
                </a:lnTo>
                <a:lnTo>
                  <a:pt x="226" y="148"/>
                </a:lnTo>
                <a:lnTo>
                  <a:pt x="226" y="148"/>
                </a:lnTo>
                <a:lnTo>
                  <a:pt x="226" y="154"/>
                </a:lnTo>
                <a:lnTo>
                  <a:pt x="226" y="154"/>
                </a:lnTo>
                <a:lnTo>
                  <a:pt x="228" y="154"/>
                </a:lnTo>
                <a:lnTo>
                  <a:pt x="230" y="154"/>
                </a:lnTo>
                <a:lnTo>
                  <a:pt x="230" y="154"/>
                </a:lnTo>
                <a:lnTo>
                  <a:pt x="240" y="154"/>
                </a:lnTo>
                <a:lnTo>
                  <a:pt x="242" y="150"/>
                </a:lnTo>
                <a:lnTo>
                  <a:pt x="242" y="150"/>
                </a:lnTo>
                <a:lnTo>
                  <a:pt x="244" y="150"/>
                </a:lnTo>
                <a:lnTo>
                  <a:pt x="244" y="150"/>
                </a:lnTo>
                <a:lnTo>
                  <a:pt x="248" y="154"/>
                </a:lnTo>
                <a:lnTo>
                  <a:pt x="250" y="154"/>
                </a:lnTo>
                <a:lnTo>
                  <a:pt x="252" y="154"/>
                </a:lnTo>
                <a:lnTo>
                  <a:pt x="252" y="154"/>
                </a:lnTo>
                <a:lnTo>
                  <a:pt x="254" y="152"/>
                </a:lnTo>
                <a:lnTo>
                  <a:pt x="256" y="152"/>
                </a:lnTo>
                <a:lnTo>
                  <a:pt x="258" y="154"/>
                </a:lnTo>
                <a:lnTo>
                  <a:pt x="258" y="154"/>
                </a:lnTo>
                <a:lnTo>
                  <a:pt x="262" y="156"/>
                </a:lnTo>
                <a:lnTo>
                  <a:pt x="264" y="156"/>
                </a:lnTo>
                <a:lnTo>
                  <a:pt x="264" y="158"/>
                </a:lnTo>
                <a:lnTo>
                  <a:pt x="264" y="158"/>
                </a:lnTo>
                <a:lnTo>
                  <a:pt x="266" y="158"/>
                </a:lnTo>
                <a:lnTo>
                  <a:pt x="266" y="158"/>
                </a:lnTo>
                <a:lnTo>
                  <a:pt x="270" y="156"/>
                </a:lnTo>
                <a:lnTo>
                  <a:pt x="270" y="156"/>
                </a:lnTo>
                <a:lnTo>
                  <a:pt x="274" y="154"/>
                </a:lnTo>
                <a:lnTo>
                  <a:pt x="280" y="152"/>
                </a:lnTo>
                <a:lnTo>
                  <a:pt x="280" y="152"/>
                </a:lnTo>
                <a:lnTo>
                  <a:pt x="286" y="142"/>
                </a:lnTo>
                <a:lnTo>
                  <a:pt x="290" y="138"/>
                </a:lnTo>
                <a:lnTo>
                  <a:pt x="294" y="136"/>
                </a:lnTo>
                <a:lnTo>
                  <a:pt x="294" y="136"/>
                </a:lnTo>
                <a:lnTo>
                  <a:pt x="290" y="128"/>
                </a:lnTo>
                <a:lnTo>
                  <a:pt x="290" y="128"/>
                </a:lnTo>
                <a:lnTo>
                  <a:pt x="298" y="116"/>
                </a:lnTo>
                <a:lnTo>
                  <a:pt x="298" y="116"/>
                </a:lnTo>
                <a:lnTo>
                  <a:pt x="298" y="112"/>
                </a:lnTo>
                <a:lnTo>
                  <a:pt x="298" y="112"/>
                </a:lnTo>
                <a:lnTo>
                  <a:pt x="296" y="112"/>
                </a:lnTo>
                <a:lnTo>
                  <a:pt x="296" y="110"/>
                </a:lnTo>
                <a:lnTo>
                  <a:pt x="296" y="110"/>
                </a:lnTo>
                <a:lnTo>
                  <a:pt x="296" y="108"/>
                </a:lnTo>
                <a:lnTo>
                  <a:pt x="298" y="108"/>
                </a:lnTo>
                <a:lnTo>
                  <a:pt x="298" y="108"/>
                </a:lnTo>
                <a:lnTo>
                  <a:pt x="300" y="104"/>
                </a:lnTo>
                <a:lnTo>
                  <a:pt x="300" y="100"/>
                </a:lnTo>
                <a:lnTo>
                  <a:pt x="300" y="88"/>
                </a:lnTo>
                <a:lnTo>
                  <a:pt x="300" y="88"/>
                </a:lnTo>
                <a:lnTo>
                  <a:pt x="306" y="84"/>
                </a:lnTo>
                <a:lnTo>
                  <a:pt x="316" y="82"/>
                </a:lnTo>
                <a:lnTo>
                  <a:pt x="316" y="82"/>
                </a:lnTo>
                <a:lnTo>
                  <a:pt x="314" y="78"/>
                </a:lnTo>
                <a:lnTo>
                  <a:pt x="314" y="78"/>
                </a:lnTo>
                <a:lnTo>
                  <a:pt x="306" y="74"/>
                </a:lnTo>
                <a:lnTo>
                  <a:pt x="304" y="72"/>
                </a:lnTo>
                <a:lnTo>
                  <a:pt x="302" y="70"/>
                </a:lnTo>
                <a:lnTo>
                  <a:pt x="302" y="70"/>
                </a:lnTo>
                <a:lnTo>
                  <a:pt x="302" y="66"/>
                </a:lnTo>
                <a:lnTo>
                  <a:pt x="304" y="62"/>
                </a:lnTo>
                <a:lnTo>
                  <a:pt x="304" y="62"/>
                </a:lnTo>
                <a:lnTo>
                  <a:pt x="304" y="58"/>
                </a:lnTo>
                <a:lnTo>
                  <a:pt x="302" y="54"/>
                </a:lnTo>
                <a:lnTo>
                  <a:pt x="296" y="46"/>
                </a:lnTo>
                <a:lnTo>
                  <a:pt x="296" y="46"/>
                </a:lnTo>
                <a:lnTo>
                  <a:pt x="296" y="42"/>
                </a:lnTo>
                <a:lnTo>
                  <a:pt x="296" y="42"/>
                </a:lnTo>
                <a:lnTo>
                  <a:pt x="298" y="40"/>
                </a:lnTo>
                <a:lnTo>
                  <a:pt x="298" y="40"/>
                </a:lnTo>
                <a:lnTo>
                  <a:pt x="300" y="40"/>
                </a:lnTo>
                <a:lnTo>
                  <a:pt x="300" y="38"/>
                </a:lnTo>
                <a:lnTo>
                  <a:pt x="300" y="38"/>
                </a:lnTo>
                <a:lnTo>
                  <a:pt x="300" y="38"/>
                </a:lnTo>
                <a:lnTo>
                  <a:pt x="300" y="38"/>
                </a:lnTo>
                <a:lnTo>
                  <a:pt x="300" y="36"/>
                </a:lnTo>
                <a:lnTo>
                  <a:pt x="300" y="36"/>
                </a:lnTo>
                <a:lnTo>
                  <a:pt x="296" y="34"/>
                </a:lnTo>
                <a:lnTo>
                  <a:pt x="296" y="34"/>
                </a:lnTo>
                <a:lnTo>
                  <a:pt x="296" y="32"/>
                </a:lnTo>
                <a:lnTo>
                  <a:pt x="286" y="34"/>
                </a:lnTo>
                <a:lnTo>
                  <a:pt x="278" y="32"/>
                </a:lnTo>
                <a:lnTo>
                  <a:pt x="276" y="36"/>
                </a:lnTo>
                <a:lnTo>
                  <a:pt x="274" y="46"/>
                </a:lnTo>
                <a:lnTo>
                  <a:pt x="270" y="50"/>
                </a:lnTo>
                <a:lnTo>
                  <a:pt x="268" y="54"/>
                </a:lnTo>
                <a:lnTo>
                  <a:pt x="264" y="58"/>
                </a:lnTo>
                <a:lnTo>
                  <a:pt x="260" y="60"/>
                </a:lnTo>
                <a:lnTo>
                  <a:pt x="260" y="64"/>
                </a:lnTo>
                <a:lnTo>
                  <a:pt x="258" y="72"/>
                </a:lnTo>
                <a:lnTo>
                  <a:pt x="256" y="74"/>
                </a:lnTo>
                <a:lnTo>
                  <a:pt x="250" y="78"/>
                </a:lnTo>
                <a:lnTo>
                  <a:pt x="242" y="78"/>
                </a:lnTo>
                <a:lnTo>
                  <a:pt x="238" y="76"/>
                </a:lnTo>
                <a:lnTo>
                  <a:pt x="230" y="78"/>
                </a:lnTo>
                <a:lnTo>
                  <a:pt x="228" y="80"/>
                </a:lnTo>
                <a:lnTo>
                  <a:pt x="220" y="82"/>
                </a:lnTo>
                <a:lnTo>
                  <a:pt x="214" y="84"/>
                </a:lnTo>
                <a:lnTo>
                  <a:pt x="208" y="82"/>
                </a:lnTo>
                <a:lnTo>
                  <a:pt x="204" y="80"/>
                </a:lnTo>
                <a:lnTo>
                  <a:pt x="198" y="78"/>
                </a:lnTo>
                <a:lnTo>
                  <a:pt x="196" y="72"/>
                </a:lnTo>
                <a:lnTo>
                  <a:pt x="196" y="64"/>
                </a:lnTo>
                <a:close/>
                <a:moveTo>
                  <a:pt x="486" y="116"/>
                </a:moveTo>
                <a:lnTo>
                  <a:pt x="486" y="116"/>
                </a:lnTo>
                <a:lnTo>
                  <a:pt x="478" y="116"/>
                </a:lnTo>
                <a:lnTo>
                  <a:pt x="478" y="116"/>
                </a:lnTo>
                <a:lnTo>
                  <a:pt x="478" y="124"/>
                </a:lnTo>
                <a:lnTo>
                  <a:pt x="478" y="124"/>
                </a:lnTo>
                <a:lnTo>
                  <a:pt x="476" y="124"/>
                </a:lnTo>
                <a:lnTo>
                  <a:pt x="476" y="126"/>
                </a:lnTo>
                <a:lnTo>
                  <a:pt x="478" y="128"/>
                </a:lnTo>
                <a:lnTo>
                  <a:pt x="478" y="128"/>
                </a:lnTo>
                <a:lnTo>
                  <a:pt x="482" y="128"/>
                </a:lnTo>
                <a:lnTo>
                  <a:pt x="486" y="128"/>
                </a:lnTo>
                <a:lnTo>
                  <a:pt x="486" y="128"/>
                </a:lnTo>
                <a:lnTo>
                  <a:pt x="490" y="130"/>
                </a:lnTo>
                <a:lnTo>
                  <a:pt x="490" y="130"/>
                </a:lnTo>
                <a:lnTo>
                  <a:pt x="490" y="132"/>
                </a:lnTo>
                <a:lnTo>
                  <a:pt x="490" y="136"/>
                </a:lnTo>
                <a:lnTo>
                  <a:pt x="490" y="136"/>
                </a:lnTo>
                <a:lnTo>
                  <a:pt x="490" y="136"/>
                </a:lnTo>
                <a:lnTo>
                  <a:pt x="488" y="136"/>
                </a:lnTo>
                <a:lnTo>
                  <a:pt x="488" y="136"/>
                </a:lnTo>
                <a:lnTo>
                  <a:pt x="488" y="136"/>
                </a:lnTo>
                <a:lnTo>
                  <a:pt x="492" y="136"/>
                </a:lnTo>
                <a:lnTo>
                  <a:pt x="496" y="136"/>
                </a:lnTo>
                <a:lnTo>
                  <a:pt x="504" y="136"/>
                </a:lnTo>
                <a:lnTo>
                  <a:pt x="504" y="136"/>
                </a:lnTo>
                <a:lnTo>
                  <a:pt x="514" y="138"/>
                </a:lnTo>
                <a:lnTo>
                  <a:pt x="514" y="140"/>
                </a:lnTo>
                <a:lnTo>
                  <a:pt x="514" y="140"/>
                </a:lnTo>
                <a:lnTo>
                  <a:pt x="504" y="142"/>
                </a:lnTo>
                <a:lnTo>
                  <a:pt x="502" y="144"/>
                </a:lnTo>
                <a:lnTo>
                  <a:pt x="502" y="144"/>
                </a:lnTo>
                <a:lnTo>
                  <a:pt x="494" y="144"/>
                </a:lnTo>
                <a:lnTo>
                  <a:pt x="486" y="144"/>
                </a:lnTo>
                <a:lnTo>
                  <a:pt x="488" y="148"/>
                </a:lnTo>
                <a:lnTo>
                  <a:pt x="488" y="148"/>
                </a:lnTo>
                <a:lnTo>
                  <a:pt x="494" y="146"/>
                </a:lnTo>
                <a:lnTo>
                  <a:pt x="494" y="146"/>
                </a:lnTo>
                <a:lnTo>
                  <a:pt x="496" y="152"/>
                </a:lnTo>
                <a:lnTo>
                  <a:pt x="500" y="154"/>
                </a:lnTo>
                <a:lnTo>
                  <a:pt x="500" y="154"/>
                </a:lnTo>
                <a:lnTo>
                  <a:pt x="500" y="156"/>
                </a:lnTo>
                <a:lnTo>
                  <a:pt x="500" y="160"/>
                </a:lnTo>
                <a:lnTo>
                  <a:pt x="500" y="160"/>
                </a:lnTo>
                <a:lnTo>
                  <a:pt x="502" y="162"/>
                </a:lnTo>
                <a:lnTo>
                  <a:pt x="502" y="162"/>
                </a:lnTo>
                <a:lnTo>
                  <a:pt x="504" y="162"/>
                </a:lnTo>
                <a:lnTo>
                  <a:pt x="504" y="162"/>
                </a:lnTo>
                <a:lnTo>
                  <a:pt x="508" y="154"/>
                </a:lnTo>
                <a:lnTo>
                  <a:pt x="508" y="154"/>
                </a:lnTo>
                <a:lnTo>
                  <a:pt x="510" y="154"/>
                </a:lnTo>
                <a:lnTo>
                  <a:pt x="510" y="154"/>
                </a:lnTo>
                <a:lnTo>
                  <a:pt x="510" y="156"/>
                </a:lnTo>
                <a:lnTo>
                  <a:pt x="516" y="160"/>
                </a:lnTo>
                <a:lnTo>
                  <a:pt x="516" y="160"/>
                </a:lnTo>
                <a:lnTo>
                  <a:pt x="516" y="160"/>
                </a:lnTo>
                <a:lnTo>
                  <a:pt x="522" y="162"/>
                </a:lnTo>
                <a:lnTo>
                  <a:pt x="522" y="162"/>
                </a:lnTo>
                <a:lnTo>
                  <a:pt x="522" y="162"/>
                </a:lnTo>
                <a:lnTo>
                  <a:pt x="522" y="166"/>
                </a:lnTo>
                <a:lnTo>
                  <a:pt x="524" y="170"/>
                </a:lnTo>
                <a:lnTo>
                  <a:pt x="526" y="172"/>
                </a:lnTo>
                <a:lnTo>
                  <a:pt x="526" y="172"/>
                </a:lnTo>
                <a:lnTo>
                  <a:pt x="530" y="172"/>
                </a:lnTo>
                <a:lnTo>
                  <a:pt x="534" y="172"/>
                </a:lnTo>
                <a:lnTo>
                  <a:pt x="536" y="174"/>
                </a:lnTo>
                <a:lnTo>
                  <a:pt x="536" y="174"/>
                </a:lnTo>
                <a:lnTo>
                  <a:pt x="538" y="172"/>
                </a:lnTo>
                <a:lnTo>
                  <a:pt x="542" y="172"/>
                </a:lnTo>
                <a:lnTo>
                  <a:pt x="542" y="174"/>
                </a:lnTo>
                <a:lnTo>
                  <a:pt x="542" y="174"/>
                </a:lnTo>
                <a:lnTo>
                  <a:pt x="548" y="178"/>
                </a:lnTo>
                <a:lnTo>
                  <a:pt x="552" y="184"/>
                </a:lnTo>
                <a:lnTo>
                  <a:pt x="552" y="184"/>
                </a:lnTo>
                <a:lnTo>
                  <a:pt x="560" y="184"/>
                </a:lnTo>
                <a:lnTo>
                  <a:pt x="564" y="186"/>
                </a:lnTo>
                <a:lnTo>
                  <a:pt x="564" y="186"/>
                </a:lnTo>
                <a:lnTo>
                  <a:pt x="566" y="186"/>
                </a:lnTo>
                <a:lnTo>
                  <a:pt x="570" y="188"/>
                </a:lnTo>
                <a:lnTo>
                  <a:pt x="574" y="194"/>
                </a:lnTo>
                <a:lnTo>
                  <a:pt x="574" y="206"/>
                </a:lnTo>
                <a:lnTo>
                  <a:pt x="574" y="206"/>
                </a:lnTo>
                <a:lnTo>
                  <a:pt x="572" y="206"/>
                </a:lnTo>
                <a:lnTo>
                  <a:pt x="572" y="208"/>
                </a:lnTo>
                <a:lnTo>
                  <a:pt x="572" y="208"/>
                </a:lnTo>
                <a:lnTo>
                  <a:pt x="576" y="210"/>
                </a:lnTo>
                <a:lnTo>
                  <a:pt x="576" y="210"/>
                </a:lnTo>
                <a:lnTo>
                  <a:pt x="576" y="214"/>
                </a:lnTo>
                <a:lnTo>
                  <a:pt x="576" y="216"/>
                </a:lnTo>
                <a:lnTo>
                  <a:pt x="576" y="216"/>
                </a:lnTo>
                <a:lnTo>
                  <a:pt x="580" y="220"/>
                </a:lnTo>
                <a:lnTo>
                  <a:pt x="580" y="220"/>
                </a:lnTo>
                <a:lnTo>
                  <a:pt x="580" y="226"/>
                </a:lnTo>
                <a:lnTo>
                  <a:pt x="580" y="232"/>
                </a:lnTo>
                <a:lnTo>
                  <a:pt x="580" y="232"/>
                </a:lnTo>
                <a:lnTo>
                  <a:pt x="576" y="228"/>
                </a:lnTo>
                <a:lnTo>
                  <a:pt x="576" y="228"/>
                </a:lnTo>
                <a:lnTo>
                  <a:pt x="574" y="230"/>
                </a:lnTo>
                <a:lnTo>
                  <a:pt x="570" y="230"/>
                </a:lnTo>
                <a:lnTo>
                  <a:pt x="570" y="230"/>
                </a:lnTo>
                <a:lnTo>
                  <a:pt x="562" y="240"/>
                </a:lnTo>
                <a:lnTo>
                  <a:pt x="562" y="240"/>
                </a:lnTo>
                <a:lnTo>
                  <a:pt x="578" y="238"/>
                </a:lnTo>
                <a:lnTo>
                  <a:pt x="578" y="238"/>
                </a:lnTo>
                <a:lnTo>
                  <a:pt x="578" y="234"/>
                </a:lnTo>
                <a:lnTo>
                  <a:pt x="578" y="234"/>
                </a:lnTo>
                <a:lnTo>
                  <a:pt x="580" y="234"/>
                </a:lnTo>
                <a:lnTo>
                  <a:pt x="580" y="236"/>
                </a:lnTo>
                <a:lnTo>
                  <a:pt x="580" y="236"/>
                </a:lnTo>
                <a:lnTo>
                  <a:pt x="584" y="236"/>
                </a:lnTo>
                <a:lnTo>
                  <a:pt x="586" y="236"/>
                </a:lnTo>
                <a:lnTo>
                  <a:pt x="592" y="236"/>
                </a:lnTo>
                <a:lnTo>
                  <a:pt x="592" y="236"/>
                </a:lnTo>
                <a:lnTo>
                  <a:pt x="596" y="240"/>
                </a:lnTo>
                <a:lnTo>
                  <a:pt x="600" y="244"/>
                </a:lnTo>
                <a:lnTo>
                  <a:pt x="600" y="244"/>
                </a:lnTo>
                <a:lnTo>
                  <a:pt x="600" y="248"/>
                </a:lnTo>
                <a:lnTo>
                  <a:pt x="602" y="248"/>
                </a:lnTo>
                <a:lnTo>
                  <a:pt x="602" y="248"/>
                </a:lnTo>
                <a:lnTo>
                  <a:pt x="604" y="252"/>
                </a:lnTo>
                <a:lnTo>
                  <a:pt x="604" y="252"/>
                </a:lnTo>
                <a:lnTo>
                  <a:pt x="606" y="252"/>
                </a:lnTo>
                <a:lnTo>
                  <a:pt x="606" y="218"/>
                </a:lnTo>
                <a:lnTo>
                  <a:pt x="604" y="212"/>
                </a:lnTo>
                <a:lnTo>
                  <a:pt x="606" y="206"/>
                </a:lnTo>
                <a:lnTo>
                  <a:pt x="606" y="146"/>
                </a:lnTo>
                <a:lnTo>
                  <a:pt x="606" y="146"/>
                </a:lnTo>
                <a:lnTo>
                  <a:pt x="604" y="146"/>
                </a:lnTo>
                <a:lnTo>
                  <a:pt x="604" y="146"/>
                </a:lnTo>
                <a:lnTo>
                  <a:pt x="602" y="142"/>
                </a:lnTo>
                <a:lnTo>
                  <a:pt x="600" y="140"/>
                </a:lnTo>
                <a:lnTo>
                  <a:pt x="600" y="140"/>
                </a:lnTo>
                <a:lnTo>
                  <a:pt x="598" y="140"/>
                </a:lnTo>
                <a:lnTo>
                  <a:pt x="594" y="142"/>
                </a:lnTo>
                <a:lnTo>
                  <a:pt x="594" y="142"/>
                </a:lnTo>
                <a:lnTo>
                  <a:pt x="586" y="140"/>
                </a:lnTo>
                <a:lnTo>
                  <a:pt x="580" y="138"/>
                </a:lnTo>
                <a:lnTo>
                  <a:pt x="580" y="138"/>
                </a:lnTo>
                <a:lnTo>
                  <a:pt x="572" y="132"/>
                </a:lnTo>
                <a:lnTo>
                  <a:pt x="566" y="128"/>
                </a:lnTo>
                <a:lnTo>
                  <a:pt x="562" y="128"/>
                </a:lnTo>
                <a:lnTo>
                  <a:pt x="562" y="130"/>
                </a:lnTo>
                <a:lnTo>
                  <a:pt x="562" y="130"/>
                </a:lnTo>
                <a:lnTo>
                  <a:pt x="558" y="130"/>
                </a:lnTo>
                <a:lnTo>
                  <a:pt x="558" y="130"/>
                </a:lnTo>
                <a:lnTo>
                  <a:pt x="552" y="138"/>
                </a:lnTo>
                <a:lnTo>
                  <a:pt x="552" y="138"/>
                </a:lnTo>
                <a:lnTo>
                  <a:pt x="546" y="140"/>
                </a:lnTo>
                <a:lnTo>
                  <a:pt x="546" y="140"/>
                </a:lnTo>
                <a:lnTo>
                  <a:pt x="542" y="146"/>
                </a:lnTo>
                <a:lnTo>
                  <a:pt x="540" y="152"/>
                </a:lnTo>
                <a:lnTo>
                  <a:pt x="540" y="152"/>
                </a:lnTo>
                <a:lnTo>
                  <a:pt x="532" y="156"/>
                </a:lnTo>
                <a:lnTo>
                  <a:pt x="532" y="156"/>
                </a:lnTo>
                <a:lnTo>
                  <a:pt x="530" y="154"/>
                </a:lnTo>
                <a:lnTo>
                  <a:pt x="530" y="154"/>
                </a:lnTo>
                <a:lnTo>
                  <a:pt x="530" y="154"/>
                </a:lnTo>
                <a:lnTo>
                  <a:pt x="528" y="150"/>
                </a:lnTo>
                <a:lnTo>
                  <a:pt x="524" y="150"/>
                </a:lnTo>
                <a:lnTo>
                  <a:pt x="524" y="150"/>
                </a:lnTo>
                <a:lnTo>
                  <a:pt x="524" y="144"/>
                </a:lnTo>
                <a:lnTo>
                  <a:pt x="522" y="142"/>
                </a:lnTo>
                <a:lnTo>
                  <a:pt x="522" y="142"/>
                </a:lnTo>
                <a:lnTo>
                  <a:pt x="522" y="144"/>
                </a:lnTo>
                <a:lnTo>
                  <a:pt x="520" y="146"/>
                </a:lnTo>
                <a:lnTo>
                  <a:pt x="520" y="146"/>
                </a:lnTo>
                <a:lnTo>
                  <a:pt x="518" y="136"/>
                </a:lnTo>
                <a:lnTo>
                  <a:pt x="518" y="132"/>
                </a:lnTo>
                <a:lnTo>
                  <a:pt x="518" y="126"/>
                </a:lnTo>
                <a:lnTo>
                  <a:pt x="518" y="126"/>
                </a:lnTo>
                <a:lnTo>
                  <a:pt x="518" y="124"/>
                </a:lnTo>
                <a:lnTo>
                  <a:pt x="520" y="120"/>
                </a:lnTo>
                <a:lnTo>
                  <a:pt x="520" y="120"/>
                </a:lnTo>
                <a:lnTo>
                  <a:pt x="518" y="116"/>
                </a:lnTo>
                <a:lnTo>
                  <a:pt x="514" y="112"/>
                </a:lnTo>
                <a:lnTo>
                  <a:pt x="512" y="112"/>
                </a:lnTo>
                <a:lnTo>
                  <a:pt x="512" y="112"/>
                </a:lnTo>
                <a:lnTo>
                  <a:pt x="510" y="114"/>
                </a:lnTo>
                <a:lnTo>
                  <a:pt x="510" y="114"/>
                </a:lnTo>
                <a:lnTo>
                  <a:pt x="508" y="112"/>
                </a:lnTo>
                <a:lnTo>
                  <a:pt x="508" y="112"/>
                </a:lnTo>
                <a:lnTo>
                  <a:pt x="506" y="112"/>
                </a:lnTo>
                <a:lnTo>
                  <a:pt x="506" y="112"/>
                </a:lnTo>
                <a:lnTo>
                  <a:pt x="506" y="112"/>
                </a:lnTo>
                <a:lnTo>
                  <a:pt x="504" y="114"/>
                </a:lnTo>
                <a:lnTo>
                  <a:pt x="504" y="114"/>
                </a:lnTo>
                <a:lnTo>
                  <a:pt x="500" y="112"/>
                </a:lnTo>
                <a:lnTo>
                  <a:pt x="494" y="110"/>
                </a:lnTo>
                <a:lnTo>
                  <a:pt x="494" y="110"/>
                </a:lnTo>
                <a:lnTo>
                  <a:pt x="490" y="110"/>
                </a:lnTo>
                <a:lnTo>
                  <a:pt x="488" y="112"/>
                </a:lnTo>
                <a:lnTo>
                  <a:pt x="486" y="116"/>
                </a:lnTo>
                <a:lnTo>
                  <a:pt x="486" y="1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7" name="Freeform 171">
            <a:extLst>
              <a:ext uri="{FF2B5EF4-FFF2-40B4-BE49-F238E27FC236}">
                <a16:creationId xmlns:a16="http://schemas.microsoft.com/office/drawing/2014/main" id="{30EEEFA5-5E19-4454-8947-2AEBF050FB0E}"/>
              </a:ext>
            </a:extLst>
          </p:cNvPr>
          <p:cNvSpPr>
            <a:spLocks/>
          </p:cNvSpPr>
          <p:nvPr userDrawn="1"/>
        </p:nvSpPr>
        <p:spPr bwMode="auto">
          <a:xfrm>
            <a:off x="7390303" y="2630463"/>
            <a:ext cx="654044" cy="827105"/>
          </a:xfrm>
          <a:custGeom>
            <a:avLst/>
            <a:gdLst>
              <a:gd name="T0" fmla="*/ 2 w 390"/>
              <a:gd name="T1" fmla="*/ 226 h 482"/>
              <a:gd name="T2" fmla="*/ 28 w 390"/>
              <a:gd name="T3" fmla="*/ 232 h 482"/>
              <a:gd name="T4" fmla="*/ 26 w 390"/>
              <a:gd name="T5" fmla="*/ 238 h 482"/>
              <a:gd name="T6" fmla="*/ 14 w 390"/>
              <a:gd name="T7" fmla="*/ 246 h 482"/>
              <a:gd name="T8" fmla="*/ 12 w 390"/>
              <a:gd name="T9" fmla="*/ 254 h 482"/>
              <a:gd name="T10" fmla="*/ 36 w 390"/>
              <a:gd name="T11" fmla="*/ 270 h 482"/>
              <a:gd name="T12" fmla="*/ 50 w 390"/>
              <a:gd name="T13" fmla="*/ 244 h 482"/>
              <a:gd name="T14" fmla="*/ 54 w 390"/>
              <a:gd name="T15" fmla="*/ 248 h 482"/>
              <a:gd name="T16" fmla="*/ 56 w 390"/>
              <a:gd name="T17" fmla="*/ 256 h 482"/>
              <a:gd name="T18" fmla="*/ 56 w 390"/>
              <a:gd name="T19" fmla="*/ 260 h 482"/>
              <a:gd name="T20" fmla="*/ 58 w 390"/>
              <a:gd name="T21" fmla="*/ 272 h 482"/>
              <a:gd name="T22" fmla="*/ 56 w 390"/>
              <a:gd name="T23" fmla="*/ 298 h 482"/>
              <a:gd name="T24" fmla="*/ 58 w 390"/>
              <a:gd name="T25" fmla="*/ 318 h 482"/>
              <a:gd name="T26" fmla="*/ 64 w 390"/>
              <a:gd name="T27" fmla="*/ 332 h 482"/>
              <a:gd name="T28" fmla="*/ 76 w 390"/>
              <a:gd name="T29" fmla="*/ 378 h 482"/>
              <a:gd name="T30" fmla="*/ 84 w 390"/>
              <a:gd name="T31" fmla="*/ 414 h 482"/>
              <a:gd name="T32" fmla="*/ 90 w 390"/>
              <a:gd name="T33" fmla="*/ 424 h 482"/>
              <a:gd name="T34" fmla="*/ 104 w 390"/>
              <a:gd name="T35" fmla="*/ 452 h 482"/>
              <a:gd name="T36" fmla="*/ 122 w 390"/>
              <a:gd name="T37" fmla="*/ 480 h 482"/>
              <a:gd name="T38" fmla="*/ 132 w 390"/>
              <a:gd name="T39" fmla="*/ 468 h 482"/>
              <a:gd name="T40" fmla="*/ 148 w 390"/>
              <a:gd name="T41" fmla="*/ 450 h 482"/>
              <a:gd name="T42" fmla="*/ 152 w 390"/>
              <a:gd name="T43" fmla="*/ 420 h 482"/>
              <a:gd name="T44" fmla="*/ 152 w 390"/>
              <a:gd name="T45" fmla="*/ 402 h 482"/>
              <a:gd name="T46" fmla="*/ 154 w 390"/>
              <a:gd name="T47" fmla="*/ 368 h 482"/>
              <a:gd name="T48" fmla="*/ 160 w 390"/>
              <a:gd name="T49" fmla="*/ 354 h 482"/>
              <a:gd name="T50" fmla="*/ 178 w 390"/>
              <a:gd name="T51" fmla="*/ 344 h 482"/>
              <a:gd name="T52" fmla="*/ 190 w 390"/>
              <a:gd name="T53" fmla="*/ 328 h 482"/>
              <a:gd name="T54" fmla="*/ 208 w 390"/>
              <a:gd name="T55" fmla="*/ 320 h 482"/>
              <a:gd name="T56" fmla="*/ 216 w 390"/>
              <a:gd name="T57" fmla="*/ 304 h 482"/>
              <a:gd name="T58" fmla="*/ 226 w 390"/>
              <a:gd name="T59" fmla="*/ 292 h 482"/>
              <a:gd name="T60" fmla="*/ 248 w 390"/>
              <a:gd name="T61" fmla="*/ 282 h 482"/>
              <a:gd name="T62" fmla="*/ 252 w 390"/>
              <a:gd name="T63" fmla="*/ 262 h 482"/>
              <a:gd name="T64" fmla="*/ 262 w 390"/>
              <a:gd name="T65" fmla="*/ 258 h 482"/>
              <a:gd name="T66" fmla="*/ 270 w 390"/>
              <a:gd name="T67" fmla="*/ 224 h 482"/>
              <a:gd name="T68" fmla="*/ 270 w 390"/>
              <a:gd name="T69" fmla="*/ 190 h 482"/>
              <a:gd name="T70" fmla="*/ 288 w 390"/>
              <a:gd name="T71" fmla="*/ 204 h 482"/>
              <a:gd name="T72" fmla="*/ 320 w 390"/>
              <a:gd name="T73" fmla="*/ 212 h 482"/>
              <a:gd name="T74" fmla="*/ 318 w 390"/>
              <a:gd name="T75" fmla="*/ 240 h 482"/>
              <a:gd name="T76" fmla="*/ 338 w 390"/>
              <a:gd name="T77" fmla="*/ 256 h 482"/>
              <a:gd name="T78" fmla="*/ 348 w 390"/>
              <a:gd name="T79" fmla="*/ 220 h 482"/>
              <a:gd name="T80" fmla="*/ 368 w 390"/>
              <a:gd name="T81" fmla="*/ 190 h 482"/>
              <a:gd name="T82" fmla="*/ 388 w 390"/>
              <a:gd name="T83" fmla="*/ 156 h 482"/>
              <a:gd name="T84" fmla="*/ 366 w 390"/>
              <a:gd name="T85" fmla="*/ 138 h 482"/>
              <a:gd name="T86" fmla="*/ 324 w 390"/>
              <a:gd name="T87" fmla="*/ 144 h 482"/>
              <a:gd name="T88" fmla="*/ 290 w 390"/>
              <a:gd name="T89" fmla="*/ 164 h 482"/>
              <a:gd name="T90" fmla="*/ 264 w 390"/>
              <a:gd name="T91" fmla="*/ 150 h 482"/>
              <a:gd name="T92" fmla="*/ 256 w 390"/>
              <a:gd name="T93" fmla="*/ 176 h 482"/>
              <a:gd name="T94" fmla="*/ 204 w 390"/>
              <a:gd name="T95" fmla="*/ 156 h 482"/>
              <a:gd name="T96" fmla="*/ 158 w 390"/>
              <a:gd name="T97" fmla="*/ 132 h 482"/>
              <a:gd name="T98" fmla="*/ 146 w 390"/>
              <a:gd name="T99" fmla="*/ 96 h 482"/>
              <a:gd name="T100" fmla="*/ 138 w 390"/>
              <a:gd name="T101" fmla="*/ 68 h 482"/>
              <a:gd name="T102" fmla="*/ 134 w 390"/>
              <a:gd name="T103" fmla="*/ 34 h 482"/>
              <a:gd name="T104" fmla="*/ 136 w 390"/>
              <a:gd name="T105" fmla="*/ 2 h 482"/>
              <a:gd name="T106" fmla="*/ 102 w 390"/>
              <a:gd name="T107" fmla="*/ 20 h 482"/>
              <a:gd name="T108" fmla="*/ 68 w 390"/>
              <a:gd name="T109" fmla="*/ 36 h 482"/>
              <a:gd name="T110" fmla="*/ 70 w 390"/>
              <a:gd name="T111" fmla="*/ 72 h 482"/>
              <a:gd name="T112" fmla="*/ 60 w 390"/>
              <a:gd name="T113" fmla="*/ 120 h 482"/>
              <a:gd name="T114" fmla="*/ 24 w 390"/>
              <a:gd name="T115" fmla="*/ 148 h 482"/>
              <a:gd name="T116" fmla="*/ 16 w 390"/>
              <a:gd name="T117" fmla="*/ 186 h 482"/>
              <a:gd name="T118" fmla="*/ 2 w 390"/>
              <a:gd name="T119" fmla="*/ 21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0" h="482">
                <a:moveTo>
                  <a:pt x="0" y="218"/>
                </a:moveTo>
                <a:lnTo>
                  <a:pt x="2" y="218"/>
                </a:lnTo>
                <a:lnTo>
                  <a:pt x="2" y="218"/>
                </a:lnTo>
                <a:lnTo>
                  <a:pt x="2" y="218"/>
                </a:lnTo>
                <a:lnTo>
                  <a:pt x="0" y="220"/>
                </a:lnTo>
                <a:lnTo>
                  <a:pt x="0" y="220"/>
                </a:lnTo>
                <a:lnTo>
                  <a:pt x="2" y="226"/>
                </a:lnTo>
                <a:lnTo>
                  <a:pt x="2" y="230"/>
                </a:lnTo>
                <a:lnTo>
                  <a:pt x="2" y="230"/>
                </a:lnTo>
                <a:lnTo>
                  <a:pt x="12" y="234"/>
                </a:lnTo>
                <a:lnTo>
                  <a:pt x="18" y="236"/>
                </a:lnTo>
                <a:lnTo>
                  <a:pt x="26" y="234"/>
                </a:lnTo>
                <a:lnTo>
                  <a:pt x="26" y="234"/>
                </a:lnTo>
                <a:lnTo>
                  <a:pt x="28" y="232"/>
                </a:lnTo>
                <a:lnTo>
                  <a:pt x="30" y="228"/>
                </a:lnTo>
                <a:lnTo>
                  <a:pt x="30" y="228"/>
                </a:lnTo>
                <a:lnTo>
                  <a:pt x="34" y="228"/>
                </a:lnTo>
                <a:lnTo>
                  <a:pt x="34" y="228"/>
                </a:lnTo>
                <a:lnTo>
                  <a:pt x="30" y="236"/>
                </a:lnTo>
                <a:lnTo>
                  <a:pt x="30" y="236"/>
                </a:lnTo>
                <a:lnTo>
                  <a:pt x="26" y="238"/>
                </a:lnTo>
                <a:lnTo>
                  <a:pt x="26" y="238"/>
                </a:lnTo>
                <a:lnTo>
                  <a:pt x="24" y="240"/>
                </a:lnTo>
                <a:lnTo>
                  <a:pt x="22" y="244"/>
                </a:lnTo>
                <a:lnTo>
                  <a:pt x="22" y="244"/>
                </a:lnTo>
                <a:lnTo>
                  <a:pt x="18" y="244"/>
                </a:lnTo>
                <a:lnTo>
                  <a:pt x="18" y="244"/>
                </a:lnTo>
                <a:lnTo>
                  <a:pt x="14" y="246"/>
                </a:lnTo>
                <a:lnTo>
                  <a:pt x="14" y="246"/>
                </a:lnTo>
                <a:lnTo>
                  <a:pt x="12" y="246"/>
                </a:lnTo>
                <a:lnTo>
                  <a:pt x="10" y="246"/>
                </a:lnTo>
                <a:lnTo>
                  <a:pt x="10" y="246"/>
                </a:lnTo>
                <a:lnTo>
                  <a:pt x="8" y="248"/>
                </a:lnTo>
                <a:lnTo>
                  <a:pt x="8" y="248"/>
                </a:lnTo>
                <a:lnTo>
                  <a:pt x="12" y="254"/>
                </a:lnTo>
                <a:lnTo>
                  <a:pt x="12" y="254"/>
                </a:lnTo>
                <a:lnTo>
                  <a:pt x="20" y="264"/>
                </a:lnTo>
                <a:lnTo>
                  <a:pt x="28" y="274"/>
                </a:lnTo>
                <a:lnTo>
                  <a:pt x="28" y="274"/>
                </a:lnTo>
                <a:lnTo>
                  <a:pt x="34" y="274"/>
                </a:lnTo>
                <a:lnTo>
                  <a:pt x="34" y="274"/>
                </a:lnTo>
                <a:lnTo>
                  <a:pt x="36" y="270"/>
                </a:lnTo>
                <a:lnTo>
                  <a:pt x="36" y="270"/>
                </a:lnTo>
                <a:lnTo>
                  <a:pt x="44" y="266"/>
                </a:lnTo>
                <a:lnTo>
                  <a:pt x="48" y="264"/>
                </a:lnTo>
                <a:lnTo>
                  <a:pt x="50" y="258"/>
                </a:lnTo>
                <a:lnTo>
                  <a:pt x="50" y="258"/>
                </a:lnTo>
                <a:lnTo>
                  <a:pt x="50" y="250"/>
                </a:lnTo>
                <a:lnTo>
                  <a:pt x="50" y="244"/>
                </a:lnTo>
                <a:lnTo>
                  <a:pt x="52" y="244"/>
                </a:lnTo>
                <a:lnTo>
                  <a:pt x="52" y="244"/>
                </a:lnTo>
                <a:lnTo>
                  <a:pt x="54" y="244"/>
                </a:lnTo>
                <a:lnTo>
                  <a:pt x="54" y="244"/>
                </a:lnTo>
                <a:lnTo>
                  <a:pt x="54" y="244"/>
                </a:lnTo>
                <a:lnTo>
                  <a:pt x="54" y="246"/>
                </a:lnTo>
                <a:lnTo>
                  <a:pt x="54" y="248"/>
                </a:lnTo>
                <a:lnTo>
                  <a:pt x="54" y="248"/>
                </a:lnTo>
                <a:lnTo>
                  <a:pt x="56" y="250"/>
                </a:lnTo>
                <a:lnTo>
                  <a:pt x="56" y="250"/>
                </a:lnTo>
                <a:lnTo>
                  <a:pt x="54" y="254"/>
                </a:lnTo>
                <a:lnTo>
                  <a:pt x="54" y="254"/>
                </a:lnTo>
                <a:lnTo>
                  <a:pt x="56" y="256"/>
                </a:lnTo>
                <a:lnTo>
                  <a:pt x="56" y="256"/>
                </a:lnTo>
                <a:lnTo>
                  <a:pt x="56" y="256"/>
                </a:lnTo>
                <a:lnTo>
                  <a:pt x="56" y="258"/>
                </a:lnTo>
                <a:lnTo>
                  <a:pt x="54" y="258"/>
                </a:lnTo>
                <a:lnTo>
                  <a:pt x="54" y="258"/>
                </a:lnTo>
                <a:lnTo>
                  <a:pt x="54" y="260"/>
                </a:lnTo>
                <a:lnTo>
                  <a:pt x="56" y="260"/>
                </a:lnTo>
                <a:lnTo>
                  <a:pt x="56" y="260"/>
                </a:lnTo>
                <a:lnTo>
                  <a:pt x="56" y="264"/>
                </a:lnTo>
                <a:lnTo>
                  <a:pt x="56" y="264"/>
                </a:lnTo>
                <a:lnTo>
                  <a:pt x="58" y="266"/>
                </a:lnTo>
                <a:lnTo>
                  <a:pt x="60" y="268"/>
                </a:lnTo>
                <a:lnTo>
                  <a:pt x="60" y="270"/>
                </a:lnTo>
                <a:lnTo>
                  <a:pt x="58" y="272"/>
                </a:lnTo>
                <a:lnTo>
                  <a:pt x="58" y="272"/>
                </a:lnTo>
                <a:lnTo>
                  <a:pt x="52" y="290"/>
                </a:lnTo>
                <a:lnTo>
                  <a:pt x="52" y="290"/>
                </a:lnTo>
                <a:lnTo>
                  <a:pt x="56" y="292"/>
                </a:lnTo>
                <a:lnTo>
                  <a:pt x="58" y="296"/>
                </a:lnTo>
                <a:lnTo>
                  <a:pt x="58" y="296"/>
                </a:lnTo>
                <a:lnTo>
                  <a:pt x="58" y="298"/>
                </a:lnTo>
                <a:lnTo>
                  <a:pt x="56" y="298"/>
                </a:lnTo>
                <a:lnTo>
                  <a:pt x="56" y="298"/>
                </a:lnTo>
                <a:lnTo>
                  <a:pt x="58" y="300"/>
                </a:lnTo>
                <a:lnTo>
                  <a:pt x="58" y="304"/>
                </a:lnTo>
                <a:lnTo>
                  <a:pt x="56" y="308"/>
                </a:lnTo>
                <a:lnTo>
                  <a:pt x="60" y="308"/>
                </a:lnTo>
                <a:lnTo>
                  <a:pt x="60" y="308"/>
                </a:lnTo>
                <a:lnTo>
                  <a:pt x="58" y="318"/>
                </a:lnTo>
                <a:lnTo>
                  <a:pt x="60" y="322"/>
                </a:lnTo>
                <a:lnTo>
                  <a:pt x="62" y="324"/>
                </a:lnTo>
                <a:lnTo>
                  <a:pt x="62" y="324"/>
                </a:lnTo>
                <a:lnTo>
                  <a:pt x="60" y="328"/>
                </a:lnTo>
                <a:lnTo>
                  <a:pt x="60" y="328"/>
                </a:lnTo>
                <a:lnTo>
                  <a:pt x="64" y="332"/>
                </a:lnTo>
                <a:lnTo>
                  <a:pt x="64" y="332"/>
                </a:lnTo>
                <a:lnTo>
                  <a:pt x="64" y="340"/>
                </a:lnTo>
                <a:lnTo>
                  <a:pt x="64" y="346"/>
                </a:lnTo>
                <a:lnTo>
                  <a:pt x="64" y="346"/>
                </a:lnTo>
                <a:lnTo>
                  <a:pt x="66" y="354"/>
                </a:lnTo>
                <a:lnTo>
                  <a:pt x="70" y="362"/>
                </a:lnTo>
                <a:lnTo>
                  <a:pt x="76" y="378"/>
                </a:lnTo>
                <a:lnTo>
                  <a:pt x="76" y="378"/>
                </a:lnTo>
                <a:lnTo>
                  <a:pt x="78" y="390"/>
                </a:lnTo>
                <a:lnTo>
                  <a:pt x="80" y="402"/>
                </a:lnTo>
                <a:lnTo>
                  <a:pt x="80" y="402"/>
                </a:lnTo>
                <a:lnTo>
                  <a:pt x="82" y="406"/>
                </a:lnTo>
                <a:lnTo>
                  <a:pt x="82" y="406"/>
                </a:lnTo>
                <a:lnTo>
                  <a:pt x="84" y="410"/>
                </a:lnTo>
                <a:lnTo>
                  <a:pt x="84" y="414"/>
                </a:lnTo>
                <a:lnTo>
                  <a:pt x="84" y="414"/>
                </a:lnTo>
                <a:lnTo>
                  <a:pt x="86" y="416"/>
                </a:lnTo>
                <a:lnTo>
                  <a:pt x="88" y="418"/>
                </a:lnTo>
                <a:lnTo>
                  <a:pt x="88" y="418"/>
                </a:lnTo>
                <a:lnTo>
                  <a:pt x="90" y="422"/>
                </a:lnTo>
                <a:lnTo>
                  <a:pt x="90" y="424"/>
                </a:lnTo>
                <a:lnTo>
                  <a:pt x="90" y="424"/>
                </a:lnTo>
                <a:lnTo>
                  <a:pt x="96" y="432"/>
                </a:lnTo>
                <a:lnTo>
                  <a:pt x="96" y="432"/>
                </a:lnTo>
                <a:lnTo>
                  <a:pt x="98" y="440"/>
                </a:lnTo>
                <a:lnTo>
                  <a:pt x="98" y="440"/>
                </a:lnTo>
                <a:lnTo>
                  <a:pt x="102" y="446"/>
                </a:lnTo>
                <a:lnTo>
                  <a:pt x="104" y="452"/>
                </a:lnTo>
                <a:lnTo>
                  <a:pt x="104" y="452"/>
                </a:lnTo>
                <a:lnTo>
                  <a:pt x="104" y="454"/>
                </a:lnTo>
                <a:lnTo>
                  <a:pt x="102" y="456"/>
                </a:lnTo>
                <a:lnTo>
                  <a:pt x="102" y="456"/>
                </a:lnTo>
                <a:lnTo>
                  <a:pt x="116" y="482"/>
                </a:lnTo>
                <a:lnTo>
                  <a:pt x="116" y="482"/>
                </a:lnTo>
                <a:lnTo>
                  <a:pt x="120" y="482"/>
                </a:lnTo>
                <a:lnTo>
                  <a:pt x="122" y="480"/>
                </a:lnTo>
                <a:lnTo>
                  <a:pt x="122" y="480"/>
                </a:lnTo>
                <a:lnTo>
                  <a:pt x="124" y="478"/>
                </a:lnTo>
                <a:lnTo>
                  <a:pt x="126" y="476"/>
                </a:lnTo>
                <a:lnTo>
                  <a:pt x="128" y="472"/>
                </a:lnTo>
                <a:lnTo>
                  <a:pt x="130" y="470"/>
                </a:lnTo>
                <a:lnTo>
                  <a:pt x="130" y="470"/>
                </a:lnTo>
                <a:lnTo>
                  <a:pt x="132" y="468"/>
                </a:lnTo>
                <a:lnTo>
                  <a:pt x="134" y="468"/>
                </a:lnTo>
                <a:lnTo>
                  <a:pt x="134" y="468"/>
                </a:lnTo>
                <a:lnTo>
                  <a:pt x="134" y="464"/>
                </a:lnTo>
                <a:lnTo>
                  <a:pt x="134" y="464"/>
                </a:lnTo>
                <a:lnTo>
                  <a:pt x="142" y="452"/>
                </a:lnTo>
                <a:lnTo>
                  <a:pt x="142" y="452"/>
                </a:lnTo>
                <a:lnTo>
                  <a:pt x="148" y="450"/>
                </a:lnTo>
                <a:lnTo>
                  <a:pt x="148" y="450"/>
                </a:lnTo>
                <a:lnTo>
                  <a:pt x="146" y="438"/>
                </a:lnTo>
                <a:lnTo>
                  <a:pt x="146" y="432"/>
                </a:lnTo>
                <a:lnTo>
                  <a:pt x="146" y="426"/>
                </a:lnTo>
                <a:lnTo>
                  <a:pt x="146" y="426"/>
                </a:lnTo>
                <a:lnTo>
                  <a:pt x="150" y="424"/>
                </a:lnTo>
                <a:lnTo>
                  <a:pt x="152" y="420"/>
                </a:lnTo>
                <a:lnTo>
                  <a:pt x="152" y="420"/>
                </a:lnTo>
                <a:lnTo>
                  <a:pt x="152" y="416"/>
                </a:lnTo>
                <a:lnTo>
                  <a:pt x="152" y="412"/>
                </a:lnTo>
                <a:lnTo>
                  <a:pt x="154" y="410"/>
                </a:lnTo>
                <a:lnTo>
                  <a:pt x="154" y="410"/>
                </a:lnTo>
                <a:lnTo>
                  <a:pt x="154" y="406"/>
                </a:lnTo>
                <a:lnTo>
                  <a:pt x="152" y="402"/>
                </a:lnTo>
                <a:lnTo>
                  <a:pt x="152" y="402"/>
                </a:lnTo>
                <a:lnTo>
                  <a:pt x="152" y="390"/>
                </a:lnTo>
                <a:lnTo>
                  <a:pt x="152" y="378"/>
                </a:lnTo>
                <a:lnTo>
                  <a:pt x="152" y="378"/>
                </a:lnTo>
                <a:lnTo>
                  <a:pt x="154" y="374"/>
                </a:lnTo>
                <a:lnTo>
                  <a:pt x="154" y="368"/>
                </a:lnTo>
                <a:lnTo>
                  <a:pt x="154" y="368"/>
                </a:lnTo>
                <a:lnTo>
                  <a:pt x="154" y="368"/>
                </a:lnTo>
                <a:lnTo>
                  <a:pt x="152" y="364"/>
                </a:lnTo>
                <a:lnTo>
                  <a:pt x="152" y="358"/>
                </a:lnTo>
                <a:lnTo>
                  <a:pt x="152" y="358"/>
                </a:lnTo>
                <a:lnTo>
                  <a:pt x="156" y="356"/>
                </a:lnTo>
                <a:lnTo>
                  <a:pt x="156" y="356"/>
                </a:lnTo>
                <a:lnTo>
                  <a:pt x="160" y="354"/>
                </a:lnTo>
                <a:lnTo>
                  <a:pt x="164" y="354"/>
                </a:lnTo>
                <a:lnTo>
                  <a:pt x="164" y="354"/>
                </a:lnTo>
                <a:lnTo>
                  <a:pt x="166" y="350"/>
                </a:lnTo>
                <a:lnTo>
                  <a:pt x="170" y="348"/>
                </a:lnTo>
                <a:lnTo>
                  <a:pt x="170" y="348"/>
                </a:lnTo>
                <a:lnTo>
                  <a:pt x="174" y="346"/>
                </a:lnTo>
                <a:lnTo>
                  <a:pt x="178" y="344"/>
                </a:lnTo>
                <a:lnTo>
                  <a:pt x="178" y="344"/>
                </a:lnTo>
                <a:lnTo>
                  <a:pt x="180" y="340"/>
                </a:lnTo>
                <a:lnTo>
                  <a:pt x="182" y="336"/>
                </a:lnTo>
                <a:lnTo>
                  <a:pt x="182" y="332"/>
                </a:lnTo>
                <a:lnTo>
                  <a:pt x="184" y="330"/>
                </a:lnTo>
                <a:lnTo>
                  <a:pt x="184" y="330"/>
                </a:lnTo>
                <a:lnTo>
                  <a:pt x="190" y="328"/>
                </a:lnTo>
                <a:lnTo>
                  <a:pt x="194" y="328"/>
                </a:lnTo>
                <a:lnTo>
                  <a:pt x="194" y="326"/>
                </a:lnTo>
                <a:lnTo>
                  <a:pt x="194" y="326"/>
                </a:lnTo>
                <a:lnTo>
                  <a:pt x="200" y="322"/>
                </a:lnTo>
                <a:lnTo>
                  <a:pt x="200" y="322"/>
                </a:lnTo>
                <a:lnTo>
                  <a:pt x="204" y="322"/>
                </a:lnTo>
                <a:lnTo>
                  <a:pt x="208" y="320"/>
                </a:lnTo>
                <a:lnTo>
                  <a:pt x="208" y="320"/>
                </a:lnTo>
                <a:lnTo>
                  <a:pt x="208" y="318"/>
                </a:lnTo>
                <a:lnTo>
                  <a:pt x="210" y="314"/>
                </a:lnTo>
                <a:lnTo>
                  <a:pt x="210" y="314"/>
                </a:lnTo>
                <a:lnTo>
                  <a:pt x="214" y="310"/>
                </a:lnTo>
                <a:lnTo>
                  <a:pt x="214" y="310"/>
                </a:lnTo>
                <a:lnTo>
                  <a:pt x="216" y="304"/>
                </a:lnTo>
                <a:lnTo>
                  <a:pt x="218" y="304"/>
                </a:lnTo>
                <a:lnTo>
                  <a:pt x="218" y="302"/>
                </a:lnTo>
                <a:lnTo>
                  <a:pt x="218" y="302"/>
                </a:lnTo>
                <a:lnTo>
                  <a:pt x="222" y="300"/>
                </a:lnTo>
                <a:lnTo>
                  <a:pt x="224" y="298"/>
                </a:lnTo>
                <a:lnTo>
                  <a:pt x="226" y="292"/>
                </a:lnTo>
                <a:lnTo>
                  <a:pt x="226" y="292"/>
                </a:lnTo>
                <a:lnTo>
                  <a:pt x="234" y="292"/>
                </a:lnTo>
                <a:lnTo>
                  <a:pt x="234" y="292"/>
                </a:lnTo>
                <a:lnTo>
                  <a:pt x="240" y="288"/>
                </a:lnTo>
                <a:lnTo>
                  <a:pt x="240" y="288"/>
                </a:lnTo>
                <a:lnTo>
                  <a:pt x="244" y="286"/>
                </a:lnTo>
                <a:lnTo>
                  <a:pt x="244" y="286"/>
                </a:lnTo>
                <a:lnTo>
                  <a:pt x="248" y="282"/>
                </a:lnTo>
                <a:lnTo>
                  <a:pt x="248" y="278"/>
                </a:lnTo>
                <a:lnTo>
                  <a:pt x="248" y="270"/>
                </a:lnTo>
                <a:lnTo>
                  <a:pt x="248" y="270"/>
                </a:lnTo>
                <a:lnTo>
                  <a:pt x="252" y="264"/>
                </a:lnTo>
                <a:lnTo>
                  <a:pt x="252" y="264"/>
                </a:lnTo>
                <a:lnTo>
                  <a:pt x="252" y="262"/>
                </a:lnTo>
                <a:lnTo>
                  <a:pt x="252" y="262"/>
                </a:lnTo>
                <a:lnTo>
                  <a:pt x="256" y="260"/>
                </a:lnTo>
                <a:lnTo>
                  <a:pt x="258" y="260"/>
                </a:lnTo>
                <a:lnTo>
                  <a:pt x="258" y="260"/>
                </a:lnTo>
                <a:lnTo>
                  <a:pt x="262" y="256"/>
                </a:lnTo>
                <a:lnTo>
                  <a:pt x="262" y="256"/>
                </a:lnTo>
                <a:lnTo>
                  <a:pt x="264" y="256"/>
                </a:lnTo>
                <a:lnTo>
                  <a:pt x="262" y="258"/>
                </a:lnTo>
                <a:lnTo>
                  <a:pt x="262" y="258"/>
                </a:lnTo>
                <a:lnTo>
                  <a:pt x="270" y="258"/>
                </a:lnTo>
                <a:lnTo>
                  <a:pt x="270" y="254"/>
                </a:lnTo>
                <a:lnTo>
                  <a:pt x="272" y="248"/>
                </a:lnTo>
                <a:lnTo>
                  <a:pt x="272" y="238"/>
                </a:lnTo>
                <a:lnTo>
                  <a:pt x="268" y="234"/>
                </a:lnTo>
                <a:lnTo>
                  <a:pt x="270" y="224"/>
                </a:lnTo>
                <a:lnTo>
                  <a:pt x="268" y="218"/>
                </a:lnTo>
                <a:lnTo>
                  <a:pt x="260" y="214"/>
                </a:lnTo>
                <a:lnTo>
                  <a:pt x="258" y="212"/>
                </a:lnTo>
                <a:lnTo>
                  <a:pt x="256" y="202"/>
                </a:lnTo>
                <a:lnTo>
                  <a:pt x="262" y="198"/>
                </a:lnTo>
                <a:lnTo>
                  <a:pt x="268" y="196"/>
                </a:lnTo>
                <a:lnTo>
                  <a:pt x="270" y="190"/>
                </a:lnTo>
                <a:lnTo>
                  <a:pt x="264" y="182"/>
                </a:lnTo>
                <a:lnTo>
                  <a:pt x="268" y="176"/>
                </a:lnTo>
                <a:lnTo>
                  <a:pt x="276" y="182"/>
                </a:lnTo>
                <a:lnTo>
                  <a:pt x="282" y="182"/>
                </a:lnTo>
                <a:lnTo>
                  <a:pt x="288" y="184"/>
                </a:lnTo>
                <a:lnTo>
                  <a:pt x="286" y="192"/>
                </a:lnTo>
                <a:lnTo>
                  <a:pt x="288" y="204"/>
                </a:lnTo>
                <a:lnTo>
                  <a:pt x="292" y="204"/>
                </a:lnTo>
                <a:lnTo>
                  <a:pt x="300" y="204"/>
                </a:lnTo>
                <a:lnTo>
                  <a:pt x="308" y="202"/>
                </a:lnTo>
                <a:lnTo>
                  <a:pt x="316" y="200"/>
                </a:lnTo>
                <a:lnTo>
                  <a:pt x="326" y="200"/>
                </a:lnTo>
                <a:lnTo>
                  <a:pt x="318" y="206"/>
                </a:lnTo>
                <a:lnTo>
                  <a:pt x="320" y="212"/>
                </a:lnTo>
                <a:lnTo>
                  <a:pt x="320" y="212"/>
                </a:lnTo>
                <a:lnTo>
                  <a:pt x="318" y="216"/>
                </a:lnTo>
                <a:lnTo>
                  <a:pt x="316" y="218"/>
                </a:lnTo>
                <a:lnTo>
                  <a:pt x="312" y="226"/>
                </a:lnTo>
                <a:lnTo>
                  <a:pt x="310" y="236"/>
                </a:lnTo>
                <a:lnTo>
                  <a:pt x="312" y="240"/>
                </a:lnTo>
                <a:lnTo>
                  <a:pt x="318" y="240"/>
                </a:lnTo>
                <a:lnTo>
                  <a:pt x="320" y="234"/>
                </a:lnTo>
                <a:lnTo>
                  <a:pt x="326" y="244"/>
                </a:lnTo>
                <a:lnTo>
                  <a:pt x="326" y="250"/>
                </a:lnTo>
                <a:lnTo>
                  <a:pt x="326" y="256"/>
                </a:lnTo>
                <a:lnTo>
                  <a:pt x="330" y="256"/>
                </a:lnTo>
                <a:lnTo>
                  <a:pt x="334" y="258"/>
                </a:lnTo>
                <a:lnTo>
                  <a:pt x="338" y="256"/>
                </a:lnTo>
                <a:lnTo>
                  <a:pt x="340" y="252"/>
                </a:lnTo>
                <a:lnTo>
                  <a:pt x="340" y="248"/>
                </a:lnTo>
                <a:lnTo>
                  <a:pt x="340" y="242"/>
                </a:lnTo>
                <a:lnTo>
                  <a:pt x="338" y="236"/>
                </a:lnTo>
                <a:lnTo>
                  <a:pt x="338" y="224"/>
                </a:lnTo>
                <a:lnTo>
                  <a:pt x="346" y="228"/>
                </a:lnTo>
                <a:lnTo>
                  <a:pt x="348" y="220"/>
                </a:lnTo>
                <a:lnTo>
                  <a:pt x="354" y="212"/>
                </a:lnTo>
                <a:lnTo>
                  <a:pt x="354" y="208"/>
                </a:lnTo>
                <a:lnTo>
                  <a:pt x="350" y="206"/>
                </a:lnTo>
                <a:lnTo>
                  <a:pt x="352" y="204"/>
                </a:lnTo>
                <a:lnTo>
                  <a:pt x="358" y="200"/>
                </a:lnTo>
                <a:lnTo>
                  <a:pt x="362" y="196"/>
                </a:lnTo>
                <a:lnTo>
                  <a:pt x="368" y="190"/>
                </a:lnTo>
                <a:lnTo>
                  <a:pt x="368" y="186"/>
                </a:lnTo>
                <a:lnTo>
                  <a:pt x="372" y="176"/>
                </a:lnTo>
                <a:lnTo>
                  <a:pt x="380" y="176"/>
                </a:lnTo>
                <a:lnTo>
                  <a:pt x="384" y="178"/>
                </a:lnTo>
                <a:lnTo>
                  <a:pt x="390" y="170"/>
                </a:lnTo>
                <a:lnTo>
                  <a:pt x="390" y="160"/>
                </a:lnTo>
                <a:lnTo>
                  <a:pt x="388" y="156"/>
                </a:lnTo>
                <a:lnTo>
                  <a:pt x="386" y="152"/>
                </a:lnTo>
                <a:lnTo>
                  <a:pt x="382" y="150"/>
                </a:lnTo>
                <a:lnTo>
                  <a:pt x="376" y="148"/>
                </a:lnTo>
                <a:lnTo>
                  <a:pt x="374" y="146"/>
                </a:lnTo>
                <a:lnTo>
                  <a:pt x="368" y="148"/>
                </a:lnTo>
                <a:lnTo>
                  <a:pt x="366" y="144"/>
                </a:lnTo>
                <a:lnTo>
                  <a:pt x="366" y="138"/>
                </a:lnTo>
                <a:lnTo>
                  <a:pt x="358" y="134"/>
                </a:lnTo>
                <a:lnTo>
                  <a:pt x="352" y="134"/>
                </a:lnTo>
                <a:lnTo>
                  <a:pt x="348" y="138"/>
                </a:lnTo>
                <a:lnTo>
                  <a:pt x="344" y="136"/>
                </a:lnTo>
                <a:lnTo>
                  <a:pt x="336" y="138"/>
                </a:lnTo>
                <a:lnTo>
                  <a:pt x="332" y="142"/>
                </a:lnTo>
                <a:lnTo>
                  <a:pt x="324" y="144"/>
                </a:lnTo>
                <a:lnTo>
                  <a:pt x="318" y="146"/>
                </a:lnTo>
                <a:lnTo>
                  <a:pt x="320" y="156"/>
                </a:lnTo>
                <a:lnTo>
                  <a:pt x="320" y="162"/>
                </a:lnTo>
                <a:lnTo>
                  <a:pt x="316" y="164"/>
                </a:lnTo>
                <a:lnTo>
                  <a:pt x="304" y="164"/>
                </a:lnTo>
                <a:lnTo>
                  <a:pt x="296" y="162"/>
                </a:lnTo>
                <a:lnTo>
                  <a:pt x="290" y="164"/>
                </a:lnTo>
                <a:lnTo>
                  <a:pt x="284" y="164"/>
                </a:lnTo>
                <a:lnTo>
                  <a:pt x="280" y="160"/>
                </a:lnTo>
                <a:lnTo>
                  <a:pt x="280" y="154"/>
                </a:lnTo>
                <a:lnTo>
                  <a:pt x="278" y="156"/>
                </a:lnTo>
                <a:lnTo>
                  <a:pt x="274" y="150"/>
                </a:lnTo>
                <a:lnTo>
                  <a:pt x="268" y="148"/>
                </a:lnTo>
                <a:lnTo>
                  <a:pt x="264" y="150"/>
                </a:lnTo>
                <a:lnTo>
                  <a:pt x="264" y="152"/>
                </a:lnTo>
                <a:lnTo>
                  <a:pt x="264" y="160"/>
                </a:lnTo>
                <a:lnTo>
                  <a:pt x="262" y="164"/>
                </a:lnTo>
                <a:lnTo>
                  <a:pt x="266" y="168"/>
                </a:lnTo>
                <a:lnTo>
                  <a:pt x="264" y="172"/>
                </a:lnTo>
                <a:lnTo>
                  <a:pt x="262" y="174"/>
                </a:lnTo>
                <a:lnTo>
                  <a:pt x="256" y="176"/>
                </a:lnTo>
                <a:lnTo>
                  <a:pt x="250" y="174"/>
                </a:lnTo>
                <a:lnTo>
                  <a:pt x="242" y="174"/>
                </a:lnTo>
                <a:lnTo>
                  <a:pt x="230" y="168"/>
                </a:lnTo>
                <a:lnTo>
                  <a:pt x="220" y="168"/>
                </a:lnTo>
                <a:lnTo>
                  <a:pt x="214" y="162"/>
                </a:lnTo>
                <a:lnTo>
                  <a:pt x="208" y="160"/>
                </a:lnTo>
                <a:lnTo>
                  <a:pt x="204" y="156"/>
                </a:lnTo>
                <a:lnTo>
                  <a:pt x="198" y="152"/>
                </a:lnTo>
                <a:lnTo>
                  <a:pt x="190" y="152"/>
                </a:lnTo>
                <a:lnTo>
                  <a:pt x="182" y="146"/>
                </a:lnTo>
                <a:lnTo>
                  <a:pt x="174" y="144"/>
                </a:lnTo>
                <a:lnTo>
                  <a:pt x="166" y="140"/>
                </a:lnTo>
                <a:lnTo>
                  <a:pt x="166" y="136"/>
                </a:lnTo>
                <a:lnTo>
                  <a:pt x="158" y="132"/>
                </a:lnTo>
                <a:lnTo>
                  <a:pt x="156" y="124"/>
                </a:lnTo>
                <a:lnTo>
                  <a:pt x="160" y="116"/>
                </a:lnTo>
                <a:lnTo>
                  <a:pt x="168" y="110"/>
                </a:lnTo>
                <a:lnTo>
                  <a:pt x="164" y="106"/>
                </a:lnTo>
                <a:lnTo>
                  <a:pt x="160" y="102"/>
                </a:lnTo>
                <a:lnTo>
                  <a:pt x="152" y="100"/>
                </a:lnTo>
                <a:lnTo>
                  <a:pt x="146" y="96"/>
                </a:lnTo>
                <a:lnTo>
                  <a:pt x="140" y="94"/>
                </a:lnTo>
                <a:lnTo>
                  <a:pt x="138" y="88"/>
                </a:lnTo>
                <a:lnTo>
                  <a:pt x="140" y="86"/>
                </a:lnTo>
                <a:lnTo>
                  <a:pt x="140" y="82"/>
                </a:lnTo>
                <a:lnTo>
                  <a:pt x="142" y="74"/>
                </a:lnTo>
                <a:lnTo>
                  <a:pt x="142" y="70"/>
                </a:lnTo>
                <a:lnTo>
                  <a:pt x="138" y="68"/>
                </a:lnTo>
                <a:lnTo>
                  <a:pt x="134" y="66"/>
                </a:lnTo>
                <a:lnTo>
                  <a:pt x="134" y="58"/>
                </a:lnTo>
                <a:lnTo>
                  <a:pt x="132" y="52"/>
                </a:lnTo>
                <a:lnTo>
                  <a:pt x="126" y="48"/>
                </a:lnTo>
                <a:lnTo>
                  <a:pt x="128" y="44"/>
                </a:lnTo>
                <a:lnTo>
                  <a:pt x="132" y="40"/>
                </a:lnTo>
                <a:lnTo>
                  <a:pt x="134" y="34"/>
                </a:lnTo>
                <a:lnTo>
                  <a:pt x="138" y="30"/>
                </a:lnTo>
                <a:lnTo>
                  <a:pt x="140" y="26"/>
                </a:lnTo>
                <a:lnTo>
                  <a:pt x="142" y="22"/>
                </a:lnTo>
                <a:lnTo>
                  <a:pt x="146" y="18"/>
                </a:lnTo>
                <a:lnTo>
                  <a:pt x="142" y="12"/>
                </a:lnTo>
                <a:lnTo>
                  <a:pt x="140" y="8"/>
                </a:lnTo>
                <a:lnTo>
                  <a:pt x="136" y="2"/>
                </a:lnTo>
                <a:lnTo>
                  <a:pt x="130" y="2"/>
                </a:lnTo>
                <a:lnTo>
                  <a:pt x="124" y="0"/>
                </a:lnTo>
                <a:lnTo>
                  <a:pt x="118" y="0"/>
                </a:lnTo>
                <a:lnTo>
                  <a:pt x="116" y="2"/>
                </a:lnTo>
                <a:lnTo>
                  <a:pt x="108" y="8"/>
                </a:lnTo>
                <a:lnTo>
                  <a:pt x="106" y="14"/>
                </a:lnTo>
                <a:lnTo>
                  <a:pt x="102" y="20"/>
                </a:lnTo>
                <a:lnTo>
                  <a:pt x="98" y="22"/>
                </a:lnTo>
                <a:lnTo>
                  <a:pt x="92" y="28"/>
                </a:lnTo>
                <a:lnTo>
                  <a:pt x="82" y="30"/>
                </a:lnTo>
                <a:lnTo>
                  <a:pt x="76" y="34"/>
                </a:lnTo>
                <a:lnTo>
                  <a:pt x="76" y="36"/>
                </a:lnTo>
                <a:lnTo>
                  <a:pt x="72" y="40"/>
                </a:lnTo>
                <a:lnTo>
                  <a:pt x="68" y="36"/>
                </a:lnTo>
                <a:lnTo>
                  <a:pt x="62" y="40"/>
                </a:lnTo>
                <a:lnTo>
                  <a:pt x="56" y="42"/>
                </a:lnTo>
                <a:lnTo>
                  <a:pt x="56" y="46"/>
                </a:lnTo>
                <a:lnTo>
                  <a:pt x="62" y="52"/>
                </a:lnTo>
                <a:lnTo>
                  <a:pt x="64" y="66"/>
                </a:lnTo>
                <a:lnTo>
                  <a:pt x="66" y="68"/>
                </a:lnTo>
                <a:lnTo>
                  <a:pt x="70" y="72"/>
                </a:lnTo>
                <a:lnTo>
                  <a:pt x="76" y="78"/>
                </a:lnTo>
                <a:lnTo>
                  <a:pt x="76" y="86"/>
                </a:lnTo>
                <a:lnTo>
                  <a:pt x="72" y="92"/>
                </a:lnTo>
                <a:lnTo>
                  <a:pt x="68" y="98"/>
                </a:lnTo>
                <a:lnTo>
                  <a:pt x="68" y="108"/>
                </a:lnTo>
                <a:lnTo>
                  <a:pt x="66" y="116"/>
                </a:lnTo>
                <a:lnTo>
                  <a:pt x="60" y="120"/>
                </a:lnTo>
                <a:lnTo>
                  <a:pt x="56" y="124"/>
                </a:lnTo>
                <a:lnTo>
                  <a:pt x="52" y="130"/>
                </a:lnTo>
                <a:lnTo>
                  <a:pt x="44" y="134"/>
                </a:lnTo>
                <a:lnTo>
                  <a:pt x="38" y="144"/>
                </a:lnTo>
                <a:lnTo>
                  <a:pt x="32" y="150"/>
                </a:lnTo>
                <a:lnTo>
                  <a:pt x="26" y="152"/>
                </a:lnTo>
                <a:lnTo>
                  <a:pt x="24" y="148"/>
                </a:lnTo>
                <a:lnTo>
                  <a:pt x="20" y="156"/>
                </a:lnTo>
                <a:lnTo>
                  <a:pt x="16" y="160"/>
                </a:lnTo>
                <a:lnTo>
                  <a:pt x="12" y="168"/>
                </a:lnTo>
                <a:lnTo>
                  <a:pt x="16" y="172"/>
                </a:lnTo>
                <a:lnTo>
                  <a:pt x="18" y="174"/>
                </a:lnTo>
                <a:lnTo>
                  <a:pt x="16" y="180"/>
                </a:lnTo>
                <a:lnTo>
                  <a:pt x="16" y="186"/>
                </a:lnTo>
                <a:lnTo>
                  <a:pt x="22" y="188"/>
                </a:lnTo>
                <a:lnTo>
                  <a:pt x="24" y="194"/>
                </a:lnTo>
                <a:lnTo>
                  <a:pt x="24" y="210"/>
                </a:lnTo>
                <a:lnTo>
                  <a:pt x="20" y="208"/>
                </a:lnTo>
                <a:lnTo>
                  <a:pt x="12" y="208"/>
                </a:lnTo>
                <a:lnTo>
                  <a:pt x="8" y="208"/>
                </a:lnTo>
                <a:lnTo>
                  <a:pt x="2" y="212"/>
                </a:lnTo>
                <a:lnTo>
                  <a:pt x="0" y="2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8" name="Freeform 172">
            <a:extLst>
              <a:ext uri="{FF2B5EF4-FFF2-40B4-BE49-F238E27FC236}">
                <a16:creationId xmlns:a16="http://schemas.microsoft.com/office/drawing/2014/main" id="{9CA8DB8A-2DDC-4DB5-85F7-39439B1769A2}"/>
              </a:ext>
            </a:extLst>
          </p:cNvPr>
          <p:cNvSpPr>
            <a:spLocks/>
          </p:cNvSpPr>
          <p:nvPr userDrawn="1"/>
        </p:nvSpPr>
        <p:spPr bwMode="auto">
          <a:xfrm>
            <a:off x="5319164" y="1545960"/>
            <a:ext cx="174412" cy="123551"/>
          </a:xfrm>
          <a:custGeom>
            <a:avLst/>
            <a:gdLst>
              <a:gd name="T0" fmla="*/ 76 w 104"/>
              <a:gd name="T1" fmla="*/ 8 h 72"/>
              <a:gd name="T2" fmla="*/ 72 w 104"/>
              <a:gd name="T3" fmla="*/ 8 h 72"/>
              <a:gd name="T4" fmla="*/ 68 w 104"/>
              <a:gd name="T5" fmla="*/ 10 h 72"/>
              <a:gd name="T6" fmla="*/ 58 w 104"/>
              <a:gd name="T7" fmla="*/ 8 h 72"/>
              <a:gd name="T8" fmla="*/ 54 w 104"/>
              <a:gd name="T9" fmla="*/ 10 h 72"/>
              <a:gd name="T10" fmla="*/ 54 w 104"/>
              <a:gd name="T11" fmla="*/ 6 h 72"/>
              <a:gd name="T12" fmla="*/ 48 w 104"/>
              <a:gd name="T13" fmla="*/ 10 h 72"/>
              <a:gd name="T14" fmla="*/ 44 w 104"/>
              <a:gd name="T15" fmla="*/ 16 h 72"/>
              <a:gd name="T16" fmla="*/ 40 w 104"/>
              <a:gd name="T17" fmla="*/ 8 h 72"/>
              <a:gd name="T18" fmla="*/ 38 w 104"/>
              <a:gd name="T19" fmla="*/ 24 h 72"/>
              <a:gd name="T20" fmla="*/ 32 w 104"/>
              <a:gd name="T21" fmla="*/ 28 h 72"/>
              <a:gd name="T22" fmla="*/ 28 w 104"/>
              <a:gd name="T23" fmla="*/ 26 h 72"/>
              <a:gd name="T24" fmla="*/ 28 w 104"/>
              <a:gd name="T25" fmla="*/ 14 h 72"/>
              <a:gd name="T26" fmla="*/ 26 w 104"/>
              <a:gd name="T27" fmla="*/ 10 h 72"/>
              <a:gd name="T28" fmla="*/ 16 w 104"/>
              <a:gd name="T29" fmla="*/ 8 h 72"/>
              <a:gd name="T30" fmla="*/ 20 w 104"/>
              <a:gd name="T31" fmla="*/ 16 h 72"/>
              <a:gd name="T32" fmla="*/ 12 w 104"/>
              <a:gd name="T33" fmla="*/ 8 h 72"/>
              <a:gd name="T34" fmla="*/ 10 w 104"/>
              <a:gd name="T35" fmla="*/ 10 h 72"/>
              <a:gd name="T36" fmla="*/ 10 w 104"/>
              <a:gd name="T37" fmla="*/ 10 h 72"/>
              <a:gd name="T38" fmla="*/ 10 w 104"/>
              <a:gd name="T39" fmla="*/ 12 h 72"/>
              <a:gd name="T40" fmla="*/ 4 w 104"/>
              <a:gd name="T41" fmla="*/ 26 h 72"/>
              <a:gd name="T42" fmla="*/ 0 w 104"/>
              <a:gd name="T43" fmla="*/ 28 h 72"/>
              <a:gd name="T44" fmla="*/ 6 w 104"/>
              <a:gd name="T45" fmla="*/ 28 h 72"/>
              <a:gd name="T46" fmla="*/ 18 w 104"/>
              <a:gd name="T47" fmla="*/ 24 h 72"/>
              <a:gd name="T48" fmla="*/ 16 w 104"/>
              <a:gd name="T49" fmla="*/ 26 h 72"/>
              <a:gd name="T50" fmla="*/ 20 w 104"/>
              <a:gd name="T51" fmla="*/ 30 h 72"/>
              <a:gd name="T52" fmla="*/ 14 w 104"/>
              <a:gd name="T53" fmla="*/ 32 h 72"/>
              <a:gd name="T54" fmla="*/ 4 w 104"/>
              <a:gd name="T55" fmla="*/ 38 h 72"/>
              <a:gd name="T56" fmla="*/ 10 w 104"/>
              <a:gd name="T57" fmla="*/ 40 h 72"/>
              <a:gd name="T58" fmla="*/ 20 w 104"/>
              <a:gd name="T59" fmla="*/ 46 h 72"/>
              <a:gd name="T60" fmla="*/ 22 w 104"/>
              <a:gd name="T61" fmla="*/ 52 h 72"/>
              <a:gd name="T62" fmla="*/ 14 w 104"/>
              <a:gd name="T63" fmla="*/ 58 h 72"/>
              <a:gd name="T64" fmla="*/ 30 w 104"/>
              <a:gd name="T65" fmla="*/ 60 h 72"/>
              <a:gd name="T66" fmla="*/ 34 w 104"/>
              <a:gd name="T67" fmla="*/ 62 h 72"/>
              <a:gd name="T68" fmla="*/ 38 w 104"/>
              <a:gd name="T69" fmla="*/ 70 h 72"/>
              <a:gd name="T70" fmla="*/ 54 w 104"/>
              <a:gd name="T71" fmla="*/ 70 h 72"/>
              <a:gd name="T72" fmla="*/ 56 w 104"/>
              <a:gd name="T73" fmla="*/ 70 h 72"/>
              <a:gd name="T74" fmla="*/ 60 w 104"/>
              <a:gd name="T75" fmla="*/ 64 h 72"/>
              <a:gd name="T76" fmla="*/ 64 w 104"/>
              <a:gd name="T77" fmla="*/ 60 h 72"/>
              <a:gd name="T78" fmla="*/ 70 w 104"/>
              <a:gd name="T79" fmla="*/ 58 h 72"/>
              <a:gd name="T80" fmla="*/ 80 w 104"/>
              <a:gd name="T81" fmla="*/ 54 h 72"/>
              <a:gd name="T82" fmla="*/ 90 w 104"/>
              <a:gd name="T83" fmla="*/ 48 h 72"/>
              <a:gd name="T84" fmla="*/ 94 w 104"/>
              <a:gd name="T85" fmla="*/ 40 h 72"/>
              <a:gd name="T86" fmla="*/ 98 w 104"/>
              <a:gd name="T87" fmla="*/ 36 h 72"/>
              <a:gd name="T88" fmla="*/ 102 w 104"/>
              <a:gd name="T89" fmla="*/ 38 h 72"/>
              <a:gd name="T90" fmla="*/ 104 w 104"/>
              <a:gd name="T91" fmla="*/ 32 h 72"/>
              <a:gd name="T92" fmla="*/ 102 w 104"/>
              <a:gd name="T93" fmla="*/ 26 h 72"/>
              <a:gd name="T94" fmla="*/ 98 w 104"/>
              <a:gd name="T95" fmla="*/ 24 h 72"/>
              <a:gd name="T96" fmla="*/ 94 w 104"/>
              <a:gd name="T97" fmla="*/ 20 h 72"/>
              <a:gd name="T98" fmla="*/ 90 w 104"/>
              <a:gd name="T99" fmla="*/ 12 h 72"/>
              <a:gd name="T100" fmla="*/ 94 w 104"/>
              <a:gd name="T101" fmla="*/ 6 h 72"/>
              <a:gd name="T102" fmla="*/ 88 w 104"/>
              <a:gd name="T103" fmla="*/ 8 h 72"/>
              <a:gd name="T104" fmla="*/ 80 w 104"/>
              <a:gd name="T10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72">
                <a:moveTo>
                  <a:pt x="80" y="0"/>
                </a:moveTo>
                <a:lnTo>
                  <a:pt x="80" y="0"/>
                </a:lnTo>
                <a:lnTo>
                  <a:pt x="76" y="0"/>
                </a:lnTo>
                <a:lnTo>
                  <a:pt x="76" y="0"/>
                </a:lnTo>
                <a:lnTo>
                  <a:pt x="76" y="8"/>
                </a:lnTo>
                <a:lnTo>
                  <a:pt x="76" y="8"/>
                </a:lnTo>
                <a:lnTo>
                  <a:pt x="74" y="10"/>
                </a:lnTo>
                <a:lnTo>
                  <a:pt x="72" y="10"/>
                </a:lnTo>
                <a:lnTo>
                  <a:pt x="72" y="10"/>
                </a:lnTo>
                <a:lnTo>
                  <a:pt x="72" y="8"/>
                </a:lnTo>
                <a:lnTo>
                  <a:pt x="70" y="6"/>
                </a:lnTo>
                <a:lnTo>
                  <a:pt x="70" y="6"/>
                </a:lnTo>
                <a:lnTo>
                  <a:pt x="70" y="6"/>
                </a:lnTo>
                <a:lnTo>
                  <a:pt x="68" y="10"/>
                </a:lnTo>
                <a:lnTo>
                  <a:pt x="68" y="10"/>
                </a:lnTo>
                <a:lnTo>
                  <a:pt x="66" y="10"/>
                </a:lnTo>
                <a:lnTo>
                  <a:pt x="64" y="12"/>
                </a:lnTo>
                <a:lnTo>
                  <a:pt x="64" y="12"/>
                </a:lnTo>
                <a:lnTo>
                  <a:pt x="60" y="10"/>
                </a:lnTo>
                <a:lnTo>
                  <a:pt x="58" y="8"/>
                </a:lnTo>
                <a:lnTo>
                  <a:pt x="58" y="8"/>
                </a:lnTo>
                <a:lnTo>
                  <a:pt x="58" y="16"/>
                </a:lnTo>
                <a:lnTo>
                  <a:pt x="58" y="16"/>
                </a:lnTo>
                <a:lnTo>
                  <a:pt x="56" y="14"/>
                </a:lnTo>
                <a:lnTo>
                  <a:pt x="54" y="10"/>
                </a:lnTo>
                <a:lnTo>
                  <a:pt x="54" y="10"/>
                </a:lnTo>
                <a:lnTo>
                  <a:pt x="54" y="8"/>
                </a:lnTo>
                <a:lnTo>
                  <a:pt x="54" y="8"/>
                </a:lnTo>
                <a:lnTo>
                  <a:pt x="54" y="6"/>
                </a:lnTo>
                <a:lnTo>
                  <a:pt x="54" y="6"/>
                </a:lnTo>
                <a:lnTo>
                  <a:pt x="52" y="6"/>
                </a:lnTo>
                <a:lnTo>
                  <a:pt x="52" y="6"/>
                </a:lnTo>
                <a:lnTo>
                  <a:pt x="50" y="8"/>
                </a:lnTo>
                <a:lnTo>
                  <a:pt x="50" y="8"/>
                </a:lnTo>
                <a:lnTo>
                  <a:pt x="48" y="10"/>
                </a:lnTo>
                <a:lnTo>
                  <a:pt x="46" y="10"/>
                </a:lnTo>
                <a:lnTo>
                  <a:pt x="44" y="12"/>
                </a:lnTo>
                <a:lnTo>
                  <a:pt x="46" y="16"/>
                </a:lnTo>
                <a:lnTo>
                  <a:pt x="46" y="16"/>
                </a:lnTo>
                <a:lnTo>
                  <a:pt x="44" y="16"/>
                </a:lnTo>
                <a:lnTo>
                  <a:pt x="44" y="18"/>
                </a:lnTo>
                <a:lnTo>
                  <a:pt x="44" y="18"/>
                </a:lnTo>
                <a:lnTo>
                  <a:pt x="42" y="12"/>
                </a:lnTo>
                <a:lnTo>
                  <a:pt x="42" y="12"/>
                </a:lnTo>
                <a:lnTo>
                  <a:pt x="40" y="8"/>
                </a:lnTo>
                <a:lnTo>
                  <a:pt x="40" y="8"/>
                </a:lnTo>
                <a:lnTo>
                  <a:pt x="38" y="10"/>
                </a:lnTo>
                <a:lnTo>
                  <a:pt x="38" y="10"/>
                </a:lnTo>
                <a:lnTo>
                  <a:pt x="38" y="16"/>
                </a:lnTo>
                <a:lnTo>
                  <a:pt x="38" y="24"/>
                </a:lnTo>
                <a:lnTo>
                  <a:pt x="38" y="24"/>
                </a:lnTo>
                <a:lnTo>
                  <a:pt x="34" y="22"/>
                </a:lnTo>
                <a:lnTo>
                  <a:pt x="32" y="22"/>
                </a:lnTo>
                <a:lnTo>
                  <a:pt x="32" y="22"/>
                </a:lnTo>
                <a:lnTo>
                  <a:pt x="32" y="28"/>
                </a:lnTo>
                <a:lnTo>
                  <a:pt x="32" y="28"/>
                </a:lnTo>
                <a:lnTo>
                  <a:pt x="28" y="30"/>
                </a:lnTo>
                <a:lnTo>
                  <a:pt x="28" y="30"/>
                </a:lnTo>
                <a:lnTo>
                  <a:pt x="28" y="26"/>
                </a:lnTo>
                <a:lnTo>
                  <a:pt x="28" y="26"/>
                </a:lnTo>
                <a:lnTo>
                  <a:pt x="28" y="20"/>
                </a:lnTo>
                <a:lnTo>
                  <a:pt x="28" y="18"/>
                </a:lnTo>
                <a:lnTo>
                  <a:pt x="28" y="16"/>
                </a:lnTo>
                <a:lnTo>
                  <a:pt x="28" y="16"/>
                </a:lnTo>
                <a:lnTo>
                  <a:pt x="28" y="14"/>
                </a:lnTo>
                <a:lnTo>
                  <a:pt x="28" y="12"/>
                </a:lnTo>
                <a:lnTo>
                  <a:pt x="26" y="12"/>
                </a:lnTo>
                <a:lnTo>
                  <a:pt x="26" y="12"/>
                </a:lnTo>
                <a:lnTo>
                  <a:pt x="26" y="10"/>
                </a:lnTo>
                <a:lnTo>
                  <a:pt x="26" y="10"/>
                </a:lnTo>
                <a:lnTo>
                  <a:pt x="24" y="6"/>
                </a:lnTo>
                <a:lnTo>
                  <a:pt x="24" y="6"/>
                </a:lnTo>
                <a:lnTo>
                  <a:pt x="16" y="6"/>
                </a:lnTo>
                <a:lnTo>
                  <a:pt x="16" y="8"/>
                </a:lnTo>
                <a:lnTo>
                  <a:pt x="16" y="8"/>
                </a:lnTo>
                <a:lnTo>
                  <a:pt x="20" y="10"/>
                </a:lnTo>
                <a:lnTo>
                  <a:pt x="20" y="10"/>
                </a:lnTo>
                <a:lnTo>
                  <a:pt x="20" y="14"/>
                </a:lnTo>
                <a:lnTo>
                  <a:pt x="22" y="16"/>
                </a:lnTo>
                <a:lnTo>
                  <a:pt x="20" y="16"/>
                </a:lnTo>
                <a:lnTo>
                  <a:pt x="20" y="16"/>
                </a:lnTo>
                <a:lnTo>
                  <a:pt x="18" y="14"/>
                </a:lnTo>
                <a:lnTo>
                  <a:pt x="18" y="14"/>
                </a:lnTo>
                <a:lnTo>
                  <a:pt x="14" y="12"/>
                </a:lnTo>
                <a:lnTo>
                  <a:pt x="12" y="8"/>
                </a:lnTo>
                <a:lnTo>
                  <a:pt x="12" y="8"/>
                </a:lnTo>
                <a:lnTo>
                  <a:pt x="12" y="8"/>
                </a:lnTo>
                <a:lnTo>
                  <a:pt x="12" y="8"/>
                </a:lnTo>
                <a:lnTo>
                  <a:pt x="10" y="6"/>
                </a:lnTo>
                <a:lnTo>
                  <a:pt x="10" y="10"/>
                </a:lnTo>
                <a:lnTo>
                  <a:pt x="10" y="10"/>
                </a:lnTo>
                <a:lnTo>
                  <a:pt x="10" y="10"/>
                </a:lnTo>
                <a:lnTo>
                  <a:pt x="10" y="10"/>
                </a:lnTo>
                <a:lnTo>
                  <a:pt x="10" y="10"/>
                </a:lnTo>
                <a:lnTo>
                  <a:pt x="10" y="10"/>
                </a:lnTo>
                <a:lnTo>
                  <a:pt x="10" y="10"/>
                </a:lnTo>
                <a:lnTo>
                  <a:pt x="6" y="12"/>
                </a:lnTo>
                <a:lnTo>
                  <a:pt x="6" y="12"/>
                </a:lnTo>
                <a:lnTo>
                  <a:pt x="8" y="12"/>
                </a:lnTo>
                <a:lnTo>
                  <a:pt x="10" y="12"/>
                </a:lnTo>
                <a:lnTo>
                  <a:pt x="10" y="12"/>
                </a:lnTo>
                <a:lnTo>
                  <a:pt x="10" y="18"/>
                </a:lnTo>
                <a:lnTo>
                  <a:pt x="8" y="20"/>
                </a:lnTo>
                <a:lnTo>
                  <a:pt x="8" y="20"/>
                </a:lnTo>
                <a:lnTo>
                  <a:pt x="4" y="26"/>
                </a:lnTo>
                <a:lnTo>
                  <a:pt x="4" y="26"/>
                </a:lnTo>
                <a:lnTo>
                  <a:pt x="2" y="26"/>
                </a:lnTo>
                <a:lnTo>
                  <a:pt x="0" y="24"/>
                </a:lnTo>
                <a:lnTo>
                  <a:pt x="0" y="28"/>
                </a:lnTo>
                <a:lnTo>
                  <a:pt x="0" y="28"/>
                </a:lnTo>
                <a:lnTo>
                  <a:pt x="4" y="28"/>
                </a:lnTo>
                <a:lnTo>
                  <a:pt x="4" y="28"/>
                </a:lnTo>
                <a:lnTo>
                  <a:pt x="4" y="28"/>
                </a:lnTo>
                <a:lnTo>
                  <a:pt x="6" y="28"/>
                </a:lnTo>
                <a:lnTo>
                  <a:pt x="6" y="28"/>
                </a:lnTo>
                <a:lnTo>
                  <a:pt x="8" y="26"/>
                </a:lnTo>
                <a:lnTo>
                  <a:pt x="8" y="26"/>
                </a:lnTo>
                <a:lnTo>
                  <a:pt x="16" y="22"/>
                </a:lnTo>
                <a:lnTo>
                  <a:pt x="16" y="22"/>
                </a:lnTo>
                <a:lnTo>
                  <a:pt x="18" y="24"/>
                </a:lnTo>
                <a:lnTo>
                  <a:pt x="18" y="24"/>
                </a:lnTo>
                <a:lnTo>
                  <a:pt x="20" y="24"/>
                </a:lnTo>
                <a:lnTo>
                  <a:pt x="20" y="26"/>
                </a:lnTo>
                <a:lnTo>
                  <a:pt x="16" y="26"/>
                </a:lnTo>
                <a:lnTo>
                  <a:pt x="16" y="26"/>
                </a:lnTo>
                <a:lnTo>
                  <a:pt x="18" y="32"/>
                </a:lnTo>
                <a:lnTo>
                  <a:pt x="18" y="32"/>
                </a:lnTo>
                <a:lnTo>
                  <a:pt x="20" y="30"/>
                </a:lnTo>
                <a:lnTo>
                  <a:pt x="20" y="30"/>
                </a:lnTo>
                <a:lnTo>
                  <a:pt x="20" y="30"/>
                </a:lnTo>
                <a:lnTo>
                  <a:pt x="20" y="32"/>
                </a:lnTo>
                <a:lnTo>
                  <a:pt x="20" y="34"/>
                </a:lnTo>
                <a:lnTo>
                  <a:pt x="20" y="34"/>
                </a:lnTo>
                <a:lnTo>
                  <a:pt x="14" y="32"/>
                </a:lnTo>
                <a:lnTo>
                  <a:pt x="14" y="32"/>
                </a:lnTo>
                <a:lnTo>
                  <a:pt x="12" y="34"/>
                </a:lnTo>
                <a:lnTo>
                  <a:pt x="8" y="38"/>
                </a:lnTo>
                <a:lnTo>
                  <a:pt x="8" y="38"/>
                </a:lnTo>
                <a:lnTo>
                  <a:pt x="4" y="38"/>
                </a:lnTo>
                <a:lnTo>
                  <a:pt x="4" y="38"/>
                </a:lnTo>
                <a:lnTo>
                  <a:pt x="4" y="40"/>
                </a:lnTo>
                <a:lnTo>
                  <a:pt x="4" y="42"/>
                </a:lnTo>
                <a:lnTo>
                  <a:pt x="4" y="42"/>
                </a:lnTo>
                <a:lnTo>
                  <a:pt x="8" y="42"/>
                </a:lnTo>
                <a:lnTo>
                  <a:pt x="10" y="40"/>
                </a:lnTo>
                <a:lnTo>
                  <a:pt x="10" y="40"/>
                </a:lnTo>
                <a:lnTo>
                  <a:pt x="18" y="42"/>
                </a:lnTo>
                <a:lnTo>
                  <a:pt x="18" y="42"/>
                </a:lnTo>
                <a:lnTo>
                  <a:pt x="20" y="46"/>
                </a:lnTo>
                <a:lnTo>
                  <a:pt x="20" y="46"/>
                </a:lnTo>
                <a:lnTo>
                  <a:pt x="20" y="46"/>
                </a:lnTo>
                <a:lnTo>
                  <a:pt x="22" y="46"/>
                </a:lnTo>
                <a:lnTo>
                  <a:pt x="22" y="46"/>
                </a:lnTo>
                <a:lnTo>
                  <a:pt x="22" y="50"/>
                </a:lnTo>
                <a:lnTo>
                  <a:pt x="22" y="52"/>
                </a:lnTo>
                <a:lnTo>
                  <a:pt x="22" y="52"/>
                </a:lnTo>
                <a:lnTo>
                  <a:pt x="22" y="56"/>
                </a:lnTo>
                <a:lnTo>
                  <a:pt x="22" y="56"/>
                </a:lnTo>
                <a:lnTo>
                  <a:pt x="18" y="56"/>
                </a:lnTo>
                <a:lnTo>
                  <a:pt x="14" y="58"/>
                </a:lnTo>
                <a:lnTo>
                  <a:pt x="14" y="60"/>
                </a:lnTo>
                <a:lnTo>
                  <a:pt x="14" y="60"/>
                </a:lnTo>
                <a:lnTo>
                  <a:pt x="22" y="60"/>
                </a:lnTo>
                <a:lnTo>
                  <a:pt x="30" y="58"/>
                </a:lnTo>
                <a:lnTo>
                  <a:pt x="30" y="60"/>
                </a:lnTo>
                <a:lnTo>
                  <a:pt x="30" y="60"/>
                </a:lnTo>
                <a:lnTo>
                  <a:pt x="32" y="60"/>
                </a:lnTo>
                <a:lnTo>
                  <a:pt x="34" y="60"/>
                </a:lnTo>
                <a:lnTo>
                  <a:pt x="34" y="62"/>
                </a:lnTo>
                <a:lnTo>
                  <a:pt x="34" y="62"/>
                </a:lnTo>
                <a:lnTo>
                  <a:pt x="40" y="64"/>
                </a:lnTo>
                <a:lnTo>
                  <a:pt x="42" y="64"/>
                </a:lnTo>
                <a:lnTo>
                  <a:pt x="42" y="64"/>
                </a:lnTo>
                <a:lnTo>
                  <a:pt x="38" y="70"/>
                </a:lnTo>
                <a:lnTo>
                  <a:pt x="38" y="70"/>
                </a:lnTo>
                <a:lnTo>
                  <a:pt x="42" y="68"/>
                </a:lnTo>
                <a:lnTo>
                  <a:pt x="42" y="68"/>
                </a:lnTo>
                <a:lnTo>
                  <a:pt x="48" y="70"/>
                </a:lnTo>
                <a:lnTo>
                  <a:pt x="50" y="72"/>
                </a:lnTo>
                <a:lnTo>
                  <a:pt x="54" y="70"/>
                </a:lnTo>
                <a:lnTo>
                  <a:pt x="54" y="70"/>
                </a:lnTo>
                <a:lnTo>
                  <a:pt x="56" y="68"/>
                </a:lnTo>
                <a:lnTo>
                  <a:pt x="56" y="68"/>
                </a:lnTo>
                <a:lnTo>
                  <a:pt x="56" y="68"/>
                </a:lnTo>
                <a:lnTo>
                  <a:pt x="56" y="70"/>
                </a:lnTo>
                <a:lnTo>
                  <a:pt x="58" y="70"/>
                </a:lnTo>
                <a:lnTo>
                  <a:pt x="58" y="70"/>
                </a:lnTo>
                <a:lnTo>
                  <a:pt x="60" y="68"/>
                </a:lnTo>
                <a:lnTo>
                  <a:pt x="60" y="68"/>
                </a:lnTo>
                <a:lnTo>
                  <a:pt x="60" y="64"/>
                </a:lnTo>
                <a:lnTo>
                  <a:pt x="60" y="62"/>
                </a:lnTo>
                <a:lnTo>
                  <a:pt x="60" y="62"/>
                </a:lnTo>
                <a:lnTo>
                  <a:pt x="60" y="58"/>
                </a:lnTo>
                <a:lnTo>
                  <a:pt x="60" y="58"/>
                </a:lnTo>
                <a:lnTo>
                  <a:pt x="64" y="60"/>
                </a:lnTo>
                <a:lnTo>
                  <a:pt x="68" y="62"/>
                </a:lnTo>
                <a:lnTo>
                  <a:pt x="68" y="62"/>
                </a:lnTo>
                <a:lnTo>
                  <a:pt x="70" y="62"/>
                </a:lnTo>
                <a:lnTo>
                  <a:pt x="70" y="62"/>
                </a:lnTo>
                <a:lnTo>
                  <a:pt x="70" y="58"/>
                </a:lnTo>
                <a:lnTo>
                  <a:pt x="72" y="58"/>
                </a:lnTo>
                <a:lnTo>
                  <a:pt x="72" y="58"/>
                </a:lnTo>
                <a:lnTo>
                  <a:pt x="76" y="60"/>
                </a:lnTo>
                <a:lnTo>
                  <a:pt x="76" y="60"/>
                </a:lnTo>
                <a:lnTo>
                  <a:pt x="80" y="54"/>
                </a:lnTo>
                <a:lnTo>
                  <a:pt x="80" y="54"/>
                </a:lnTo>
                <a:lnTo>
                  <a:pt x="84" y="52"/>
                </a:lnTo>
                <a:lnTo>
                  <a:pt x="88" y="52"/>
                </a:lnTo>
                <a:lnTo>
                  <a:pt x="88" y="52"/>
                </a:lnTo>
                <a:lnTo>
                  <a:pt x="90" y="48"/>
                </a:lnTo>
                <a:lnTo>
                  <a:pt x="90" y="48"/>
                </a:lnTo>
                <a:lnTo>
                  <a:pt x="92" y="48"/>
                </a:lnTo>
                <a:lnTo>
                  <a:pt x="92" y="48"/>
                </a:lnTo>
                <a:lnTo>
                  <a:pt x="94" y="40"/>
                </a:lnTo>
                <a:lnTo>
                  <a:pt x="94" y="40"/>
                </a:lnTo>
                <a:lnTo>
                  <a:pt x="98" y="40"/>
                </a:lnTo>
                <a:lnTo>
                  <a:pt x="98" y="38"/>
                </a:lnTo>
                <a:lnTo>
                  <a:pt x="98" y="36"/>
                </a:lnTo>
                <a:lnTo>
                  <a:pt x="98" y="36"/>
                </a:lnTo>
                <a:lnTo>
                  <a:pt x="98" y="36"/>
                </a:lnTo>
                <a:lnTo>
                  <a:pt x="100" y="36"/>
                </a:lnTo>
                <a:lnTo>
                  <a:pt x="98" y="38"/>
                </a:lnTo>
                <a:lnTo>
                  <a:pt x="98" y="38"/>
                </a:lnTo>
                <a:lnTo>
                  <a:pt x="100" y="38"/>
                </a:lnTo>
                <a:lnTo>
                  <a:pt x="102" y="38"/>
                </a:lnTo>
                <a:lnTo>
                  <a:pt x="102" y="38"/>
                </a:lnTo>
                <a:lnTo>
                  <a:pt x="104" y="36"/>
                </a:lnTo>
                <a:lnTo>
                  <a:pt x="102" y="34"/>
                </a:lnTo>
                <a:lnTo>
                  <a:pt x="104" y="32"/>
                </a:lnTo>
                <a:lnTo>
                  <a:pt x="104" y="32"/>
                </a:lnTo>
                <a:lnTo>
                  <a:pt x="102" y="32"/>
                </a:lnTo>
                <a:lnTo>
                  <a:pt x="102" y="30"/>
                </a:lnTo>
                <a:lnTo>
                  <a:pt x="102" y="30"/>
                </a:lnTo>
                <a:lnTo>
                  <a:pt x="102" y="28"/>
                </a:lnTo>
                <a:lnTo>
                  <a:pt x="102" y="26"/>
                </a:lnTo>
                <a:lnTo>
                  <a:pt x="102" y="26"/>
                </a:lnTo>
                <a:lnTo>
                  <a:pt x="100" y="22"/>
                </a:lnTo>
                <a:lnTo>
                  <a:pt x="100" y="22"/>
                </a:lnTo>
                <a:lnTo>
                  <a:pt x="100" y="22"/>
                </a:lnTo>
                <a:lnTo>
                  <a:pt x="98" y="24"/>
                </a:lnTo>
                <a:lnTo>
                  <a:pt x="98" y="22"/>
                </a:lnTo>
                <a:lnTo>
                  <a:pt x="98" y="22"/>
                </a:lnTo>
                <a:lnTo>
                  <a:pt x="96" y="20"/>
                </a:lnTo>
                <a:lnTo>
                  <a:pt x="94" y="20"/>
                </a:lnTo>
                <a:lnTo>
                  <a:pt x="94" y="20"/>
                </a:lnTo>
                <a:lnTo>
                  <a:pt x="92" y="22"/>
                </a:lnTo>
                <a:lnTo>
                  <a:pt x="92" y="22"/>
                </a:lnTo>
                <a:lnTo>
                  <a:pt x="92" y="14"/>
                </a:lnTo>
                <a:lnTo>
                  <a:pt x="92" y="14"/>
                </a:lnTo>
                <a:lnTo>
                  <a:pt x="90" y="12"/>
                </a:lnTo>
                <a:lnTo>
                  <a:pt x="90" y="12"/>
                </a:lnTo>
                <a:lnTo>
                  <a:pt x="90" y="8"/>
                </a:lnTo>
                <a:lnTo>
                  <a:pt x="90" y="8"/>
                </a:lnTo>
                <a:lnTo>
                  <a:pt x="94" y="6"/>
                </a:lnTo>
                <a:lnTo>
                  <a:pt x="94" y="6"/>
                </a:lnTo>
                <a:lnTo>
                  <a:pt x="96" y="4"/>
                </a:lnTo>
                <a:lnTo>
                  <a:pt x="96" y="4"/>
                </a:lnTo>
                <a:lnTo>
                  <a:pt x="88" y="6"/>
                </a:lnTo>
                <a:lnTo>
                  <a:pt x="88" y="6"/>
                </a:lnTo>
                <a:lnTo>
                  <a:pt x="88" y="8"/>
                </a:lnTo>
                <a:lnTo>
                  <a:pt x="86" y="8"/>
                </a:lnTo>
                <a:lnTo>
                  <a:pt x="86" y="8"/>
                </a:lnTo>
                <a:lnTo>
                  <a:pt x="82" y="0"/>
                </a:lnTo>
                <a:lnTo>
                  <a:pt x="82" y="0"/>
                </a:lnTo>
                <a:lnTo>
                  <a:pt x="80" y="0"/>
                </a:lnTo>
                <a:lnTo>
                  <a:pt x="80"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9" name="Freeform 173">
            <a:extLst>
              <a:ext uri="{FF2B5EF4-FFF2-40B4-BE49-F238E27FC236}">
                <a16:creationId xmlns:a16="http://schemas.microsoft.com/office/drawing/2014/main" id="{7C024AA5-DC42-4621-B649-F8E67267F93F}"/>
              </a:ext>
            </a:extLst>
          </p:cNvPr>
          <p:cNvSpPr>
            <a:spLocks/>
          </p:cNvSpPr>
          <p:nvPr userDrawn="1"/>
        </p:nvSpPr>
        <p:spPr bwMode="auto">
          <a:xfrm>
            <a:off x="6223087" y="2222059"/>
            <a:ext cx="157641" cy="109823"/>
          </a:xfrm>
          <a:custGeom>
            <a:avLst/>
            <a:gdLst>
              <a:gd name="T0" fmla="*/ 40 w 94"/>
              <a:gd name="T1" fmla="*/ 64 h 64"/>
              <a:gd name="T2" fmla="*/ 34 w 94"/>
              <a:gd name="T3" fmla="*/ 64 h 64"/>
              <a:gd name="T4" fmla="*/ 30 w 94"/>
              <a:gd name="T5" fmla="*/ 62 h 64"/>
              <a:gd name="T6" fmla="*/ 20 w 94"/>
              <a:gd name="T7" fmla="*/ 56 h 64"/>
              <a:gd name="T8" fmla="*/ 14 w 94"/>
              <a:gd name="T9" fmla="*/ 50 h 64"/>
              <a:gd name="T10" fmla="*/ 10 w 94"/>
              <a:gd name="T11" fmla="*/ 44 h 64"/>
              <a:gd name="T12" fmla="*/ 6 w 94"/>
              <a:gd name="T13" fmla="*/ 38 h 64"/>
              <a:gd name="T14" fmla="*/ 2 w 94"/>
              <a:gd name="T15" fmla="*/ 34 h 64"/>
              <a:gd name="T16" fmla="*/ 2 w 94"/>
              <a:gd name="T17" fmla="*/ 30 h 64"/>
              <a:gd name="T18" fmla="*/ 0 w 94"/>
              <a:gd name="T19" fmla="*/ 26 h 64"/>
              <a:gd name="T20" fmla="*/ 0 w 94"/>
              <a:gd name="T21" fmla="*/ 24 h 64"/>
              <a:gd name="T22" fmla="*/ 2 w 94"/>
              <a:gd name="T23" fmla="*/ 20 h 64"/>
              <a:gd name="T24" fmla="*/ 4 w 94"/>
              <a:gd name="T25" fmla="*/ 20 h 64"/>
              <a:gd name="T26" fmla="*/ 6 w 94"/>
              <a:gd name="T27" fmla="*/ 16 h 64"/>
              <a:gd name="T28" fmla="*/ 8 w 94"/>
              <a:gd name="T29" fmla="*/ 12 h 64"/>
              <a:gd name="T30" fmla="*/ 8 w 94"/>
              <a:gd name="T31" fmla="*/ 6 h 64"/>
              <a:gd name="T32" fmla="*/ 10 w 94"/>
              <a:gd name="T33" fmla="*/ 6 h 64"/>
              <a:gd name="T34" fmla="*/ 20 w 94"/>
              <a:gd name="T35" fmla="*/ 10 h 64"/>
              <a:gd name="T36" fmla="*/ 24 w 94"/>
              <a:gd name="T37" fmla="*/ 10 h 64"/>
              <a:gd name="T38" fmla="*/ 32 w 94"/>
              <a:gd name="T39" fmla="*/ 12 h 64"/>
              <a:gd name="T40" fmla="*/ 38 w 94"/>
              <a:gd name="T41" fmla="*/ 12 h 64"/>
              <a:gd name="T42" fmla="*/ 38 w 94"/>
              <a:gd name="T43" fmla="*/ 8 h 64"/>
              <a:gd name="T44" fmla="*/ 44 w 94"/>
              <a:gd name="T45" fmla="*/ 6 h 64"/>
              <a:gd name="T46" fmla="*/ 52 w 94"/>
              <a:gd name="T47" fmla="*/ 4 h 64"/>
              <a:gd name="T48" fmla="*/ 54 w 94"/>
              <a:gd name="T49" fmla="*/ 6 h 64"/>
              <a:gd name="T50" fmla="*/ 56 w 94"/>
              <a:gd name="T51" fmla="*/ 6 h 64"/>
              <a:gd name="T52" fmla="*/ 60 w 94"/>
              <a:gd name="T53" fmla="*/ 6 h 64"/>
              <a:gd name="T54" fmla="*/ 62 w 94"/>
              <a:gd name="T55" fmla="*/ 6 h 64"/>
              <a:gd name="T56" fmla="*/ 66 w 94"/>
              <a:gd name="T57" fmla="*/ 2 h 64"/>
              <a:gd name="T58" fmla="*/ 78 w 94"/>
              <a:gd name="T59" fmla="*/ 2 h 64"/>
              <a:gd name="T60" fmla="*/ 84 w 94"/>
              <a:gd name="T61" fmla="*/ 0 h 64"/>
              <a:gd name="T62" fmla="*/ 88 w 94"/>
              <a:gd name="T63" fmla="*/ 2 h 64"/>
              <a:gd name="T64" fmla="*/ 92 w 94"/>
              <a:gd name="T65" fmla="*/ 4 h 64"/>
              <a:gd name="T66" fmla="*/ 94 w 94"/>
              <a:gd name="T67" fmla="*/ 4 h 64"/>
              <a:gd name="T68" fmla="*/ 92 w 94"/>
              <a:gd name="T69" fmla="*/ 16 h 64"/>
              <a:gd name="T70" fmla="*/ 84 w 94"/>
              <a:gd name="T71" fmla="*/ 24 h 64"/>
              <a:gd name="T72" fmla="*/ 82 w 94"/>
              <a:gd name="T73" fmla="*/ 28 h 64"/>
              <a:gd name="T74" fmla="*/ 80 w 94"/>
              <a:gd name="T75" fmla="*/ 42 h 64"/>
              <a:gd name="T76" fmla="*/ 78 w 94"/>
              <a:gd name="T77" fmla="*/ 48 h 64"/>
              <a:gd name="T78" fmla="*/ 72 w 94"/>
              <a:gd name="T79" fmla="*/ 54 h 64"/>
              <a:gd name="T80" fmla="*/ 68 w 94"/>
              <a:gd name="T81" fmla="*/ 56 h 64"/>
              <a:gd name="T82" fmla="*/ 66 w 94"/>
              <a:gd name="T83" fmla="*/ 56 h 64"/>
              <a:gd name="T84" fmla="*/ 58 w 94"/>
              <a:gd name="T85" fmla="*/ 56 h 64"/>
              <a:gd name="T86" fmla="*/ 48 w 94"/>
              <a:gd name="T87" fmla="*/ 60 h 64"/>
              <a:gd name="T88" fmla="*/ 44 w 94"/>
              <a:gd name="T89" fmla="*/ 64 h 64"/>
              <a:gd name="T90" fmla="*/ 40 w 94"/>
              <a:gd name="T9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64">
                <a:moveTo>
                  <a:pt x="40" y="64"/>
                </a:moveTo>
                <a:lnTo>
                  <a:pt x="40" y="64"/>
                </a:lnTo>
                <a:lnTo>
                  <a:pt x="36" y="64"/>
                </a:lnTo>
                <a:lnTo>
                  <a:pt x="34" y="64"/>
                </a:lnTo>
                <a:lnTo>
                  <a:pt x="30" y="62"/>
                </a:lnTo>
                <a:lnTo>
                  <a:pt x="30" y="62"/>
                </a:lnTo>
                <a:lnTo>
                  <a:pt x="26" y="60"/>
                </a:lnTo>
                <a:lnTo>
                  <a:pt x="20" y="56"/>
                </a:lnTo>
                <a:lnTo>
                  <a:pt x="20" y="56"/>
                </a:lnTo>
                <a:lnTo>
                  <a:pt x="14" y="50"/>
                </a:lnTo>
                <a:lnTo>
                  <a:pt x="10" y="44"/>
                </a:lnTo>
                <a:lnTo>
                  <a:pt x="10" y="44"/>
                </a:lnTo>
                <a:lnTo>
                  <a:pt x="8" y="40"/>
                </a:lnTo>
                <a:lnTo>
                  <a:pt x="6" y="38"/>
                </a:lnTo>
                <a:lnTo>
                  <a:pt x="2" y="34"/>
                </a:lnTo>
                <a:lnTo>
                  <a:pt x="2" y="34"/>
                </a:lnTo>
                <a:lnTo>
                  <a:pt x="2" y="34"/>
                </a:lnTo>
                <a:lnTo>
                  <a:pt x="2" y="30"/>
                </a:lnTo>
                <a:lnTo>
                  <a:pt x="2" y="30"/>
                </a:lnTo>
                <a:lnTo>
                  <a:pt x="0" y="26"/>
                </a:lnTo>
                <a:lnTo>
                  <a:pt x="0" y="24"/>
                </a:lnTo>
                <a:lnTo>
                  <a:pt x="0" y="24"/>
                </a:lnTo>
                <a:lnTo>
                  <a:pt x="0" y="22"/>
                </a:lnTo>
                <a:lnTo>
                  <a:pt x="2" y="20"/>
                </a:lnTo>
                <a:lnTo>
                  <a:pt x="4" y="20"/>
                </a:lnTo>
                <a:lnTo>
                  <a:pt x="4" y="20"/>
                </a:lnTo>
                <a:lnTo>
                  <a:pt x="6" y="20"/>
                </a:lnTo>
                <a:lnTo>
                  <a:pt x="6" y="16"/>
                </a:lnTo>
                <a:lnTo>
                  <a:pt x="8" y="12"/>
                </a:lnTo>
                <a:lnTo>
                  <a:pt x="8" y="12"/>
                </a:lnTo>
                <a:lnTo>
                  <a:pt x="6" y="8"/>
                </a:lnTo>
                <a:lnTo>
                  <a:pt x="8" y="6"/>
                </a:lnTo>
                <a:lnTo>
                  <a:pt x="10" y="6"/>
                </a:lnTo>
                <a:lnTo>
                  <a:pt x="10" y="6"/>
                </a:lnTo>
                <a:lnTo>
                  <a:pt x="14" y="8"/>
                </a:lnTo>
                <a:lnTo>
                  <a:pt x="20" y="10"/>
                </a:lnTo>
                <a:lnTo>
                  <a:pt x="20" y="10"/>
                </a:lnTo>
                <a:lnTo>
                  <a:pt x="24" y="10"/>
                </a:lnTo>
                <a:lnTo>
                  <a:pt x="32" y="12"/>
                </a:lnTo>
                <a:lnTo>
                  <a:pt x="32" y="12"/>
                </a:lnTo>
                <a:lnTo>
                  <a:pt x="38" y="12"/>
                </a:lnTo>
                <a:lnTo>
                  <a:pt x="38" y="12"/>
                </a:lnTo>
                <a:lnTo>
                  <a:pt x="38" y="8"/>
                </a:lnTo>
                <a:lnTo>
                  <a:pt x="38" y="8"/>
                </a:lnTo>
                <a:lnTo>
                  <a:pt x="38" y="8"/>
                </a:lnTo>
                <a:lnTo>
                  <a:pt x="44" y="6"/>
                </a:lnTo>
                <a:lnTo>
                  <a:pt x="44" y="6"/>
                </a:lnTo>
                <a:lnTo>
                  <a:pt x="52" y="4"/>
                </a:lnTo>
                <a:lnTo>
                  <a:pt x="54" y="4"/>
                </a:lnTo>
                <a:lnTo>
                  <a:pt x="54" y="6"/>
                </a:lnTo>
                <a:lnTo>
                  <a:pt x="54" y="6"/>
                </a:lnTo>
                <a:lnTo>
                  <a:pt x="56" y="6"/>
                </a:lnTo>
                <a:lnTo>
                  <a:pt x="58" y="8"/>
                </a:lnTo>
                <a:lnTo>
                  <a:pt x="60" y="6"/>
                </a:lnTo>
                <a:lnTo>
                  <a:pt x="60" y="6"/>
                </a:lnTo>
                <a:lnTo>
                  <a:pt x="62" y="6"/>
                </a:lnTo>
                <a:lnTo>
                  <a:pt x="66" y="2"/>
                </a:lnTo>
                <a:lnTo>
                  <a:pt x="66" y="2"/>
                </a:lnTo>
                <a:lnTo>
                  <a:pt x="72" y="2"/>
                </a:lnTo>
                <a:lnTo>
                  <a:pt x="78" y="2"/>
                </a:lnTo>
                <a:lnTo>
                  <a:pt x="78" y="2"/>
                </a:lnTo>
                <a:lnTo>
                  <a:pt x="84" y="0"/>
                </a:lnTo>
                <a:lnTo>
                  <a:pt x="86" y="0"/>
                </a:lnTo>
                <a:lnTo>
                  <a:pt x="88" y="2"/>
                </a:lnTo>
                <a:lnTo>
                  <a:pt x="88" y="2"/>
                </a:lnTo>
                <a:lnTo>
                  <a:pt x="92" y="4"/>
                </a:lnTo>
                <a:lnTo>
                  <a:pt x="94" y="4"/>
                </a:lnTo>
                <a:lnTo>
                  <a:pt x="94" y="4"/>
                </a:lnTo>
                <a:lnTo>
                  <a:pt x="92" y="16"/>
                </a:lnTo>
                <a:lnTo>
                  <a:pt x="92" y="16"/>
                </a:lnTo>
                <a:lnTo>
                  <a:pt x="90" y="20"/>
                </a:lnTo>
                <a:lnTo>
                  <a:pt x="84" y="24"/>
                </a:lnTo>
                <a:lnTo>
                  <a:pt x="84" y="24"/>
                </a:lnTo>
                <a:lnTo>
                  <a:pt x="82" y="28"/>
                </a:lnTo>
                <a:lnTo>
                  <a:pt x="80" y="34"/>
                </a:lnTo>
                <a:lnTo>
                  <a:pt x="80" y="42"/>
                </a:lnTo>
                <a:lnTo>
                  <a:pt x="78" y="48"/>
                </a:lnTo>
                <a:lnTo>
                  <a:pt x="78" y="48"/>
                </a:lnTo>
                <a:lnTo>
                  <a:pt x="74" y="52"/>
                </a:lnTo>
                <a:lnTo>
                  <a:pt x="72" y="54"/>
                </a:lnTo>
                <a:lnTo>
                  <a:pt x="68" y="56"/>
                </a:lnTo>
                <a:lnTo>
                  <a:pt x="68" y="56"/>
                </a:lnTo>
                <a:lnTo>
                  <a:pt x="66" y="56"/>
                </a:lnTo>
                <a:lnTo>
                  <a:pt x="66" y="56"/>
                </a:lnTo>
                <a:lnTo>
                  <a:pt x="58" y="56"/>
                </a:lnTo>
                <a:lnTo>
                  <a:pt x="58" y="56"/>
                </a:lnTo>
                <a:lnTo>
                  <a:pt x="52" y="56"/>
                </a:lnTo>
                <a:lnTo>
                  <a:pt x="48" y="60"/>
                </a:lnTo>
                <a:lnTo>
                  <a:pt x="48" y="60"/>
                </a:lnTo>
                <a:lnTo>
                  <a:pt x="44" y="64"/>
                </a:lnTo>
                <a:lnTo>
                  <a:pt x="42" y="64"/>
                </a:lnTo>
                <a:lnTo>
                  <a:pt x="40"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0" name="Freeform 174">
            <a:extLst>
              <a:ext uri="{FF2B5EF4-FFF2-40B4-BE49-F238E27FC236}">
                <a16:creationId xmlns:a16="http://schemas.microsoft.com/office/drawing/2014/main" id="{C8504CE3-1379-46F1-B24A-B98951AF4F6F}"/>
              </a:ext>
            </a:extLst>
          </p:cNvPr>
          <p:cNvSpPr>
            <a:spLocks/>
          </p:cNvSpPr>
          <p:nvPr userDrawn="1"/>
        </p:nvSpPr>
        <p:spPr bwMode="auto">
          <a:xfrm>
            <a:off x="8416650" y="3042300"/>
            <a:ext cx="10062" cy="6864"/>
          </a:xfrm>
          <a:custGeom>
            <a:avLst/>
            <a:gdLst>
              <a:gd name="T0" fmla="*/ 6 w 6"/>
              <a:gd name="T1" fmla="*/ 2 h 4"/>
              <a:gd name="T2" fmla="*/ 6 w 6"/>
              <a:gd name="T3" fmla="*/ 2 h 4"/>
              <a:gd name="T4" fmla="*/ 6 w 6"/>
              <a:gd name="T5" fmla="*/ 2 h 4"/>
              <a:gd name="T6" fmla="*/ 2 w 6"/>
              <a:gd name="T7" fmla="*/ 4 h 4"/>
              <a:gd name="T8" fmla="*/ 2 w 6"/>
              <a:gd name="T9" fmla="*/ 4 h 4"/>
              <a:gd name="T10" fmla="*/ 0 w 6"/>
              <a:gd name="T11" fmla="*/ 0 h 4"/>
              <a:gd name="T12" fmla="*/ 0 w 6"/>
              <a:gd name="T13" fmla="*/ 0 h 4"/>
              <a:gd name="T14" fmla="*/ 4 w 6"/>
              <a:gd name="T15" fmla="*/ 0 h 4"/>
              <a:gd name="T16" fmla="*/ 4 w 6"/>
              <a:gd name="T17" fmla="*/ 0 h 4"/>
              <a:gd name="T18" fmla="*/ 6 w 6"/>
              <a:gd name="T19" fmla="*/ 0 h 4"/>
              <a:gd name="T20" fmla="*/ 6 w 6"/>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2"/>
                </a:moveTo>
                <a:lnTo>
                  <a:pt x="6" y="2"/>
                </a:lnTo>
                <a:lnTo>
                  <a:pt x="6" y="2"/>
                </a:lnTo>
                <a:lnTo>
                  <a:pt x="2" y="4"/>
                </a:lnTo>
                <a:lnTo>
                  <a:pt x="2" y="4"/>
                </a:lnTo>
                <a:lnTo>
                  <a:pt x="0" y="0"/>
                </a:lnTo>
                <a:lnTo>
                  <a:pt x="0" y="0"/>
                </a:lnTo>
                <a:lnTo>
                  <a:pt x="4" y="0"/>
                </a:lnTo>
                <a:lnTo>
                  <a:pt x="4" y="0"/>
                </a:lnTo>
                <a:lnTo>
                  <a:pt x="6" y="0"/>
                </a:lnTo>
                <a:lnTo>
                  <a:pt x="6" y="2"/>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1" name="Freeform 175">
            <a:extLst>
              <a:ext uri="{FF2B5EF4-FFF2-40B4-BE49-F238E27FC236}">
                <a16:creationId xmlns:a16="http://schemas.microsoft.com/office/drawing/2014/main" id="{78592AE2-ECDA-43A0-AF72-B13143179BAF}"/>
              </a:ext>
            </a:extLst>
          </p:cNvPr>
          <p:cNvSpPr>
            <a:spLocks/>
          </p:cNvSpPr>
          <p:nvPr userDrawn="1"/>
        </p:nvSpPr>
        <p:spPr bwMode="auto">
          <a:xfrm>
            <a:off x="3846726" y="3224195"/>
            <a:ext cx="137517" cy="85799"/>
          </a:xfrm>
          <a:custGeom>
            <a:avLst/>
            <a:gdLst>
              <a:gd name="T0" fmla="*/ 82 w 82"/>
              <a:gd name="T1" fmla="*/ 20 h 50"/>
              <a:gd name="T2" fmla="*/ 82 w 82"/>
              <a:gd name="T3" fmla="*/ 16 h 50"/>
              <a:gd name="T4" fmla="*/ 76 w 82"/>
              <a:gd name="T5" fmla="*/ 16 h 50"/>
              <a:gd name="T6" fmla="*/ 72 w 82"/>
              <a:gd name="T7" fmla="*/ 14 h 50"/>
              <a:gd name="T8" fmla="*/ 70 w 82"/>
              <a:gd name="T9" fmla="*/ 6 h 50"/>
              <a:gd name="T10" fmla="*/ 66 w 82"/>
              <a:gd name="T11" fmla="*/ 6 h 50"/>
              <a:gd name="T12" fmla="*/ 66 w 82"/>
              <a:gd name="T13" fmla="*/ 4 h 50"/>
              <a:gd name="T14" fmla="*/ 52 w 82"/>
              <a:gd name="T15" fmla="*/ 2 h 50"/>
              <a:gd name="T16" fmla="*/ 50 w 82"/>
              <a:gd name="T17" fmla="*/ 0 h 50"/>
              <a:gd name="T18" fmla="*/ 48 w 82"/>
              <a:gd name="T19" fmla="*/ 0 h 50"/>
              <a:gd name="T20" fmla="*/ 48 w 82"/>
              <a:gd name="T21" fmla="*/ 4 h 50"/>
              <a:gd name="T22" fmla="*/ 34 w 82"/>
              <a:gd name="T23" fmla="*/ 4 h 50"/>
              <a:gd name="T24" fmla="*/ 34 w 82"/>
              <a:gd name="T25" fmla="*/ 6 h 50"/>
              <a:gd name="T26" fmla="*/ 14 w 82"/>
              <a:gd name="T27" fmla="*/ 6 h 50"/>
              <a:gd name="T28" fmla="*/ 12 w 82"/>
              <a:gd name="T29" fmla="*/ 8 h 50"/>
              <a:gd name="T30" fmla="*/ 10 w 82"/>
              <a:gd name="T31" fmla="*/ 10 h 50"/>
              <a:gd name="T32" fmla="*/ 4 w 82"/>
              <a:gd name="T33" fmla="*/ 12 h 50"/>
              <a:gd name="T34" fmla="*/ 4 w 82"/>
              <a:gd name="T35" fmla="*/ 16 h 50"/>
              <a:gd name="T36" fmla="*/ 0 w 82"/>
              <a:gd name="T37" fmla="*/ 24 h 50"/>
              <a:gd name="T38" fmla="*/ 6 w 82"/>
              <a:gd name="T39" fmla="*/ 26 h 50"/>
              <a:gd name="T40" fmla="*/ 14 w 82"/>
              <a:gd name="T41" fmla="*/ 28 h 50"/>
              <a:gd name="T42" fmla="*/ 20 w 82"/>
              <a:gd name="T43" fmla="*/ 32 h 50"/>
              <a:gd name="T44" fmla="*/ 26 w 82"/>
              <a:gd name="T45" fmla="*/ 34 h 50"/>
              <a:gd name="T46" fmla="*/ 26 w 82"/>
              <a:gd name="T47" fmla="*/ 44 h 50"/>
              <a:gd name="T48" fmla="*/ 30 w 82"/>
              <a:gd name="T49" fmla="*/ 44 h 50"/>
              <a:gd name="T50" fmla="*/ 28 w 82"/>
              <a:gd name="T51" fmla="*/ 50 h 50"/>
              <a:gd name="T52" fmla="*/ 30 w 82"/>
              <a:gd name="T53" fmla="*/ 50 h 50"/>
              <a:gd name="T54" fmla="*/ 34 w 82"/>
              <a:gd name="T55" fmla="*/ 48 h 50"/>
              <a:gd name="T56" fmla="*/ 34 w 82"/>
              <a:gd name="T57" fmla="*/ 40 h 50"/>
              <a:gd name="T58" fmla="*/ 34 w 82"/>
              <a:gd name="T59" fmla="*/ 34 h 50"/>
              <a:gd name="T60" fmla="*/ 44 w 82"/>
              <a:gd name="T61" fmla="*/ 30 h 50"/>
              <a:gd name="T62" fmla="*/ 52 w 82"/>
              <a:gd name="T63" fmla="*/ 32 h 50"/>
              <a:gd name="T64" fmla="*/ 54 w 82"/>
              <a:gd name="T65" fmla="*/ 34 h 50"/>
              <a:gd name="T66" fmla="*/ 58 w 82"/>
              <a:gd name="T67" fmla="*/ 32 h 50"/>
              <a:gd name="T68" fmla="*/ 64 w 82"/>
              <a:gd name="T69" fmla="*/ 30 h 50"/>
              <a:gd name="T70" fmla="*/ 68 w 82"/>
              <a:gd name="T71" fmla="*/ 28 h 50"/>
              <a:gd name="T72" fmla="*/ 70 w 82"/>
              <a:gd name="T73" fmla="*/ 24 h 50"/>
              <a:gd name="T74" fmla="*/ 82 w 82"/>
              <a:gd name="T75" fmla="*/ 2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50">
                <a:moveTo>
                  <a:pt x="82" y="20"/>
                </a:moveTo>
                <a:lnTo>
                  <a:pt x="82" y="20"/>
                </a:lnTo>
                <a:lnTo>
                  <a:pt x="82" y="18"/>
                </a:lnTo>
                <a:lnTo>
                  <a:pt x="82" y="16"/>
                </a:lnTo>
                <a:lnTo>
                  <a:pt x="82" y="16"/>
                </a:lnTo>
                <a:lnTo>
                  <a:pt x="76" y="16"/>
                </a:lnTo>
                <a:lnTo>
                  <a:pt x="72" y="14"/>
                </a:lnTo>
                <a:lnTo>
                  <a:pt x="72" y="14"/>
                </a:lnTo>
                <a:lnTo>
                  <a:pt x="72" y="10"/>
                </a:lnTo>
                <a:lnTo>
                  <a:pt x="70" y="6"/>
                </a:lnTo>
                <a:lnTo>
                  <a:pt x="70" y="6"/>
                </a:lnTo>
                <a:lnTo>
                  <a:pt x="66" y="6"/>
                </a:lnTo>
                <a:lnTo>
                  <a:pt x="66" y="4"/>
                </a:lnTo>
                <a:lnTo>
                  <a:pt x="66" y="4"/>
                </a:lnTo>
                <a:lnTo>
                  <a:pt x="58" y="2"/>
                </a:lnTo>
                <a:lnTo>
                  <a:pt x="52" y="2"/>
                </a:lnTo>
                <a:lnTo>
                  <a:pt x="52" y="2"/>
                </a:lnTo>
                <a:lnTo>
                  <a:pt x="50" y="0"/>
                </a:lnTo>
                <a:lnTo>
                  <a:pt x="48" y="0"/>
                </a:lnTo>
                <a:lnTo>
                  <a:pt x="48" y="0"/>
                </a:lnTo>
                <a:lnTo>
                  <a:pt x="48" y="4"/>
                </a:lnTo>
                <a:lnTo>
                  <a:pt x="48" y="4"/>
                </a:lnTo>
                <a:lnTo>
                  <a:pt x="40" y="4"/>
                </a:lnTo>
                <a:lnTo>
                  <a:pt x="34" y="4"/>
                </a:lnTo>
                <a:lnTo>
                  <a:pt x="34" y="6"/>
                </a:lnTo>
                <a:lnTo>
                  <a:pt x="34" y="6"/>
                </a:lnTo>
                <a:lnTo>
                  <a:pt x="24" y="6"/>
                </a:lnTo>
                <a:lnTo>
                  <a:pt x="14" y="6"/>
                </a:lnTo>
                <a:lnTo>
                  <a:pt x="14" y="6"/>
                </a:lnTo>
                <a:lnTo>
                  <a:pt x="12" y="8"/>
                </a:lnTo>
                <a:lnTo>
                  <a:pt x="12" y="10"/>
                </a:lnTo>
                <a:lnTo>
                  <a:pt x="10" y="10"/>
                </a:lnTo>
                <a:lnTo>
                  <a:pt x="10" y="10"/>
                </a:lnTo>
                <a:lnTo>
                  <a:pt x="4" y="12"/>
                </a:lnTo>
                <a:lnTo>
                  <a:pt x="4" y="16"/>
                </a:lnTo>
                <a:lnTo>
                  <a:pt x="4" y="16"/>
                </a:lnTo>
                <a:lnTo>
                  <a:pt x="2" y="22"/>
                </a:lnTo>
                <a:lnTo>
                  <a:pt x="0" y="24"/>
                </a:lnTo>
                <a:lnTo>
                  <a:pt x="0" y="24"/>
                </a:lnTo>
                <a:lnTo>
                  <a:pt x="6" y="26"/>
                </a:lnTo>
                <a:lnTo>
                  <a:pt x="14" y="28"/>
                </a:lnTo>
                <a:lnTo>
                  <a:pt x="14" y="28"/>
                </a:lnTo>
                <a:lnTo>
                  <a:pt x="16" y="30"/>
                </a:lnTo>
                <a:lnTo>
                  <a:pt x="20" y="32"/>
                </a:lnTo>
                <a:lnTo>
                  <a:pt x="20" y="32"/>
                </a:lnTo>
                <a:lnTo>
                  <a:pt x="26" y="34"/>
                </a:lnTo>
                <a:lnTo>
                  <a:pt x="26" y="34"/>
                </a:lnTo>
                <a:lnTo>
                  <a:pt x="26" y="44"/>
                </a:lnTo>
                <a:lnTo>
                  <a:pt x="26" y="44"/>
                </a:lnTo>
                <a:lnTo>
                  <a:pt x="30" y="44"/>
                </a:lnTo>
                <a:lnTo>
                  <a:pt x="30" y="44"/>
                </a:lnTo>
                <a:lnTo>
                  <a:pt x="28" y="50"/>
                </a:lnTo>
                <a:lnTo>
                  <a:pt x="28" y="50"/>
                </a:lnTo>
                <a:lnTo>
                  <a:pt x="30" y="50"/>
                </a:lnTo>
                <a:lnTo>
                  <a:pt x="32" y="48"/>
                </a:lnTo>
                <a:lnTo>
                  <a:pt x="34" y="48"/>
                </a:lnTo>
                <a:lnTo>
                  <a:pt x="34" y="48"/>
                </a:lnTo>
                <a:lnTo>
                  <a:pt x="34" y="40"/>
                </a:lnTo>
                <a:lnTo>
                  <a:pt x="34" y="34"/>
                </a:lnTo>
                <a:lnTo>
                  <a:pt x="34" y="34"/>
                </a:lnTo>
                <a:lnTo>
                  <a:pt x="44" y="30"/>
                </a:lnTo>
                <a:lnTo>
                  <a:pt x="44" y="30"/>
                </a:lnTo>
                <a:lnTo>
                  <a:pt x="50" y="30"/>
                </a:lnTo>
                <a:lnTo>
                  <a:pt x="52" y="32"/>
                </a:lnTo>
                <a:lnTo>
                  <a:pt x="52" y="32"/>
                </a:lnTo>
                <a:lnTo>
                  <a:pt x="54" y="34"/>
                </a:lnTo>
                <a:lnTo>
                  <a:pt x="54" y="32"/>
                </a:lnTo>
                <a:lnTo>
                  <a:pt x="58" y="32"/>
                </a:lnTo>
                <a:lnTo>
                  <a:pt x="58" y="32"/>
                </a:lnTo>
                <a:lnTo>
                  <a:pt x="64" y="30"/>
                </a:lnTo>
                <a:lnTo>
                  <a:pt x="68" y="30"/>
                </a:lnTo>
                <a:lnTo>
                  <a:pt x="68" y="28"/>
                </a:lnTo>
                <a:lnTo>
                  <a:pt x="68" y="28"/>
                </a:lnTo>
                <a:lnTo>
                  <a:pt x="70" y="24"/>
                </a:lnTo>
                <a:lnTo>
                  <a:pt x="74" y="22"/>
                </a:lnTo>
                <a:lnTo>
                  <a:pt x="82" y="2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2" name="Freeform 176">
            <a:extLst>
              <a:ext uri="{FF2B5EF4-FFF2-40B4-BE49-F238E27FC236}">
                <a16:creationId xmlns:a16="http://schemas.microsoft.com/office/drawing/2014/main" id="{B1429CC1-83F0-4A99-A35D-4EC23AA67B73}"/>
              </a:ext>
            </a:extLst>
          </p:cNvPr>
          <p:cNvSpPr>
            <a:spLocks/>
          </p:cNvSpPr>
          <p:nvPr userDrawn="1"/>
        </p:nvSpPr>
        <p:spPr bwMode="auto">
          <a:xfrm>
            <a:off x="4185488" y="3110940"/>
            <a:ext cx="63727" cy="44615"/>
          </a:xfrm>
          <a:custGeom>
            <a:avLst/>
            <a:gdLst>
              <a:gd name="T0" fmla="*/ 38 w 38"/>
              <a:gd name="T1" fmla="*/ 26 h 26"/>
              <a:gd name="T2" fmla="*/ 38 w 38"/>
              <a:gd name="T3" fmla="*/ 26 h 26"/>
              <a:gd name="T4" fmla="*/ 38 w 38"/>
              <a:gd name="T5" fmla="*/ 22 h 26"/>
              <a:gd name="T6" fmla="*/ 38 w 38"/>
              <a:gd name="T7" fmla="*/ 22 h 26"/>
              <a:gd name="T8" fmla="*/ 36 w 38"/>
              <a:gd name="T9" fmla="*/ 18 h 26"/>
              <a:gd name="T10" fmla="*/ 36 w 38"/>
              <a:gd name="T11" fmla="*/ 16 h 26"/>
              <a:gd name="T12" fmla="*/ 38 w 38"/>
              <a:gd name="T13" fmla="*/ 12 h 26"/>
              <a:gd name="T14" fmla="*/ 36 w 38"/>
              <a:gd name="T15" fmla="*/ 2 h 26"/>
              <a:gd name="T16" fmla="*/ 36 w 38"/>
              <a:gd name="T17" fmla="*/ 2 h 26"/>
              <a:gd name="T18" fmla="*/ 32 w 38"/>
              <a:gd name="T19" fmla="*/ 2 h 26"/>
              <a:gd name="T20" fmla="*/ 30 w 38"/>
              <a:gd name="T21" fmla="*/ 2 h 26"/>
              <a:gd name="T22" fmla="*/ 26 w 38"/>
              <a:gd name="T23" fmla="*/ 0 h 26"/>
              <a:gd name="T24" fmla="*/ 26 w 38"/>
              <a:gd name="T25" fmla="*/ 0 h 26"/>
              <a:gd name="T26" fmla="*/ 20 w 38"/>
              <a:gd name="T27" fmla="*/ 0 h 26"/>
              <a:gd name="T28" fmla="*/ 20 w 38"/>
              <a:gd name="T29" fmla="*/ 0 h 26"/>
              <a:gd name="T30" fmla="*/ 26 w 38"/>
              <a:gd name="T31" fmla="*/ 4 h 26"/>
              <a:gd name="T32" fmla="*/ 26 w 38"/>
              <a:gd name="T33" fmla="*/ 4 h 26"/>
              <a:gd name="T34" fmla="*/ 26 w 38"/>
              <a:gd name="T35" fmla="*/ 6 h 26"/>
              <a:gd name="T36" fmla="*/ 26 w 38"/>
              <a:gd name="T37" fmla="*/ 12 h 26"/>
              <a:gd name="T38" fmla="*/ 26 w 38"/>
              <a:gd name="T39" fmla="*/ 12 h 26"/>
              <a:gd name="T40" fmla="*/ 30 w 38"/>
              <a:gd name="T41" fmla="*/ 16 h 26"/>
              <a:gd name="T42" fmla="*/ 30 w 38"/>
              <a:gd name="T43" fmla="*/ 16 h 26"/>
              <a:gd name="T44" fmla="*/ 30 w 38"/>
              <a:gd name="T45" fmla="*/ 20 h 26"/>
              <a:gd name="T46" fmla="*/ 30 w 38"/>
              <a:gd name="T47" fmla="*/ 20 h 26"/>
              <a:gd name="T48" fmla="*/ 28 w 38"/>
              <a:gd name="T49" fmla="*/ 22 h 26"/>
              <a:gd name="T50" fmla="*/ 26 w 38"/>
              <a:gd name="T51" fmla="*/ 22 h 26"/>
              <a:gd name="T52" fmla="*/ 26 w 38"/>
              <a:gd name="T53" fmla="*/ 22 h 26"/>
              <a:gd name="T54" fmla="*/ 16 w 38"/>
              <a:gd name="T55" fmla="*/ 18 h 26"/>
              <a:gd name="T56" fmla="*/ 16 w 38"/>
              <a:gd name="T57" fmla="*/ 18 h 26"/>
              <a:gd name="T58" fmla="*/ 12 w 38"/>
              <a:gd name="T59" fmla="*/ 20 h 26"/>
              <a:gd name="T60" fmla="*/ 10 w 38"/>
              <a:gd name="T61" fmla="*/ 20 h 26"/>
              <a:gd name="T62" fmla="*/ 10 w 38"/>
              <a:gd name="T63" fmla="*/ 20 h 26"/>
              <a:gd name="T64" fmla="*/ 8 w 38"/>
              <a:gd name="T65" fmla="*/ 18 h 26"/>
              <a:gd name="T66" fmla="*/ 4 w 38"/>
              <a:gd name="T67" fmla="*/ 16 h 26"/>
              <a:gd name="T68" fmla="*/ 4 w 38"/>
              <a:gd name="T69" fmla="*/ 16 h 26"/>
              <a:gd name="T70" fmla="*/ 0 w 38"/>
              <a:gd name="T71" fmla="*/ 18 h 26"/>
              <a:gd name="T72" fmla="*/ 0 w 38"/>
              <a:gd name="T73" fmla="*/ 18 h 26"/>
              <a:gd name="T74" fmla="*/ 0 w 38"/>
              <a:gd name="T75" fmla="*/ 22 h 26"/>
              <a:gd name="T76" fmla="*/ 0 w 38"/>
              <a:gd name="T77" fmla="*/ 22 h 26"/>
              <a:gd name="T78" fmla="*/ 6 w 38"/>
              <a:gd name="T79" fmla="*/ 26 h 26"/>
              <a:gd name="T80" fmla="*/ 6 w 38"/>
              <a:gd name="T81" fmla="*/ 26 h 26"/>
              <a:gd name="T82" fmla="*/ 10 w 38"/>
              <a:gd name="T83" fmla="*/ 26 h 26"/>
              <a:gd name="T84" fmla="*/ 14 w 38"/>
              <a:gd name="T85" fmla="*/ 24 h 26"/>
              <a:gd name="T86" fmla="*/ 14 w 38"/>
              <a:gd name="T87" fmla="*/ 24 h 26"/>
              <a:gd name="T88" fmla="*/ 38 w 38"/>
              <a:gd name="T89" fmla="*/ 26 h 26"/>
              <a:gd name="T90" fmla="*/ 38 w 38"/>
              <a:gd name="T9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 h="26">
                <a:moveTo>
                  <a:pt x="38" y="26"/>
                </a:moveTo>
                <a:lnTo>
                  <a:pt x="38" y="26"/>
                </a:lnTo>
                <a:lnTo>
                  <a:pt x="38" y="22"/>
                </a:lnTo>
                <a:lnTo>
                  <a:pt x="38" y="22"/>
                </a:lnTo>
                <a:lnTo>
                  <a:pt x="36" y="18"/>
                </a:lnTo>
                <a:lnTo>
                  <a:pt x="36" y="16"/>
                </a:lnTo>
                <a:lnTo>
                  <a:pt x="38" y="12"/>
                </a:lnTo>
                <a:lnTo>
                  <a:pt x="36" y="2"/>
                </a:lnTo>
                <a:lnTo>
                  <a:pt x="36" y="2"/>
                </a:lnTo>
                <a:lnTo>
                  <a:pt x="32" y="2"/>
                </a:lnTo>
                <a:lnTo>
                  <a:pt x="30" y="2"/>
                </a:lnTo>
                <a:lnTo>
                  <a:pt x="26" y="0"/>
                </a:lnTo>
                <a:lnTo>
                  <a:pt x="26" y="0"/>
                </a:lnTo>
                <a:lnTo>
                  <a:pt x="20" y="0"/>
                </a:lnTo>
                <a:lnTo>
                  <a:pt x="20" y="0"/>
                </a:lnTo>
                <a:lnTo>
                  <a:pt x="26" y="4"/>
                </a:lnTo>
                <a:lnTo>
                  <a:pt x="26" y="4"/>
                </a:lnTo>
                <a:lnTo>
                  <a:pt x="26" y="6"/>
                </a:lnTo>
                <a:lnTo>
                  <a:pt x="26" y="12"/>
                </a:lnTo>
                <a:lnTo>
                  <a:pt x="26" y="12"/>
                </a:lnTo>
                <a:lnTo>
                  <a:pt x="30" y="16"/>
                </a:lnTo>
                <a:lnTo>
                  <a:pt x="30" y="16"/>
                </a:lnTo>
                <a:lnTo>
                  <a:pt x="30" y="20"/>
                </a:lnTo>
                <a:lnTo>
                  <a:pt x="30" y="20"/>
                </a:lnTo>
                <a:lnTo>
                  <a:pt x="28" y="22"/>
                </a:lnTo>
                <a:lnTo>
                  <a:pt x="26" y="22"/>
                </a:lnTo>
                <a:lnTo>
                  <a:pt x="26" y="22"/>
                </a:lnTo>
                <a:lnTo>
                  <a:pt x="16" y="18"/>
                </a:lnTo>
                <a:lnTo>
                  <a:pt x="16" y="18"/>
                </a:lnTo>
                <a:lnTo>
                  <a:pt x="12" y="20"/>
                </a:lnTo>
                <a:lnTo>
                  <a:pt x="10" y="20"/>
                </a:lnTo>
                <a:lnTo>
                  <a:pt x="10" y="20"/>
                </a:lnTo>
                <a:lnTo>
                  <a:pt x="8" y="18"/>
                </a:lnTo>
                <a:lnTo>
                  <a:pt x="4" y="16"/>
                </a:lnTo>
                <a:lnTo>
                  <a:pt x="4" y="16"/>
                </a:lnTo>
                <a:lnTo>
                  <a:pt x="0" y="18"/>
                </a:lnTo>
                <a:lnTo>
                  <a:pt x="0" y="18"/>
                </a:lnTo>
                <a:lnTo>
                  <a:pt x="0" y="22"/>
                </a:lnTo>
                <a:lnTo>
                  <a:pt x="0" y="22"/>
                </a:lnTo>
                <a:lnTo>
                  <a:pt x="6" y="26"/>
                </a:lnTo>
                <a:lnTo>
                  <a:pt x="6" y="26"/>
                </a:lnTo>
                <a:lnTo>
                  <a:pt x="10" y="26"/>
                </a:lnTo>
                <a:lnTo>
                  <a:pt x="14" y="24"/>
                </a:lnTo>
                <a:lnTo>
                  <a:pt x="14" y="24"/>
                </a:lnTo>
                <a:lnTo>
                  <a:pt x="38" y="26"/>
                </a:lnTo>
                <a:lnTo>
                  <a:pt x="38"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3" name="Freeform 177">
            <a:extLst>
              <a:ext uri="{FF2B5EF4-FFF2-40B4-BE49-F238E27FC236}">
                <a16:creationId xmlns:a16="http://schemas.microsoft.com/office/drawing/2014/main" id="{E5134F85-B472-4841-A11A-7B6F8423A8DA}"/>
              </a:ext>
            </a:extLst>
          </p:cNvPr>
          <p:cNvSpPr>
            <a:spLocks/>
          </p:cNvSpPr>
          <p:nvPr userDrawn="1"/>
        </p:nvSpPr>
        <p:spPr bwMode="auto">
          <a:xfrm>
            <a:off x="4463876" y="3440410"/>
            <a:ext cx="110684" cy="223078"/>
          </a:xfrm>
          <a:custGeom>
            <a:avLst/>
            <a:gdLst>
              <a:gd name="T0" fmla="*/ 22 w 66"/>
              <a:gd name="T1" fmla="*/ 8 h 130"/>
              <a:gd name="T2" fmla="*/ 20 w 66"/>
              <a:gd name="T3" fmla="*/ 10 h 130"/>
              <a:gd name="T4" fmla="*/ 10 w 66"/>
              <a:gd name="T5" fmla="*/ 14 h 130"/>
              <a:gd name="T6" fmla="*/ 10 w 66"/>
              <a:gd name="T7" fmla="*/ 20 h 130"/>
              <a:gd name="T8" fmla="*/ 14 w 66"/>
              <a:gd name="T9" fmla="*/ 26 h 130"/>
              <a:gd name="T10" fmla="*/ 18 w 66"/>
              <a:gd name="T11" fmla="*/ 28 h 130"/>
              <a:gd name="T12" fmla="*/ 16 w 66"/>
              <a:gd name="T13" fmla="*/ 32 h 130"/>
              <a:gd name="T14" fmla="*/ 6 w 66"/>
              <a:gd name="T15" fmla="*/ 34 h 130"/>
              <a:gd name="T16" fmla="*/ 6 w 66"/>
              <a:gd name="T17" fmla="*/ 40 h 130"/>
              <a:gd name="T18" fmla="*/ 12 w 66"/>
              <a:gd name="T19" fmla="*/ 60 h 130"/>
              <a:gd name="T20" fmla="*/ 22 w 66"/>
              <a:gd name="T21" fmla="*/ 62 h 130"/>
              <a:gd name="T22" fmla="*/ 26 w 66"/>
              <a:gd name="T23" fmla="*/ 66 h 130"/>
              <a:gd name="T24" fmla="*/ 28 w 66"/>
              <a:gd name="T25" fmla="*/ 74 h 130"/>
              <a:gd name="T26" fmla="*/ 28 w 66"/>
              <a:gd name="T27" fmla="*/ 76 h 130"/>
              <a:gd name="T28" fmla="*/ 28 w 66"/>
              <a:gd name="T29" fmla="*/ 80 h 130"/>
              <a:gd name="T30" fmla="*/ 28 w 66"/>
              <a:gd name="T31" fmla="*/ 86 h 130"/>
              <a:gd name="T32" fmla="*/ 22 w 66"/>
              <a:gd name="T33" fmla="*/ 100 h 130"/>
              <a:gd name="T34" fmla="*/ 20 w 66"/>
              <a:gd name="T35" fmla="*/ 114 h 130"/>
              <a:gd name="T36" fmla="*/ 24 w 66"/>
              <a:gd name="T37" fmla="*/ 120 h 130"/>
              <a:gd name="T38" fmla="*/ 30 w 66"/>
              <a:gd name="T39" fmla="*/ 126 h 130"/>
              <a:gd name="T40" fmla="*/ 36 w 66"/>
              <a:gd name="T41" fmla="*/ 130 h 130"/>
              <a:gd name="T42" fmla="*/ 40 w 66"/>
              <a:gd name="T43" fmla="*/ 126 h 130"/>
              <a:gd name="T44" fmla="*/ 44 w 66"/>
              <a:gd name="T45" fmla="*/ 126 h 130"/>
              <a:gd name="T46" fmla="*/ 46 w 66"/>
              <a:gd name="T47" fmla="*/ 122 h 130"/>
              <a:gd name="T48" fmla="*/ 48 w 66"/>
              <a:gd name="T49" fmla="*/ 120 h 130"/>
              <a:gd name="T50" fmla="*/ 52 w 66"/>
              <a:gd name="T51" fmla="*/ 118 h 130"/>
              <a:gd name="T52" fmla="*/ 56 w 66"/>
              <a:gd name="T53" fmla="*/ 112 h 130"/>
              <a:gd name="T54" fmla="*/ 56 w 66"/>
              <a:gd name="T55" fmla="*/ 96 h 130"/>
              <a:gd name="T56" fmla="*/ 54 w 66"/>
              <a:gd name="T57" fmla="*/ 92 h 130"/>
              <a:gd name="T58" fmla="*/ 52 w 66"/>
              <a:gd name="T59" fmla="*/ 78 h 130"/>
              <a:gd name="T60" fmla="*/ 50 w 66"/>
              <a:gd name="T61" fmla="*/ 70 h 130"/>
              <a:gd name="T62" fmla="*/ 54 w 66"/>
              <a:gd name="T63" fmla="*/ 66 h 130"/>
              <a:gd name="T64" fmla="*/ 58 w 66"/>
              <a:gd name="T65" fmla="*/ 54 h 130"/>
              <a:gd name="T66" fmla="*/ 66 w 66"/>
              <a:gd name="T67" fmla="*/ 42 h 130"/>
              <a:gd name="T68" fmla="*/ 62 w 66"/>
              <a:gd name="T69" fmla="*/ 32 h 130"/>
              <a:gd name="T70" fmla="*/ 54 w 66"/>
              <a:gd name="T71" fmla="*/ 28 h 130"/>
              <a:gd name="T72" fmla="*/ 50 w 66"/>
              <a:gd name="T73" fmla="*/ 28 h 130"/>
              <a:gd name="T74" fmla="*/ 48 w 66"/>
              <a:gd name="T75" fmla="*/ 26 h 130"/>
              <a:gd name="T76" fmla="*/ 44 w 66"/>
              <a:gd name="T77" fmla="*/ 30 h 130"/>
              <a:gd name="T78" fmla="*/ 40 w 66"/>
              <a:gd name="T79" fmla="*/ 36 h 130"/>
              <a:gd name="T80" fmla="*/ 38 w 66"/>
              <a:gd name="T81" fmla="*/ 36 h 130"/>
              <a:gd name="T82" fmla="*/ 38 w 66"/>
              <a:gd name="T83" fmla="*/ 34 h 130"/>
              <a:gd name="T84" fmla="*/ 38 w 66"/>
              <a:gd name="T85" fmla="*/ 30 h 130"/>
              <a:gd name="T86" fmla="*/ 42 w 66"/>
              <a:gd name="T87" fmla="*/ 28 h 130"/>
              <a:gd name="T88" fmla="*/ 44 w 66"/>
              <a:gd name="T89" fmla="*/ 16 h 130"/>
              <a:gd name="T90" fmla="*/ 28 w 66"/>
              <a:gd name="T9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130">
                <a:moveTo>
                  <a:pt x="24" y="0"/>
                </a:moveTo>
                <a:lnTo>
                  <a:pt x="22" y="8"/>
                </a:lnTo>
                <a:lnTo>
                  <a:pt x="22" y="8"/>
                </a:lnTo>
                <a:lnTo>
                  <a:pt x="22" y="8"/>
                </a:lnTo>
                <a:lnTo>
                  <a:pt x="20" y="10"/>
                </a:lnTo>
                <a:lnTo>
                  <a:pt x="20" y="10"/>
                </a:lnTo>
                <a:lnTo>
                  <a:pt x="14" y="14"/>
                </a:lnTo>
                <a:lnTo>
                  <a:pt x="10" y="14"/>
                </a:lnTo>
                <a:lnTo>
                  <a:pt x="10" y="14"/>
                </a:lnTo>
                <a:lnTo>
                  <a:pt x="8" y="14"/>
                </a:lnTo>
                <a:lnTo>
                  <a:pt x="8" y="16"/>
                </a:lnTo>
                <a:lnTo>
                  <a:pt x="10" y="20"/>
                </a:lnTo>
                <a:lnTo>
                  <a:pt x="10" y="20"/>
                </a:lnTo>
                <a:lnTo>
                  <a:pt x="12" y="22"/>
                </a:lnTo>
                <a:lnTo>
                  <a:pt x="14" y="26"/>
                </a:lnTo>
                <a:lnTo>
                  <a:pt x="14" y="26"/>
                </a:lnTo>
                <a:lnTo>
                  <a:pt x="16" y="26"/>
                </a:lnTo>
                <a:lnTo>
                  <a:pt x="18" y="28"/>
                </a:lnTo>
                <a:lnTo>
                  <a:pt x="18" y="30"/>
                </a:lnTo>
                <a:lnTo>
                  <a:pt x="18" y="30"/>
                </a:lnTo>
                <a:lnTo>
                  <a:pt x="16" y="32"/>
                </a:lnTo>
                <a:lnTo>
                  <a:pt x="14" y="32"/>
                </a:lnTo>
                <a:lnTo>
                  <a:pt x="6" y="34"/>
                </a:lnTo>
                <a:lnTo>
                  <a:pt x="6" y="34"/>
                </a:lnTo>
                <a:lnTo>
                  <a:pt x="6" y="34"/>
                </a:lnTo>
                <a:lnTo>
                  <a:pt x="6" y="36"/>
                </a:lnTo>
                <a:lnTo>
                  <a:pt x="6" y="40"/>
                </a:lnTo>
                <a:lnTo>
                  <a:pt x="0" y="42"/>
                </a:lnTo>
                <a:lnTo>
                  <a:pt x="12" y="60"/>
                </a:lnTo>
                <a:lnTo>
                  <a:pt x="12" y="60"/>
                </a:lnTo>
                <a:lnTo>
                  <a:pt x="16" y="62"/>
                </a:lnTo>
                <a:lnTo>
                  <a:pt x="22" y="62"/>
                </a:lnTo>
                <a:lnTo>
                  <a:pt x="22" y="62"/>
                </a:lnTo>
                <a:lnTo>
                  <a:pt x="24" y="62"/>
                </a:lnTo>
                <a:lnTo>
                  <a:pt x="26" y="64"/>
                </a:lnTo>
                <a:lnTo>
                  <a:pt x="26" y="66"/>
                </a:lnTo>
                <a:lnTo>
                  <a:pt x="22" y="70"/>
                </a:lnTo>
                <a:lnTo>
                  <a:pt x="22" y="70"/>
                </a:lnTo>
                <a:lnTo>
                  <a:pt x="28" y="74"/>
                </a:lnTo>
                <a:lnTo>
                  <a:pt x="28" y="74"/>
                </a:lnTo>
                <a:lnTo>
                  <a:pt x="30" y="74"/>
                </a:lnTo>
                <a:lnTo>
                  <a:pt x="28" y="76"/>
                </a:lnTo>
                <a:lnTo>
                  <a:pt x="28" y="78"/>
                </a:lnTo>
                <a:lnTo>
                  <a:pt x="28" y="80"/>
                </a:lnTo>
                <a:lnTo>
                  <a:pt x="28" y="80"/>
                </a:lnTo>
                <a:lnTo>
                  <a:pt x="30" y="82"/>
                </a:lnTo>
                <a:lnTo>
                  <a:pt x="28" y="86"/>
                </a:lnTo>
                <a:lnTo>
                  <a:pt x="28" y="86"/>
                </a:lnTo>
                <a:lnTo>
                  <a:pt x="22" y="92"/>
                </a:lnTo>
                <a:lnTo>
                  <a:pt x="22" y="92"/>
                </a:lnTo>
                <a:lnTo>
                  <a:pt x="22" y="100"/>
                </a:lnTo>
                <a:lnTo>
                  <a:pt x="20" y="112"/>
                </a:lnTo>
                <a:lnTo>
                  <a:pt x="20" y="112"/>
                </a:lnTo>
                <a:lnTo>
                  <a:pt x="20" y="114"/>
                </a:lnTo>
                <a:lnTo>
                  <a:pt x="22" y="118"/>
                </a:lnTo>
                <a:lnTo>
                  <a:pt x="24" y="120"/>
                </a:lnTo>
                <a:lnTo>
                  <a:pt x="24" y="120"/>
                </a:lnTo>
                <a:lnTo>
                  <a:pt x="28" y="124"/>
                </a:lnTo>
                <a:lnTo>
                  <a:pt x="30" y="124"/>
                </a:lnTo>
                <a:lnTo>
                  <a:pt x="30" y="126"/>
                </a:lnTo>
                <a:lnTo>
                  <a:pt x="30" y="126"/>
                </a:lnTo>
                <a:lnTo>
                  <a:pt x="32" y="130"/>
                </a:lnTo>
                <a:lnTo>
                  <a:pt x="36" y="130"/>
                </a:lnTo>
                <a:lnTo>
                  <a:pt x="36" y="130"/>
                </a:lnTo>
                <a:lnTo>
                  <a:pt x="38" y="128"/>
                </a:lnTo>
                <a:lnTo>
                  <a:pt x="40" y="126"/>
                </a:lnTo>
                <a:lnTo>
                  <a:pt x="42" y="126"/>
                </a:lnTo>
                <a:lnTo>
                  <a:pt x="42" y="126"/>
                </a:lnTo>
                <a:lnTo>
                  <a:pt x="44" y="126"/>
                </a:lnTo>
                <a:lnTo>
                  <a:pt x="44" y="124"/>
                </a:lnTo>
                <a:lnTo>
                  <a:pt x="44" y="122"/>
                </a:lnTo>
                <a:lnTo>
                  <a:pt x="46" y="122"/>
                </a:lnTo>
                <a:lnTo>
                  <a:pt x="46" y="122"/>
                </a:lnTo>
                <a:lnTo>
                  <a:pt x="48" y="120"/>
                </a:lnTo>
                <a:lnTo>
                  <a:pt x="48" y="120"/>
                </a:lnTo>
                <a:lnTo>
                  <a:pt x="50" y="118"/>
                </a:lnTo>
                <a:lnTo>
                  <a:pt x="52" y="118"/>
                </a:lnTo>
                <a:lnTo>
                  <a:pt x="52" y="118"/>
                </a:lnTo>
                <a:lnTo>
                  <a:pt x="56" y="120"/>
                </a:lnTo>
                <a:lnTo>
                  <a:pt x="58" y="120"/>
                </a:lnTo>
                <a:lnTo>
                  <a:pt x="56" y="112"/>
                </a:lnTo>
                <a:lnTo>
                  <a:pt x="54" y="100"/>
                </a:lnTo>
                <a:lnTo>
                  <a:pt x="54" y="100"/>
                </a:lnTo>
                <a:lnTo>
                  <a:pt x="56" y="96"/>
                </a:lnTo>
                <a:lnTo>
                  <a:pt x="56" y="94"/>
                </a:lnTo>
                <a:lnTo>
                  <a:pt x="54" y="92"/>
                </a:lnTo>
                <a:lnTo>
                  <a:pt x="54" y="92"/>
                </a:lnTo>
                <a:lnTo>
                  <a:pt x="52" y="88"/>
                </a:lnTo>
                <a:lnTo>
                  <a:pt x="52" y="88"/>
                </a:lnTo>
                <a:lnTo>
                  <a:pt x="52" y="78"/>
                </a:lnTo>
                <a:lnTo>
                  <a:pt x="52" y="78"/>
                </a:lnTo>
                <a:lnTo>
                  <a:pt x="50" y="72"/>
                </a:lnTo>
                <a:lnTo>
                  <a:pt x="50" y="70"/>
                </a:lnTo>
                <a:lnTo>
                  <a:pt x="50" y="68"/>
                </a:lnTo>
                <a:lnTo>
                  <a:pt x="50" y="68"/>
                </a:lnTo>
                <a:lnTo>
                  <a:pt x="54" y="66"/>
                </a:lnTo>
                <a:lnTo>
                  <a:pt x="58" y="62"/>
                </a:lnTo>
                <a:lnTo>
                  <a:pt x="58" y="62"/>
                </a:lnTo>
                <a:lnTo>
                  <a:pt x="58" y="54"/>
                </a:lnTo>
                <a:lnTo>
                  <a:pt x="58" y="54"/>
                </a:lnTo>
                <a:lnTo>
                  <a:pt x="66" y="42"/>
                </a:lnTo>
                <a:lnTo>
                  <a:pt x="66" y="42"/>
                </a:lnTo>
                <a:lnTo>
                  <a:pt x="64" y="36"/>
                </a:lnTo>
                <a:lnTo>
                  <a:pt x="62" y="32"/>
                </a:lnTo>
                <a:lnTo>
                  <a:pt x="62" y="32"/>
                </a:lnTo>
                <a:lnTo>
                  <a:pt x="56" y="30"/>
                </a:lnTo>
                <a:lnTo>
                  <a:pt x="56" y="30"/>
                </a:lnTo>
                <a:lnTo>
                  <a:pt x="54" y="28"/>
                </a:lnTo>
                <a:lnTo>
                  <a:pt x="52" y="26"/>
                </a:lnTo>
                <a:lnTo>
                  <a:pt x="52" y="26"/>
                </a:lnTo>
                <a:lnTo>
                  <a:pt x="50" y="28"/>
                </a:lnTo>
                <a:lnTo>
                  <a:pt x="48" y="28"/>
                </a:lnTo>
                <a:lnTo>
                  <a:pt x="48" y="28"/>
                </a:lnTo>
                <a:lnTo>
                  <a:pt x="48" y="26"/>
                </a:lnTo>
                <a:lnTo>
                  <a:pt x="46" y="26"/>
                </a:lnTo>
                <a:lnTo>
                  <a:pt x="46" y="26"/>
                </a:lnTo>
                <a:lnTo>
                  <a:pt x="44" y="30"/>
                </a:lnTo>
                <a:lnTo>
                  <a:pt x="44" y="38"/>
                </a:lnTo>
                <a:lnTo>
                  <a:pt x="44" y="38"/>
                </a:lnTo>
                <a:lnTo>
                  <a:pt x="40" y="36"/>
                </a:lnTo>
                <a:lnTo>
                  <a:pt x="40" y="36"/>
                </a:lnTo>
                <a:lnTo>
                  <a:pt x="38" y="36"/>
                </a:lnTo>
                <a:lnTo>
                  <a:pt x="38" y="36"/>
                </a:lnTo>
                <a:lnTo>
                  <a:pt x="38" y="34"/>
                </a:lnTo>
                <a:lnTo>
                  <a:pt x="38" y="34"/>
                </a:lnTo>
                <a:lnTo>
                  <a:pt x="38" y="34"/>
                </a:lnTo>
                <a:lnTo>
                  <a:pt x="38" y="32"/>
                </a:lnTo>
                <a:lnTo>
                  <a:pt x="38" y="30"/>
                </a:lnTo>
                <a:lnTo>
                  <a:pt x="38" y="30"/>
                </a:lnTo>
                <a:lnTo>
                  <a:pt x="42" y="28"/>
                </a:lnTo>
                <a:lnTo>
                  <a:pt x="42" y="28"/>
                </a:lnTo>
                <a:lnTo>
                  <a:pt x="42" y="28"/>
                </a:lnTo>
                <a:lnTo>
                  <a:pt x="44" y="22"/>
                </a:lnTo>
                <a:lnTo>
                  <a:pt x="44" y="16"/>
                </a:lnTo>
                <a:lnTo>
                  <a:pt x="44" y="16"/>
                </a:lnTo>
                <a:lnTo>
                  <a:pt x="36" y="8"/>
                </a:lnTo>
                <a:lnTo>
                  <a:pt x="28" y="0"/>
                </a:lnTo>
                <a:lnTo>
                  <a:pt x="28" y="0"/>
                </a:lnTo>
                <a:lnTo>
                  <a:pt x="24" y="2"/>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4" name="Freeform 178">
            <a:extLst>
              <a:ext uri="{FF2B5EF4-FFF2-40B4-BE49-F238E27FC236}">
                <a16:creationId xmlns:a16="http://schemas.microsoft.com/office/drawing/2014/main" id="{10FB557C-0350-475D-AC20-78DAA9E0CBF8}"/>
              </a:ext>
            </a:extLst>
          </p:cNvPr>
          <p:cNvSpPr>
            <a:spLocks/>
          </p:cNvSpPr>
          <p:nvPr userDrawn="1"/>
        </p:nvSpPr>
        <p:spPr bwMode="auto">
          <a:xfrm>
            <a:off x="5483513" y="3320291"/>
            <a:ext cx="57019" cy="48048"/>
          </a:xfrm>
          <a:custGeom>
            <a:avLst/>
            <a:gdLst>
              <a:gd name="T0" fmla="*/ 20 w 34"/>
              <a:gd name="T1" fmla="*/ 28 h 28"/>
              <a:gd name="T2" fmla="*/ 20 w 34"/>
              <a:gd name="T3" fmla="*/ 28 h 28"/>
              <a:gd name="T4" fmla="*/ 20 w 34"/>
              <a:gd name="T5" fmla="*/ 24 h 28"/>
              <a:gd name="T6" fmla="*/ 20 w 34"/>
              <a:gd name="T7" fmla="*/ 24 h 28"/>
              <a:gd name="T8" fmla="*/ 26 w 34"/>
              <a:gd name="T9" fmla="*/ 24 h 28"/>
              <a:gd name="T10" fmla="*/ 26 w 34"/>
              <a:gd name="T11" fmla="*/ 24 h 28"/>
              <a:gd name="T12" fmla="*/ 30 w 34"/>
              <a:gd name="T13" fmla="*/ 22 h 28"/>
              <a:gd name="T14" fmla="*/ 32 w 34"/>
              <a:gd name="T15" fmla="*/ 20 h 28"/>
              <a:gd name="T16" fmla="*/ 32 w 34"/>
              <a:gd name="T17" fmla="*/ 20 h 28"/>
              <a:gd name="T18" fmla="*/ 32 w 34"/>
              <a:gd name="T19" fmla="*/ 18 h 28"/>
              <a:gd name="T20" fmla="*/ 32 w 34"/>
              <a:gd name="T21" fmla="*/ 14 h 28"/>
              <a:gd name="T22" fmla="*/ 32 w 34"/>
              <a:gd name="T23" fmla="*/ 14 h 28"/>
              <a:gd name="T24" fmla="*/ 32 w 34"/>
              <a:gd name="T25" fmla="*/ 14 h 28"/>
              <a:gd name="T26" fmla="*/ 30 w 34"/>
              <a:gd name="T27" fmla="*/ 12 h 28"/>
              <a:gd name="T28" fmla="*/ 30 w 34"/>
              <a:gd name="T29" fmla="*/ 10 h 28"/>
              <a:gd name="T30" fmla="*/ 34 w 34"/>
              <a:gd name="T31" fmla="*/ 8 h 28"/>
              <a:gd name="T32" fmla="*/ 34 w 34"/>
              <a:gd name="T33" fmla="*/ 8 h 28"/>
              <a:gd name="T34" fmla="*/ 34 w 34"/>
              <a:gd name="T35" fmla="*/ 8 h 28"/>
              <a:gd name="T36" fmla="*/ 34 w 34"/>
              <a:gd name="T37" fmla="*/ 4 h 28"/>
              <a:gd name="T38" fmla="*/ 34 w 34"/>
              <a:gd name="T39" fmla="*/ 0 h 28"/>
              <a:gd name="T40" fmla="*/ 34 w 34"/>
              <a:gd name="T41" fmla="*/ 0 h 28"/>
              <a:gd name="T42" fmla="*/ 22 w 34"/>
              <a:gd name="T43" fmla="*/ 0 h 28"/>
              <a:gd name="T44" fmla="*/ 12 w 34"/>
              <a:gd name="T45" fmla="*/ 0 h 28"/>
              <a:gd name="T46" fmla="*/ 6 w 34"/>
              <a:gd name="T47" fmla="*/ 4 h 28"/>
              <a:gd name="T48" fmla="*/ 0 w 34"/>
              <a:gd name="T49" fmla="*/ 6 h 28"/>
              <a:gd name="T50" fmla="*/ 0 w 34"/>
              <a:gd name="T51" fmla="*/ 6 h 28"/>
              <a:gd name="T52" fmla="*/ 0 w 34"/>
              <a:gd name="T53" fmla="*/ 6 h 28"/>
              <a:gd name="T54" fmla="*/ 0 w 34"/>
              <a:gd name="T55" fmla="*/ 8 h 28"/>
              <a:gd name="T56" fmla="*/ 0 w 34"/>
              <a:gd name="T57" fmla="*/ 8 h 28"/>
              <a:gd name="T58" fmla="*/ 0 w 34"/>
              <a:gd name="T59" fmla="*/ 8 h 28"/>
              <a:gd name="T60" fmla="*/ 4 w 34"/>
              <a:gd name="T61" fmla="*/ 12 h 28"/>
              <a:gd name="T62" fmla="*/ 12 w 34"/>
              <a:gd name="T63" fmla="*/ 16 h 28"/>
              <a:gd name="T64" fmla="*/ 12 w 34"/>
              <a:gd name="T65" fmla="*/ 16 h 28"/>
              <a:gd name="T66" fmla="*/ 12 w 34"/>
              <a:gd name="T67" fmla="*/ 24 h 28"/>
              <a:gd name="T68" fmla="*/ 12 w 34"/>
              <a:gd name="T69" fmla="*/ 24 h 28"/>
              <a:gd name="T70" fmla="*/ 14 w 34"/>
              <a:gd name="T71" fmla="*/ 24 h 28"/>
              <a:gd name="T72" fmla="*/ 16 w 34"/>
              <a:gd name="T73" fmla="*/ 26 h 28"/>
              <a:gd name="T74" fmla="*/ 16 w 34"/>
              <a:gd name="T75" fmla="*/ 26 h 28"/>
              <a:gd name="T76" fmla="*/ 18 w 34"/>
              <a:gd name="T77" fmla="*/ 28 h 28"/>
              <a:gd name="T78" fmla="*/ 18 w 34"/>
              <a:gd name="T79" fmla="*/ 28 h 28"/>
              <a:gd name="T80" fmla="*/ 20 w 34"/>
              <a:gd name="T81" fmla="*/ 28 h 28"/>
              <a:gd name="T82" fmla="*/ 20 w 34"/>
              <a:gd name="T8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28">
                <a:moveTo>
                  <a:pt x="20" y="28"/>
                </a:moveTo>
                <a:lnTo>
                  <a:pt x="20" y="28"/>
                </a:lnTo>
                <a:lnTo>
                  <a:pt x="20" y="24"/>
                </a:lnTo>
                <a:lnTo>
                  <a:pt x="20" y="24"/>
                </a:lnTo>
                <a:lnTo>
                  <a:pt x="26" y="24"/>
                </a:lnTo>
                <a:lnTo>
                  <a:pt x="26" y="24"/>
                </a:lnTo>
                <a:lnTo>
                  <a:pt x="30" y="22"/>
                </a:lnTo>
                <a:lnTo>
                  <a:pt x="32" y="20"/>
                </a:lnTo>
                <a:lnTo>
                  <a:pt x="32" y="20"/>
                </a:lnTo>
                <a:lnTo>
                  <a:pt x="32" y="18"/>
                </a:lnTo>
                <a:lnTo>
                  <a:pt x="32" y="14"/>
                </a:lnTo>
                <a:lnTo>
                  <a:pt x="32" y="14"/>
                </a:lnTo>
                <a:lnTo>
                  <a:pt x="32" y="14"/>
                </a:lnTo>
                <a:lnTo>
                  <a:pt x="30" y="12"/>
                </a:lnTo>
                <a:lnTo>
                  <a:pt x="30" y="10"/>
                </a:lnTo>
                <a:lnTo>
                  <a:pt x="34" y="8"/>
                </a:lnTo>
                <a:lnTo>
                  <a:pt x="34" y="8"/>
                </a:lnTo>
                <a:lnTo>
                  <a:pt x="34" y="8"/>
                </a:lnTo>
                <a:lnTo>
                  <a:pt x="34" y="4"/>
                </a:lnTo>
                <a:lnTo>
                  <a:pt x="34" y="0"/>
                </a:lnTo>
                <a:lnTo>
                  <a:pt x="34" y="0"/>
                </a:lnTo>
                <a:lnTo>
                  <a:pt x="22" y="0"/>
                </a:lnTo>
                <a:lnTo>
                  <a:pt x="12" y="0"/>
                </a:lnTo>
                <a:lnTo>
                  <a:pt x="6" y="4"/>
                </a:lnTo>
                <a:lnTo>
                  <a:pt x="0" y="6"/>
                </a:lnTo>
                <a:lnTo>
                  <a:pt x="0" y="6"/>
                </a:lnTo>
                <a:lnTo>
                  <a:pt x="0" y="6"/>
                </a:lnTo>
                <a:lnTo>
                  <a:pt x="0" y="8"/>
                </a:lnTo>
                <a:lnTo>
                  <a:pt x="0" y="8"/>
                </a:lnTo>
                <a:lnTo>
                  <a:pt x="0" y="8"/>
                </a:lnTo>
                <a:lnTo>
                  <a:pt x="4" y="12"/>
                </a:lnTo>
                <a:lnTo>
                  <a:pt x="12" y="16"/>
                </a:lnTo>
                <a:lnTo>
                  <a:pt x="12" y="16"/>
                </a:lnTo>
                <a:lnTo>
                  <a:pt x="12" y="24"/>
                </a:lnTo>
                <a:lnTo>
                  <a:pt x="12" y="24"/>
                </a:lnTo>
                <a:lnTo>
                  <a:pt x="14" y="24"/>
                </a:lnTo>
                <a:lnTo>
                  <a:pt x="16" y="26"/>
                </a:lnTo>
                <a:lnTo>
                  <a:pt x="16" y="26"/>
                </a:lnTo>
                <a:lnTo>
                  <a:pt x="18" y="28"/>
                </a:lnTo>
                <a:lnTo>
                  <a:pt x="18" y="28"/>
                </a:lnTo>
                <a:lnTo>
                  <a:pt x="20" y="28"/>
                </a:lnTo>
                <a:lnTo>
                  <a:pt x="20"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5" name="Freeform 179">
            <a:extLst>
              <a:ext uri="{FF2B5EF4-FFF2-40B4-BE49-F238E27FC236}">
                <a16:creationId xmlns:a16="http://schemas.microsoft.com/office/drawing/2014/main" id="{113D7001-6FA1-4517-B815-3318E329F8C7}"/>
              </a:ext>
            </a:extLst>
          </p:cNvPr>
          <p:cNvSpPr>
            <a:spLocks/>
          </p:cNvSpPr>
          <p:nvPr userDrawn="1"/>
        </p:nvSpPr>
        <p:spPr bwMode="auto">
          <a:xfrm>
            <a:off x="5517055" y="3320291"/>
            <a:ext cx="164349" cy="151007"/>
          </a:xfrm>
          <a:custGeom>
            <a:avLst/>
            <a:gdLst>
              <a:gd name="T0" fmla="*/ 22 w 98"/>
              <a:gd name="T1" fmla="*/ 62 h 88"/>
              <a:gd name="T2" fmla="*/ 24 w 98"/>
              <a:gd name="T3" fmla="*/ 58 h 88"/>
              <a:gd name="T4" fmla="*/ 28 w 98"/>
              <a:gd name="T5" fmla="*/ 54 h 88"/>
              <a:gd name="T6" fmla="*/ 30 w 98"/>
              <a:gd name="T7" fmla="*/ 46 h 88"/>
              <a:gd name="T8" fmla="*/ 40 w 98"/>
              <a:gd name="T9" fmla="*/ 44 h 88"/>
              <a:gd name="T10" fmla="*/ 46 w 98"/>
              <a:gd name="T11" fmla="*/ 44 h 88"/>
              <a:gd name="T12" fmla="*/ 52 w 98"/>
              <a:gd name="T13" fmla="*/ 46 h 88"/>
              <a:gd name="T14" fmla="*/ 52 w 98"/>
              <a:gd name="T15" fmla="*/ 54 h 88"/>
              <a:gd name="T16" fmla="*/ 56 w 98"/>
              <a:gd name="T17" fmla="*/ 58 h 88"/>
              <a:gd name="T18" fmla="*/ 60 w 98"/>
              <a:gd name="T19" fmla="*/ 64 h 88"/>
              <a:gd name="T20" fmla="*/ 64 w 98"/>
              <a:gd name="T21" fmla="*/ 72 h 88"/>
              <a:gd name="T22" fmla="*/ 70 w 98"/>
              <a:gd name="T23" fmla="*/ 72 h 88"/>
              <a:gd name="T24" fmla="*/ 72 w 98"/>
              <a:gd name="T25" fmla="*/ 66 h 88"/>
              <a:gd name="T26" fmla="*/ 76 w 98"/>
              <a:gd name="T27" fmla="*/ 76 h 88"/>
              <a:gd name="T28" fmla="*/ 72 w 98"/>
              <a:gd name="T29" fmla="*/ 86 h 88"/>
              <a:gd name="T30" fmla="*/ 82 w 98"/>
              <a:gd name="T31" fmla="*/ 80 h 88"/>
              <a:gd name="T32" fmla="*/ 86 w 98"/>
              <a:gd name="T33" fmla="*/ 80 h 88"/>
              <a:gd name="T34" fmla="*/ 90 w 98"/>
              <a:gd name="T35" fmla="*/ 78 h 88"/>
              <a:gd name="T36" fmla="*/ 90 w 98"/>
              <a:gd name="T37" fmla="*/ 72 h 88"/>
              <a:gd name="T38" fmla="*/ 98 w 98"/>
              <a:gd name="T39" fmla="*/ 68 h 88"/>
              <a:gd name="T40" fmla="*/ 98 w 98"/>
              <a:gd name="T41" fmla="*/ 64 h 88"/>
              <a:gd name="T42" fmla="*/ 94 w 98"/>
              <a:gd name="T43" fmla="*/ 58 h 88"/>
              <a:gd name="T44" fmla="*/ 98 w 98"/>
              <a:gd name="T45" fmla="*/ 52 h 88"/>
              <a:gd name="T46" fmla="*/ 94 w 98"/>
              <a:gd name="T47" fmla="*/ 50 h 88"/>
              <a:gd name="T48" fmla="*/ 88 w 98"/>
              <a:gd name="T49" fmla="*/ 44 h 88"/>
              <a:gd name="T50" fmla="*/ 82 w 98"/>
              <a:gd name="T51" fmla="*/ 42 h 88"/>
              <a:gd name="T52" fmla="*/ 80 w 98"/>
              <a:gd name="T53" fmla="*/ 38 h 88"/>
              <a:gd name="T54" fmla="*/ 76 w 98"/>
              <a:gd name="T55" fmla="*/ 40 h 88"/>
              <a:gd name="T56" fmla="*/ 84 w 98"/>
              <a:gd name="T57" fmla="*/ 32 h 88"/>
              <a:gd name="T58" fmla="*/ 78 w 98"/>
              <a:gd name="T59" fmla="*/ 32 h 88"/>
              <a:gd name="T60" fmla="*/ 76 w 98"/>
              <a:gd name="T61" fmla="*/ 26 h 88"/>
              <a:gd name="T62" fmla="*/ 74 w 98"/>
              <a:gd name="T63" fmla="*/ 22 h 88"/>
              <a:gd name="T64" fmla="*/ 76 w 98"/>
              <a:gd name="T65" fmla="*/ 14 h 88"/>
              <a:gd name="T66" fmla="*/ 74 w 98"/>
              <a:gd name="T67" fmla="*/ 8 h 88"/>
              <a:gd name="T68" fmla="*/ 68 w 98"/>
              <a:gd name="T69" fmla="*/ 6 h 88"/>
              <a:gd name="T70" fmla="*/ 62 w 98"/>
              <a:gd name="T71" fmla="*/ 4 h 88"/>
              <a:gd name="T72" fmla="*/ 58 w 98"/>
              <a:gd name="T73" fmla="*/ 8 h 88"/>
              <a:gd name="T74" fmla="*/ 52 w 98"/>
              <a:gd name="T75" fmla="*/ 6 h 88"/>
              <a:gd name="T76" fmla="*/ 48 w 98"/>
              <a:gd name="T77" fmla="*/ 8 h 88"/>
              <a:gd name="T78" fmla="*/ 44 w 98"/>
              <a:gd name="T79" fmla="*/ 2 h 88"/>
              <a:gd name="T80" fmla="*/ 32 w 98"/>
              <a:gd name="T81" fmla="*/ 4 h 88"/>
              <a:gd name="T82" fmla="*/ 24 w 98"/>
              <a:gd name="T83" fmla="*/ 2 h 88"/>
              <a:gd name="T84" fmla="*/ 14 w 98"/>
              <a:gd name="T85" fmla="*/ 0 h 88"/>
              <a:gd name="T86" fmla="*/ 14 w 98"/>
              <a:gd name="T87" fmla="*/ 8 h 88"/>
              <a:gd name="T88" fmla="*/ 10 w 98"/>
              <a:gd name="T89" fmla="*/ 10 h 88"/>
              <a:gd name="T90" fmla="*/ 12 w 98"/>
              <a:gd name="T91" fmla="*/ 14 h 88"/>
              <a:gd name="T92" fmla="*/ 12 w 98"/>
              <a:gd name="T93" fmla="*/ 20 h 88"/>
              <a:gd name="T94" fmla="*/ 6 w 98"/>
              <a:gd name="T95" fmla="*/ 24 h 88"/>
              <a:gd name="T96" fmla="*/ 0 w 98"/>
              <a:gd name="T97" fmla="*/ 24 h 88"/>
              <a:gd name="T98" fmla="*/ 0 w 98"/>
              <a:gd name="T99" fmla="*/ 30 h 88"/>
              <a:gd name="T100" fmla="*/ 4 w 98"/>
              <a:gd name="T101" fmla="*/ 34 h 88"/>
              <a:gd name="T102" fmla="*/ 4 w 98"/>
              <a:gd name="T103" fmla="*/ 38 h 88"/>
              <a:gd name="T104" fmla="*/ 6 w 98"/>
              <a:gd name="T105" fmla="*/ 42 h 88"/>
              <a:gd name="T106" fmla="*/ 12 w 98"/>
              <a:gd name="T107" fmla="*/ 44 h 88"/>
              <a:gd name="T108" fmla="*/ 14 w 98"/>
              <a:gd name="T109" fmla="*/ 5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 h="88">
                <a:moveTo>
                  <a:pt x="20" y="60"/>
                </a:moveTo>
                <a:lnTo>
                  <a:pt x="20" y="60"/>
                </a:lnTo>
                <a:lnTo>
                  <a:pt x="22" y="62"/>
                </a:lnTo>
                <a:lnTo>
                  <a:pt x="22" y="62"/>
                </a:lnTo>
                <a:lnTo>
                  <a:pt x="24" y="60"/>
                </a:lnTo>
                <a:lnTo>
                  <a:pt x="24" y="58"/>
                </a:lnTo>
                <a:lnTo>
                  <a:pt x="26" y="56"/>
                </a:lnTo>
                <a:lnTo>
                  <a:pt x="26" y="56"/>
                </a:lnTo>
                <a:lnTo>
                  <a:pt x="28" y="54"/>
                </a:lnTo>
                <a:lnTo>
                  <a:pt x="30" y="52"/>
                </a:lnTo>
                <a:lnTo>
                  <a:pt x="30" y="46"/>
                </a:lnTo>
                <a:lnTo>
                  <a:pt x="30" y="46"/>
                </a:lnTo>
                <a:lnTo>
                  <a:pt x="32" y="42"/>
                </a:lnTo>
                <a:lnTo>
                  <a:pt x="34" y="42"/>
                </a:lnTo>
                <a:lnTo>
                  <a:pt x="40" y="44"/>
                </a:lnTo>
                <a:lnTo>
                  <a:pt x="40" y="44"/>
                </a:lnTo>
                <a:lnTo>
                  <a:pt x="44" y="44"/>
                </a:lnTo>
                <a:lnTo>
                  <a:pt x="46" y="44"/>
                </a:lnTo>
                <a:lnTo>
                  <a:pt x="48" y="44"/>
                </a:lnTo>
                <a:lnTo>
                  <a:pt x="48" y="44"/>
                </a:lnTo>
                <a:lnTo>
                  <a:pt x="52" y="46"/>
                </a:lnTo>
                <a:lnTo>
                  <a:pt x="52" y="52"/>
                </a:lnTo>
                <a:lnTo>
                  <a:pt x="52" y="52"/>
                </a:lnTo>
                <a:lnTo>
                  <a:pt x="52" y="54"/>
                </a:lnTo>
                <a:lnTo>
                  <a:pt x="54" y="54"/>
                </a:lnTo>
                <a:lnTo>
                  <a:pt x="56" y="56"/>
                </a:lnTo>
                <a:lnTo>
                  <a:pt x="56" y="58"/>
                </a:lnTo>
                <a:lnTo>
                  <a:pt x="56" y="58"/>
                </a:lnTo>
                <a:lnTo>
                  <a:pt x="60" y="64"/>
                </a:lnTo>
                <a:lnTo>
                  <a:pt x="60" y="64"/>
                </a:lnTo>
                <a:lnTo>
                  <a:pt x="58" y="68"/>
                </a:lnTo>
                <a:lnTo>
                  <a:pt x="58" y="72"/>
                </a:lnTo>
                <a:lnTo>
                  <a:pt x="64" y="72"/>
                </a:lnTo>
                <a:lnTo>
                  <a:pt x="64" y="72"/>
                </a:lnTo>
                <a:lnTo>
                  <a:pt x="66" y="72"/>
                </a:lnTo>
                <a:lnTo>
                  <a:pt x="70" y="72"/>
                </a:lnTo>
                <a:lnTo>
                  <a:pt x="70" y="72"/>
                </a:lnTo>
                <a:lnTo>
                  <a:pt x="72" y="68"/>
                </a:lnTo>
                <a:lnTo>
                  <a:pt x="72" y="66"/>
                </a:lnTo>
                <a:lnTo>
                  <a:pt x="72" y="66"/>
                </a:lnTo>
                <a:lnTo>
                  <a:pt x="76" y="76"/>
                </a:lnTo>
                <a:lnTo>
                  <a:pt x="76" y="76"/>
                </a:lnTo>
                <a:lnTo>
                  <a:pt x="76" y="78"/>
                </a:lnTo>
                <a:lnTo>
                  <a:pt x="74" y="82"/>
                </a:lnTo>
                <a:lnTo>
                  <a:pt x="72" y="86"/>
                </a:lnTo>
                <a:lnTo>
                  <a:pt x="76" y="88"/>
                </a:lnTo>
                <a:lnTo>
                  <a:pt x="76" y="88"/>
                </a:lnTo>
                <a:lnTo>
                  <a:pt x="82" y="80"/>
                </a:lnTo>
                <a:lnTo>
                  <a:pt x="82" y="80"/>
                </a:lnTo>
                <a:lnTo>
                  <a:pt x="84" y="78"/>
                </a:lnTo>
                <a:lnTo>
                  <a:pt x="86" y="80"/>
                </a:lnTo>
                <a:lnTo>
                  <a:pt x="86" y="82"/>
                </a:lnTo>
                <a:lnTo>
                  <a:pt x="90" y="78"/>
                </a:lnTo>
                <a:lnTo>
                  <a:pt x="90" y="78"/>
                </a:lnTo>
                <a:lnTo>
                  <a:pt x="90" y="74"/>
                </a:lnTo>
                <a:lnTo>
                  <a:pt x="90" y="74"/>
                </a:lnTo>
                <a:lnTo>
                  <a:pt x="90" y="72"/>
                </a:lnTo>
                <a:lnTo>
                  <a:pt x="92" y="72"/>
                </a:lnTo>
                <a:lnTo>
                  <a:pt x="96" y="70"/>
                </a:lnTo>
                <a:lnTo>
                  <a:pt x="98" y="68"/>
                </a:lnTo>
                <a:lnTo>
                  <a:pt x="98" y="68"/>
                </a:lnTo>
                <a:lnTo>
                  <a:pt x="98" y="66"/>
                </a:lnTo>
                <a:lnTo>
                  <a:pt x="98" y="64"/>
                </a:lnTo>
                <a:lnTo>
                  <a:pt x="94" y="60"/>
                </a:lnTo>
                <a:lnTo>
                  <a:pt x="94" y="60"/>
                </a:lnTo>
                <a:lnTo>
                  <a:pt x="94" y="58"/>
                </a:lnTo>
                <a:lnTo>
                  <a:pt x="96" y="56"/>
                </a:lnTo>
                <a:lnTo>
                  <a:pt x="98" y="52"/>
                </a:lnTo>
                <a:lnTo>
                  <a:pt x="98" y="52"/>
                </a:lnTo>
                <a:lnTo>
                  <a:pt x="98" y="52"/>
                </a:lnTo>
                <a:lnTo>
                  <a:pt x="94" y="50"/>
                </a:lnTo>
                <a:lnTo>
                  <a:pt x="94" y="50"/>
                </a:lnTo>
                <a:lnTo>
                  <a:pt x="90" y="48"/>
                </a:lnTo>
                <a:lnTo>
                  <a:pt x="88" y="44"/>
                </a:lnTo>
                <a:lnTo>
                  <a:pt x="88" y="44"/>
                </a:lnTo>
                <a:lnTo>
                  <a:pt x="86" y="42"/>
                </a:lnTo>
                <a:lnTo>
                  <a:pt x="84" y="42"/>
                </a:lnTo>
                <a:lnTo>
                  <a:pt x="82" y="42"/>
                </a:lnTo>
                <a:lnTo>
                  <a:pt x="80" y="40"/>
                </a:lnTo>
                <a:lnTo>
                  <a:pt x="80" y="40"/>
                </a:lnTo>
                <a:lnTo>
                  <a:pt x="80" y="38"/>
                </a:lnTo>
                <a:lnTo>
                  <a:pt x="78" y="38"/>
                </a:lnTo>
                <a:lnTo>
                  <a:pt x="76" y="40"/>
                </a:lnTo>
                <a:lnTo>
                  <a:pt x="76" y="40"/>
                </a:lnTo>
                <a:lnTo>
                  <a:pt x="74" y="38"/>
                </a:lnTo>
                <a:lnTo>
                  <a:pt x="72" y="38"/>
                </a:lnTo>
                <a:lnTo>
                  <a:pt x="84" y="32"/>
                </a:lnTo>
                <a:lnTo>
                  <a:pt x="84" y="32"/>
                </a:lnTo>
                <a:lnTo>
                  <a:pt x="80" y="32"/>
                </a:lnTo>
                <a:lnTo>
                  <a:pt x="78" y="32"/>
                </a:lnTo>
                <a:lnTo>
                  <a:pt x="78" y="30"/>
                </a:lnTo>
                <a:lnTo>
                  <a:pt x="78" y="30"/>
                </a:lnTo>
                <a:lnTo>
                  <a:pt x="76" y="26"/>
                </a:lnTo>
                <a:lnTo>
                  <a:pt x="74" y="24"/>
                </a:lnTo>
                <a:lnTo>
                  <a:pt x="74" y="24"/>
                </a:lnTo>
                <a:lnTo>
                  <a:pt x="74" y="22"/>
                </a:lnTo>
                <a:lnTo>
                  <a:pt x="74" y="20"/>
                </a:lnTo>
                <a:lnTo>
                  <a:pt x="76" y="18"/>
                </a:lnTo>
                <a:lnTo>
                  <a:pt x="76" y="14"/>
                </a:lnTo>
                <a:lnTo>
                  <a:pt x="76" y="14"/>
                </a:lnTo>
                <a:lnTo>
                  <a:pt x="74" y="8"/>
                </a:lnTo>
                <a:lnTo>
                  <a:pt x="74" y="8"/>
                </a:lnTo>
                <a:lnTo>
                  <a:pt x="74" y="6"/>
                </a:lnTo>
                <a:lnTo>
                  <a:pt x="68" y="6"/>
                </a:lnTo>
                <a:lnTo>
                  <a:pt x="68" y="6"/>
                </a:lnTo>
                <a:lnTo>
                  <a:pt x="66" y="6"/>
                </a:lnTo>
                <a:lnTo>
                  <a:pt x="64" y="6"/>
                </a:lnTo>
                <a:lnTo>
                  <a:pt x="62" y="4"/>
                </a:lnTo>
                <a:lnTo>
                  <a:pt x="62" y="4"/>
                </a:lnTo>
                <a:lnTo>
                  <a:pt x="60" y="6"/>
                </a:lnTo>
                <a:lnTo>
                  <a:pt x="58" y="8"/>
                </a:lnTo>
                <a:lnTo>
                  <a:pt x="58" y="8"/>
                </a:lnTo>
                <a:lnTo>
                  <a:pt x="56" y="8"/>
                </a:lnTo>
                <a:lnTo>
                  <a:pt x="52" y="6"/>
                </a:lnTo>
                <a:lnTo>
                  <a:pt x="52" y="6"/>
                </a:lnTo>
                <a:lnTo>
                  <a:pt x="48" y="6"/>
                </a:lnTo>
                <a:lnTo>
                  <a:pt x="48" y="8"/>
                </a:lnTo>
                <a:lnTo>
                  <a:pt x="44" y="8"/>
                </a:lnTo>
                <a:lnTo>
                  <a:pt x="44" y="2"/>
                </a:lnTo>
                <a:lnTo>
                  <a:pt x="44" y="2"/>
                </a:lnTo>
                <a:lnTo>
                  <a:pt x="38" y="4"/>
                </a:lnTo>
                <a:lnTo>
                  <a:pt x="34" y="4"/>
                </a:lnTo>
                <a:lnTo>
                  <a:pt x="32" y="4"/>
                </a:lnTo>
                <a:lnTo>
                  <a:pt x="32" y="4"/>
                </a:lnTo>
                <a:lnTo>
                  <a:pt x="28" y="2"/>
                </a:lnTo>
                <a:lnTo>
                  <a:pt x="24" y="2"/>
                </a:lnTo>
                <a:lnTo>
                  <a:pt x="24" y="2"/>
                </a:lnTo>
                <a:lnTo>
                  <a:pt x="18" y="2"/>
                </a:lnTo>
                <a:lnTo>
                  <a:pt x="14" y="0"/>
                </a:lnTo>
                <a:lnTo>
                  <a:pt x="14" y="0"/>
                </a:lnTo>
                <a:lnTo>
                  <a:pt x="14" y="4"/>
                </a:lnTo>
                <a:lnTo>
                  <a:pt x="14" y="8"/>
                </a:lnTo>
                <a:lnTo>
                  <a:pt x="14" y="8"/>
                </a:lnTo>
                <a:lnTo>
                  <a:pt x="14" y="8"/>
                </a:lnTo>
                <a:lnTo>
                  <a:pt x="10" y="10"/>
                </a:lnTo>
                <a:lnTo>
                  <a:pt x="10" y="12"/>
                </a:lnTo>
                <a:lnTo>
                  <a:pt x="12" y="14"/>
                </a:lnTo>
                <a:lnTo>
                  <a:pt x="12" y="14"/>
                </a:lnTo>
                <a:lnTo>
                  <a:pt x="12" y="14"/>
                </a:lnTo>
                <a:lnTo>
                  <a:pt x="12" y="18"/>
                </a:lnTo>
                <a:lnTo>
                  <a:pt x="12" y="20"/>
                </a:lnTo>
                <a:lnTo>
                  <a:pt x="12" y="20"/>
                </a:lnTo>
                <a:lnTo>
                  <a:pt x="10" y="22"/>
                </a:lnTo>
                <a:lnTo>
                  <a:pt x="6" y="24"/>
                </a:lnTo>
                <a:lnTo>
                  <a:pt x="6" y="24"/>
                </a:lnTo>
                <a:lnTo>
                  <a:pt x="0" y="24"/>
                </a:lnTo>
                <a:lnTo>
                  <a:pt x="0" y="24"/>
                </a:lnTo>
                <a:lnTo>
                  <a:pt x="0" y="28"/>
                </a:lnTo>
                <a:lnTo>
                  <a:pt x="0" y="28"/>
                </a:lnTo>
                <a:lnTo>
                  <a:pt x="0" y="30"/>
                </a:lnTo>
                <a:lnTo>
                  <a:pt x="0" y="30"/>
                </a:lnTo>
                <a:lnTo>
                  <a:pt x="4" y="34"/>
                </a:lnTo>
                <a:lnTo>
                  <a:pt x="4" y="34"/>
                </a:lnTo>
                <a:lnTo>
                  <a:pt x="4" y="36"/>
                </a:lnTo>
                <a:lnTo>
                  <a:pt x="4" y="38"/>
                </a:lnTo>
                <a:lnTo>
                  <a:pt x="4" y="38"/>
                </a:lnTo>
                <a:lnTo>
                  <a:pt x="6" y="40"/>
                </a:lnTo>
                <a:lnTo>
                  <a:pt x="6" y="42"/>
                </a:lnTo>
                <a:lnTo>
                  <a:pt x="6" y="42"/>
                </a:lnTo>
                <a:lnTo>
                  <a:pt x="10" y="44"/>
                </a:lnTo>
                <a:lnTo>
                  <a:pt x="12" y="44"/>
                </a:lnTo>
                <a:lnTo>
                  <a:pt x="12" y="44"/>
                </a:lnTo>
                <a:lnTo>
                  <a:pt x="12" y="52"/>
                </a:lnTo>
                <a:lnTo>
                  <a:pt x="12" y="56"/>
                </a:lnTo>
                <a:lnTo>
                  <a:pt x="14" y="58"/>
                </a:lnTo>
                <a:lnTo>
                  <a:pt x="20" y="60"/>
                </a:lnTo>
                <a:lnTo>
                  <a:pt x="20"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6" name="Freeform 180">
            <a:extLst>
              <a:ext uri="{FF2B5EF4-FFF2-40B4-BE49-F238E27FC236}">
                <a16:creationId xmlns:a16="http://schemas.microsoft.com/office/drawing/2014/main" id="{68F329E4-8A97-4559-84F6-94C4B959B772}"/>
              </a:ext>
            </a:extLst>
          </p:cNvPr>
          <p:cNvSpPr>
            <a:spLocks/>
          </p:cNvSpPr>
          <p:nvPr userDrawn="1"/>
        </p:nvSpPr>
        <p:spPr bwMode="auto">
          <a:xfrm>
            <a:off x="3776291" y="3165852"/>
            <a:ext cx="93914" cy="120119"/>
          </a:xfrm>
          <a:custGeom>
            <a:avLst/>
            <a:gdLst>
              <a:gd name="T0" fmla="*/ 30 w 56"/>
              <a:gd name="T1" fmla="*/ 70 h 70"/>
              <a:gd name="T2" fmla="*/ 32 w 56"/>
              <a:gd name="T3" fmla="*/ 68 h 70"/>
              <a:gd name="T4" fmla="*/ 36 w 56"/>
              <a:gd name="T5" fmla="*/ 66 h 70"/>
              <a:gd name="T6" fmla="*/ 36 w 56"/>
              <a:gd name="T7" fmla="*/ 62 h 70"/>
              <a:gd name="T8" fmla="*/ 42 w 56"/>
              <a:gd name="T9" fmla="*/ 58 h 70"/>
              <a:gd name="T10" fmla="*/ 44 w 56"/>
              <a:gd name="T11" fmla="*/ 56 h 70"/>
              <a:gd name="T12" fmla="*/ 46 w 56"/>
              <a:gd name="T13" fmla="*/ 50 h 70"/>
              <a:gd name="T14" fmla="*/ 52 w 56"/>
              <a:gd name="T15" fmla="*/ 44 h 70"/>
              <a:gd name="T16" fmla="*/ 54 w 56"/>
              <a:gd name="T17" fmla="*/ 44 h 70"/>
              <a:gd name="T18" fmla="*/ 56 w 56"/>
              <a:gd name="T19" fmla="*/ 40 h 70"/>
              <a:gd name="T20" fmla="*/ 48 w 56"/>
              <a:gd name="T21" fmla="*/ 40 h 70"/>
              <a:gd name="T22" fmla="*/ 44 w 56"/>
              <a:gd name="T23" fmla="*/ 38 h 70"/>
              <a:gd name="T24" fmla="*/ 22 w 56"/>
              <a:gd name="T25" fmla="*/ 0 h 70"/>
              <a:gd name="T26" fmla="*/ 16 w 56"/>
              <a:gd name="T27" fmla="*/ 8 h 70"/>
              <a:gd name="T28" fmla="*/ 16 w 56"/>
              <a:gd name="T29" fmla="*/ 12 h 70"/>
              <a:gd name="T30" fmla="*/ 22 w 56"/>
              <a:gd name="T31" fmla="*/ 20 h 70"/>
              <a:gd name="T32" fmla="*/ 24 w 56"/>
              <a:gd name="T33" fmla="*/ 24 h 70"/>
              <a:gd name="T34" fmla="*/ 26 w 56"/>
              <a:gd name="T35" fmla="*/ 30 h 70"/>
              <a:gd name="T36" fmla="*/ 10 w 56"/>
              <a:gd name="T37" fmla="*/ 28 h 70"/>
              <a:gd name="T38" fmla="*/ 2 w 56"/>
              <a:gd name="T39" fmla="*/ 38 h 70"/>
              <a:gd name="T40" fmla="*/ 2 w 56"/>
              <a:gd name="T41" fmla="*/ 42 h 70"/>
              <a:gd name="T42" fmla="*/ 2 w 56"/>
              <a:gd name="T43" fmla="*/ 46 h 70"/>
              <a:gd name="T44" fmla="*/ 0 w 56"/>
              <a:gd name="T45" fmla="*/ 50 h 70"/>
              <a:gd name="T46" fmla="*/ 2 w 56"/>
              <a:gd name="T47" fmla="*/ 50 h 70"/>
              <a:gd name="T48" fmla="*/ 6 w 56"/>
              <a:gd name="T49" fmla="*/ 52 h 70"/>
              <a:gd name="T50" fmla="*/ 12 w 56"/>
              <a:gd name="T51" fmla="*/ 60 h 70"/>
              <a:gd name="T52" fmla="*/ 18 w 56"/>
              <a:gd name="T53" fmla="*/ 62 h 70"/>
              <a:gd name="T54" fmla="*/ 18 w 56"/>
              <a:gd name="T55" fmla="*/ 64 h 70"/>
              <a:gd name="T56" fmla="*/ 20 w 56"/>
              <a:gd name="T57" fmla="*/ 68 h 70"/>
              <a:gd name="T58" fmla="*/ 20 w 56"/>
              <a:gd name="T59" fmla="*/ 68 h 70"/>
              <a:gd name="T60" fmla="*/ 26 w 56"/>
              <a:gd name="T61" fmla="*/ 68 h 70"/>
              <a:gd name="T62" fmla="*/ 30 w 56"/>
              <a:gd name="T6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0">
                <a:moveTo>
                  <a:pt x="30" y="70"/>
                </a:moveTo>
                <a:lnTo>
                  <a:pt x="30" y="70"/>
                </a:lnTo>
                <a:lnTo>
                  <a:pt x="30" y="68"/>
                </a:lnTo>
                <a:lnTo>
                  <a:pt x="32" y="68"/>
                </a:lnTo>
                <a:lnTo>
                  <a:pt x="36" y="68"/>
                </a:lnTo>
                <a:lnTo>
                  <a:pt x="36" y="66"/>
                </a:lnTo>
                <a:lnTo>
                  <a:pt x="36" y="66"/>
                </a:lnTo>
                <a:lnTo>
                  <a:pt x="36" y="62"/>
                </a:lnTo>
                <a:lnTo>
                  <a:pt x="40" y="60"/>
                </a:lnTo>
                <a:lnTo>
                  <a:pt x="42" y="58"/>
                </a:lnTo>
                <a:lnTo>
                  <a:pt x="42" y="58"/>
                </a:lnTo>
                <a:lnTo>
                  <a:pt x="44" y="56"/>
                </a:lnTo>
                <a:lnTo>
                  <a:pt x="46" y="50"/>
                </a:lnTo>
                <a:lnTo>
                  <a:pt x="46" y="50"/>
                </a:lnTo>
                <a:lnTo>
                  <a:pt x="46" y="46"/>
                </a:lnTo>
                <a:lnTo>
                  <a:pt x="52" y="44"/>
                </a:lnTo>
                <a:lnTo>
                  <a:pt x="52" y="44"/>
                </a:lnTo>
                <a:lnTo>
                  <a:pt x="54" y="44"/>
                </a:lnTo>
                <a:lnTo>
                  <a:pt x="54" y="42"/>
                </a:lnTo>
                <a:lnTo>
                  <a:pt x="56" y="40"/>
                </a:lnTo>
                <a:lnTo>
                  <a:pt x="56" y="40"/>
                </a:lnTo>
                <a:lnTo>
                  <a:pt x="48" y="40"/>
                </a:lnTo>
                <a:lnTo>
                  <a:pt x="48" y="38"/>
                </a:lnTo>
                <a:lnTo>
                  <a:pt x="44" y="38"/>
                </a:lnTo>
                <a:lnTo>
                  <a:pt x="44" y="0"/>
                </a:lnTo>
                <a:lnTo>
                  <a:pt x="22" y="0"/>
                </a:lnTo>
                <a:lnTo>
                  <a:pt x="20" y="8"/>
                </a:lnTo>
                <a:lnTo>
                  <a:pt x="16" y="8"/>
                </a:lnTo>
                <a:lnTo>
                  <a:pt x="16" y="12"/>
                </a:lnTo>
                <a:lnTo>
                  <a:pt x="16" y="12"/>
                </a:lnTo>
                <a:lnTo>
                  <a:pt x="18" y="16"/>
                </a:lnTo>
                <a:lnTo>
                  <a:pt x="22" y="20"/>
                </a:lnTo>
                <a:lnTo>
                  <a:pt x="22" y="20"/>
                </a:lnTo>
                <a:lnTo>
                  <a:pt x="24" y="24"/>
                </a:lnTo>
                <a:lnTo>
                  <a:pt x="26" y="26"/>
                </a:lnTo>
                <a:lnTo>
                  <a:pt x="26" y="30"/>
                </a:lnTo>
                <a:lnTo>
                  <a:pt x="10" y="28"/>
                </a:lnTo>
                <a:lnTo>
                  <a:pt x="10" y="28"/>
                </a:lnTo>
                <a:lnTo>
                  <a:pt x="4" y="34"/>
                </a:lnTo>
                <a:lnTo>
                  <a:pt x="2" y="38"/>
                </a:lnTo>
                <a:lnTo>
                  <a:pt x="2" y="42"/>
                </a:lnTo>
                <a:lnTo>
                  <a:pt x="2" y="42"/>
                </a:lnTo>
                <a:lnTo>
                  <a:pt x="2" y="44"/>
                </a:lnTo>
                <a:lnTo>
                  <a:pt x="2" y="46"/>
                </a:lnTo>
                <a:lnTo>
                  <a:pt x="0" y="50"/>
                </a:lnTo>
                <a:lnTo>
                  <a:pt x="0" y="50"/>
                </a:lnTo>
                <a:lnTo>
                  <a:pt x="2" y="50"/>
                </a:lnTo>
                <a:lnTo>
                  <a:pt x="2" y="50"/>
                </a:lnTo>
                <a:lnTo>
                  <a:pt x="6" y="52"/>
                </a:lnTo>
                <a:lnTo>
                  <a:pt x="6" y="52"/>
                </a:lnTo>
                <a:lnTo>
                  <a:pt x="8" y="56"/>
                </a:lnTo>
                <a:lnTo>
                  <a:pt x="12" y="60"/>
                </a:lnTo>
                <a:lnTo>
                  <a:pt x="12" y="60"/>
                </a:lnTo>
                <a:lnTo>
                  <a:pt x="18" y="62"/>
                </a:lnTo>
                <a:lnTo>
                  <a:pt x="18" y="62"/>
                </a:lnTo>
                <a:lnTo>
                  <a:pt x="18" y="64"/>
                </a:lnTo>
                <a:lnTo>
                  <a:pt x="20" y="68"/>
                </a:lnTo>
                <a:lnTo>
                  <a:pt x="20" y="68"/>
                </a:lnTo>
                <a:lnTo>
                  <a:pt x="20" y="68"/>
                </a:lnTo>
                <a:lnTo>
                  <a:pt x="20" y="68"/>
                </a:lnTo>
                <a:lnTo>
                  <a:pt x="24" y="68"/>
                </a:lnTo>
                <a:lnTo>
                  <a:pt x="26" y="68"/>
                </a:lnTo>
                <a:lnTo>
                  <a:pt x="28" y="70"/>
                </a:lnTo>
                <a:lnTo>
                  <a:pt x="30" y="7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7" name="Freeform 181">
            <a:extLst>
              <a:ext uri="{FF2B5EF4-FFF2-40B4-BE49-F238E27FC236}">
                <a16:creationId xmlns:a16="http://schemas.microsoft.com/office/drawing/2014/main" id="{17AC6989-3EC2-4ED6-809C-BA5FDA98E6BB}"/>
              </a:ext>
            </a:extLst>
          </p:cNvPr>
          <p:cNvSpPr>
            <a:spLocks noEditPoints="1"/>
          </p:cNvSpPr>
          <p:nvPr userDrawn="1"/>
        </p:nvSpPr>
        <p:spPr bwMode="auto">
          <a:xfrm>
            <a:off x="6306938" y="2452001"/>
            <a:ext cx="164349" cy="219647"/>
          </a:xfrm>
          <a:custGeom>
            <a:avLst/>
            <a:gdLst>
              <a:gd name="T0" fmla="*/ 8 w 98"/>
              <a:gd name="T1" fmla="*/ 46 h 128"/>
              <a:gd name="T2" fmla="*/ 12 w 98"/>
              <a:gd name="T3" fmla="*/ 52 h 128"/>
              <a:gd name="T4" fmla="*/ 14 w 98"/>
              <a:gd name="T5" fmla="*/ 60 h 128"/>
              <a:gd name="T6" fmla="*/ 38 w 98"/>
              <a:gd name="T7" fmla="*/ 70 h 128"/>
              <a:gd name="T8" fmla="*/ 32 w 98"/>
              <a:gd name="T9" fmla="*/ 70 h 128"/>
              <a:gd name="T10" fmla="*/ 16 w 98"/>
              <a:gd name="T11" fmla="*/ 72 h 128"/>
              <a:gd name="T12" fmla="*/ 22 w 98"/>
              <a:gd name="T13" fmla="*/ 88 h 128"/>
              <a:gd name="T14" fmla="*/ 24 w 98"/>
              <a:gd name="T15" fmla="*/ 86 h 128"/>
              <a:gd name="T16" fmla="*/ 34 w 98"/>
              <a:gd name="T17" fmla="*/ 88 h 128"/>
              <a:gd name="T18" fmla="*/ 36 w 98"/>
              <a:gd name="T19" fmla="*/ 82 h 128"/>
              <a:gd name="T20" fmla="*/ 48 w 98"/>
              <a:gd name="T21" fmla="*/ 80 h 128"/>
              <a:gd name="T22" fmla="*/ 48 w 98"/>
              <a:gd name="T23" fmla="*/ 74 h 128"/>
              <a:gd name="T24" fmla="*/ 54 w 98"/>
              <a:gd name="T25" fmla="*/ 68 h 128"/>
              <a:gd name="T26" fmla="*/ 44 w 98"/>
              <a:gd name="T27" fmla="*/ 58 h 128"/>
              <a:gd name="T28" fmla="*/ 46 w 98"/>
              <a:gd name="T29" fmla="*/ 60 h 128"/>
              <a:gd name="T30" fmla="*/ 58 w 98"/>
              <a:gd name="T31" fmla="*/ 66 h 128"/>
              <a:gd name="T32" fmla="*/ 64 w 98"/>
              <a:gd name="T33" fmla="*/ 72 h 128"/>
              <a:gd name="T34" fmla="*/ 58 w 98"/>
              <a:gd name="T35" fmla="*/ 60 h 128"/>
              <a:gd name="T36" fmla="*/ 46 w 98"/>
              <a:gd name="T37" fmla="*/ 52 h 128"/>
              <a:gd name="T38" fmla="*/ 42 w 98"/>
              <a:gd name="T39" fmla="*/ 52 h 128"/>
              <a:gd name="T40" fmla="*/ 42 w 98"/>
              <a:gd name="T41" fmla="*/ 48 h 128"/>
              <a:gd name="T42" fmla="*/ 40 w 98"/>
              <a:gd name="T43" fmla="*/ 36 h 128"/>
              <a:gd name="T44" fmla="*/ 34 w 98"/>
              <a:gd name="T45" fmla="*/ 30 h 128"/>
              <a:gd name="T46" fmla="*/ 46 w 98"/>
              <a:gd name="T47" fmla="*/ 32 h 128"/>
              <a:gd name="T48" fmla="*/ 46 w 98"/>
              <a:gd name="T49" fmla="*/ 28 h 128"/>
              <a:gd name="T50" fmla="*/ 54 w 98"/>
              <a:gd name="T51" fmla="*/ 28 h 128"/>
              <a:gd name="T52" fmla="*/ 56 w 98"/>
              <a:gd name="T53" fmla="*/ 22 h 128"/>
              <a:gd name="T54" fmla="*/ 62 w 98"/>
              <a:gd name="T55" fmla="*/ 14 h 128"/>
              <a:gd name="T56" fmla="*/ 82 w 98"/>
              <a:gd name="T57" fmla="*/ 14 h 128"/>
              <a:gd name="T58" fmla="*/ 88 w 98"/>
              <a:gd name="T59" fmla="*/ 14 h 128"/>
              <a:gd name="T60" fmla="*/ 94 w 98"/>
              <a:gd name="T61" fmla="*/ 10 h 128"/>
              <a:gd name="T62" fmla="*/ 96 w 98"/>
              <a:gd name="T63" fmla="*/ 4 h 128"/>
              <a:gd name="T64" fmla="*/ 86 w 98"/>
              <a:gd name="T65" fmla="*/ 4 h 128"/>
              <a:gd name="T66" fmla="*/ 82 w 98"/>
              <a:gd name="T67" fmla="*/ 6 h 128"/>
              <a:gd name="T68" fmla="*/ 72 w 98"/>
              <a:gd name="T69" fmla="*/ 2 h 128"/>
              <a:gd name="T70" fmla="*/ 62 w 98"/>
              <a:gd name="T71" fmla="*/ 4 h 128"/>
              <a:gd name="T72" fmla="*/ 46 w 98"/>
              <a:gd name="T73" fmla="*/ 6 h 128"/>
              <a:gd name="T74" fmla="*/ 44 w 98"/>
              <a:gd name="T75" fmla="*/ 12 h 128"/>
              <a:gd name="T76" fmla="*/ 36 w 98"/>
              <a:gd name="T77" fmla="*/ 14 h 128"/>
              <a:gd name="T78" fmla="*/ 32 w 98"/>
              <a:gd name="T79" fmla="*/ 16 h 128"/>
              <a:gd name="T80" fmla="*/ 26 w 98"/>
              <a:gd name="T81" fmla="*/ 20 h 128"/>
              <a:gd name="T82" fmla="*/ 12 w 98"/>
              <a:gd name="T83" fmla="*/ 32 h 128"/>
              <a:gd name="T84" fmla="*/ 8 w 98"/>
              <a:gd name="T85" fmla="*/ 36 h 128"/>
              <a:gd name="T86" fmla="*/ 46 w 98"/>
              <a:gd name="T87" fmla="*/ 118 h 128"/>
              <a:gd name="T88" fmla="*/ 56 w 98"/>
              <a:gd name="T89" fmla="*/ 124 h 128"/>
              <a:gd name="T90" fmla="*/ 72 w 98"/>
              <a:gd name="T91" fmla="*/ 128 h 128"/>
              <a:gd name="T92" fmla="*/ 80 w 98"/>
              <a:gd name="T93" fmla="*/ 126 h 128"/>
              <a:gd name="T94" fmla="*/ 84 w 98"/>
              <a:gd name="T95" fmla="*/ 122 h 128"/>
              <a:gd name="T96" fmla="*/ 78 w 98"/>
              <a:gd name="T97" fmla="*/ 118 h 128"/>
              <a:gd name="T98" fmla="*/ 68 w 98"/>
              <a:gd name="T99" fmla="*/ 120 h 128"/>
              <a:gd name="T100" fmla="*/ 40 w 98"/>
              <a:gd name="T101" fmla="*/ 54 h 128"/>
              <a:gd name="T102" fmla="*/ 40 w 98"/>
              <a:gd name="T103" fmla="*/ 54 h 128"/>
              <a:gd name="T104" fmla="*/ 84 w 98"/>
              <a:gd name="T105" fmla="*/ 48 h 128"/>
              <a:gd name="T106" fmla="*/ 88 w 98"/>
              <a:gd name="T107" fmla="*/ 50 h 128"/>
              <a:gd name="T108" fmla="*/ 84 w 98"/>
              <a:gd name="T109" fmla="*/ 46 h 128"/>
              <a:gd name="T110" fmla="*/ 0 w 98"/>
              <a:gd name="T111"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128">
                <a:moveTo>
                  <a:pt x="2" y="36"/>
                </a:moveTo>
                <a:lnTo>
                  <a:pt x="2" y="36"/>
                </a:lnTo>
                <a:lnTo>
                  <a:pt x="4" y="44"/>
                </a:lnTo>
                <a:lnTo>
                  <a:pt x="4" y="44"/>
                </a:lnTo>
                <a:lnTo>
                  <a:pt x="8" y="46"/>
                </a:lnTo>
                <a:lnTo>
                  <a:pt x="8" y="46"/>
                </a:lnTo>
                <a:lnTo>
                  <a:pt x="8" y="48"/>
                </a:lnTo>
                <a:lnTo>
                  <a:pt x="8" y="48"/>
                </a:lnTo>
                <a:lnTo>
                  <a:pt x="12" y="52"/>
                </a:lnTo>
                <a:lnTo>
                  <a:pt x="12" y="52"/>
                </a:lnTo>
                <a:lnTo>
                  <a:pt x="18" y="52"/>
                </a:lnTo>
                <a:lnTo>
                  <a:pt x="18" y="52"/>
                </a:lnTo>
                <a:lnTo>
                  <a:pt x="14" y="54"/>
                </a:lnTo>
                <a:lnTo>
                  <a:pt x="14" y="54"/>
                </a:lnTo>
                <a:lnTo>
                  <a:pt x="14" y="60"/>
                </a:lnTo>
                <a:lnTo>
                  <a:pt x="16" y="64"/>
                </a:lnTo>
                <a:lnTo>
                  <a:pt x="16" y="64"/>
                </a:lnTo>
                <a:lnTo>
                  <a:pt x="22" y="64"/>
                </a:lnTo>
                <a:lnTo>
                  <a:pt x="28" y="66"/>
                </a:lnTo>
                <a:lnTo>
                  <a:pt x="38" y="70"/>
                </a:lnTo>
                <a:lnTo>
                  <a:pt x="38" y="70"/>
                </a:lnTo>
                <a:lnTo>
                  <a:pt x="38" y="72"/>
                </a:lnTo>
                <a:lnTo>
                  <a:pt x="34" y="72"/>
                </a:lnTo>
                <a:lnTo>
                  <a:pt x="34" y="72"/>
                </a:lnTo>
                <a:lnTo>
                  <a:pt x="32" y="70"/>
                </a:lnTo>
                <a:lnTo>
                  <a:pt x="30" y="68"/>
                </a:lnTo>
                <a:lnTo>
                  <a:pt x="30" y="68"/>
                </a:lnTo>
                <a:lnTo>
                  <a:pt x="24" y="66"/>
                </a:lnTo>
                <a:lnTo>
                  <a:pt x="22" y="68"/>
                </a:lnTo>
                <a:lnTo>
                  <a:pt x="16" y="72"/>
                </a:lnTo>
                <a:lnTo>
                  <a:pt x="16" y="72"/>
                </a:lnTo>
                <a:lnTo>
                  <a:pt x="20" y="78"/>
                </a:lnTo>
                <a:lnTo>
                  <a:pt x="20" y="86"/>
                </a:lnTo>
                <a:lnTo>
                  <a:pt x="20" y="86"/>
                </a:lnTo>
                <a:lnTo>
                  <a:pt x="22" y="88"/>
                </a:lnTo>
                <a:lnTo>
                  <a:pt x="22" y="88"/>
                </a:lnTo>
                <a:lnTo>
                  <a:pt x="22" y="88"/>
                </a:lnTo>
                <a:lnTo>
                  <a:pt x="24" y="88"/>
                </a:lnTo>
                <a:lnTo>
                  <a:pt x="24" y="86"/>
                </a:lnTo>
                <a:lnTo>
                  <a:pt x="24" y="86"/>
                </a:lnTo>
                <a:lnTo>
                  <a:pt x="28" y="88"/>
                </a:lnTo>
                <a:lnTo>
                  <a:pt x="28" y="88"/>
                </a:lnTo>
                <a:lnTo>
                  <a:pt x="34" y="88"/>
                </a:lnTo>
                <a:lnTo>
                  <a:pt x="34" y="88"/>
                </a:lnTo>
                <a:lnTo>
                  <a:pt x="34" y="88"/>
                </a:lnTo>
                <a:lnTo>
                  <a:pt x="38" y="88"/>
                </a:lnTo>
                <a:lnTo>
                  <a:pt x="38" y="86"/>
                </a:lnTo>
                <a:lnTo>
                  <a:pt x="38" y="86"/>
                </a:lnTo>
                <a:lnTo>
                  <a:pt x="36" y="84"/>
                </a:lnTo>
                <a:lnTo>
                  <a:pt x="36" y="82"/>
                </a:lnTo>
                <a:lnTo>
                  <a:pt x="36" y="82"/>
                </a:lnTo>
                <a:lnTo>
                  <a:pt x="42" y="82"/>
                </a:lnTo>
                <a:lnTo>
                  <a:pt x="46" y="84"/>
                </a:lnTo>
                <a:lnTo>
                  <a:pt x="46" y="84"/>
                </a:lnTo>
                <a:lnTo>
                  <a:pt x="48" y="80"/>
                </a:lnTo>
                <a:lnTo>
                  <a:pt x="42" y="76"/>
                </a:lnTo>
                <a:lnTo>
                  <a:pt x="42" y="76"/>
                </a:lnTo>
                <a:lnTo>
                  <a:pt x="42" y="74"/>
                </a:lnTo>
                <a:lnTo>
                  <a:pt x="42" y="74"/>
                </a:lnTo>
                <a:lnTo>
                  <a:pt x="48" y="74"/>
                </a:lnTo>
                <a:lnTo>
                  <a:pt x="48" y="74"/>
                </a:lnTo>
                <a:lnTo>
                  <a:pt x="54" y="78"/>
                </a:lnTo>
                <a:lnTo>
                  <a:pt x="54" y="78"/>
                </a:lnTo>
                <a:lnTo>
                  <a:pt x="54" y="68"/>
                </a:lnTo>
                <a:lnTo>
                  <a:pt x="54" y="68"/>
                </a:lnTo>
                <a:lnTo>
                  <a:pt x="48" y="66"/>
                </a:lnTo>
                <a:lnTo>
                  <a:pt x="44" y="62"/>
                </a:lnTo>
                <a:lnTo>
                  <a:pt x="44" y="62"/>
                </a:lnTo>
                <a:lnTo>
                  <a:pt x="44" y="58"/>
                </a:lnTo>
                <a:lnTo>
                  <a:pt x="44" y="58"/>
                </a:lnTo>
                <a:lnTo>
                  <a:pt x="42" y="58"/>
                </a:lnTo>
                <a:lnTo>
                  <a:pt x="44" y="56"/>
                </a:lnTo>
                <a:lnTo>
                  <a:pt x="44" y="56"/>
                </a:lnTo>
                <a:lnTo>
                  <a:pt x="46" y="60"/>
                </a:lnTo>
                <a:lnTo>
                  <a:pt x="46" y="60"/>
                </a:lnTo>
                <a:lnTo>
                  <a:pt x="50" y="64"/>
                </a:lnTo>
                <a:lnTo>
                  <a:pt x="50" y="64"/>
                </a:lnTo>
                <a:lnTo>
                  <a:pt x="52" y="66"/>
                </a:lnTo>
                <a:lnTo>
                  <a:pt x="52" y="66"/>
                </a:lnTo>
                <a:lnTo>
                  <a:pt x="58" y="66"/>
                </a:lnTo>
                <a:lnTo>
                  <a:pt x="58" y="66"/>
                </a:lnTo>
                <a:lnTo>
                  <a:pt x="62" y="68"/>
                </a:lnTo>
                <a:lnTo>
                  <a:pt x="62" y="68"/>
                </a:lnTo>
                <a:lnTo>
                  <a:pt x="64" y="72"/>
                </a:lnTo>
                <a:lnTo>
                  <a:pt x="64" y="72"/>
                </a:lnTo>
                <a:lnTo>
                  <a:pt x="64" y="72"/>
                </a:lnTo>
                <a:lnTo>
                  <a:pt x="64" y="70"/>
                </a:lnTo>
                <a:lnTo>
                  <a:pt x="64" y="68"/>
                </a:lnTo>
                <a:lnTo>
                  <a:pt x="58" y="60"/>
                </a:lnTo>
                <a:lnTo>
                  <a:pt x="58" y="60"/>
                </a:lnTo>
                <a:lnTo>
                  <a:pt x="50" y="58"/>
                </a:lnTo>
                <a:lnTo>
                  <a:pt x="50" y="58"/>
                </a:lnTo>
                <a:lnTo>
                  <a:pt x="50" y="54"/>
                </a:lnTo>
                <a:lnTo>
                  <a:pt x="50" y="54"/>
                </a:lnTo>
                <a:lnTo>
                  <a:pt x="46" y="52"/>
                </a:lnTo>
                <a:lnTo>
                  <a:pt x="40" y="54"/>
                </a:lnTo>
                <a:lnTo>
                  <a:pt x="40" y="54"/>
                </a:lnTo>
                <a:lnTo>
                  <a:pt x="42" y="52"/>
                </a:lnTo>
                <a:lnTo>
                  <a:pt x="42" y="52"/>
                </a:lnTo>
                <a:lnTo>
                  <a:pt x="42" y="52"/>
                </a:lnTo>
                <a:lnTo>
                  <a:pt x="40" y="48"/>
                </a:lnTo>
                <a:lnTo>
                  <a:pt x="38" y="44"/>
                </a:lnTo>
                <a:lnTo>
                  <a:pt x="38" y="44"/>
                </a:lnTo>
                <a:lnTo>
                  <a:pt x="42" y="48"/>
                </a:lnTo>
                <a:lnTo>
                  <a:pt x="42" y="48"/>
                </a:lnTo>
                <a:lnTo>
                  <a:pt x="46" y="48"/>
                </a:lnTo>
                <a:lnTo>
                  <a:pt x="44" y="44"/>
                </a:lnTo>
                <a:lnTo>
                  <a:pt x="40" y="40"/>
                </a:lnTo>
                <a:lnTo>
                  <a:pt x="40" y="40"/>
                </a:lnTo>
                <a:lnTo>
                  <a:pt x="40" y="36"/>
                </a:lnTo>
                <a:lnTo>
                  <a:pt x="38" y="32"/>
                </a:lnTo>
                <a:lnTo>
                  <a:pt x="38" y="32"/>
                </a:lnTo>
                <a:lnTo>
                  <a:pt x="36" y="32"/>
                </a:lnTo>
                <a:lnTo>
                  <a:pt x="34" y="30"/>
                </a:lnTo>
                <a:lnTo>
                  <a:pt x="34" y="30"/>
                </a:lnTo>
                <a:lnTo>
                  <a:pt x="36" y="24"/>
                </a:lnTo>
                <a:lnTo>
                  <a:pt x="40" y="20"/>
                </a:lnTo>
                <a:lnTo>
                  <a:pt x="40" y="20"/>
                </a:lnTo>
                <a:lnTo>
                  <a:pt x="42" y="26"/>
                </a:lnTo>
                <a:lnTo>
                  <a:pt x="46" y="32"/>
                </a:lnTo>
                <a:lnTo>
                  <a:pt x="46" y="32"/>
                </a:lnTo>
                <a:lnTo>
                  <a:pt x="50" y="32"/>
                </a:lnTo>
                <a:lnTo>
                  <a:pt x="50" y="32"/>
                </a:lnTo>
                <a:lnTo>
                  <a:pt x="46" y="28"/>
                </a:lnTo>
                <a:lnTo>
                  <a:pt x="46" y="28"/>
                </a:lnTo>
                <a:lnTo>
                  <a:pt x="48" y="28"/>
                </a:lnTo>
                <a:lnTo>
                  <a:pt x="48" y="26"/>
                </a:lnTo>
                <a:lnTo>
                  <a:pt x="48" y="26"/>
                </a:lnTo>
                <a:lnTo>
                  <a:pt x="54" y="28"/>
                </a:lnTo>
                <a:lnTo>
                  <a:pt x="54" y="28"/>
                </a:lnTo>
                <a:lnTo>
                  <a:pt x="54" y="26"/>
                </a:lnTo>
                <a:lnTo>
                  <a:pt x="54" y="24"/>
                </a:lnTo>
                <a:lnTo>
                  <a:pt x="54" y="24"/>
                </a:lnTo>
                <a:lnTo>
                  <a:pt x="58" y="24"/>
                </a:lnTo>
                <a:lnTo>
                  <a:pt x="56" y="22"/>
                </a:lnTo>
                <a:lnTo>
                  <a:pt x="56" y="22"/>
                </a:lnTo>
                <a:lnTo>
                  <a:pt x="52" y="18"/>
                </a:lnTo>
                <a:lnTo>
                  <a:pt x="52" y="16"/>
                </a:lnTo>
                <a:lnTo>
                  <a:pt x="52" y="14"/>
                </a:lnTo>
                <a:lnTo>
                  <a:pt x="62" y="14"/>
                </a:lnTo>
                <a:lnTo>
                  <a:pt x="62" y="14"/>
                </a:lnTo>
                <a:lnTo>
                  <a:pt x="68" y="16"/>
                </a:lnTo>
                <a:lnTo>
                  <a:pt x="68" y="16"/>
                </a:lnTo>
                <a:lnTo>
                  <a:pt x="82" y="14"/>
                </a:lnTo>
                <a:lnTo>
                  <a:pt x="82" y="14"/>
                </a:lnTo>
                <a:lnTo>
                  <a:pt x="82" y="16"/>
                </a:lnTo>
                <a:lnTo>
                  <a:pt x="84" y="18"/>
                </a:lnTo>
                <a:lnTo>
                  <a:pt x="84" y="18"/>
                </a:lnTo>
                <a:lnTo>
                  <a:pt x="86" y="16"/>
                </a:lnTo>
                <a:lnTo>
                  <a:pt x="88" y="14"/>
                </a:lnTo>
                <a:lnTo>
                  <a:pt x="88" y="10"/>
                </a:lnTo>
                <a:lnTo>
                  <a:pt x="88" y="10"/>
                </a:lnTo>
                <a:lnTo>
                  <a:pt x="90" y="8"/>
                </a:lnTo>
                <a:lnTo>
                  <a:pt x="90" y="10"/>
                </a:lnTo>
                <a:lnTo>
                  <a:pt x="94" y="10"/>
                </a:lnTo>
                <a:lnTo>
                  <a:pt x="96" y="10"/>
                </a:lnTo>
                <a:lnTo>
                  <a:pt x="96" y="10"/>
                </a:lnTo>
                <a:lnTo>
                  <a:pt x="98" y="8"/>
                </a:lnTo>
                <a:lnTo>
                  <a:pt x="98" y="6"/>
                </a:lnTo>
                <a:lnTo>
                  <a:pt x="96" y="4"/>
                </a:lnTo>
                <a:lnTo>
                  <a:pt x="92" y="0"/>
                </a:lnTo>
                <a:lnTo>
                  <a:pt x="92" y="0"/>
                </a:lnTo>
                <a:lnTo>
                  <a:pt x="88" y="0"/>
                </a:lnTo>
                <a:lnTo>
                  <a:pt x="86" y="2"/>
                </a:lnTo>
                <a:lnTo>
                  <a:pt x="86" y="4"/>
                </a:lnTo>
                <a:lnTo>
                  <a:pt x="86" y="4"/>
                </a:lnTo>
                <a:lnTo>
                  <a:pt x="88" y="6"/>
                </a:lnTo>
                <a:lnTo>
                  <a:pt x="86" y="6"/>
                </a:lnTo>
                <a:lnTo>
                  <a:pt x="82" y="6"/>
                </a:lnTo>
                <a:lnTo>
                  <a:pt x="82" y="6"/>
                </a:lnTo>
                <a:lnTo>
                  <a:pt x="76" y="6"/>
                </a:lnTo>
                <a:lnTo>
                  <a:pt x="76" y="6"/>
                </a:lnTo>
                <a:lnTo>
                  <a:pt x="76" y="4"/>
                </a:lnTo>
                <a:lnTo>
                  <a:pt x="74" y="2"/>
                </a:lnTo>
                <a:lnTo>
                  <a:pt x="72" y="2"/>
                </a:lnTo>
                <a:lnTo>
                  <a:pt x="72" y="2"/>
                </a:lnTo>
                <a:lnTo>
                  <a:pt x="66" y="0"/>
                </a:lnTo>
                <a:lnTo>
                  <a:pt x="64" y="2"/>
                </a:lnTo>
                <a:lnTo>
                  <a:pt x="62" y="4"/>
                </a:lnTo>
                <a:lnTo>
                  <a:pt x="62" y="4"/>
                </a:lnTo>
                <a:lnTo>
                  <a:pt x="60" y="8"/>
                </a:lnTo>
                <a:lnTo>
                  <a:pt x="56" y="8"/>
                </a:lnTo>
                <a:lnTo>
                  <a:pt x="56" y="8"/>
                </a:lnTo>
                <a:lnTo>
                  <a:pt x="50" y="6"/>
                </a:lnTo>
                <a:lnTo>
                  <a:pt x="46" y="6"/>
                </a:lnTo>
                <a:lnTo>
                  <a:pt x="46" y="6"/>
                </a:lnTo>
                <a:lnTo>
                  <a:pt x="46" y="6"/>
                </a:lnTo>
                <a:lnTo>
                  <a:pt x="44" y="10"/>
                </a:lnTo>
                <a:lnTo>
                  <a:pt x="44" y="10"/>
                </a:lnTo>
                <a:lnTo>
                  <a:pt x="44" y="12"/>
                </a:lnTo>
                <a:lnTo>
                  <a:pt x="44" y="12"/>
                </a:lnTo>
                <a:lnTo>
                  <a:pt x="42" y="12"/>
                </a:lnTo>
                <a:lnTo>
                  <a:pt x="42" y="12"/>
                </a:lnTo>
                <a:lnTo>
                  <a:pt x="38" y="12"/>
                </a:lnTo>
                <a:lnTo>
                  <a:pt x="36" y="14"/>
                </a:lnTo>
                <a:lnTo>
                  <a:pt x="34" y="14"/>
                </a:lnTo>
                <a:lnTo>
                  <a:pt x="34" y="14"/>
                </a:lnTo>
                <a:lnTo>
                  <a:pt x="34" y="16"/>
                </a:lnTo>
                <a:lnTo>
                  <a:pt x="32" y="16"/>
                </a:lnTo>
                <a:lnTo>
                  <a:pt x="32" y="16"/>
                </a:lnTo>
                <a:lnTo>
                  <a:pt x="30" y="18"/>
                </a:lnTo>
                <a:lnTo>
                  <a:pt x="30" y="18"/>
                </a:lnTo>
                <a:lnTo>
                  <a:pt x="28" y="20"/>
                </a:lnTo>
                <a:lnTo>
                  <a:pt x="26" y="20"/>
                </a:lnTo>
                <a:lnTo>
                  <a:pt x="26" y="20"/>
                </a:lnTo>
                <a:lnTo>
                  <a:pt x="14" y="20"/>
                </a:lnTo>
                <a:lnTo>
                  <a:pt x="14" y="26"/>
                </a:lnTo>
                <a:lnTo>
                  <a:pt x="14" y="26"/>
                </a:lnTo>
                <a:lnTo>
                  <a:pt x="12" y="32"/>
                </a:lnTo>
                <a:lnTo>
                  <a:pt x="12" y="32"/>
                </a:lnTo>
                <a:lnTo>
                  <a:pt x="8" y="34"/>
                </a:lnTo>
                <a:lnTo>
                  <a:pt x="8" y="34"/>
                </a:lnTo>
                <a:lnTo>
                  <a:pt x="8" y="34"/>
                </a:lnTo>
                <a:lnTo>
                  <a:pt x="8" y="36"/>
                </a:lnTo>
                <a:lnTo>
                  <a:pt x="8" y="36"/>
                </a:lnTo>
                <a:lnTo>
                  <a:pt x="6" y="36"/>
                </a:lnTo>
                <a:lnTo>
                  <a:pt x="2" y="36"/>
                </a:lnTo>
                <a:close/>
                <a:moveTo>
                  <a:pt x="50" y="116"/>
                </a:moveTo>
                <a:lnTo>
                  <a:pt x="50" y="116"/>
                </a:lnTo>
                <a:lnTo>
                  <a:pt x="46" y="118"/>
                </a:lnTo>
                <a:lnTo>
                  <a:pt x="46" y="118"/>
                </a:lnTo>
                <a:lnTo>
                  <a:pt x="46" y="120"/>
                </a:lnTo>
                <a:lnTo>
                  <a:pt x="46" y="120"/>
                </a:lnTo>
                <a:lnTo>
                  <a:pt x="56" y="124"/>
                </a:lnTo>
                <a:lnTo>
                  <a:pt x="56" y="124"/>
                </a:lnTo>
                <a:lnTo>
                  <a:pt x="62" y="124"/>
                </a:lnTo>
                <a:lnTo>
                  <a:pt x="62" y="124"/>
                </a:lnTo>
                <a:lnTo>
                  <a:pt x="66" y="126"/>
                </a:lnTo>
                <a:lnTo>
                  <a:pt x="68" y="128"/>
                </a:lnTo>
                <a:lnTo>
                  <a:pt x="72" y="128"/>
                </a:lnTo>
                <a:lnTo>
                  <a:pt x="74" y="126"/>
                </a:lnTo>
                <a:lnTo>
                  <a:pt x="74" y="126"/>
                </a:lnTo>
                <a:lnTo>
                  <a:pt x="78" y="126"/>
                </a:lnTo>
                <a:lnTo>
                  <a:pt x="80" y="126"/>
                </a:lnTo>
                <a:lnTo>
                  <a:pt x="80" y="126"/>
                </a:lnTo>
                <a:lnTo>
                  <a:pt x="84" y="126"/>
                </a:lnTo>
                <a:lnTo>
                  <a:pt x="84" y="126"/>
                </a:lnTo>
                <a:lnTo>
                  <a:pt x="86" y="124"/>
                </a:lnTo>
                <a:lnTo>
                  <a:pt x="84" y="122"/>
                </a:lnTo>
                <a:lnTo>
                  <a:pt x="84" y="122"/>
                </a:lnTo>
                <a:lnTo>
                  <a:pt x="80" y="122"/>
                </a:lnTo>
                <a:lnTo>
                  <a:pt x="80" y="122"/>
                </a:lnTo>
                <a:lnTo>
                  <a:pt x="80" y="118"/>
                </a:lnTo>
                <a:lnTo>
                  <a:pt x="80" y="118"/>
                </a:lnTo>
                <a:lnTo>
                  <a:pt x="78" y="118"/>
                </a:lnTo>
                <a:lnTo>
                  <a:pt x="78" y="118"/>
                </a:lnTo>
                <a:lnTo>
                  <a:pt x="78" y="120"/>
                </a:lnTo>
                <a:lnTo>
                  <a:pt x="78" y="120"/>
                </a:lnTo>
                <a:lnTo>
                  <a:pt x="68" y="120"/>
                </a:lnTo>
                <a:lnTo>
                  <a:pt x="68" y="120"/>
                </a:lnTo>
                <a:lnTo>
                  <a:pt x="58" y="118"/>
                </a:lnTo>
                <a:lnTo>
                  <a:pt x="50" y="116"/>
                </a:lnTo>
                <a:lnTo>
                  <a:pt x="50" y="116"/>
                </a:lnTo>
                <a:close/>
                <a:moveTo>
                  <a:pt x="40" y="54"/>
                </a:moveTo>
                <a:lnTo>
                  <a:pt x="40" y="54"/>
                </a:lnTo>
                <a:lnTo>
                  <a:pt x="42" y="56"/>
                </a:lnTo>
                <a:lnTo>
                  <a:pt x="42" y="56"/>
                </a:lnTo>
                <a:lnTo>
                  <a:pt x="38" y="54"/>
                </a:lnTo>
                <a:lnTo>
                  <a:pt x="40" y="54"/>
                </a:lnTo>
                <a:lnTo>
                  <a:pt x="40" y="54"/>
                </a:lnTo>
                <a:close/>
                <a:moveTo>
                  <a:pt x="84" y="46"/>
                </a:moveTo>
                <a:lnTo>
                  <a:pt x="84" y="46"/>
                </a:lnTo>
                <a:lnTo>
                  <a:pt x="82" y="48"/>
                </a:lnTo>
                <a:lnTo>
                  <a:pt x="84" y="48"/>
                </a:lnTo>
                <a:lnTo>
                  <a:pt x="84" y="48"/>
                </a:lnTo>
                <a:lnTo>
                  <a:pt x="84" y="52"/>
                </a:lnTo>
                <a:lnTo>
                  <a:pt x="84" y="52"/>
                </a:lnTo>
                <a:lnTo>
                  <a:pt x="88" y="52"/>
                </a:lnTo>
                <a:lnTo>
                  <a:pt x="88" y="52"/>
                </a:lnTo>
                <a:lnTo>
                  <a:pt x="88" y="50"/>
                </a:lnTo>
                <a:lnTo>
                  <a:pt x="88" y="50"/>
                </a:lnTo>
                <a:lnTo>
                  <a:pt x="88" y="46"/>
                </a:lnTo>
                <a:lnTo>
                  <a:pt x="88" y="46"/>
                </a:lnTo>
                <a:lnTo>
                  <a:pt x="84" y="46"/>
                </a:lnTo>
                <a:lnTo>
                  <a:pt x="84" y="46"/>
                </a:lnTo>
                <a:close/>
                <a:moveTo>
                  <a:pt x="0" y="36"/>
                </a:moveTo>
                <a:lnTo>
                  <a:pt x="0" y="36"/>
                </a:lnTo>
                <a:lnTo>
                  <a:pt x="0" y="40"/>
                </a:lnTo>
                <a:lnTo>
                  <a:pt x="0" y="40"/>
                </a:lnTo>
                <a:lnTo>
                  <a:pt x="0" y="40"/>
                </a:lnTo>
                <a:lnTo>
                  <a:pt x="2" y="40"/>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8" name="Freeform 182">
            <a:extLst>
              <a:ext uri="{FF2B5EF4-FFF2-40B4-BE49-F238E27FC236}">
                <a16:creationId xmlns:a16="http://schemas.microsoft.com/office/drawing/2014/main" id="{E9FD2E0A-68B9-4586-A087-557E3D92733A}"/>
              </a:ext>
            </a:extLst>
          </p:cNvPr>
          <p:cNvSpPr>
            <a:spLocks/>
          </p:cNvSpPr>
          <p:nvPr userDrawn="1"/>
        </p:nvSpPr>
        <p:spPr bwMode="auto">
          <a:xfrm>
            <a:off x="5768610" y="3347746"/>
            <a:ext cx="107330" cy="202487"/>
          </a:xfrm>
          <a:custGeom>
            <a:avLst/>
            <a:gdLst>
              <a:gd name="T0" fmla="*/ 64 w 64"/>
              <a:gd name="T1" fmla="*/ 100 h 118"/>
              <a:gd name="T2" fmla="*/ 56 w 64"/>
              <a:gd name="T3" fmla="*/ 84 h 118"/>
              <a:gd name="T4" fmla="*/ 56 w 64"/>
              <a:gd name="T5" fmla="*/ 82 h 118"/>
              <a:gd name="T6" fmla="*/ 56 w 64"/>
              <a:gd name="T7" fmla="*/ 80 h 118"/>
              <a:gd name="T8" fmla="*/ 54 w 64"/>
              <a:gd name="T9" fmla="*/ 78 h 118"/>
              <a:gd name="T10" fmla="*/ 56 w 64"/>
              <a:gd name="T11" fmla="*/ 74 h 118"/>
              <a:gd name="T12" fmla="*/ 58 w 64"/>
              <a:gd name="T13" fmla="*/ 60 h 118"/>
              <a:gd name="T14" fmla="*/ 52 w 64"/>
              <a:gd name="T15" fmla="*/ 52 h 118"/>
              <a:gd name="T16" fmla="*/ 52 w 64"/>
              <a:gd name="T17" fmla="*/ 48 h 118"/>
              <a:gd name="T18" fmla="*/ 54 w 64"/>
              <a:gd name="T19" fmla="*/ 40 h 118"/>
              <a:gd name="T20" fmla="*/ 54 w 64"/>
              <a:gd name="T21" fmla="*/ 38 h 118"/>
              <a:gd name="T22" fmla="*/ 52 w 64"/>
              <a:gd name="T23" fmla="*/ 36 h 118"/>
              <a:gd name="T24" fmla="*/ 52 w 64"/>
              <a:gd name="T25" fmla="*/ 34 h 118"/>
              <a:gd name="T26" fmla="*/ 52 w 64"/>
              <a:gd name="T27" fmla="*/ 22 h 118"/>
              <a:gd name="T28" fmla="*/ 52 w 64"/>
              <a:gd name="T29" fmla="*/ 16 h 118"/>
              <a:gd name="T30" fmla="*/ 48 w 64"/>
              <a:gd name="T31" fmla="*/ 14 h 118"/>
              <a:gd name="T32" fmla="*/ 48 w 64"/>
              <a:gd name="T33" fmla="*/ 6 h 118"/>
              <a:gd name="T34" fmla="*/ 38 w 64"/>
              <a:gd name="T35" fmla="*/ 0 h 118"/>
              <a:gd name="T36" fmla="*/ 38 w 64"/>
              <a:gd name="T37" fmla="*/ 2 h 118"/>
              <a:gd name="T38" fmla="*/ 18 w 64"/>
              <a:gd name="T39" fmla="*/ 2 h 118"/>
              <a:gd name="T40" fmla="*/ 14 w 64"/>
              <a:gd name="T41" fmla="*/ 4 h 118"/>
              <a:gd name="T42" fmla="*/ 14 w 64"/>
              <a:gd name="T43" fmla="*/ 8 h 118"/>
              <a:gd name="T44" fmla="*/ 16 w 64"/>
              <a:gd name="T45" fmla="*/ 18 h 118"/>
              <a:gd name="T46" fmla="*/ 14 w 64"/>
              <a:gd name="T47" fmla="*/ 26 h 118"/>
              <a:gd name="T48" fmla="*/ 14 w 64"/>
              <a:gd name="T49" fmla="*/ 30 h 118"/>
              <a:gd name="T50" fmla="*/ 14 w 64"/>
              <a:gd name="T51" fmla="*/ 36 h 118"/>
              <a:gd name="T52" fmla="*/ 16 w 64"/>
              <a:gd name="T53" fmla="*/ 38 h 118"/>
              <a:gd name="T54" fmla="*/ 18 w 64"/>
              <a:gd name="T55" fmla="*/ 44 h 118"/>
              <a:gd name="T56" fmla="*/ 16 w 64"/>
              <a:gd name="T57" fmla="*/ 56 h 118"/>
              <a:gd name="T58" fmla="*/ 12 w 64"/>
              <a:gd name="T59" fmla="*/ 64 h 118"/>
              <a:gd name="T60" fmla="*/ 8 w 64"/>
              <a:gd name="T61" fmla="*/ 74 h 118"/>
              <a:gd name="T62" fmla="*/ 4 w 64"/>
              <a:gd name="T63" fmla="*/ 84 h 118"/>
              <a:gd name="T64" fmla="*/ 2 w 64"/>
              <a:gd name="T65" fmla="*/ 104 h 118"/>
              <a:gd name="T66" fmla="*/ 4 w 64"/>
              <a:gd name="T67" fmla="*/ 106 h 118"/>
              <a:gd name="T68" fmla="*/ 4 w 64"/>
              <a:gd name="T69" fmla="*/ 110 h 118"/>
              <a:gd name="T70" fmla="*/ 0 w 64"/>
              <a:gd name="T71" fmla="*/ 118 h 118"/>
              <a:gd name="T72" fmla="*/ 10 w 64"/>
              <a:gd name="T73" fmla="*/ 118 h 118"/>
              <a:gd name="T74" fmla="*/ 14 w 64"/>
              <a:gd name="T75" fmla="*/ 116 h 118"/>
              <a:gd name="T76" fmla="*/ 18 w 64"/>
              <a:gd name="T77" fmla="*/ 112 h 118"/>
              <a:gd name="T78" fmla="*/ 28 w 64"/>
              <a:gd name="T79" fmla="*/ 112 h 118"/>
              <a:gd name="T80" fmla="*/ 36 w 64"/>
              <a:gd name="T81" fmla="*/ 106 h 118"/>
              <a:gd name="T82" fmla="*/ 46 w 64"/>
              <a:gd name="T83" fmla="*/ 106 h 118"/>
              <a:gd name="T84" fmla="*/ 52 w 64"/>
              <a:gd name="T85" fmla="*/ 104 h 118"/>
              <a:gd name="T86" fmla="*/ 58 w 64"/>
              <a:gd name="T87" fmla="*/ 104 h 118"/>
              <a:gd name="T88" fmla="*/ 58 w 64"/>
              <a:gd name="T89" fmla="*/ 98 h 118"/>
              <a:gd name="T90" fmla="*/ 54 w 64"/>
              <a:gd name="T91" fmla="*/ 94 h 118"/>
              <a:gd name="T92" fmla="*/ 58 w 64"/>
              <a:gd name="T93" fmla="*/ 94 h 118"/>
              <a:gd name="T94" fmla="*/ 60 w 64"/>
              <a:gd name="T95" fmla="*/ 100 h 118"/>
              <a:gd name="T96" fmla="*/ 64 w 64"/>
              <a:gd name="T97" fmla="*/ 10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118">
                <a:moveTo>
                  <a:pt x="64" y="100"/>
                </a:moveTo>
                <a:lnTo>
                  <a:pt x="64" y="100"/>
                </a:lnTo>
                <a:lnTo>
                  <a:pt x="56" y="84"/>
                </a:lnTo>
                <a:lnTo>
                  <a:pt x="56" y="84"/>
                </a:lnTo>
                <a:lnTo>
                  <a:pt x="56" y="84"/>
                </a:lnTo>
                <a:lnTo>
                  <a:pt x="56" y="82"/>
                </a:lnTo>
                <a:lnTo>
                  <a:pt x="56" y="82"/>
                </a:lnTo>
                <a:lnTo>
                  <a:pt x="56" y="80"/>
                </a:lnTo>
                <a:lnTo>
                  <a:pt x="56" y="80"/>
                </a:lnTo>
                <a:lnTo>
                  <a:pt x="54" y="78"/>
                </a:lnTo>
                <a:lnTo>
                  <a:pt x="56" y="74"/>
                </a:lnTo>
                <a:lnTo>
                  <a:pt x="56" y="74"/>
                </a:lnTo>
                <a:lnTo>
                  <a:pt x="58" y="60"/>
                </a:lnTo>
                <a:lnTo>
                  <a:pt x="58" y="60"/>
                </a:lnTo>
                <a:lnTo>
                  <a:pt x="56" y="56"/>
                </a:lnTo>
                <a:lnTo>
                  <a:pt x="52" y="52"/>
                </a:lnTo>
                <a:lnTo>
                  <a:pt x="52" y="52"/>
                </a:lnTo>
                <a:lnTo>
                  <a:pt x="52" y="48"/>
                </a:lnTo>
                <a:lnTo>
                  <a:pt x="52" y="46"/>
                </a:lnTo>
                <a:lnTo>
                  <a:pt x="54" y="40"/>
                </a:lnTo>
                <a:lnTo>
                  <a:pt x="54" y="40"/>
                </a:lnTo>
                <a:lnTo>
                  <a:pt x="54" y="38"/>
                </a:lnTo>
                <a:lnTo>
                  <a:pt x="52" y="38"/>
                </a:lnTo>
                <a:lnTo>
                  <a:pt x="52" y="36"/>
                </a:lnTo>
                <a:lnTo>
                  <a:pt x="52" y="34"/>
                </a:lnTo>
                <a:lnTo>
                  <a:pt x="52" y="34"/>
                </a:lnTo>
                <a:lnTo>
                  <a:pt x="54" y="28"/>
                </a:lnTo>
                <a:lnTo>
                  <a:pt x="52" y="22"/>
                </a:lnTo>
                <a:lnTo>
                  <a:pt x="52" y="22"/>
                </a:lnTo>
                <a:lnTo>
                  <a:pt x="52" y="16"/>
                </a:lnTo>
                <a:lnTo>
                  <a:pt x="48" y="14"/>
                </a:lnTo>
                <a:lnTo>
                  <a:pt x="48" y="14"/>
                </a:lnTo>
                <a:lnTo>
                  <a:pt x="48" y="12"/>
                </a:lnTo>
                <a:lnTo>
                  <a:pt x="48" y="6"/>
                </a:lnTo>
                <a:lnTo>
                  <a:pt x="48" y="0"/>
                </a:lnTo>
                <a:lnTo>
                  <a:pt x="38" y="0"/>
                </a:lnTo>
                <a:lnTo>
                  <a:pt x="38" y="2"/>
                </a:lnTo>
                <a:lnTo>
                  <a:pt x="38" y="2"/>
                </a:lnTo>
                <a:lnTo>
                  <a:pt x="28" y="2"/>
                </a:lnTo>
                <a:lnTo>
                  <a:pt x="18" y="2"/>
                </a:lnTo>
                <a:lnTo>
                  <a:pt x="18" y="2"/>
                </a:lnTo>
                <a:lnTo>
                  <a:pt x="14" y="4"/>
                </a:lnTo>
                <a:lnTo>
                  <a:pt x="14" y="8"/>
                </a:lnTo>
                <a:lnTo>
                  <a:pt x="14" y="8"/>
                </a:lnTo>
                <a:lnTo>
                  <a:pt x="14" y="14"/>
                </a:lnTo>
                <a:lnTo>
                  <a:pt x="16" y="18"/>
                </a:lnTo>
                <a:lnTo>
                  <a:pt x="16" y="18"/>
                </a:lnTo>
                <a:lnTo>
                  <a:pt x="14" y="26"/>
                </a:lnTo>
                <a:lnTo>
                  <a:pt x="14" y="26"/>
                </a:lnTo>
                <a:lnTo>
                  <a:pt x="14" y="30"/>
                </a:lnTo>
                <a:lnTo>
                  <a:pt x="14" y="36"/>
                </a:lnTo>
                <a:lnTo>
                  <a:pt x="14" y="36"/>
                </a:lnTo>
                <a:lnTo>
                  <a:pt x="14" y="38"/>
                </a:lnTo>
                <a:lnTo>
                  <a:pt x="16" y="38"/>
                </a:lnTo>
                <a:lnTo>
                  <a:pt x="18" y="44"/>
                </a:lnTo>
                <a:lnTo>
                  <a:pt x="18" y="44"/>
                </a:lnTo>
                <a:lnTo>
                  <a:pt x="16" y="56"/>
                </a:lnTo>
                <a:lnTo>
                  <a:pt x="16" y="56"/>
                </a:lnTo>
                <a:lnTo>
                  <a:pt x="14" y="58"/>
                </a:lnTo>
                <a:lnTo>
                  <a:pt x="12" y="64"/>
                </a:lnTo>
                <a:lnTo>
                  <a:pt x="12" y="64"/>
                </a:lnTo>
                <a:lnTo>
                  <a:pt x="8" y="74"/>
                </a:lnTo>
                <a:lnTo>
                  <a:pt x="8" y="74"/>
                </a:lnTo>
                <a:lnTo>
                  <a:pt x="4" y="84"/>
                </a:lnTo>
                <a:lnTo>
                  <a:pt x="2" y="94"/>
                </a:lnTo>
                <a:lnTo>
                  <a:pt x="2" y="104"/>
                </a:lnTo>
                <a:lnTo>
                  <a:pt x="2" y="104"/>
                </a:lnTo>
                <a:lnTo>
                  <a:pt x="4" y="106"/>
                </a:lnTo>
                <a:lnTo>
                  <a:pt x="4" y="110"/>
                </a:lnTo>
                <a:lnTo>
                  <a:pt x="4" y="110"/>
                </a:lnTo>
                <a:lnTo>
                  <a:pt x="0" y="118"/>
                </a:lnTo>
                <a:lnTo>
                  <a:pt x="0" y="118"/>
                </a:lnTo>
                <a:lnTo>
                  <a:pt x="4" y="118"/>
                </a:lnTo>
                <a:lnTo>
                  <a:pt x="10" y="118"/>
                </a:lnTo>
                <a:lnTo>
                  <a:pt x="10" y="118"/>
                </a:lnTo>
                <a:lnTo>
                  <a:pt x="14" y="116"/>
                </a:lnTo>
                <a:lnTo>
                  <a:pt x="18" y="112"/>
                </a:lnTo>
                <a:lnTo>
                  <a:pt x="18" y="112"/>
                </a:lnTo>
                <a:lnTo>
                  <a:pt x="28" y="112"/>
                </a:lnTo>
                <a:lnTo>
                  <a:pt x="28" y="112"/>
                </a:lnTo>
                <a:lnTo>
                  <a:pt x="32" y="108"/>
                </a:lnTo>
                <a:lnTo>
                  <a:pt x="36" y="106"/>
                </a:lnTo>
                <a:lnTo>
                  <a:pt x="36" y="106"/>
                </a:lnTo>
                <a:lnTo>
                  <a:pt x="46" y="106"/>
                </a:lnTo>
                <a:lnTo>
                  <a:pt x="46" y="106"/>
                </a:lnTo>
                <a:lnTo>
                  <a:pt x="52" y="104"/>
                </a:lnTo>
                <a:lnTo>
                  <a:pt x="52" y="104"/>
                </a:lnTo>
                <a:lnTo>
                  <a:pt x="58" y="104"/>
                </a:lnTo>
                <a:lnTo>
                  <a:pt x="58" y="104"/>
                </a:lnTo>
                <a:lnTo>
                  <a:pt x="58" y="98"/>
                </a:lnTo>
                <a:lnTo>
                  <a:pt x="58" y="98"/>
                </a:lnTo>
                <a:lnTo>
                  <a:pt x="54" y="94"/>
                </a:lnTo>
                <a:lnTo>
                  <a:pt x="54" y="94"/>
                </a:lnTo>
                <a:lnTo>
                  <a:pt x="58" y="94"/>
                </a:lnTo>
                <a:lnTo>
                  <a:pt x="58" y="94"/>
                </a:lnTo>
                <a:lnTo>
                  <a:pt x="60" y="100"/>
                </a:lnTo>
                <a:lnTo>
                  <a:pt x="60" y="100"/>
                </a:lnTo>
                <a:lnTo>
                  <a:pt x="64" y="100"/>
                </a:lnTo>
                <a:lnTo>
                  <a:pt x="64"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9" name="Freeform 183">
            <a:extLst>
              <a:ext uri="{FF2B5EF4-FFF2-40B4-BE49-F238E27FC236}">
                <a16:creationId xmlns:a16="http://schemas.microsoft.com/office/drawing/2014/main" id="{00E7ED52-DD32-4D61-9D8C-FCBFCE97320F}"/>
              </a:ext>
            </a:extLst>
          </p:cNvPr>
          <p:cNvSpPr>
            <a:spLocks/>
          </p:cNvSpPr>
          <p:nvPr userDrawn="1"/>
        </p:nvSpPr>
        <p:spPr bwMode="auto">
          <a:xfrm>
            <a:off x="5979916" y="1995548"/>
            <a:ext cx="202921" cy="267694"/>
          </a:xfrm>
          <a:custGeom>
            <a:avLst/>
            <a:gdLst>
              <a:gd name="T0" fmla="*/ 113 w 121"/>
              <a:gd name="T1" fmla="*/ 20 h 156"/>
              <a:gd name="T2" fmla="*/ 107 w 121"/>
              <a:gd name="T3" fmla="*/ 18 h 156"/>
              <a:gd name="T4" fmla="*/ 93 w 121"/>
              <a:gd name="T5" fmla="*/ 14 h 156"/>
              <a:gd name="T6" fmla="*/ 89 w 121"/>
              <a:gd name="T7" fmla="*/ 22 h 156"/>
              <a:gd name="T8" fmla="*/ 83 w 121"/>
              <a:gd name="T9" fmla="*/ 24 h 156"/>
              <a:gd name="T10" fmla="*/ 83 w 121"/>
              <a:gd name="T11" fmla="*/ 26 h 156"/>
              <a:gd name="T12" fmla="*/ 71 w 121"/>
              <a:gd name="T13" fmla="*/ 18 h 156"/>
              <a:gd name="T14" fmla="*/ 62 w 121"/>
              <a:gd name="T15" fmla="*/ 12 h 156"/>
              <a:gd name="T16" fmla="*/ 58 w 121"/>
              <a:gd name="T17" fmla="*/ 6 h 156"/>
              <a:gd name="T18" fmla="*/ 64 w 121"/>
              <a:gd name="T19" fmla="*/ 2 h 156"/>
              <a:gd name="T20" fmla="*/ 62 w 121"/>
              <a:gd name="T21" fmla="*/ 0 h 156"/>
              <a:gd name="T22" fmla="*/ 56 w 121"/>
              <a:gd name="T23" fmla="*/ 2 h 156"/>
              <a:gd name="T24" fmla="*/ 42 w 121"/>
              <a:gd name="T25" fmla="*/ 6 h 156"/>
              <a:gd name="T26" fmla="*/ 46 w 121"/>
              <a:gd name="T27" fmla="*/ 12 h 156"/>
              <a:gd name="T28" fmla="*/ 46 w 121"/>
              <a:gd name="T29" fmla="*/ 20 h 156"/>
              <a:gd name="T30" fmla="*/ 44 w 121"/>
              <a:gd name="T31" fmla="*/ 28 h 156"/>
              <a:gd name="T32" fmla="*/ 40 w 121"/>
              <a:gd name="T33" fmla="*/ 38 h 156"/>
              <a:gd name="T34" fmla="*/ 26 w 121"/>
              <a:gd name="T35" fmla="*/ 38 h 156"/>
              <a:gd name="T36" fmla="*/ 28 w 121"/>
              <a:gd name="T37" fmla="*/ 46 h 156"/>
              <a:gd name="T38" fmla="*/ 24 w 121"/>
              <a:gd name="T39" fmla="*/ 56 h 156"/>
              <a:gd name="T40" fmla="*/ 24 w 121"/>
              <a:gd name="T41" fmla="*/ 60 h 156"/>
              <a:gd name="T42" fmla="*/ 18 w 121"/>
              <a:gd name="T43" fmla="*/ 64 h 156"/>
              <a:gd name="T44" fmla="*/ 12 w 121"/>
              <a:gd name="T45" fmla="*/ 66 h 156"/>
              <a:gd name="T46" fmla="*/ 4 w 121"/>
              <a:gd name="T47" fmla="*/ 70 h 156"/>
              <a:gd name="T48" fmla="*/ 6 w 121"/>
              <a:gd name="T49" fmla="*/ 88 h 156"/>
              <a:gd name="T50" fmla="*/ 4 w 121"/>
              <a:gd name="T51" fmla="*/ 90 h 156"/>
              <a:gd name="T52" fmla="*/ 6 w 121"/>
              <a:gd name="T53" fmla="*/ 96 h 156"/>
              <a:gd name="T54" fmla="*/ 8 w 121"/>
              <a:gd name="T55" fmla="*/ 104 h 156"/>
              <a:gd name="T56" fmla="*/ 10 w 121"/>
              <a:gd name="T57" fmla="*/ 110 h 156"/>
              <a:gd name="T58" fmla="*/ 10 w 121"/>
              <a:gd name="T59" fmla="*/ 118 h 156"/>
              <a:gd name="T60" fmla="*/ 20 w 121"/>
              <a:gd name="T61" fmla="*/ 118 h 156"/>
              <a:gd name="T62" fmla="*/ 28 w 121"/>
              <a:gd name="T63" fmla="*/ 120 h 156"/>
              <a:gd name="T64" fmla="*/ 34 w 121"/>
              <a:gd name="T65" fmla="*/ 124 h 156"/>
              <a:gd name="T66" fmla="*/ 32 w 121"/>
              <a:gd name="T67" fmla="*/ 138 h 156"/>
              <a:gd name="T68" fmla="*/ 34 w 121"/>
              <a:gd name="T69" fmla="*/ 152 h 156"/>
              <a:gd name="T70" fmla="*/ 42 w 121"/>
              <a:gd name="T71" fmla="*/ 146 h 156"/>
              <a:gd name="T72" fmla="*/ 50 w 121"/>
              <a:gd name="T73" fmla="*/ 148 h 156"/>
              <a:gd name="T74" fmla="*/ 68 w 121"/>
              <a:gd name="T75" fmla="*/ 150 h 156"/>
              <a:gd name="T76" fmla="*/ 75 w 121"/>
              <a:gd name="T77" fmla="*/ 150 h 156"/>
              <a:gd name="T78" fmla="*/ 83 w 121"/>
              <a:gd name="T79" fmla="*/ 144 h 156"/>
              <a:gd name="T80" fmla="*/ 91 w 121"/>
              <a:gd name="T81" fmla="*/ 146 h 156"/>
              <a:gd name="T82" fmla="*/ 99 w 121"/>
              <a:gd name="T83" fmla="*/ 150 h 156"/>
              <a:gd name="T84" fmla="*/ 97 w 121"/>
              <a:gd name="T85" fmla="*/ 140 h 156"/>
              <a:gd name="T86" fmla="*/ 99 w 121"/>
              <a:gd name="T87" fmla="*/ 136 h 156"/>
              <a:gd name="T88" fmla="*/ 103 w 121"/>
              <a:gd name="T89" fmla="*/ 132 h 156"/>
              <a:gd name="T90" fmla="*/ 109 w 121"/>
              <a:gd name="T91" fmla="*/ 124 h 156"/>
              <a:gd name="T92" fmla="*/ 101 w 121"/>
              <a:gd name="T93" fmla="*/ 118 h 156"/>
              <a:gd name="T94" fmla="*/ 97 w 121"/>
              <a:gd name="T95" fmla="*/ 110 h 156"/>
              <a:gd name="T96" fmla="*/ 89 w 121"/>
              <a:gd name="T97" fmla="*/ 98 h 156"/>
              <a:gd name="T98" fmla="*/ 91 w 121"/>
              <a:gd name="T99" fmla="*/ 92 h 156"/>
              <a:gd name="T100" fmla="*/ 101 w 121"/>
              <a:gd name="T101" fmla="*/ 86 h 156"/>
              <a:gd name="T102" fmla="*/ 121 w 121"/>
              <a:gd name="T103" fmla="*/ 82 h 156"/>
              <a:gd name="T104" fmla="*/ 119 w 121"/>
              <a:gd name="T105" fmla="*/ 60 h 156"/>
              <a:gd name="T106" fmla="*/ 119 w 121"/>
              <a:gd name="T107" fmla="*/ 46 h 156"/>
              <a:gd name="T108" fmla="*/ 115 w 121"/>
              <a:gd name="T109" fmla="*/ 3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156">
                <a:moveTo>
                  <a:pt x="117" y="22"/>
                </a:moveTo>
                <a:lnTo>
                  <a:pt x="117" y="22"/>
                </a:lnTo>
                <a:lnTo>
                  <a:pt x="113" y="20"/>
                </a:lnTo>
                <a:lnTo>
                  <a:pt x="113" y="20"/>
                </a:lnTo>
                <a:lnTo>
                  <a:pt x="113" y="18"/>
                </a:lnTo>
                <a:lnTo>
                  <a:pt x="113" y="18"/>
                </a:lnTo>
                <a:lnTo>
                  <a:pt x="109" y="18"/>
                </a:lnTo>
                <a:lnTo>
                  <a:pt x="107" y="18"/>
                </a:lnTo>
                <a:lnTo>
                  <a:pt x="107" y="18"/>
                </a:lnTo>
                <a:lnTo>
                  <a:pt x="101" y="16"/>
                </a:lnTo>
                <a:lnTo>
                  <a:pt x="101" y="16"/>
                </a:lnTo>
                <a:lnTo>
                  <a:pt x="93" y="14"/>
                </a:lnTo>
                <a:lnTo>
                  <a:pt x="93" y="14"/>
                </a:lnTo>
                <a:lnTo>
                  <a:pt x="91" y="18"/>
                </a:lnTo>
                <a:lnTo>
                  <a:pt x="89" y="22"/>
                </a:lnTo>
                <a:lnTo>
                  <a:pt x="89" y="22"/>
                </a:lnTo>
                <a:lnTo>
                  <a:pt x="87" y="22"/>
                </a:lnTo>
                <a:lnTo>
                  <a:pt x="83" y="22"/>
                </a:lnTo>
                <a:lnTo>
                  <a:pt x="83" y="22"/>
                </a:lnTo>
                <a:lnTo>
                  <a:pt x="83" y="24"/>
                </a:lnTo>
                <a:lnTo>
                  <a:pt x="83" y="24"/>
                </a:lnTo>
                <a:lnTo>
                  <a:pt x="83" y="26"/>
                </a:lnTo>
                <a:lnTo>
                  <a:pt x="83" y="26"/>
                </a:lnTo>
                <a:lnTo>
                  <a:pt x="83" y="26"/>
                </a:lnTo>
                <a:lnTo>
                  <a:pt x="75" y="24"/>
                </a:lnTo>
                <a:lnTo>
                  <a:pt x="75" y="24"/>
                </a:lnTo>
                <a:lnTo>
                  <a:pt x="75" y="20"/>
                </a:lnTo>
                <a:lnTo>
                  <a:pt x="71" y="18"/>
                </a:lnTo>
                <a:lnTo>
                  <a:pt x="71" y="18"/>
                </a:lnTo>
                <a:lnTo>
                  <a:pt x="66" y="20"/>
                </a:lnTo>
                <a:lnTo>
                  <a:pt x="66" y="20"/>
                </a:lnTo>
                <a:lnTo>
                  <a:pt x="62" y="12"/>
                </a:lnTo>
                <a:lnTo>
                  <a:pt x="62" y="12"/>
                </a:lnTo>
                <a:lnTo>
                  <a:pt x="62" y="8"/>
                </a:lnTo>
                <a:lnTo>
                  <a:pt x="62" y="8"/>
                </a:lnTo>
                <a:lnTo>
                  <a:pt x="58" y="6"/>
                </a:lnTo>
                <a:lnTo>
                  <a:pt x="58" y="6"/>
                </a:lnTo>
                <a:lnTo>
                  <a:pt x="60" y="4"/>
                </a:lnTo>
                <a:lnTo>
                  <a:pt x="60" y="4"/>
                </a:lnTo>
                <a:lnTo>
                  <a:pt x="64" y="2"/>
                </a:lnTo>
                <a:lnTo>
                  <a:pt x="64" y="2"/>
                </a:lnTo>
                <a:lnTo>
                  <a:pt x="64" y="0"/>
                </a:lnTo>
                <a:lnTo>
                  <a:pt x="62" y="0"/>
                </a:lnTo>
                <a:lnTo>
                  <a:pt x="62" y="0"/>
                </a:lnTo>
                <a:lnTo>
                  <a:pt x="60" y="2"/>
                </a:lnTo>
                <a:lnTo>
                  <a:pt x="60" y="2"/>
                </a:lnTo>
                <a:lnTo>
                  <a:pt x="56" y="2"/>
                </a:lnTo>
                <a:lnTo>
                  <a:pt x="56" y="2"/>
                </a:lnTo>
                <a:lnTo>
                  <a:pt x="56" y="0"/>
                </a:lnTo>
                <a:lnTo>
                  <a:pt x="44" y="0"/>
                </a:lnTo>
                <a:lnTo>
                  <a:pt x="44" y="0"/>
                </a:lnTo>
                <a:lnTo>
                  <a:pt x="42" y="6"/>
                </a:lnTo>
                <a:lnTo>
                  <a:pt x="44" y="6"/>
                </a:lnTo>
                <a:lnTo>
                  <a:pt x="44" y="6"/>
                </a:lnTo>
                <a:lnTo>
                  <a:pt x="46" y="12"/>
                </a:lnTo>
                <a:lnTo>
                  <a:pt x="46" y="12"/>
                </a:lnTo>
                <a:lnTo>
                  <a:pt x="46" y="12"/>
                </a:lnTo>
                <a:lnTo>
                  <a:pt x="46" y="12"/>
                </a:lnTo>
                <a:lnTo>
                  <a:pt x="46" y="18"/>
                </a:lnTo>
                <a:lnTo>
                  <a:pt x="46" y="20"/>
                </a:lnTo>
                <a:lnTo>
                  <a:pt x="46" y="24"/>
                </a:lnTo>
                <a:lnTo>
                  <a:pt x="50" y="28"/>
                </a:lnTo>
                <a:lnTo>
                  <a:pt x="50" y="28"/>
                </a:lnTo>
                <a:lnTo>
                  <a:pt x="44" y="28"/>
                </a:lnTo>
                <a:lnTo>
                  <a:pt x="44" y="28"/>
                </a:lnTo>
                <a:lnTo>
                  <a:pt x="42" y="34"/>
                </a:lnTo>
                <a:lnTo>
                  <a:pt x="40" y="38"/>
                </a:lnTo>
                <a:lnTo>
                  <a:pt x="40" y="38"/>
                </a:lnTo>
                <a:lnTo>
                  <a:pt x="36" y="34"/>
                </a:lnTo>
                <a:lnTo>
                  <a:pt x="36" y="34"/>
                </a:lnTo>
                <a:lnTo>
                  <a:pt x="30" y="36"/>
                </a:lnTo>
                <a:lnTo>
                  <a:pt x="26" y="38"/>
                </a:lnTo>
                <a:lnTo>
                  <a:pt x="26" y="40"/>
                </a:lnTo>
                <a:lnTo>
                  <a:pt x="30" y="46"/>
                </a:lnTo>
                <a:lnTo>
                  <a:pt x="28" y="46"/>
                </a:lnTo>
                <a:lnTo>
                  <a:pt x="28" y="46"/>
                </a:lnTo>
                <a:lnTo>
                  <a:pt x="28" y="52"/>
                </a:lnTo>
                <a:lnTo>
                  <a:pt x="26" y="54"/>
                </a:lnTo>
                <a:lnTo>
                  <a:pt x="24" y="56"/>
                </a:lnTo>
                <a:lnTo>
                  <a:pt x="24" y="56"/>
                </a:lnTo>
                <a:lnTo>
                  <a:pt x="22" y="56"/>
                </a:lnTo>
                <a:lnTo>
                  <a:pt x="22" y="56"/>
                </a:lnTo>
                <a:lnTo>
                  <a:pt x="24" y="60"/>
                </a:lnTo>
                <a:lnTo>
                  <a:pt x="24" y="60"/>
                </a:lnTo>
                <a:lnTo>
                  <a:pt x="24" y="62"/>
                </a:lnTo>
                <a:lnTo>
                  <a:pt x="22" y="62"/>
                </a:lnTo>
                <a:lnTo>
                  <a:pt x="18" y="64"/>
                </a:lnTo>
                <a:lnTo>
                  <a:pt x="18" y="64"/>
                </a:lnTo>
                <a:lnTo>
                  <a:pt x="18" y="66"/>
                </a:lnTo>
                <a:lnTo>
                  <a:pt x="16" y="68"/>
                </a:lnTo>
                <a:lnTo>
                  <a:pt x="12" y="66"/>
                </a:lnTo>
                <a:lnTo>
                  <a:pt x="12" y="66"/>
                </a:lnTo>
                <a:lnTo>
                  <a:pt x="8" y="66"/>
                </a:lnTo>
                <a:lnTo>
                  <a:pt x="6" y="66"/>
                </a:lnTo>
                <a:lnTo>
                  <a:pt x="4" y="70"/>
                </a:lnTo>
                <a:lnTo>
                  <a:pt x="4" y="70"/>
                </a:lnTo>
                <a:lnTo>
                  <a:pt x="0" y="84"/>
                </a:lnTo>
                <a:lnTo>
                  <a:pt x="0" y="84"/>
                </a:lnTo>
                <a:lnTo>
                  <a:pt x="2" y="86"/>
                </a:lnTo>
                <a:lnTo>
                  <a:pt x="6" y="88"/>
                </a:lnTo>
                <a:lnTo>
                  <a:pt x="6" y="88"/>
                </a:lnTo>
                <a:lnTo>
                  <a:pt x="6" y="88"/>
                </a:lnTo>
                <a:lnTo>
                  <a:pt x="4" y="88"/>
                </a:lnTo>
                <a:lnTo>
                  <a:pt x="4" y="90"/>
                </a:lnTo>
                <a:lnTo>
                  <a:pt x="4" y="92"/>
                </a:lnTo>
                <a:lnTo>
                  <a:pt x="4" y="92"/>
                </a:lnTo>
                <a:lnTo>
                  <a:pt x="6" y="94"/>
                </a:lnTo>
                <a:lnTo>
                  <a:pt x="6" y="96"/>
                </a:lnTo>
                <a:lnTo>
                  <a:pt x="6" y="100"/>
                </a:lnTo>
                <a:lnTo>
                  <a:pt x="6" y="100"/>
                </a:lnTo>
                <a:lnTo>
                  <a:pt x="6" y="102"/>
                </a:lnTo>
                <a:lnTo>
                  <a:pt x="8" y="104"/>
                </a:lnTo>
                <a:lnTo>
                  <a:pt x="8" y="104"/>
                </a:lnTo>
                <a:lnTo>
                  <a:pt x="10" y="106"/>
                </a:lnTo>
                <a:lnTo>
                  <a:pt x="10" y="106"/>
                </a:lnTo>
                <a:lnTo>
                  <a:pt x="10" y="110"/>
                </a:lnTo>
                <a:lnTo>
                  <a:pt x="10" y="110"/>
                </a:lnTo>
                <a:lnTo>
                  <a:pt x="8" y="112"/>
                </a:lnTo>
                <a:lnTo>
                  <a:pt x="8" y="116"/>
                </a:lnTo>
                <a:lnTo>
                  <a:pt x="10" y="118"/>
                </a:lnTo>
                <a:lnTo>
                  <a:pt x="10" y="118"/>
                </a:lnTo>
                <a:lnTo>
                  <a:pt x="14" y="116"/>
                </a:lnTo>
                <a:lnTo>
                  <a:pt x="18" y="116"/>
                </a:lnTo>
                <a:lnTo>
                  <a:pt x="20" y="118"/>
                </a:lnTo>
                <a:lnTo>
                  <a:pt x="20" y="118"/>
                </a:lnTo>
                <a:lnTo>
                  <a:pt x="22" y="120"/>
                </a:lnTo>
                <a:lnTo>
                  <a:pt x="24" y="122"/>
                </a:lnTo>
                <a:lnTo>
                  <a:pt x="28" y="120"/>
                </a:lnTo>
                <a:lnTo>
                  <a:pt x="28" y="120"/>
                </a:lnTo>
                <a:lnTo>
                  <a:pt x="34" y="122"/>
                </a:lnTo>
                <a:lnTo>
                  <a:pt x="34" y="122"/>
                </a:lnTo>
                <a:lnTo>
                  <a:pt x="34" y="124"/>
                </a:lnTo>
                <a:lnTo>
                  <a:pt x="34" y="130"/>
                </a:lnTo>
                <a:lnTo>
                  <a:pt x="34" y="130"/>
                </a:lnTo>
                <a:lnTo>
                  <a:pt x="32" y="134"/>
                </a:lnTo>
                <a:lnTo>
                  <a:pt x="32" y="138"/>
                </a:lnTo>
                <a:lnTo>
                  <a:pt x="32" y="138"/>
                </a:lnTo>
                <a:lnTo>
                  <a:pt x="32" y="144"/>
                </a:lnTo>
                <a:lnTo>
                  <a:pt x="32" y="148"/>
                </a:lnTo>
                <a:lnTo>
                  <a:pt x="34" y="152"/>
                </a:lnTo>
                <a:lnTo>
                  <a:pt x="34" y="152"/>
                </a:lnTo>
                <a:lnTo>
                  <a:pt x="40" y="148"/>
                </a:lnTo>
                <a:lnTo>
                  <a:pt x="40" y="148"/>
                </a:lnTo>
                <a:lnTo>
                  <a:pt x="42" y="146"/>
                </a:lnTo>
                <a:lnTo>
                  <a:pt x="44" y="146"/>
                </a:lnTo>
                <a:lnTo>
                  <a:pt x="46" y="146"/>
                </a:lnTo>
                <a:lnTo>
                  <a:pt x="46" y="146"/>
                </a:lnTo>
                <a:lnTo>
                  <a:pt x="50" y="148"/>
                </a:lnTo>
                <a:lnTo>
                  <a:pt x="62" y="156"/>
                </a:lnTo>
                <a:lnTo>
                  <a:pt x="62" y="156"/>
                </a:lnTo>
                <a:lnTo>
                  <a:pt x="64" y="152"/>
                </a:lnTo>
                <a:lnTo>
                  <a:pt x="68" y="150"/>
                </a:lnTo>
                <a:lnTo>
                  <a:pt x="68" y="150"/>
                </a:lnTo>
                <a:lnTo>
                  <a:pt x="71" y="150"/>
                </a:lnTo>
                <a:lnTo>
                  <a:pt x="75" y="150"/>
                </a:lnTo>
                <a:lnTo>
                  <a:pt x="75" y="150"/>
                </a:lnTo>
                <a:lnTo>
                  <a:pt x="79" y="148"/>
                </a:lnTo>
                <a:lnTo>
                  <a:pt x="81" y="144"/>
                </a:lnTo>
                <a:lnTo>
                  <a:pt x="81" y="144"/>
                </a:lnTo>
                <a:lnTo>
                  <a:pt x="83" y="144"/>
                </a:lnTo>
                <a:lnTo>
                  <a:pt x="85" y="146"/>
                </a:lnTo>
                <a:lnTo>
                  <a:pt x="89" y="146"/>
                </a:lnTo>
                <a:lnTo>
                  <a:pt x="89" y="146"/>
                </a:lnTo>
                <a:lnTo>
                  <a:pt x="91" y="146"/>
                </a:lnTo>
                <a:lnTo>
                  <a:pt x="93" y="146"/>
                </a:lnTo>
                <a:lnTo>
                  <a:pt x="95" y="150"/>
                </a:lnTo>
                <a:lnTo>
                  <a:pt x="95" y="150"/>
                </a:lnTo>
                <a:lnTo>
                  <a:pt x="99" y="150"/>
                </a:lnTo>
                <a:lnTo>
                  <a:pt x="99" y="144"/>
                </a:lnTo>
                <a:lnTo>
                  <a:pt x="99" y="144"/>
                </a:lnTo>
                <a:lnTo>
                  <a:pt x="97" y="142"/>
                </a:lnTo>
                <a:lnTo>
                  <a:pt x="97" y="140"/>
                </a:lnTo>
                <a:lnTo>
                  <a:pt x="95" y="140"/>
                </a:lnTo>
                <a:lnTo>
                  <a:pt x="95" y="140"/>
                </a:lnTo>
                <a:lnTo>
                  <a:pt x="95" y="138"/>
                </a:lnTo>
                <a:lnTo>
                  <a:pt x="99" y="136"/>
                </a:lnTo>
                <a:lnTo>
                  <a:pt x="99" y="136"/>
                </a:lnTo>
                <a:lnTo>
                  <a:pt x="103" y="134"/>
                </a:lnTo>
                <a:lnTo>
                  <a:pt x="103" y="132"/>
                </a:lnTo>
                <a:lnTo>
                  <a:pt x="103" y="132"/>
                </a:lnTo>
                <a:lnTo>
                  <a:pt x="105" y="128"/>
                </a:lnTo>
                <a:lnTo>
                  <a:pt x="107" y="126"/>
                </a:lnTo>
                <a:lnTo>
                  <a:pt x="109" y="124"/>
                </a:lnTo>
                <a:lnTo>
                  <a:pt x="109" y="124"/>
                </a:lnTo>
                <a:lnTo>
                  <a:pt x="105" y="120"/>
                </a:lnTo>
                <a:lnTo>
                  <a:pt x="105" y="120"/>
                </a:lnTo>
                <a:lnTo>
                  <a:pt x="103" y="118"/>
                </a:lnTo>
                <a:lnTo>
                  <a:pt x="101" y="118"/>
                </a:lnTo>
                <a:lnTo>
                  <a:pt x="99" y="118"/>
                </a:lnTo>
                <a:lnTo>
                  <a:pt x="97" y="114"/>
                </a:lnTo>
                <a:lnTo>
                  <a:pt x="97" y="114"/>
                </a:lnTo>
                <a:lnTo>
                  <a:pt x="97" y="110"/>
                </a:lnTo>
                <a:lnTo>
                  <a:pt x="95" y="106"/>
                </a:lnTo>
                <a:lnTo>
                  <a:pt x="95" y="106"/>
                </a:lnTo>
                <a:lnTo>
                  <a:pt x="93" y="102"/>
                </a:lnTo>
                <a:lnTo>
                  <a:pt x="89" y="98"/>
                </a:lnTo>
                <a:lnTo>
                  <a:pt x="89" y="98"/>
                </a:lnTo>
                <a:lnTo>
                  <a:pt x="89" y="94"/>
                </a:lnTo>
                <a:lnTo>
                  <a:pt x="91" y="92"/>
                </a:lnTo>
                <a:lnTo>
                  <a:pt x="91" y="92"/>
                </a:lnTo>
                <a:lnTo>
                  <a:pt x="95" y="92"/>
                </a:lnTo>
                <a:lnTo>
                  <a:pt x="99" y="90"/>
                </a:lnTo>
                <a:lnTo>
                  <a:pt x="99" y="90"/>
                </a:lnTo>
                <a:lnTo>
                  <a:pt x="101" y="86"/>
                </a:lnTo>
                <a:lnTo>
                  <a:pt x="107" y="84"/>
                </a:lnTo>
                <a:lnTo>
                  <a:pt x="107" y="84"/>
                </a:lnTo>
                <a:lnTo>
                  <a:pt x="115" y="78"/>
                </a:lnTo>
                <a:lnTo>
                  <a:pt x="121" y="82"/>
                </a:lnTo>
                <a:lnTo>
                  <a:pt x="121" y="82"/>
                </a:lnTo>
                <a:lnTo>
                  <a:pt x="119" y="64"/>
                </a:lnTo>
                <a:lnTo>
                  <a:pt x="119" y="64"/>
                </a:lnTo>
                <a:lnTo>
                  <a:pt x="119" y="60"/>
                </a:lnTo>
                <a:lnTo>
                  <a:pt x="117" y="56"/>
                </a:lnTo>
                <a:lnTo>
                  <a:pt x="117" y="56"/>
                </a:lnTo>
                <a:lnTo>
                  <a:pt x="119" y="46"/>
                </a:lnTo>
                <a:lnTo>
                  <a:pt x="119" y="46"/>
                </a:lnTo>
                <a:lnTo>
                  <a:pt x="117" y="44"/>
                </a:lnTo>
                <a:lnTo>
                  <a:pt x="115" y="40"/>
                </a:lnTo>
                <a:lnTo>
                  <a:pt x="115" y="38"/>
                </a:lnTo>
                <a:lnTo>
                  <a:pt x="115" y="38"/>
                </a:lnTo>
                <a:lnTo>
                  <a:pt x="117" y="28"/>
                </a:lnTo>
                <a:lnTo>
                  <a:pt x="117" y="22"/>
                </a:lnTo>
                <a:lnTo>
                  <a:pt x="117" y="2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0" name="Freeform 184">
            <a:extLst>
              <a:ext uri="{FF2B5EF4-FFF2-40B4-BE49-F238E27FC236}">
                <a16:creationId xmlns:a16="http://schemas.microsoft.com/office/drawing/2014/main" id="{07863C26-DC8F-4909-B2A1-0034A590ABE6}"/>
              </a:ext>
            </a:extLst>
          </p:cNvPr>
          <p:cNvSpPr>
            <a:spLocks/>
          </p:cNvSpPr>
          <p:nvPr userDrawn="1"/>
        </p:nvSpPr>
        <p:spPr bwMode="auto">
          <a:xfrm>
            <a:off x="6753030" y="2379930"/>
            <a:ext cx="160996" cy="82368"/>
          </a:xfrm>
          <a:custGeom>
            <a:avLst/>
            <a:gdLst>
              <a:gd name="T0" fmla="*/ 0 w 96"/>
              <a:gd name="T1" fmla="*/ 10 h 48"/>
              <a:gd name="T2" fmla="*/ 4 w 96"/>
              <a:gd name="T3" fmla="*/ 14 h 48"/>
              <a:gd name="T4" fmla="*/ 8 w 96"/>
              <a:gd name="T5" fmla="*/ 14 h 48"/>
              <a:gd name="T6" fmla="*/ 12 w 96"/>
              <a:gd name="T7" fmla="*/ 18 h 48"/>
              <a:gd name="T8" fmla="*/ 18 w 96"/>
              <a:gd name="T9" fmla="*/ 22 h 48"/>
              <a:gd name="T10" fmla="*/ 22 w 96"/>
              <a:gd name="T11" fmla="*/ 36 h 48"/>
              <a:gd name="T12" fmla="*/ 22 w 96"/>
              <a:gd name="T13" fmla="*/ 42 h 48"/>
              <a:gd name="T14" fmla="*/ 24 w 96"/>
              <a:gd name="T15" fmla="*/ 42 h 48"/>
              <a:gd name="T16" fmla="*/ 26 w 96"/>
              <a:gd name="T17" fmla="*/ 42 h 48"/>
              <a:gd name="T18" fmla="*/ 30 w 96"/>
              <a:gd name="T19" fmla="*/ 42 h 48"/>
              <a:gd name="T20" fmla="*/ 34 w 96"/>
              <a:gd name="T21" fmla="*/ 42 h 48"/>
              <a:gd name="T22" fmla="*/ 40 w 96"/>
              <a:gd name="T23" fmla="*/ 46 h 48"/>
              <a:gd name="T24" fmla="*/ 48 w 96"/>
              <a:gd name="T25" fmla="*/ 44 h 48"/>
              <a:gd name="T26" fmla="*/ 50 w 96"/>
              <a:gd name="T27" fmla="*/ 44 h 48"/>
              <a:gd name="T28" fmla="*/ 50 w 96"/>
              <a:gd name="T29" fmla="*/ 48 h 48"/>
              <a:gd name="T30" fmla="*/ 54 w 96"/>
              <a:gd name="T31" fmla="*/ 48 h 48"/>
              <a:gd name="T32" fmla="*/ 64 w 96"/>
              <a:gd name="T33" fmla="*/ 48 h 48"/>
              <a:gd name="T34" fmla="*/ 72 w 96"/>
              <a:gd name="T35" fmla="*/ 48 h 48"/>
              <a:gd name="T36" fmla="*/ 74 w 96"/>
              <a:gd name="T37" fmla="*/ 46 h 48"/>
              <a:gd name="T38" fmla="*/ 76 w 96"/>
              <a:gd name="T39" fmla="*/ 42 h 48"/>
              <a:gd name="T40" fmla="*/ 82 w 96"/>
              <a:gd name="T41" fmla="*/ 40 h 48"/>
              <a:gd name="T42" fmla="*/ 86 w 96"/>
              <a:gd name="T43" fmla="*/ 42 h 48"/>
              <a:gd name="T44" fmla="*/ 88 w 96"/>
              <a:gd name="T45" fmla="*/ 44 h 48"/>
              <a:gd name="T46" fmla="*/ 92 w 96"/>
              <a:gd name="T47" fmla="*/ 48 h 48"/>
              <a:gd name="T48" fmla="*/ 94 w 96"/>
              <a:gd name="T49" fmla="*/ 48 h 48"/>
              <a:gd name="T50" fmla="*/ 92 w 96"/>
              <a:gd name="T51" fmla="*/ 42 h 48"/>
              <a:gd name="T52" fmla="*/ 92 w 96"/>
              <a:gd name="T53" fmla="*/ 40 h 48"/>
              <a:gd name="T54" fmla="*/ 96 w 96"/>
              <a:gd name="T55" fmla="*/ 36 h 48"/>
              <a:gd name="T56" fmla="*/ 92 w 96"/>
              <a:gd name="T57" fmla="*/ 32 h 48"/>
              <a:gd name="T58" fmla="*/ 90 w 96"/>
              <a:gd name="T59" fmla="*/ 30 h 48"/>
              <a:gd name="T60" fmla="*/ 84 w 96"/>
              <a:gd name="T61" fmla="*/ 30 h 48"/>
              <a:gd name="T62" fmla="*/ 84 w 96"/>
              <a:gd name="T63" fmla="*/ 30 h 48"/>
              <a:gd name="T64" fmla="*/ 84 w 96"/>
              <a:gd name="T65" fmla="*/ 26 h 48"/>
              <a:gd name="T66" fmla="*/ 84 w 96"/>
              <a:gd name="T67" fmla="*/ 24 h 48"/>
              <a:gd name="T68" fmla="*/ 78 w 96"/>
              <a:gd name="T69" fmla="*/ 20 h 48"/>
              <a:gd name="T70" fmla="*/ 76 w 96"/>
              <a:gd name="T71" fmla="*/ 18 h 48"/>
              <a:gd name="T72" fmla="*/ 74 w 96"/>
              <a:gd name="T73" fmla="*/ 14 h 48"/>
              <a:gd name="T74" fmla="*/ 66 w 96"/>
              <a:gd name="T75" fmla="*/ 14 h 48"/>
              <a:gd name="T76" fmla="*/ 62 w 96"/>
              <a:gd name="T77" fmla="*/ 16 h 48"/>
              <a:gd name="T78" fmla="*/ 60 w 96"/>
              <a:gd name="T79" fmla="*/ 16 h 48"/>
              <a:gd name="T80" fmla="*/ 58 w 96"/>
              <a:gd name="T81" fmla="*/ 14 h 48"/>
              <a:gd name="T82" fmla="*/ 50 w 96"/>
              <a:gd name="T83" fmla="*/ 16 h 48"/>
              <a:gd name="T84" fmla="*/ 46 w 96"/>
              <a:gd name="T85" fmla="*/ 16 h 48"/>
              <a:gd name="T86" fmla="*/ 40 w 96"/>
              <a:gd name="T87" fmla="*/ 8 h 48"/>
              <a:gd name="T88" fmla="*/ 36 w 96"/>
              <a:gd name="T89" fmla="*/ 6 h 48"/>
              <a:gd name="T90" fmla="*/ 32 w 96"/>
              <a:gd name="T91" fmla="*/ 4 h 48"/>
              <a:gd name="T92" fmla="*/ 22 w 96"/>
              <a:gd name="T93" fmla="*/ 4 h 48"/>
              <a:gd name="T94" fmla="*/ 16 w 96"/>
              <a:gd name="T95" fmla="*/ 4 h 48"/>
              <a:gd name="T96" fmla="*/ 14 w 96"/>
              <a:gd name="T97" fmla="*/ 0 h 48"/>
              <a:gd name="T98" fmla="*/ 8 w 96"/>
              <a:gd name="T99" fmla="*/ 0 h 48"/>
              <a:gd name="T100" fmla="*/ 4 w 96"/>
              <a:gd name="T101" fmla="*/ 2 h 48"/>
              <a:gd name="T102" fmla="*/ 0 w 96"/>
              <a:gd name="T103"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 h="48">
                <a:moveTo>
                  <a:pt x="0" y="10"/>
                </a:moveTo>
                <a:lnTo>
                  <a:pt x="0" y="10"/>
                </a:lnTo>
                <a:lnTo>
                  <a:pt x="4" y="14"/>
                </a:lnTo>
                <a:lnTo>
                  <a:pt x="4" y="14"/>
                </a:lnTo>
                <a:lnTo>
                  <a:pt x="8" y="14"/>
                </a:lnTo>
                <a:lnTo>
                  <a:pt x="8" y="14"/>
                </a:lnTo>
                <a:lnTo>
                  <a:pt x="12" y="18"/>
                </a:lnTo>
                <a:lnTo>
                  <a:pt x="12" y="18"/>
                </a:lnTo>
                <a:lnTo>
                  <a:pt x="18" y="22"/>
                </a:lnTo>
                <a:lnTo>
                  <a:pt x="18" y="22"/>
                </a:lnTo>
                <a:lnTo>
                  <a:pt x="22" y="30"/>
                </a:lnTo>
                <a:lnTo>
                  <a:pt x="22" y="36"/>
                </a:lnTo>
                <a:lnTo>
                  <a:pt x="22" y="40"/>
                </a:lnTo>
                <a:lnTo>
                  <a:pt x="22" y="42"/>
                </a:lnTo>
                <a:lnTo>
                  <a:pt x="22" y="42"/>
                </a:lnTo>
                <a:lnTo>
                  <a:pt x="24" y="42"/>
                </a:lnTo>
                <a:lnTo>
                  <a:pt x="24" y="44"/>
                </a:lnTo>
                <a:lnTo>
                  <a:pt x="26" y="42"/>
                </a:lnTo>
                <a:lnTo>
                  <a:pt x="26" y="42"/>
                </a:lnTo>
                <a:lnTo>
                  <a:pt x="30" y="42"/>
                </a:lnTo>
                <a:lnTo>
                  <a:pt x="34" y="42"/>
                </a:lnTo>
                <a:lnTo>
                  <a:pt x="34" y="42"/>
                </a:lnTo>
                <a:lnTo>
                  <a:pt x="38" y="44"/>
                </a:lnTo>
                <a:lnTo>
                  <a:pt x="40" y="46"/>
                </a:lnTo>
                <a:lnTo>
                  <a:pt x="40" y="46"/>
                </a:lnTo>
                <a:lnTo>
                  <a:pt x="48" y="44"/>
                </a:lnTo>
                <a:lnTo>
                  <a:pt x="48" y="44"/>
                </a:lnTo>
                <a:lnTo>
                  <a:pt x="50" y="44"/>
                </a:lnTo>
                <a:lnTo>
                  <a:pt x="50" y="46"/>
                </a:lnTo>
                <a:lnTo>
                  <a:pt x="50" y="48"/>
                </a:lnTo>
                <a:lnTo>
                  <a:pt x="52" y="48"/>
                </a:lnTo>
                <a:lnTo>
                  <a:pt x="54" y="48"/>
                </a:lnTo>
                <a:lnTo>
                  <a:pt x="54" y="48"/>
                </a:lnTo>
                <a:lnTo>
                  <a:pt x="64" y="48"/>
                </a:lnTo>
                <a:lnTo>
                  <a:pt x="64" y="48"/>
                </a:lnTo>
                <a:lnTo>
                  <a:pt x="72" y="48"/>
                </a:lnTo>
                <a:lnTo>
                  <a:pt x="72" y="48"/>
                </a:lnTo>
                <a:lnTo>
                  <a:pt x="74" y="46"/>
                </a:lnTo>
                <a:lnTo>
                  <a:pt x="76" y="42"/>
                </a:lnTo>
                <a:lnTo>
                  <a:pt x="76" y="42"/>
                </a:lnTo>
                <a:lnTo>
                  <a:pt x="78" y="40"/>
                </a:lnTo>
                <a:lnTo>
                  <a:pt x="82" y="40"/>
                </a:lnTo>
                <a:lnTo>
                  <a:pt x="82" y="40"/>
                </a:lnTo>
                <a:lnTo>
                  <a:pt x="86" y="42"/>
                </a:lnTo>
                <a:lnTo>
                  <a:pt x="88" y="44"/>
                </a:lnTo>
                <a:lnTo>
                  <a:pt x="88" y="44"/>
                </a:lnTo>
                <a:lnTo>
                  <a:pt x="90" y="48"/>
                </a:lnTo>
                <a:lnTo>
                  <a:pt x="92" y="48"/>
                </a:lnTo>
                <a:lnTo>
                  <a:pt x="94" y="48"/>
                </a:lnTo>
                <a:lnTo>
                  <a:pt x="94" y="48"/>
                </a:lnTo>
                <a:lnTo>
                  <a:pt x="96" y="44"/>
                </a:lnTo>
                <a:lnTo>
                  <a:pt x="92" y="42"/>
                </a:lnTo>
                <a:lnTo>
                  <a:pt x="92" y="42"/>
                </a:lnTo>
                <a:lnTo>
                  <a:pt x="92" y="40"/>
                </a:lnTo>
                <a:lnTo>
                  <a:pt x="94" y="38"/>
                </a:lnTo>
                <a:lnTo>
                  <a:pt x="96" y="36"/>
                </a:lnTo>
                <a:lnTo>
                  <a:pt x="96" y="36"/>
                </a:lnTo>
                <a:lnTo>
                  <a:pt x="92" y="32"/>
                </a:lnTo>
                <a:lnTo>
                  <a:pt x="92" y="32"/>
                </a:lnTo>
                <a:lnTo>
                  <a:pt x="90" y="30"/>
                </a:lnTo>
                <a:lnTo>
                  <a:pt x="88" y="30"/>
                </a:lnTo>
                <a:lnTo>
                  <a:pt x="84" y="30"/>
                </a:lnTo>
                <a:lnTo>
                  <a:pt x="84" y="30"/>
                </a:lnTo>
                <a:lnTo>
                  <a:pt x="84" y="30"/>
                </a:lnTo>
                <a:lnTo>
                  <a:pt x="84" y="28"/>
                </a:lnTo>
                <a:lnTo>
                  <a:pt x="84" y="26"/>
                </a:lnTo>
                <a:lnTo>
                  <a:pt x="84" y="24"/>
                </a:lnTo>
                <a:lnTo>
                  <a:pt x="84" y="24"/>
                </a:lnTo>
                <a:lnTo>
                  <a:pt x="80" y="22"/>
                </a:lnTo>
                <a:lnTo>
                  <a:pt x="78" y="20"/>
                </a:lnTo>
                <a:lnTo>
                  <a:pt x="78" y="20"/>
                </a:lnTo>
                <a:lnTo>
                  <a:pt x="76" y="18"/>
                </a:lnTo>
                <a:lnTo>
                  <a:pt x="74" y="14"/>
                </a:lnTo>
                <a:lnTo>
                  <a:pt x="74" y="14"/>
                </a:lnTo>
                <a:lnTo>
                  <a:pt x="70" y="12"/>
                </a:lnTo>
                <a:lnTo>
                  <a:pt x="66" y="14"/>
                </a:lnTo>
                <a:lnTo>
                  <a:pt x="66" y="14"/>
                </a:lnTo>
                <a:lnTo>
                  <a:pt x="62" y="16"/>
                </a:lnTo>
                <a:lnTo>
                  <a:pt x="62" y="16"/>
                </a:lnTo>
                <a:lnTo>
                  <a:pt x="60" y="16"/>
                </a:lnTo>
                <a:lnTo>
                  <a:pt x="60" y="16"/>
                </a:lnTo>
                <a:lnTo>
                  <a:pt x="58" y="14"/>
                </a:lnTo>
                <a:lnTo>
                  <a:pt x="56" y="14"/>
                </a:lnTo>
                <a:lnTo>
                  <a:pt x="50" y="16"/>
                </a:lnTo>
                <a:lnTo>
                  <a:pt x="50" y="16"/>
                </a:lnTo>
                <a:lnTo>
                  <a:pt x="46" y="16"/>
                </a:lnTo>
                <a:lnTo>
                  <a:pt x="44" y="14"/>
                </a:lnTo>
                <a:lnTo>
                  <a:pt x="40" y="8"/>
                </a:lnTo>
                <a:lnTo>
                  <a:pt x="40" y="8"/>
                </a:lnTo>
                <a:lnTo>
                  <a:pt x="36" y="6"/>
                </a:lnTo>
                <a:lnTo>
                  <a:pt x="32" y="4"/>
                </a:lnTo>
                <a:lnTo>
                  <a:pt x="32" y="4"/>
                </a:lnTo>
                <a:lnTo>
                  <a:pt x="28" y="4"/>
                </a:lnTo>
                <a:lnTo>
                  <a:pt x="22" y="4"/>
                </a:lnTo>
                <a:lnTo>
                  <a:pt x="22" y="4"/>
                </a:lnTo>
                <a:lnTo>
                  <a:pt x="16" y="4"/>
                </a:lnTo>
                <a:lnTo>
                  <a:pt x="14" y="0"/>
                </a:lnTo>
                <a:lnTo>
                  <a:pt x="14" y="0"/>
                </a:lnTo>
                <a:lnTo>
                  <a:pt x="12" y="0"/>
                </a:lnTo>
                <a:lnTo>
                  <a:pt x="8" y="0"/>
                </a:lnTo>
                <a:lnTo>
                  <a:pt x="4" y="2"/>
                </a:lnTo>
                <a:lnTo>
                  <a:pt x="4" y="2"/>
                </a:lnTo>
                <a:lnTo>
                  <a:pt x="0" y="6"/>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1" name="Freeform 185">
            <a:extLst>
              <a:ext uri="{FF2B5EF4-FFF2-40B4-BE49-F238E27FC236}">
                <a16:creationId xmlns:a16="http://schemas.microsoft.com/office/drawing/2014/main" id="{C738E030-C6E1-43D1-A55B-40B16E11D8CD}"/>
              </a:ext>
            </a:extLst>
          </p:cNvPr>
          <p:cNvSpPr>
            <a:spLocks/>
          </p:cNvSpPr>
          <p:nvPr userDrawn="1"/>
        </p:nvSpPr>
        <p:spPr bwMode="auto">
          <a:xfrm>
            <a:off x="5476805" y="3289403"/>
            <a:ext cx="73790" cy="24024"/>
          </a:xfrm>
          <a:custGeom>
            <a:avLst/>
            <a:gdLst>
              <a:gd name="T0" fmla="*/ 0 w 44"/>
              <a:gd name="T1" fmla="*/ 14 h 14"/>
              <a:gd name="T2" fmla="*/ 12 w 44"/>
              <a:gd name="T3" fmla="*/ 12 h 14"/>
              <a:gd name="T4" fmla="*/ 12 w 44"/>
              <a:gd name="T5" fmla="*/ 12 h 14"/>
              <a:gd name="T6" fmla="*/ 12 w 44"/>
              <a:gd name="T7" fmla="*/ 10 h 14"/>
              <a:gd name="T8" fmla="*/ 14 w 44"/>
              <a:gd name="T9" fmla="*/ 10 h 14"/>
              <a:gd name="T10" fmla="*/ 16 w 44"/>
              <a:gd name="T11" fmla="*/ 10 h 14"/>
              <a:gd name="T12" fmla="*/ 16 w 44"/>
              <a:gd name="T13" fmla="*/ 10 h 14"/>
              <a:gd name="T14" fmla="*/ 38 w 44"/>
              <a:gd name="T15" fmla="*/ 8 h 14"/>
              <a:gd name="T16" fmla="*/ 38 w 44"/>
              <a:gd name="T17" fmla="*/ 8 h 14"/>
              <a:gd name="T18" fmla="*/ 42 w 44"/>
              <a:gd name="T19" fmla="*/ 8 h 14"/>
              <a:gd name="T20" fmla="*/ 44 w 44"/>
              <a:gd name="T21" fmla="*/ 2 h 14"/>
              <a:gd name="T22" fmla="*/ 44 w 44"/>
              <a:gd name="T23" fmla="*/ 2 h 14"/>
              <a:gd name="T24" fmla="*/ 42 w 44"/>
              <a:gd name="T25" fmla="*/ 0 h 14"/>
              <a:gd name="T26" fmla="*/ 42 w 44"/>
              <a:gd name="T27" fmla="*/ 0 h 14"/>
              <a:gd name="T28" fmla="*/ 38 w 44"/>
              <a:gd name="T29" fmla="*/ 0 h 14"/>
              <a:gd name="T30" fmla="*/ 38 w 44"/>
              <a:gd name="T31" fmla="*/ 0 h 14"/>
              <a:gd name="T32" fmla="*/ 28 w 44"/>
              <a:gd name="T33" fmla="*/ 0 h 14"/>
              <a:gd name="T34" fmla="*/ 28 w 44"/>
              <a:gd name="T35" fmla="*/ 0 h 14"/>
              <a:gd name="T36" fmla="*/ 22 w 44"/>
              <a:gd name="T37" fmla="*/ 2 h 14"/>
              <a:gd name="T38" fmla="*/ 20 w 44"/>
              <a:gd name="T39" fmla="*/ 2 h 14"/>
              <a:gd name="T40" fmla="*/ 16 w 44"/>
              <a:gd name="T41" fmla="*/ 0 h 14"/>
              <a:gd name="T42" fmla="*/ 16 w 44"/>
              <a:gd name="T43" fmla="*/ 0 h 14"/>
              <a:gd name="T44" fmla="*/ 14 w 44"/>
              <a:gd name="T45" fmla="*/ 0 h 14"/>
              <a:gd name="T46" fmla="*/ 12 w 44"/>
              <a:gd name="T47" fmla="*/ 2 h 14"/>
              <a:gd name="T48" fmla="*/ 12 w 44"/>
              <a:gd name="T49" fmla="*/ 2 h 14"/>
              <a:gd name="T50" fmla="*/ 8 w 44"/>
              <a:gd name="T51" fmla="*/ 2 h 14"/>
              <a:gd name="T52" fmla="*/ 6 w 44"/>
              <a:gd name="T53" fmla="*/ 2 h 14"/>
              <a:gd name="T54" fmla="*/ 6 w 44"/>
              <a:gd name="T55" fmla="*/ 2 h 14"/>
              <a:gd name="T56" fmla="*/ 2 w 44"/>
              <a:gd name="T57" fmla="*/ 2 h 14"/>
              <a:gd name="T58" fmla="*/ 0 w 44"/>
              <a:gd name="T59" fmla="*/ 4 h 14"/>
              <a:gd name="T60" fmla="*/ 0 w 44"/>
              <a:gd name="T61" fmla="*/ 6 h 14"/>
              <a:gd name="T62" fmla="*/ 0 w 44"/>
              <a:gd name="T63" fmla="*/ 6 h 14"/>
              <a:gd name="T64" fmla="*/ 2 w 44"/>
              <a:gd name="T65" fmla="*/ 8 h 14"/>
              <a:gd name="T66" fmla="*/ 2 w 44"/>
              <a:gd name="T67" fmla="*/ 8 h 14"/>
              <a:gd name="T68" fmla="*/ 0 w 44"/>
              <a:gd name="T69" fmla="*/ 10 h 14"/>
              <a:gd name="T70" fmla="*/ 0 w 44"/>
              <a:gd name="T71" fmla="*/ 10 h 14"/>
              <a:gd name="T72" fmla="*/ 0 w 44"/>
              <a:gd name="T73" fmla="*/ 10 h 14"/>
              <a:gd name="T74" fmla="*/ 0 w 44"/>
              <a:gd name="T75" fmla="*/ 14 h 14"/>
              <a:gd name="T76" fmla="*/ 0 w 44"/>
              <a:gd name="T7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14">
                <a:moveTo>
                  <a:pt x="0" y="14"/>
                </a:moveTo>
                <a:lnTo>
                  <a:pt x="12" y="12"/>
                </a:lnTo>
                <a:lnTo>
                  <a:pt x="12" y="12"/>
                </a:lnTo>
                <a:lnTo>
                  <a:pt x="12" y="10"/>
                </a:lnTo>
                <a:lnTo>
                  <a:pt x="14" y="10"/>
                </a:lnTo>
                <a:lnTo>
                  <a:pt x="16" y="10"/>
                </a:lnTo>
                <a:lnTo>
                  <a:pt x="16" y="10"/>
                </a:lnTo>
                <a:lnTo>
                  <a:pt x="38" y="8"/>
                </a:lnTo>
                <a:lnTo>
                  <a:pt x="38" y="8"/>
                </a:lnTo>
                <a:lnTo>
                  <a:pt x="42" y="8"/>
                </a:lnTo>
                <a:lnTo>
                  <a:pt x="44" y="2"/>
                </a:lnTo>
                <a:lnTo>
                  <a:pt x="44" y="2"/>
                </a:lnTo>
                <a:lnTo>
                  <a:pt x="42" y="0"/>
                </a:lnTo>
                <a:lnTo>
                  <a:pt x="42" y="0"/>
                </a:lnTo>
                <a:lnTo>
                  <a:pt x="38" y="0"/>
                </a:lnTo>
                <a:lnTo>
                  <a:pt x="38" y="0"/>
                </a:lnTo>
                <a:lnTo>
                  <a:pt x="28" y="0"/>
                </a:lnTo>
                <a:lnTo>
                  <a:pt x="28" y="0"/>
                </a:lnTo>
                <a:lnTo>
                  <a:pt x="22" y="2"/>
                </a:lnTo>
                <a:lnTo>
                  <a:pt x="20" y="2"/>
                </a:lnTo>
                <a:lnTo>
                  <a:pt x="16" y="0"/>
                </a:lnTo>
                <a:lnTo>
                  <a:pt x="16" y="0"/>
                </a:lnTo>
                <a:lnTo>
                  <a:pt x="14" y="0"/>
                </a:lnTo>
                <a:lnTo>
                  <a:pt x="12" y="2"/>
                </a:lnTo>
                <a:lnTo>
                  <a:pt x="12" y="2"/>
                </a:lnTo>
                <a:lnTo>
                  <a:pt x="8" y="2"/>
                </a:lnTo>
                <a:lnTo>
                  <a:pt x="6" y="2"/>
                </a:lnTo>
                <a:lnTo>
                  <a:pt x="6" y="2"/>
                </a:lnTo>
                <a:lnTo>
                  <a:pt x="2" y="2"/>
                </a:lnTo>
                <a:lnTo>
                  <a:pt x="0" y="4"/>
                </a:lnTo>
                <a:lnTo>
                  <a:pt x="0" y="6"/>
                </a:lnTo>
                <a:lnTo>
                  <a:pt x="0" y="6"/>
                </a:lnTo>
                <a:lnTo>
                  <a:pt x="2" y="8"/>
                </a:lnTo>
                <a:lnTo>
                  <a:pt x="2" y="8"/>
                </a:lnTo>
                <a:lnTo>
                  <a:pt x="0" y="10"/>
                </a:lnTo>
                <a:lnTo>
                  <a:pt x="0" y="10"/>
                </a:lnTo>
                <a:lnTo>
                  <a:pt x="0" y="10"/>
                </a:lnTo>
                <a:lnTo>
                  <a:pt x="0" y="14"/>
                </a:lnTo>
                <a:lnTo>
                  <a:pt x="0"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2" name="Freeform 186">
            <a:extLst>
              <a:ext uri="{FF2B5EF4-FFF2-40B4-BE49-F238E27FC236}">
                <a16:creationId xmlns:a16="http://schemas.microsoft.com/office/drawing/2014/main" id="{271B8951-5A15-4D03-9D58-E730938D73EC}"/>
              </a:ext>
            </a:extLst>
          </p:cNvPr>
          <p:cNvSpPr>
            <a:spLocks/>
          </p:cNvSpPr>
          <p:nvPr userDrawn="1"/>
        </p:nvSpPr>
        <p:spPr bwMode="auto">
          <a:xfrm>
            <a:off x="6050351" y="3608576"/>
            <a:ext cx="135840" cy="185327"/>
          </a:xfrm>
          <a:custGeom>
            <a:avLst/>
            <a:gdLst>
              <a:gd name="T0" fmla="*/ 31 w 81"/>
              <a:gd name="T1" fmla="*/ 104 h 108"/>
              <a:gd name="T2" fmla="*/ 35 w 81"/>
              <a:gd name="T3" fmla="*/ 98 h 108"/>
              <a:gd name="T4" fmla="*/ 43 w 81"/>
              <a:gd name="T5" fmla="*/ 102 h 108"/>
              <a:gd name="T6" fmla="*/ 45 w 81"/>
              <a:gd name="T7" fmla="*/ 96 h 108"/>
              <a:gd name="T8" fmla="*/ 43 w 81"/>
              <a:gd name="T9" fmla="*/ 88 h 108"/>
              <a:gd name="T10" fmla="*/ 45 w 81"/>
              <a:gd name="T11" fmla="*/ 84 h 108"/>
              <a:gd name="T12" fmla="*/ 43 w 81"/>
              <a:gd name="T13" fmla="*/ 78 h 108"/>
              <a:gd name="T14" fmla="*/ 51 w 81"/>
              <a:gd name="T15" fmla="*/ 78 h 108"/>
              <a:gd name="T16" fmla="*/ 51 w 81"/>
              <a:gd name="T17" fmla="*/ 74 h 108"/>
              <a:gd name="T18" fmla="*/ 57 w 81"/>
              <a:gd name="T19" fmla="*/ 76 h 108"/>
              <a:gd name="T20" fmla="*/ 61 w 81"/>
              <a:gd name="T21" fmla="*/ 76 h 108"/>
              <a:gd name="T22" fmla="*/ 69 w 81"/>
              <a:gd name="T23" fmla="*/ 76 h 108"/>
              <a:gd name="T24" fmla="*/ 73 w 81"/>
              <a:gd name="T25" fmla="*/ 82 h 108"/>
              <a:gd name="T26" fmla="*/ 77 w 81"/>
              <a:gd name="T27" fmla="*/ 76 h 108"/>
              <a:gd name="T28" fmla="*/ 73 w 81"/>
              <a:gd name="T29" fmla="*/ 68 h 108"/>
              <a:gd name="T30" fmla="*/ 73 w 81"/>
              <a:gd name="T31" fmla="*/ 66 h 108"/>
              <a:gd name="T32" fmla="*/ 75 w 81"/>
              <a:gd name="T33" fmla="*/ 60 h 108"/>
              <a:gd name="T34" fmla="*/ 73 w 81"/>
              <a:gd name="T35" fmla="*/ 54 h 108"/>
              <a:gd name="T36" fmla="*/ 73 w 81"/>
              <a:gd name="T37" fmla="*/ 46 h 108"/>
              <a:gd name="T38" fmla="*/ 67 w 81"/>
              <a:gd name="T39" fmla="*/ 40 h 108"/>
              <a:gd name="T40" fmla="*/ 69 w 81"/>
              <a:gd name="T41" fmla="*/ 38 h 108"/>
              <a:gd name="T42" fmla="*/ 67 w 81"/>
              <a:gd name="T43" fmla="*/ 32 h 108"/>
              <a:gd name="T44" fmla="*/ 73 w 81"/>
              <a:gd name="T45" fmla="*/ 26 h 108"/>
              <a:gd name="T46" fmla="*/ 81 w 81"/>
              <a:gd name="T47" fmla="*/ 16 h 108"/>
              <a:gd name="T48" fmla="*/ 73 w 81"/>
              <a:gd name="T49" fmla="*/ 14 h 108"/>
              <a:gd name="T50" fmla="*/ 65 w 81"/>
              <a:gd name="T51" fmla="*/ 16 h 108"/>
              <a:gd name="T52" fmla="*/ 63 w 81"/>
              <a:gd name="T53" fmla="*/ 10 h 108"/>
              <a:gd name="T54" fmla="*/ 63 w 81"/>
              <a:gd name="T55" fmla="*/ 0 h 108"/>
              <a:gd name="T56" fmla="*/ 53 w 81"/>
              <a:gd name="T57" fmla="*/ 0 h 108"/>
              <a:gd name="T58" fmla="*/ 45 w 81"/>
              <a:gd name="T59" fmla="*/ 0 h 108"/>
              <a:gd name="T60" fmla="*/ 39 w 81"/>
              <a:gd name="T61" fmla="*/ 2 h 108"/>
              <a:gd name="T62" fmla="*/ 10 w 81"/>
              <a:gd name="T63" fmla="*/ 20 h 108"/>
              <a:gd name="T64" fmla="*/ 8 w 81"/>
              <a:gd name="T65" fmla="*/ 24 h 108"/>
              <a:gd name="T66" fmla="*/ 8 w 81"/>
              <a:gd name="T67" fmla="*/ 28 h 108"/>
              <a:gd name="T68" fmla="*/ 12 w 81"/>
              <a:gd name="T69" fmla="*/ 38 h 108"/>
              <a:gd name="T70" fmla="*/ 6 w 81"/>
              <a:gd name="T71" fmla="*/ 38 h 108"/>
              <a:gd name="T72" fmla="*/ 8 w 81"/>
              <a:gd name="T73" fmla="*/ 42 h 108"/>
              <a:gd name="T74" fmla="*/ 6 w 81"/>
              <a:gd name="T75" fmla="*/ 44 h 108"/>
              <a:gd name="T76" fmla="*/ 8 w 81"/>
              <a:gd name="T77" fmla="*/ 46 h 108"/>
              <a:gd name="T78" fmla="*/ 4 w 81"/>
              <a:gd name="T79" fmla="*/ 60 h 108"/>
              <a:gd name="T80" fmla="*/ 0 w 81"/>
              <a:gd name="T81" fmla="*/ 64 h 108"/>
              <a:gd name="T82" fmla="*/ 4 w 81"/>
              <a:gd name="T83" fmla="*/ 66 h 108"/>
              <a:gd name="T84" fmla="*/ 4 w 81"/>
              <a:gd name="T85" fmla="*/ 70 h 108"/>
              <a:gd name="T86" fmla="*/ 8 w 81"/>
              <a:gd name="T87" fmla="*/ 74 h 108"/>
              <a:gd name="T88" fmla="*/ 10 w 81"/>
              <a:gd name="T89" fmla="*/ 76 h 108"/>
              <a:gd name="T90" fmla="*/ 6 w 81"/>
              <a:gd name="T91" fmla="*/ 76 h 108"/>
              <a:gd name="T92" fmla="*/ 26 w 81"/>
              <a:gd name="T93" fmla="*/ 98 h 108"/>
              <a:gd name="T94" fmla="*/ 26 w 81"/>
              <a:gd name="T95" fmla="*/ 104 h 108"/>
              <a:gd name="T96" fmla="*/ 31 w 81"/>
              <a:gd name="T9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 h="108">
                <a:moveTo>
                  <a:pt x="31" y="108"/>
                </a:moveTo>
                <a:lnTo>
                  <a:pt x="31" y="108"/>
                </a:lnTo>
                <a:lnTo>
                  <a:pt x="31" y="104"/>
                </a:lnTo>
                <a:lnTo>
                  <a:pt x="33" y="100"/>
                </a:lnTo>
                <a:lnTo>
                  <a:pt x="35" y="98"/>
                </a:lnTo>
                <a:lnTo>
                  <a:pt x="35" y="98"/>
                </a:lnTo>
                <a:lnTo>
                  <a:pt x="39" y="100"/>
                </a:lnTo>
                <a:lnTo>
                  <a:pt x="43" y="102"/>
                </a:lnTo>
                <a:lnTo>
                  <a:pt x="43" y="102"/>
                </a:lnTo>
                <a:lnTo>
                  <a:pt x="45" y="102"/>
                </a:lnTo>
                <a:lnTo>
                  <a:pt x="47" y="100"/>
                </a:lnTo>
                <a:lnTo>
                  <a:pt x="45" y="96"/>
                </a:lnTo>
                <a:lnTo>
                  <a:pt x="45" y="96"/>
                </a:lnTo>
                <a:lnTo>
                  <a:pt x="43" y="90"/>
                </a:lnTo>
                <a:lnTo>
                  <a:pt x="43" y="88"/>
                </a:lnTo>
                <a:lnTo>
                  <a:pt x="43" y="86"/>
                </a:lnTo>
                <a:lnTo>
                  <a:pt x="43" y="86"/>
                </a:lnTo>
                <a:lnTo>
                  <a:pt x="45" y="84"/>
                </a:lnTo>
                <a:lnTo>
                  <a:pt x="43" y="82"/>
                </a:lnTo>
                <a:lnTo>
                  <a:pt x="43" y="82"/>
                </a:lnTo>
                <a:lnTo>
                  <a:pt x="43" y="78"/>
                </a:lnTo>
                <a:lnTo>
                  <a:pt x="45" y="78"/>
                </a:lnTo>
                <a:lnTo>
                  <a:pt x="51" y="78"/>
                </a:lnTo>
                <a:lnTo>
                  <a:pt x="51" y="78"/>
                </a:lnTo>
                <a:lnTo>
                  <a:pt x="53" y="78"/>
                </a:lnTo>
                <a:lnTo>
                  <a:pt x="51" y="74"/>
                </a:lnTo>
                <a:lnTo>
                  <a:pt x="51" y="74"/>
                </a:lnTo>
                <a:lnTo>
                  <a:pt x="53" y="74"/>
                </a:lnTo>
                <a:lnTo>
                  <a:pt x="53" y="74"/>
                </a:lnTo>
                <a:lnTo>
                  <a:pt x="57" y="76"/>
                </a:lnTo>
                <a:lnTo>
                  <a:pt x="57" y="78"/>
                </a:lnTo>
                <a:lnTo>
                  <a:pt x="57" y="78"/>
                </a:lnTo>
                <a:lnTo>
                  <a:pt x="61" y="76"/>
                </a:lnTo>
                <a:lnTo>
                  <a:pt x="67" y="76"/>
                </a:lnTo>
                <a:lnTo>
                  <a:pt x="67" y="76"/>
                </a:lnTo>
                <a:lnTo>
                  <a:pt x="69" y="76"/>
                </a:lnTo>
                <a:lnTo>
                  <a:pt x="69" y="78"/>
                </a:lnTo>
                <a:lnTo>
                  <a:pt x="73" y="82"/>
                </a:lnTo>
                <a:lnTo>
                  <a:pt x="73" y="82"/>
                </a:lnTo>
                <a:lnTo>
                  <a:pt x="75" y="84"/>
                </a:lnTo>
                <a:lnTo>
                  <a:pt x="75" y="82"/>
                </a:lnTo>
                <a:lnTo>
                  <a:pt x="77" y="76"/>
                </a:lnTo>
                <a:lnTo>
                  <a:pt x="77" y="76"/>
                </a:lnTo>
                <a:lnTo>
                  <a:pt x="77" y="70"/>
                </a:lnTo>
                <a:lnTo>
                  <a:pt x="73" y="68"/>
                </a:lnTo>
                <a:lnTo>
                  <a:pt x="73" y="68"/>
                </a:lnTo>
                <a:lnTo>
                  <a:pt x="73" y="66"/>
                </a:lnTo>
                <a:lnTo>
                  <a:pt x="73" y="66"/>
                </a:lnTo>
                <a:lnTo>
                  <a:pt x="75" y="64"/>
                </a:lnTo>
                <a:lnTo>
                  <a:pt x="75" y="60"/>
                </a:lnTo>
                <a:lnTo>
                  <a:pt x="75" y="60"/>
                </a:lnTo>
                <a:lnTo>
                  <a:pt x="73" y="58"/>
                </a:lnTo>
                <a:lnTo>
                  <a:pt x="73" y="54"/>
                </a:lnTo>
                <a:lnTo>
                  <a:pt x="73" y="54"/>
                </a:lnTo>
                <a:lnTo>
                  <a:pt x="73" y="50"/>
                </a:lnTo>
                <a:lnTo>
                  <a:pt x="73" y="46"/>
                </a:lnTo>
                <a:lnTo>
                  <a:pt x="73" y="46"/>
                </a:lnTo>
                <a:lnTo>
                  <a:pt x="71" y="42"/>
                </a:lnTo>
                <a:lnTo>
                  <a:pt x="67" y="40"/>
                </a:lnTo>
                <a:lnTo>
                  <a:pt x="67" y="40"/>
                </a:lnTo>
                <a:lnTo>
                  <a:pt x="67" y="40"/>
                </a:lnTo>
                <a:lnTo>
                  <a:pt x="67" y="38"/>
                </a:lnTo>
                <a:lnTo>
                  <a:pt x="69" y="38"/>
                </a:lnTo>
                <a:lnTo>
                  <a:pt x="69" y="38"/>
                </a:lnTo>
                <a:lnTo>
                  <a:pt x="67" y="32"/>
                </a:lnTo>
                <a:lnTo>
                  <a:pt x="67" y="32"/>
                </a:lnTo>
                <a:lnTo>
                  <a:pt x="69" y="28"/>
                </a:lnTo>
                <a:lnTo>
                  <a:pt x="73" y="26"/>
                </a:lnTo>
                <a:lnTo>
                  <a:pt x="73" y="26"/>
                </a:lnTo>
                <a:lnTo>
                  <a:pt x="77" y="26"/>
                </a:lnTo>
                <a:lnTo>
                  <a:pt x="79" y="26"/>
                </a:lnTo>
                <a:lnTo>
                  <a:pt x="81" y="16"/>
                </a:lnTo>
                <a:lnTo>
                  <a:pt x="81" y="16"/>
                </a:lnTo>
                <a:lnTo>
                  <a:pt x="73" y="14"/>
                </a:lnTo>
                <a:lnTo>
                  <a:pt x="73" y="14"/>
                </a:lnTo>
                <a:lnTo>
                  <a:pt x="69" y="14"/>
                </a:lnTo>
                <a:lnTo>
                  <a:pt x="65" y="16"/>
                </a:lnTo>
                <a:lnTo>
                  <a:pt x="65" y="16"/>
                </a:lnTo>
                <a:lnTo>
                  <a:pt x="63" y="16"/>
                </a:lnTo>
                <a:lnTo>
                  <a:pt x="63" y="14"/>
                </a:lnTo>
                <a:lnTo>
                  <a:pt x="63" y="10"/>
                </a:lnTo>
                <a:lnTo>
                  <a:pt x="63" y="10"/>
                </a:lnTo>
                <a:lnTo>
                  <a:pt x="63" y="0"/>
                </a:lnTo>
                <a:lnTo>
                  <a:pt x="63" y="0"/>
                </a:lnTo>
                <a:lnTo>
                  <a:pt x="59" y="0"/>
                </a:lnTo>
                <a:lnTo>
                  <a:pt x="53" y="0"/>
                </a:lnTo>
                <a:lnTo>
                  <a:pt x="53" y="0"/>
                </a:lnTo>
                <a:lnTo>
                  <a:pt x="51" y="0"/>
                </a:lnTo>
                <a:lnTo>
                  <a:pt x="49" y="0"/>
                </a:lnTo>
                <a:lnTo>
                  <a:pt x="45" y="0"/>
                </a:lnTo>
                <a:lnTo>
                  <a:pt x="45" y="0"/>
                </a:lnTo>
                <a:lnTo>
                  <a:pt x="41" y="2"/>
                </a:lnTo>
                <a:lnTo>
                  <a:pt x="39" y="2"/>
                </a:lnTo>
                <a:lnTo>
                  <a:pt x="37" y="22"/>
                </a:lnTo>
                <a:lnTo>
                  <a:pt x="10" y="20"/>
                </a:lnTo>
                <a:lnTo>
                  <a:pt x="10" y="20"/>
                </a:lnTo>
                <a:lnTo>
                  <a:pt x="8" y="22"/>
                </a:lnTo>
                <a:lnTo>
                  <a:pt x="8" y="22"/>
                </a:lnTo>
                <a:lnTo>
                  <a:pt x="8" y="24"/>
                </a:lnTo>
                <a:lnTo>
                  <a:pt x="8" y="24"/>
                </a:lnTo>
                <a:lnTo>
                  <a:pt x="8" y="28"/>
                </a:lnTo>
                <a:lnTo>
                  <a:pt x="8" y="28"/>
                </a:lnTo>
                <a:lnTo>
                  <a:pt x="10" y="30"/>
                </a:lnTo>
                <a:lnTo>
                  <a:pt x="10" y="30"/>
                </a:lnTo>
                <a:lnTo>
                  <a:pt x="12" y="38"/>
                </a:lnTo>
                <a:lnTo>
                  <a:pt x="12" y="38"/>
                </a:lnTo>
                <a:lnTo>
                  <a:pt x="6" y="38"/>
                </a:lnTo>
                <a:lnTo>
                  <a:pt x="6" y="38"/>
                </a:lnTo>
                <a:lnTo>
                  <a:pt x="6" y="40"/>
                </a:lnTo>
                <a:lnTo>
                  <a:pt x="6" y="40"/>
                </a:lnTo>
                <a:lnTo>
                  <a:pt x="8" y="42"/>
                </a:lnTo>
                <a:lnTo>
                  <a:pt x="10" y="42"/>
                </a:lnTo>
                <a:lnTo>
                  <a:pt x="8" y="44"/>
                </a:lnTo>
                <a:lnTo>
                  <a:pt x="6" y="44"/>
                </a:lnTo>
                <a:lnTo>
                  <a:pt x="6" y="44"/>
                </a:lnTo>
                <a:lnTo>
                  <a:pt x="8" y="46"/>
                </a:lnTo>
                <a:lnTo>
                  <a:pt x="8" y="46"/>
                </a:lnTo>
                <a:lnTo>
                  <a:pt x="6" y="54"/>
                </a:lnTo>
                <a:lnTo>
                  <a:pt x="4" y="60"/>
                </a:lnTo>
                <a:lnTo>
                  <a:pt x="4" y="60"/>
                </a:lnTo>
                <a:lnTo>
                  <a:pt x="0" y="60"/>
                </a:lnTo>
                <a:lnTo>
                  <a:pt x="0" y="60"/>
                </a:lnTo>
                <a:lnTo>
                  <a:pt x="0" y="64"/>
                </a:lnTo>
                <a:lnTo>
                  <a:pt x="0" y="64"/>
                </a:lnTo>
                <a:lnTo>
                  <a:pt x="4" y="66"/>
                </a:lnTo>
                <a:lnTo>
                  <a:pt x="4" y="66"/>
                </a:lnTo>
                <a:lnTo>
                  <a:pt x="2" y="68"/>
                </a:lnTo>
                <a:lnTo>
                  <a:pt x="4" y="70"/>
                </a:lnTo>
                <a:lnTo>
                  <a:pt x="4" y="70"/>
                </a:lnTo>
                <a:lnTo>
                  <a:pt x="8" y="70"/>
                </a:lnTo>
                <a:lnTo>
                  <a:pt x="8" y="70"/>
                </a:lnTo>
                <a:lnTo>
                  <a:pt x="8" y="74"/>
                </a:lnTo>
                <a:lnTo>
                  <a:pt x="8" y="74"/>
                </a:lnTo>
                <a:lnTo>
                  <a:pt x="10" y="74"/>
                </a:lnTo>
                <a:lnTo>
                  <a:pt x="10" y="76"/>
                </a:lnTo>
                <a:lnTo>
                  <a:pt x="10" y="76"/>
                </a:lnTo>
                <a:lnTo>
                  <a:pt x="6" y="76"/>
                </a:lnTo>
                <a:lnTo>
                  <a:pt x="6" y="76"/>
                </a:lnTo>
                <a:lnTo>
                  <a:pt x="6" y="78"/>
                </a:lnTo>
                <a:lnTo>
                  <a:pt x="6" y="78"/>
                </a:lnTo>
                <a:lnTo>
                  <a:pt x="26" y="98"/>
                </a:lnTo>
                <a:lnTo>
                  <a:pt x="26" y="98"/>
                </a:lnTo>
                <a:lnTo>
                  <a:pt x="26" y="100"/>
                </a:lnTo>
                <a:lnTo>
                  <a:pt x="26" y="104"/>
                </a:lnTo>
                <a:lnTo>
                  <a:pt x="26" y="104"/>
                </a:lnTo>
                <a:lnTo>
                  <a:pt x="29" y="106"/>
                </a:lnTo>
                <a:lnTo>
                  <a:pt x="31" y="108"/>
                </a:lnTo>
                <a:lnTo>
                  <a:pt x="31"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3" name="Freeform 187">
            <a:extLst>
              <a:ext uri="{FF2B5EF4-FFF2-40B4-BE49-F238E27FC236}">
                <a16:creationId xmlns:a16="http://schemas.microsoft.com/office/drawing/2014/main" id="{7BF9CF63-2996-4757-AA4B-0FA9C7A0734D}"/>
              </a:ext>
            </a:extLst>
          </p:cNvPr>
          <p:cNvSpPr>
            <a:spLocks/>
          </p:cNvSpPr>
          <p:nvPr userDrawn="1"/>
        </p:nvSpPr>
        <p:spPr bwMode="auto">
          <a:xfrm>
            <a:off x="4624871" y="3505617"/>
            <a:ext cx="70435" cy="133847"/>
          </a:xfrm>
          <a:custGeom>
            <a:avLst/>
            <a:gdLst>
              <a:gd name="T0" fmla="*/ 6 w 42"/>
              <a:gd name="T1" fmla="*/ 2 h 78"/>
              <a:gd name="T2" fmla="*/ 6 w 42"/>
              <a:gd name="T3" fmla="*/ 2 h 78"/>
              <a:gd name="T4" fmla="*/ 6 w 42"/>
              <a:gd name="T5" fmla="*/ 4 h 78"/>
              <a:gd name="T6" fmla="*/ 6 w 42"/>
              <a:gd name="T7" fmla="*/ 4 h 78"/>
              <a:gd name="T8" fmla="*/ 6 w 42"/>
              <a:gd name="T9" fmla="*/ 10 h 78"/>
              <a:gd name="T10" fmla="*/ 0 w 42"/>
              <a:gd name="T11" fmla="*/ 20 h 78"/>
              <a:gd name="T12" fmla="*/ 0 w 42"/>
              <a:gd name="T13" fmla="*/ 20 h 78"/>
              <a:gd name="T14" fmla="*/ 0 w 42"/>
              <a:gd name="T15" fmla="*/ 38 h 78"/>
              <a:gd name="T16" fmla="*/ 0 w 42"/>
              <a:gd name="T17" fmla="*/ 38 h 78"/>
              <a:gd name="T18" fmla="*/ 2 w 42"/>
              <a:gd name="T19" fmla="*/ 42 h 78"/>
              <a:gd name="T20" fmla="*/ 4 w 42"/>
              <a:gd name="T21" fmla="*/ 46 h 78"/>
              <a:gd name="T22" fmla="*/ 8 w 42"/>
              <a:gd name="T23" fmla="*/ 50 h 78"/>
              <a:gd name="T24" fmla="*/ 8 w 42"/>
              <a:gd name="T25" fmla="*/ 50 h 78"/>
              <a:gd name="T26" fmla="*/ 8 w 42"/>
              <a:gd name="T27" fmla="*/ 54 h 78"/>
              <a:gd name="T28" fmla="*/ 4 w 42"/>
              <a:gd name="T29" fmla="*/ 60 h 78"/>
              <a:gd name="T30" fmla="*/ 4 w 42"/>
              <a:gd name="T31" fmla="*/ 60 h 78"/>
              <a:gd name="T32" fmla="*/ 0 w 42"/>
              <a:gd name="T33" fmla="*/ 70 h 78"/>
              <a:gd name="T34" fmla="*/ 0 w 42"/>
              <a:gd name="T35" fmla="*/ 70 h 78"/>
              <a:gd name="T36" fmla="*/ 0 w 42"/>
              <a:gd name="T37" fmla="*/ 74 h 78"/>
              <a:gd name="T38" fmla="*/ 4 w 42"/>
              <a:gd name="T39" fmla="*/ 78 h 78"/>
              <a:gd name="T40" fmla="*/ 4 w 42"/>
              <a:gd name="T41" fmla="*/ 78 h 78"/>
              <a:gd name="T42" fmla="*/ 6 w 42"/>
              <a:gd name="T43" fmla="*/ 78 h 78"/>
              <a:gd name="T44" fmla="*/ 8 w 42"/>
              <a:gd name="T45" fmla="*/ 78 h 78"/>
              <a:gd name="T46" fmla="*/ 12 w 42"/>
              <a:gd name="T47" fmla="*/ 76 h 78"/>
              <a:gd name="T48" fmla="*/ 18 w 42"/>
              <a:gd name="T49" fmla="*/ 74 h 78"/>
              <a:gd name="T50" fmla="*/ 24 w 42"/>
              <a:gd name="T51" fmla="*/ 78 h 78"/>
              <a:gd name="T52" fmla="*/ 24 w 42"/>
              <a:gd name="T53" fmla="*/ 78 h 78"/>
              <a:gd name="T54" fmla="*/ 28 w 42"/>
              <a:gd name="T55" fmla="*/ 74 h 78"/>
              <a:gd name="T56" fmla="*/ 32 w 42"/>
              <a:gd name="T57" fmla="*/ 66 h 78"/>
              <a:gd name="T58" fmla="*/ 32 w 42"/>
              <a:gd name="T59" fmla="*/ 66 h 78"/>
              <a:gd name="T60" fmla="*/ 34 w 42"/>
              <a:gd name="T61" fmla="*/ 52 h 78"/>
              <a:gd name="T62" fmla="*/ 38 w 42"/>
              <a:gd name="T63" fmla="*/ 44 h 78"/>
              <a:gd name="T64" fmla="*/ 38 w 42"/>
              <a:gd name="T65" fmla="*/ 44 h 78"/>
              <a:gd name="T66" fmla="*/ 42 w 42"/>
              <a:gd name="T67" fmla="*/ 32 h 78"/>
              <a:gd name="T68" fmla="*/ 42 w 42"/>
              <a:gd name="T69" fmla="*/ 32 h 78"/>
              <a:gd name="T70" fmla="*/ 42 w 42"/>
              <a:gd name="T71" fmla="*/ 28 h 78"/>
              <a:gd name="T72" fmla="*/ 40 w 42"/>
              <a:gd name="T73" fmla="*/ 26 h 78"/>
              <a:gd name="T74" fmla="*/ 40 w 42"/>
              <a:gd name="T75" fmla="*/ 26 h 78"/>
              <a:gd name="T76" fmla="*/ 38 w 42"/>
              <a:gd name="T77" fmla="*/ 26 h 78"/>
              <a:gd name="T78" fmla="*/ 38 w 42"/>
              <a:gd name="T79" fmla="*/ 26 h 78"/>
              <a:gd name="T80" fmla="*/ 34 w 42"/>
              <a:gd name="T81" fmla="*/ 20 h 78"/>
              <a:gd name="T82" fmla="*/ 32 w 42"/>
              <a:gd name="T83" fmla="*/ 20 h 78"/>
              <a:gd name="T84" fmla="*/ 32 w 42"/>
              <a:gd name="T85" fmla="*/ 20 h 78"/>
              <a:gd name="T86" fmla="*/ 30 w 42"/>
              <a:gd name="T87" fmla="*/ 16 h 78"/>
              <a:gd name="T88" fmla="*/ 28 w 42"/>
              <a:gd name="T89" fmla="*/ 10 h 78"/>
              <a:gd name="T90" fmla="*/ 28 w 42"/>
              <a:gd name="T91" fmla="*/ 10 h 78"/>
              <a:gd name="T92" fmla="*/ 16 w 42"/>
              <a:gd name="T93" fmla="*/ 4 h 78"/>
              <a:gd name="T94" fmla="*/ 16 w 42"/>
              <a:gd name="T95" fmla="*/ 4 h 78"/>
              <a:gd name="T96" fmla="*/ 12 w 42"/>
              <a:gd name="T97" fmla="*/ 6 h 78"/>
              <a:gd name="T98" fmla="*/ 8 w 42"/>
              <a:gd name="T99" fmla="*/ 6 h 78"/>
              <a:gd name="T100" fmla="*/ 8 w 42"/>
              <a:gd name="T101" fmla="*/ 6 h 78"/>
              <a:gd name="T102" fmla="*/ 8 w 42"/>
              <a:gd name="T103" fmla="*/ 4 h 78"/>
              <a:gd name="T104" fmla="*/ 6 w 42"/>
              <a:gd name="T105" fmla="*/ 0 h 78"/>
              <a:gd name="T106" fmla="*/ 6 w 42"/>
              <a:gd name="T107"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8">
                <a:moveTo>
                  <a:pt x="6" y="2"/>
                </a:moveTo>
                <a:lnTo>
                  <a:pt x="6" y="2"/>
                </a:lnTo>
                <a:lnTo>
                  <a:pt x="6" y="4"/>
                </a:lnTo>
                <a:lnTo>
                  <a:pt x="6" y="4"/>
                </a:lnTo>
                <a:lnTo>
                  <a:pt x="6" y="10"/>
                </a:lnTo>
                <a:lnTo>
                  <a:pt x="0" y="20"/>
                </a:lnTo>
                <a:lnTo>
                  <a:pt x="0" y="20"/>
                </a:lnTo>
                <a:lnTo>
                  <a:pt x="0" y="38"/>
                </a:lnTo>
                <a:lnTo>
                  <a:pt x="0" y="38"/>
                </a:lnTo>
                <a:lnTo>
                  <a:pt x="2" y="42"/>
                </a:lnTo>
                <a:lnTo>
                  <a:pt x="4" y="46"/>
                </a:lnTo>
                <a:lnTo>
                  <a:pt x="8" y="50"/>
                </a:lnTo>
                <a:lnTo>
                  <a:pt x="8" y="50"/>
                </a:lnTo>
                <a:lnTo>
                  <a:pt x="8" y="54"/>
                </a:lnTo>
                <a:lnTo>
                  <a:pt x="4" y="60"/>
                </a:lnTo>
                <a:lnTo>
                  <a:pt x="4" y="60"/>
                </a:lnTo>
                <a:lnTo>
                  <a:pt x="0" y="70"/>
                </a:lnTo>
                <a:lnTo>
                  <a:pt x="0" y="70"/>
                </a:lnTo>
                <a:lnTo>
                  <a:pt x="0" y="74"/>
                </a:lnTo>
                <a:lnTo>
                  <a:pt x="4" y="78"/>
                </a:lnTo>
                <a:lnTo>
                  <a:pt x="4" y="78"/>
                </a:lnTo>
                <a:lnTo>
                  <a:pt x="6" y="78"/>
                </a:lnTo>
                <a:lnTo>
                  <a:pt x="8" y="78"/>
                </a:lnTo>
                <a:lnTo>
                  <a:pt x="12" y="76"/>
                </a:lnTo>
                <a:lnTo>
                  <a:pt x="18" y="74"/>
                </a:lnTo>
                <a:lnTo>
                  <a:pt x="24" y="78"/>
                </a:lnTo>
                <a:lnTo>
                  <a:pt x="24" y="78"/>
                </a:lnTo>
                <a:lnTo>
                  <a:pt x="28" y="74"/>
                </a:lnTo>
                <a:lnTo>
                  <a:pt x="32" y="66"/>
                </a:lnTo>
                <a:lnTo>
                  <a:pt x="32" y="66"/>
                </a:lnTo>
                <a:lnTo>
                  <a:pt x="34" y="52"/>
                </a:lnTo>
                <a:lnTo>
                  <a:pt x="38" y="44"/>
                </a:lnTo>
                <a:lnTo>
                  <a:pt x="38" y="44"/>
                </a:lnTo>
                <a:lnTo>
                  <a:pt x="42" y="32"/>
                </a:lnTo>
                <a:lnTo>
                  <a:pt x="42" y="32"/>
                </a:lnTo>
                <a:lnTo>
                  <a:pt x="42" y="28"/>
                </a:lnTo>
                <a:lnTo>
                  <a:pt x="40" y="26"/>
                </a:lnTo>
                <a:lnTo>
                  <a:pt x="40" y="26"/>
                </a:lnTo>
                <a:lnTo>
                  <a:pt x="38" y="26"/>
                </a:lnTo>
                <a:lnTo>
                  <a:pt x="38" y="26"/>
                </a:lnTo>
                <a:lnTo>
                  <a:pt x="34" y="20"/>
                </a:lnTo>
                <a:lnTo>
                  <a:pt x="32" y="20"/>
                </a:lnTo>
                <a:lnTo>
                  <a:pt x="32" y="20"/>
                </a:lnTo>
                <a:lnTo>
                  <a:pt x="30" y="16"/>
                </a:lnTo>
                <a:lnTo>
                  <a:pt x="28" y="10"/>
                </a:lnTo>
                <a:lnTo>
                  <a:pt x="28" y="10"/>
                </a:lnTo>
                <a:lnTo>
                  <a:pt x="16" y="4"/>
                </a:lnTo>
                <a:lnTo>
                  <a:pt x="16" y="4"/>
                </a:lnTo>
                <a:lnTo>
                  <a:pt x="12" y="6"/>
                </a:lnTo>
                <a:lnTo>
                  <a:pt x="8" y="6"/>
                </a:lnTo>
                <a:lnTo>
                  <a:pt x="8" y="6"/>
                </a:lnTo>
                <a:lnTo>
                  <a:pt x="8" y="4"/>
                </a:lnTo>
                <a:lnTo>
                  <a:pt x="6" y="0"/>
                </a:lnTo>
                <a:lnTo>
                  <a:pt x="6"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4" name="Freeform 188">
            <a:extLst>
              <a:ext uri="{FF2B5EF4-FFF2-40B4-BE49-F238E27FC236}">
                <a16:creationId xmlns:a16="http://schemas.microsoft.com/office/drawing/2014/main" id="{5B7CE8D9-19B4-4268-839C-29646498D700}"/>
              </a:ext>
            </a:extLst>
          </p:cNvPr>
          <p:cNvSpPr>
            <a:spLocks noEditPoints="1"/>
          </p:cNvSpPr>
          <p:nvPr userDrawn="1"/>
        </p:nvSpPr>
        <p:spPr bwMode="auto">
          <a:xfrm>
            <a:off x="5745131" y="2129396"/>
            <a:ext cx="325345" cy="332902"/>
          </a:xfrm>
          <a:custGeom>
            <a:avLst/>
            <a:gdLst>
              <a:gd name="T0" fmla="*/ 172 w 194"/>
              <a:gd name="T1" fmla="*/ 66 h 194"/>
              <a:gd name="T2" fmla="*/ 168 w 194"/>
              <a:gd name="T3" fmla="*/ 74 h 194"/>
              <a:gd name="T4" fmla="*/ 166 w 194"/>
              <a:gd name="T5" fmla="*/ 78 h 194"/>
              <a:gd name="T6" fmla="*/ 154 w 194"/>
              <a:gd name="T7" fmla="*/ 90 h 194"/>
              <a:gd name="T8" fmla="*/ 148 w 194"/>
              <a:gd name="T9" fmla="*/ 106 h 194"/>
              <a:gd name="T10" fmla="*/ 156 w 194"/>
              <a:gd name="T11" fmla="*/ 108 h 194"/>
              <a:gd name="T12" fmla="*/ 162 w 194"/>
              <a:gd name="T13" fmla="*/ 118 h 194"/>
              <a:gd name="T14" fmla="*/ 154 w 194"/>
              <a:gd name="T15" fmla="*/ 124 h 194"/>
              <a:gd name="T16" fmla="*/ 158 w 194"/>
              <a:gd name="T17" fmla="*/ 134 h 194"/>
              <a:gd name="T18" fmla="*/ 164 w 194"/>
              <a:gd name="T19" fmla="*/ 142 h 194"/>
              <a:gd name="T20" fmla="*/ 160 w 194"/>
              <a:gd name="T21" fmla="*/ 148 h 194"/>
              <a:gd name="T22" fmla="*/ 158 w 194"/>
              <a:gd name="T23" fmla="*/ 152 h 194"/>
              <a:gd name="T24" fmla="*/ 144 w 194"/>
              <a:gd name="T25" fmla="*/ 160 h 194"/>
              <a:gd name="T26" fmla="*/ 134 w 194"/>
              <a:gd name="T27" fmla="*/ 152 h 194"/>
              <a:gd name="T28" fmla="*/ 124 w 194"/>
              <a:gd name="T29" fmla="*/ 152 h 194"/>
              <a:gd name="T30" fmla="*/ 112 w 194"/>
              <a:gd name="T31" fmla="*/ 160 h 194"/>
              <a:gd name="T32" fmla="*/ 102 w 194"/>
              <a:gd name="T33" fmla="*/ 172 h 194"/>
              <a:gd name="T34" fmla="*/ 90 w 194"/>
              <a:gd name="T35" fmla="*/ 172 h 194"/>
              <a:gd name="T36" fmla="*/ 76 w 194"/>
              <a:gd name="T37" fmla="*/ 170 h 194"/>
              <a:gd name="T38" fmla="*/ 64 w 194"/>
              <a:gd name="T39" fmla="*/ 168 h 194"/>
              <a:gd name="T40" fmla="*/ 48 w 194"/>
              <a:gd name="T41" fmla="*/ 164 h 194"/>
              <a:gd name="T42" fmla="*/ 42 w 194"/>
              <a:gd name="T43" fmla="*/ 156 h 194"/>
              <a:gd name="T44" fmla="*/ 52 w 194"/>
              <a:gd name="T45" fmla="*/ 140 h 194"/>
              <a:gd name="T46" fmla="*/ 52 w 194"/>
              <a:gd name="T47" fmla="*/ 130 h 194"/>
              <a:gd name="T48" fmla="*/ 52 w 194"/>
              <a:gd name="T49" fmla="*/ 116 h 194"/>
              <a:gd name="T50" fmla="*/ 50 w 194"/>
              <a:gd name="T51" fmla="*/ 106 h 194"/>
              <a:gd name="T52" fmla="*/ 34 w 194"/>
              <a:gd name="T53" fmla="*/ 94 h 194"/>
              <a:gd name="T54" fmla="*/ 34 w 194"/>
              <a:gd name="T55" fmla="*/ 82 h 194"/>
              <a:gd name="T56" fmla="*/ 30 w 194"/>
              <a:gd name="T57" fmla="*/ 78 h 194"/>
              <a:gd name="T58" fmla="*/ 28 w 194"/>
              <a:gd name="T59" fmla="*/ 72 h 194"/>
              <a:gd name="T60" fmla="*/ 20 w 194"/>
              <a:gd name="T61" fmla="*/ 78 h 194"/>
              <a:gd name="T62" fmla="*/ 12 w 194"/>
              <a:gd name="T63" fmla="*/ 68 h 194"/>
              <a:gd name="T64" fmla="*/ 2 w 194"/>
              <a:gd name="T65" fmla="*/ 64 h 194"/>
              <a:gd name="T66" fmla="*/ 0 w 194"/>
              <a:gd name="T67" fmla="*/ 56 h 194"/>
              <a:gd name="T68" fmla="*/ 14 w 194"/>
              <a:gd name="T69" fmla="*/ 52 h 194"/>
              <a:gd name="T70" fmla="*/ 26 w 194"/>
              <a:gd name="T71" fmla="*/ 54 h 194"/>
              <a:gd name="T72" fmla="*/ 34 w 194"/>
              <a:gd name="T73" fmla="*/ 50 h 194"/>
              <a:gd name="T74" fmla="*/ 48 w 194"/>
              <a:gd name="T75" fmla="*/ 48 h 194"/>
              <a:gd name="T76" fmla="*/ 40 w 194"/>
              <a:gd name="T77" fmla="*/ 28 h 194"/>
              <a:gd name="T78" fmla="*/ 60 w 194"/>
              <a:gd name="T79" fmla="*/ 34 h 194"/>
              <a:gd name="T80" fmla="*/ 82 w 194"/>
              <a:gd name="T81" fmla="*/ 20 h 194"/>
              <a:gd name="T82" fmla="*/ 86 w 194"/>
              <a:gd name="T83" fmla="*/ 8 h 194"/>
              <a:gd name="T84" fmla="*/ 98 w 194"/>
              <a:gd name="T85" fmla="*/ 4 h 194"/>
              <a:gd name="T86" fmla="*/ 104 w 194"/>
              <a:gd name="T87" fmla="*/ 12 h 194"/>
              <a:gd name="T88" fmla="*/ 114 w 194"/>
              <a:gd name="T89" fmla="*/ 16 h 194"/>
              <a:gd name="T90" fmla="*/ 124 w 194"/>
              <a:gd name="T91" fmla="*/ 26 h 194"/>
              <a:gd name="T92" fmla="*/ 130 w 194"/>
              <a:gd name="T93" fmla="*/ 30 h 194"/>
              <a:gd name="T94" fmla="*/ 142 w 194"/>
              <a:gd name="T95" fmla="*/ 32 h 194"/>
              <a:gd name="T96" fmla="*/ 150 w 194"/>
              <a:gd name="T97" fmla="*/ 40 h 194"/>
              <a:gd name="T98" fmla="*/ 162 w 194"/>
              <a:gd name="T99" fmla="*/ 42 h 194"/>
              <a:gd name="T100" fmla="*/ 174 w 194"/>
              <a:gd name="T101" fmla="*/ 46 h 194"/>
              <a:gd name="T102" fmla="*/ 186 w 194"/>
              <a:gd name="T103" fmla="*/ 168 h 194"/>
              <a:gd name="T104" fmla="*/ 180 w 194"/>
              <a:gd name="T105" fmla="*/ 184 h 194"/>
              <a:gd name="T106" fmla="*/ 184 w 194"/>
              <a:gd name="T107" fmla="*/ 190 h 194"/>
              <a:gd name="T108" fmla="*/ 192 w 194"/>
              <a:gd name="T109" fmla="*/ 16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4" h="194">
                <a:moveTo>
                  <a:pt x="174" y="52"/>
                </a:moveTo>
                <a:lnTo>
                  <a:pt x="174" y="52"/>
                </a:lnTo>
                <a:lnTo>
                  <a:pt x="172" y="56"/>
                </a:lnTo>
                <a:lnTo>
                  <a:pt x="172" y="60"/>
                </a:lnTo>
                <a:lnTo>
                  <a:pt x="172" y="60"/>
                </a:lnTo>
                <a:lnTo>
                  <a:pt x="172" y="66"/>
                </a:lnTo>
                <a:lnTo>
                  <a:pt x="172" y="70"/>
                </a:lnTo>
                <a:lnTo>
                  <a:pt x="174" y="74"/>
                </a:lnTo>
                <a:lnTo>
                  <a:pt x="174" y="74"/>
                </a:lnTo>
                <a:lnTo>
                  <a:pt x="172" y="74"/>
                </a:lnTo>
                <a:lnTo>
                  <a:pt x="170" y="74"/>
                </a:lnTo>
                <a:lnTo>
                  <a:pt x="168" y="74"/>
                </a:lnTo>
                <a:lnTo>
                  <a:pt x="168" y="74"/>
                </a:lnTo>
                <a:lnTo>
                  <a:pt x="168" y="74"/>
                </a:lnTo>
                <a:lnTo>
                  <a:pt x="166" y="74"/>
                </a:lnTo>
                <a:lnTo>
                  <a:pt x="166" y="78"/>
                </a:lnTo>
                <a:lnTo>
                  <a:pt x="166" y="78"/>
                </a:lnTo>
                <a:lnTo>
                  <a:pt x="166" y="78"/>
                </a:lnTo>
                <a:lnTo>
                  <a:pt x="162" y="80"/>
                </a:lnTo>
                <a:lnTo>
                  <a:pt x="162" y="80"/>
                </a:lnTo>
                <a:lnTo>
                  <a:pt x="160" y="82"/>
                </a:lnTo>
                <a:lnTo>
                  <a:pt x="158" y="84"/>
                </a:lnTo>
                <a:lnTo>
                  <a:pt x="154" y="90"/>
                </a:lnTo>
                <a:lnTo>
                  <a:pt x="154" y="90"/>
                </a:lnTo>
                <a:lnTo>
                  <a:pt x="146" y="100"/>
                </a:lnTo>
                <a:lnTo>
                  <a:pt x="146" y="100"/>
                </a:lnTo>
                <a:lnTo>
                  <a:pt x="144" y="104"/>
                </a:lnTo>
                <a:lnTo>
                  <a:pt x="144" y="106"/>
                </a:lnTo>
                <a:lnTo>
                  <a:pt x="148" y="106"/>
                </a:lnTo>
                <a:lnTo>
                  <a:pt x="148" y="106"/>
                </a:lnTo>
                <a:lnTo>
                  <a:pt x="150" y="104"/>
                </a:lnTo>
                <a:lnTo>
                  <a:pt x="152" y="104"/>
                </a:lnTo>
                <a:lnTo>
                  <a:pt x="154" y="106"/>
                </a:lnTo>
                <a:lnTo>
                  <a:pt x="154" y="106"/>
                </a:lnTo>
                <a:lnTo>
                  <a:pt x="154" y="108"/>
                </a:lnTo>
                <a:lnTo>
                  <a:pt x="156" y="108"/>
                </a:lnTo>
                <a:lnTo>
                  <a:pt x="160" y="108"/>
                </a:lnTo>
                <a:lnTo>
                  <a:pt x="160" y="110"/>
                </a:lnTo>
                <a:lnTo>
                  <a:pt x="160" y="110"/>
                </a:lnTo>
                <a:lnTo>
                  <a:pt x="164" y="112"/>
                </a:lnTo>
                <a:lnTo>
                  <a:pt x="166" y="112"/>
                </a:lnTo>
                <a:lnTo>
                  <a:pt x="162" y="118"/>
                </a:lnTo>
                <a:lnTo>
                  <a:pt x="162" y="118"/>
                </a:lnTo>
                <a:lnTo>
                  <a:pt x="160" y="120"/>
                </a:lnTo>
                <a:lnTo>
                  <a:pt x="158" y="122"/>
                </a:lnTo>
                <a:lnTo>
                  <a:pt x="156" y="122"/>
                </a:lnTo>
                <a:lnTo>
                  <a:pt x="156" y="122"/>
                </a:lnTo>
                <a:lnTo>
                  <a:pt x="154" y="124"/>
                </a:lnTo>
                <a:lnTo>
                  <a:pt x="154" y="126"/>
                </a:lnTo>
                <a:lnTo>
                  <a:pt x="154" y="128"/>
                </a:lnTo>
                <a:lnTo>
                  <a:pt x="156" y="130"/>
                </a:lnTo>
                <a:lnTo>
                  <a:pt x="156" y="130"/>
                </a:lnTo>
                <a:lnTo>
                  <a:pt x="158" y="132"/>
                </a:lnTo>
                <a:lnTo>
                  <a:pt x="158" y="134"/>
                </a:lnTo>
                <a:lnTo>
                  <a:pt x="156" y="138"/>
                </a:lnTo>
                <a:lnTo>
                  <a:pt x="158" y="142"/>
                </a:lnTo>
                <a:lnTo>
                  <a:pt x="158" y="142"/>
                </a:lnTo>
                <a:lnTo>
                  <a:pt x="160" y="142"/>
                </a:lnTo>
                <a:lnTo>
                  <a:pt x="162" y="142"/>
                </a:lnTo>
                <a:lnTo>
                  <a:pt x="164" y="142"/>
                </a:lnTo>
                <a:lnTo>
                  <a:pt x="164" y="142"/>
                </a:lnTo>
                <a:lnTo>
                  <a:pt x="164" y="142"/>
                </a:lnTo>
                <a:lnTo>
                  <a:pt x="160" y="146"/>
                </a:lnTo>
                <a:lnTo>
                  <a:pt x="160" y="146"/>
                </a:lnTo>
                <a:lnTo>
                  <a:pt x="160" y="148"/>
                </a:lnTo>
                <a:lnTo>
                  <a:pt x="160" y="148"/>
                </a:lnTo>
                <a:lnTo>
                  <a:pt x="162" y="150"/>
                </a:lnTo>
                <a:lnTo>
                  <a:pt x="160" y="150"/>
                </a:lnTo>
                <a:lnTo>
                  <a:pt x="158" y="148"/>
                </a:lnTo>
                <a:lnTo>
                  <a:pt x="154" y="150"/>
                </a:lnTo>
                <a:lnTo>
                  <a:pt x="158" y="152"/>
                </a:lnTo>
                <a:lnTo>
                  <a:pt x="158" y="152"/>
                </a:lnTo>
                <a:lnTo>
                  <a:pt x="154" y="160"/>
                </a:lnTo>
                <a:lnTo>
                  <a:pt x="154" y="160"/>
                </a:lnTo>
                <a:lnTo>
                  <a:pt x="150" y="160"/>
                </a:lnTo>
                <a:lnTo>
                  <a:pt x="146" y="162"/>
                </a:lnTo>
                <a:lnTo>
                  <a:pt x="146" y="162"/>
                </a:lnTo>
                <a:lnTo>
                  <a:pt x="144" y="160"/>
                </a:lnTo>
                <a:lnTo>
                  <a:pt x="142" y="158"/>
                </a:lnTo>
                <a:lnTo>
                  <a:pt x="140" y="156"/>
                </a:lnTo>
                <a:lnTo>
                  <a:pt x="140" y="156"/>
                </a:lnTo>
                <a:lnTo>
                  <a:pt x="136" y="156"/>
                </a:lnTo>
                <a:lnTo>
                  <a:pt x="136" y="156"/>
                </a:lnTo>
                <a:lnTo>
                  <a:pt x="134" y="152"/>
                </a:lnTo>
                <a:lnTo>
                  <a:pt x="134" y="152"/>
                </a:lnTo>
                <a:lnTo>
                  <a:pt x="134" y="154"/>
                </a:lnTo>
                <a:lnTo>
                  <a:pt x="132" y="154"/>
                </a:lnTo>
                <a:lnTo>
                  <a:pt x="132" y="154"/>
                </a:lnTo>
                <a:lnTo>
                  <a:pt x="128" y="152"/>
                </a:lnTo>
                <a:lnTo>
                  <a:pt x="124" y="152"/>
                </a:lnTo>
                <a:lnTo>
                  <a:pt x="122" y="152"/>
                </a:lnTo>
                <a:lnTo>
                  <a:pt x="122" y="152"/>
                </a:lnTo>
                <a:lnTo>
                  <a:pt x="118" y="156"/>
                </a:lnTo>
                <a:lnTo>
                  <a:pt x="114" y="160"/>
                </a:lnTo>
                <a:lnTo>
                  <a:pt x="114" y="160"/>
                </a:lnTo>
                <a:lnTo>
                  <a:pt x="112" y="160"/>
                </a:lnTo>
                <a:lnTo>
                  <a:pt x="108" y="160"/>
                </a:lnTo>
                <a:lnTo>
                  <a:pt x="108" y="160"/>
                </a:lnTo>
                <a:lnTo>
                  <a:pt x="108" y="170"/>
                </a:lnTo>
                <a:lnTo>
                  <a:pt x="108" y="170"/>
                </a:lnTo>
                <a:lnTo>
                  <a:pt x="104" y="170"/>
                </a:lnTo>
                <a:lnTo>
                  <a:pt x="102" y="172"/>
                </a:lnTo>
                <a:lnTo>
                  <a:pt x="102" y="172"/>
                </a:lnTo>
                <a:lnTo>
                  <a:pt x="100" y="174"/>
                </a:lnTo>
                <a:lnTo>
                  <a:pt x="100" y="174"/>
                </a:lnTo>
                <a:lnTo>
                  <a:pt x="94" y="174"/>
                </a:lnTo>
                <a:lnTo>
                  <a:pt x="92" y="174"/>
                </a:lnTo>
                <a:lnTo>
                  <a:pt x="90" y="172"/>
                </a:lnTo>
                <a:lnTo>
                  <a:pt x="90" y="172"/>
                </a:lnTo>
                <a:lnTo>
                  <a:pt x="90" y="172"/>
                </a:lnTo>
                <a:lnTo>
                  <a:pt x="88" y="172"/>
                </a:lnTo>
                <a:lnTo>
                  <a:pt x="86" y="172"/>
                </a:lnTo>
                <a:lnTo>
                  <a:pt x="86" y="172"/>
                </a:lnTo>
                <a:lnTo>
                  <a:pt x="76" y="170"/>
                </a:lnTo>
                <a:lnTo>
                  <a:pt x="76" y="170"/>
                </a:lnTo>
                <a:lnTo>
                  <a:pt x="74" y="168"/>
                </a:lnTo>
                <a:lnTo>
                  <a:pt x="72" y="168"/>
                </a:lnTo>
                <a:lnTo>
                  <a:pt x="68" y="170"/>
                </a:lnTo>
                <a:lnTo>
                  <a:pt x="68" y="170"/>
                </a:lnTo>
                <a:lnTo>
                  <a:pt x="64" y="168"/>
                </a:lnTo>
                <a:lnTo>
                  <a:pt x="60" y="166"/>
                </a:lnTo>
                <a:lnTo>
                  <a:pt x="60" y="166"/>
                </a:lnTo>
                <a:lnTo>
                  <a:pt x="56" y="166"/>
                </a:lnTo>
                <a:lnTo>
                  <a:pt x="52" y="164"/>
                </a:lnTo>
                <a:lnTo>
                  <a:pt x="52" y="164"/>
                </a:lnTo>
                <a:lnTo>
                  <a:pt x="48" y="164"/>
                </a:lnTo>
                <a:lnTo>
                  <a:pt x="46" y="162"/>
                </a:lnTo>
                <a:lnTo>
                  <a:pt x="46" y="162"/>
                </a:lnTo>
                <a:lnTo>
                  <a:pt x="46" y="162"/>
                </a:lnTo>
                <a:lnTo>
                  <a:pt x="44" y="158"/>
                </a:lnTo>
                <a:lnTo>
                  <a:pt x="42" y="156"/>
                </a:lnTo>
                <a:lnTo>
                  <a:pt x="42" y="156"/>
                </a:lnTo>
                <a:lnTo>
                  <a:pt x="48" y="154"/>
                </a:lnTo>
                <a:lnTo>
                  <a:pt x="50" y="150"/>
                </a:lnTo>
                <a:lnTo>
                  <a:pt x="50" y="150"/>
                </a:lnTo>
                <a:lnTo>
                  <a:pt x="52" y="146"/>
                </a:lnTo>
                <a:lnTo>
                  <a:pt x="52" y="140"/>
                </a:lnTo>
                <a:lnTo>
                  <a:pt x="52" y="140"/>
                </a:lnTo>
                <a:lnTo>
                  <a:pt x="54" y="134"/>
                </a:lnTo>
                <a:lnTo>
                  <a:pt x="54" y="134"/>
                </a:lnTo>
                <a:lnTo>
                  <a:pt x="54" y="132"/>
                </a:lnTo>
                <a:lnTo>
                  <a:pt x="56" y="132"/>
                </a:lnTo>
                <a:lnTo>
                  <a:pt x="56" y="132"/>
                </a:lnTo>
                <a:lnTo>
                  <a:pt x="52" y="130"/>
                </a:lnTo>
                <a:lnTo>
                  <a:pt x="52" y="130"/>
                </a:lnTo>
                <a:lnTo>
                  <a:pt x="52" y="120"/>
                </a:lnTo>
                <a:lnTo>
                  <a:pt x="52" y="120"/>
                </a:lnTo>
                <a:lnTo>
                  <a:pt x="54" y="120"/>
                </a:lnTo>
                <a:lnTo>
                  <a:pt x="54" y="120"/>
                </a:lnTo>
                <a:lnTo>
                  <a:pt x="52" y="116"/>
                </a:lnTo>
                <a:lnTo>
                  <a:pt x="52" y="116"/>
                </a:lnTo>
                <a:lnTo>
                  <a:pt x="54" y="110"/>
                </a:lnTo>
                <a:lnTo>
                  <a:pt x="52" y="104"/>
                </a:lnTo>
                <a:lnTo>
                  <a:pt x="52" y="104"/>
                </a:lnTo>
                <a:lnTo>
                  <a:pt x="50" y="106"/>
                </a:lnTo>
                <a:lnTo>
                  <a:pt x="50" y="106"/>
                </a:lnTo>
                <a:lnTo>
                  <a:pt x="48" y="102"/>
                </a:lnTo>
                <a:lnTo>
                  <a:pt x="48" y="102"/>
                </a:lnTo>
                <a:lnTo>
                  <a:pt x="40" y="98"/>
                </a:lnTo>
                <a:lnTo>
                  <a:pt x="36" y="96"/>
                </a:lnTo>
                <a:lnTo>
                  <a:pt x="34" y="94"/>
                </a:lnTo>
                <a:lnTo>
                  <a:pt x="34" y="94"/>
                </a:lnTo>
                <a:lnTo>
                  <a:pt x="34" y="86"/>
                </a:lnTo>
                <a:lnTo>
                  <a:pt x="34" y="86"/>
                </a:lnTo>
                <a:lnTo>
                  <a:pt x="34" y="88"/>
                </a:lnTo>
                <a:lnTo>
                  <a:pt x="34" y="86"/>
                </a:lnTo>
                <a:lnTo>
                  <a:pt x="34" y="82"/>
                </a:lnTo>
                <a:lnTo>
                  <a:pt x="34" y="82"/>
                </a:lnTo>
                <a:lnTo>
                  <a:pt x="30" y="82"/>
                </a:lnTo>
                <a:lnTo>
                  <a:pt x="28" y="80"/>
                </a:lnTo>
                <a:lnTo>
                  <a:pt x="28" y="80"/>
                </a:lnTo>
                <a:lnTo>
                  <a:pt x="30" y="80"/>
                </a:lnTo>
                <a:lnTo>
                  <a:pt x="30" y="78"/>
                </a:lnTo>
                <a:lnTo>
                  <a:pt x="30" y="78"/>
                </a:lnTo>
                <a:lnTo>
                  <a:pt x="24" y="78"/>
                </a:lnTo>
                <a:lnTo>
                  <a:pt x="24" y="78"/>
                </a:lnTo>
                <a:lnTo>
                  <a:pt x="24" y="76"/>
                </a:lnTo>
                <a:lnTo>
                  <a:pt x="26" y="76"/>
                </a:lnTo>
                <a:lnTo>
                  <a:pt x="26" y="76"/>
                </a:lnTo>
                <a:lnTo>
                  <a:pt x="28" y="72"/>
                </a:lnTo>
                <a:lnTo>
                  <a:pt x="28" y="72"/>
                </a:lnTo>
                <a:lnTo>
                  <a:pt x="26" y="72"/>
                </a:lnTo>
                <a:lnTo>
                  <a:pt x="26" y="72"/>
                </a:lnTo>
                <a:lnTo>
                  <a:pt x="26" y="72"/>
                </a:lnTo>
                <a:lnTo>
                  <a:pt x="20" y="78"/>
                </a:lnTo>
                <a:lnTo>
                  <a:pt x="20" y="78"/>
                </a:lnTo>
                <a:lnTo>
                  <a:pt x="18" y="72"/>
                </a:lnTo>
                <a:lnTo>
                  <a:pt x="14" y="68"/>
                </a:lnTo>
                <a:lnTo>
                  <a:pt x="14" y="68"/>
                </a:lnTo>
                <a:lnTo>
                  <a:pt x="12" y="70"/>
                </a:lnTo>
                <a:lnTo>
                  <a:pt x="12" y="70"/>
                </a:lnTo>
                <a:lnTo>
                  <a:pt x="12" y="68"/>
                </a:lnTo>
                <a:lnTo>
                  <a:pt x="12" y="66"/>
                </a:lnTo>
                <a:lnTo>
                  <a:pt x="12" y="66"/>
                </a:lnTo>
                <a:lnTo>
                  <a:pt x="0" y="68"/>
                </a:lnTo>
                <a:lnTo>
                  <a:pt x="0" y="66"/>
                </a:lnTo>
                <a:lnTo>
                  <a:pt x="2" y="64"/>
                </a:lnTo>
                <a:lnTo>
                  <a:pt x="2" y="64"/>
                </a:lnTo>
                <a:lnTo>
                  <a:pt x="2" y="60"/>
                </a:lnTo>
                <a:lnTo>
                  <a:pt x="2" y="60"/>
                </a:lnTo>
                <a:lnTo>
                  <a:pt x="6" y="62"/>
                </a:lnTo>
                <a:lnTo>
                  <a:pt x="6" y="60"/>
                </a:lnTo>
                <a:lnTo>
                  <a:pt x="6" y="60"/>
                </a:lnTo>
                <a:lnTo>
                  <a:pt x="0" y="56"/>
                </a:lnTo>
                <a:lnTo>
                  <a:pt x="0" y="54"/>
                </a:lnTo>
                <a:lnTo>
                  <a:pt x="0" y="54"/>
                </a:lnTo>
                <a:lnTo>
                  <a:pt x="6" y="50"/>
                </a:lnTo>
                <a:lnTo>
                  <a:pt x="6" y="50"/>
                </a:lnTo>
                <a:lnTo>
                  <a:pt x="10" y="52"/>
                </a:lnTo>
                <a:lnTo>
                  <a:pt x="14" y="52"/>
                </a:lnTo>
                <a:lnTo>
                  <a:pt x="16" y="48"/>
                </a:lnTo>
                <a:lnTo>
                  <a:pt x="16" y="48"/>
                </a:lnTo>
                <a:lnTo>
                  <a:pt x="20" y="48"/>
                </a:lnTo>
                <a:lnTo>
                  <a:pt x="22" y="50"/>
                </a:lnTo>
                <a:lnTo>
                  <a:pt x="24" y="54"/>
                </a:lnTo>
                <a:lnTo>
                  <a:pt x="26" y="54"/>
                </a:lnTo>
                <a:lnTo>
                  <a:pt x="26" y="54"/>
                </a:lnTo>
                <a:lnTo>
                  <a:pt x="28" y="50"/>
                </a:lnTo>
                <a:lnTo>
                  <a:pt x="28" y="50"/>
                </a:lnTo>
                <a:lnTo>
                  <a:pt x="32" y="52"/>
                </a:lnTo>
                <a:lnTo>
                  <a:pt x="34" y="52"/>
                </a:lnTo>
                <a:lnTo>
                  <a:pt x="34" y="50"/>
                </a:lnTo>
                <a:lnTo>
                  <a:pt x="34" y="50"/>
                </a:lnTo>
                <a:lnTo>
                  <a:pt x="46" y="50"/>
                </a:lnTo>
                <a:lnTo>
                  <a:pt x="46" y="50"/>
                </a:lnTo>
                <a:lnTo>
                  <a:pt x="46" y="50"/>
                </a:lnTo>
                <a:lnTo>
                  <a:pt x="48" y="48"/>
                </a:lnTo>
                <a:lnTo>
                  <a:pt x="48" y="48"/>
                </a:lnTo>
                <a:lnTo>
                  <a:pt x="44" y="46"/>
                </a:lnTo>
                <a:lnTo>
                  <a:pt x="44" y="46"/>
                </a:lnTo>
                <a:lnTo>
                  <a:pt x="44" y="42"/>
                </a:lnTo>
                <a:lnTo>
                  <a:pt x="44" y="38"/>
                </a:lnTo>
                <a:lnTo>
                  <a:pt x="44" y="38"/>
                </a:lnTo>
                <a:lnTo>
                  <a:pt x="40" y="28"/>
                </a:lnTo>
                <a:lnTo>
                  <a:pt x="40" y="28"/>
                </a:lnTo>
                <a:lnTo>
                  <a:pt x="46" y="28"/>
                </a:lnTo>
                <a:lnTo>
                  <a:pt x="48" y="28"/>
                </a:lnTo>
                <a:lnTo>
                  <a:pt x="50" y="36"/>
                </a:lnTo>
                <a:lnTo>
                  <a:pt x="50" y="36"/>
                </a:lnTo>
                <a:lnTo>
                  <a:pt x="60" y="34"/>
                </a:lnTo>
                <a:lnTo>
                  <a:pt x="68" y="32"/>
                </a:lnTo>
                <a:lnTo>
                  <a:pt x="68" y="32"/>
                </a:lnTo>
                <a:lnTo>
                  <a:pt x="68" y="28"/>
                </a:lnTo>
                <a:lnTo>
                  <a:pt x="68" y="28"/>
                </a:lnTo>
                <a:lnTo>
                  <a:pt x="74" y="24"/>
                </a:lnTo>
                <a:lnTo>
                  <a:pt x="82" y="20"/>
                </a:lnTo>
                <a:lnTo>
                  <a:pt x="82" y="20"/>
                </a:lnTo>
                <a:lnTo>
                  <a:pt x="84" y="20"/>
                </a:lnTo>
                <a:lnTo>
                  <a:pt x="86" y="20"/>
                </a:lnTo>
                <a:lnTo>
                  <a:pt x="86" y="20"/>
                </a:lnTo>
                <a:lnTo>
                  <a:pt x="84" y="16"/>
                </a:lnTo>
                <a:lnTo>
                  <a:pt x="86" y="8"/>
                </a:lnTo>
                <a:lnTo>
                  <a:pt x="86" y="8"/>
                </a:lnTo>
                <a:lnTo>
                  <a:pt x="86" y="2"/>
                </a:lnTo>
                <a:lnTo>
                  <a:pt x="86" y="2"/>
                </a:lnTo>
                <a:lnTo>
                  <a:pt x="94" y="0"/>
                </a:lnTo>
                <a:lnTo>
                  <a:pt x="98" y="4"/>
                </a:lnTo>
                <a:lnTo>
                  <a:pt x="98" y="4"/>
                </a:lnTo>
                <a:lnTo>
                  <a:pt x="98" y="4"/>
                </a:lnTo>
                <a:lnTo>
                  <a:pt x="100" y="6"/>
                </a:lnTo>
                <a:lnTo>
                  <a:pt x="100" y="6"/>
                </a:lnTo>
                <a:lnTo>
                  <a:pt x="102" y="12"/>
                </a:lnTo>
                <a:lnTo>
                  <a:pt x="102" y="12"/>
                </a:lnTo>
                <a:lnTo>
                  <a:pt x="104" y="12"/>
                </a:lnTo>
                <a:lnTo>
                  <a:pt x="108" y="16"/>
                </a:lnTo>
                <a:lnTo>
                  <a:pt x="108" y="16"/>
                </a:lnTo>
                <a:lnTo>
                  <a:pt x="110" y="18"/>
                </a:lnTo>
                <a:lnTo>
                  <a:pt x="112" y="18"/>
                </a:lnTo>
                <a:lnTo>
                  <a:pt x="114" y="16"/>
                </a:lnTo>
                <a:lnTo>
                  <a:pt x="114" y="16"/>
                </a:lnTo>
                <a:lnTo>
                  <a:pt x="114" y="18"/>
                </a:lnTo>
                <a:lnTo>
                  <a:pt x="116" y="22"/>
                </a:lnTo>
                <a:lnTo>
                  <a:pt x="116" y="22"/>
                </a:lnTo>
                <a:lnTo>
                  <a:pt x="120" y="24"/>
                </a:lnTo>
                <a:lnTo>
                  <a:pt x="124" y="26"/>
                </a:lnTo>
                <a:lnTo>
                  <a:pt x="124" y="26"/>
                </a:lnTo>
                <a:lnTo>
                  <a:pt x="126" y="26"/>
                </a:lnTo>
                <a:lnTo>
                  <a:pt x="128" y="26"/>
                </a:lnTo>
                <a:lnTo>
                  <a:pt x="130" y="24"/>
                </a:lnTo>
                <a:lnTo>
                  <a:pt x="130" y="26"/>
                </a:lnTo>
                <a:lnTo>
                  <a:pt x="130" y="26"/>
                </a:lnTo>
                <a:lnTo>
                  <a:pt x="130" y="30"/>
                </a:lnTo>
                <a:lnTo>
                  <a:pt x="132" y="32"/>
                </a:lnTo>
                <a:lnTo>
                  <a:pt x="132" y="32"/>
                </a:lnTo>
                <a:lnTo>
                  <a:pt x="136" y="32"/>
                </a:lnTo>
                <a:lnTo>
                  <a:pt x="142" y="30"/>
                </a:lnTo>
                <a:lnTo>
                  <a:pt x="142" y="30"/>
                </a:lnTo>
                <a:lnTo>
                  <a:pt x="142" y="32"/>
                </a:lnTo>
                <a:lnTo>
                  <a:pt x="142" y="32"/>
                </a:lnTo>
                <a:lnTo>
                  <a:pt x="142" y="34"/>
                </a:lnTo>
                <a:lnTo>
                  <a:pt x="142" y="36"/>
                </a:lnTo>
                <a:lnTo>
                  <a:pt x="144" y="38"/>
                </a:lnTo>
                <a:lnTo>
                  <a:pt x="144" y="38"/>
                </a:lnTo>
                <a:lnTo>
                  <a:pt x="150" y="40"/>
                </a:lnTo>
                <a:lnTo>
                  <a:pt x="150" y="40"/>
                </a:lnTo>
                <a:lnTo>
                  <a:pt x="154" y="38"/>
                </a:lnTo>
                <a:lnTo>
                  <a:pt x="158" y="38"/>
                </a:lnTo>
                <a:lnTo>
                  <a:pt x="160" y="40"/>
                </a:lnTo>
                <a:lnTo>
                  <a:pt x="160" y="40"/>
                </a:lnTo>
                <a:lnTo>
                  <a:pt x="162" y="42"/>
                </a:lnTo>
                <a:lnTo>
                  <a:pt x="164" y="44"/>
                </a:lnTo>
                <a:lnTo>
                  <a:pt x="168" y="42"/>
                </a:lnTo>
                <a:lnTo>
                  <a:pt x="168" y="42"/>
                </a:lnTo>
                <a:lnTo>
                  <a:pt x="174" y="44"/>
                </a:lnTo>
                <a:lnTo>
                  <a:pt x="174" y="44"/>
                </a:lnTo>
                <a:lnTo>
                  <a:pt x="174" y="46"/>
                </a:lnTo>
                <a:lnTo>
                  <a:pt x="174" y="52"/>
                </a:lnTo>
                <a:lnTo>
                  <a:pt x="174" y="52"/>
                </a:lnTo>
                <a:close/>
                <a:moveTo>
                  <a:pt x="190" y="160"/>
                </a:moveTo>
                <a:lnTo>
                  <a:pt x="190" y="160"/>
                </a:lnTo>
                <a:lnTo>
                  <a:pt x="188" y="164"/>
                </a:lnTo>
                <a:lnTo>
                  <a:pt x="186" y="168"/>
                </a:lnTo>
                <a:lnTo>
                  <a:pt x="186" y="168"/>
                </a:lnTo>
                <a:lnTo>
                  <a:pt x="182" y="168"/>
                </a:lnTo>
                <a:lnTo>
                  <a:pt x="178" y="170"/>
                </a:lnTo>
                <a:lnTo>
                  <a:pt x="178" y="170"/>
                </a:lnTo>
                <a:lnTo>
                  <a:pt x="178" y="178"/>
                </a:lnTo>
                <a:lnTo>
                  <a:pt x="180" y="184"/>
                </a:lnTo>
                <a:lnTo>
                  <a:pt x="180" y="184"/>
                </a:lnTo>
                <a:lnTo>
                  <a:pt x="178" y="184"/>
                </a:lnTo>
                <a:lnTo>
                  <a:pt x="178" y="186"/>
                </a:lnTo>
                <a:lnTo>
                  <a:pt x="178" y="186"/>
                </a:lnTo>
                <a:lnTo>
                  <a:pt x="180" y="188"/>
                </a:lnTo>
                <a:lnTo>
                  <a:pt x="184" y="190"/>
                </a:lnTo>
                <a:lnTo>
                  <a:pt x="190" y="194"/>
                </a:lnTo>
                <a:lnTo>
                  <a:pt x="190" y="194"/>
                </a:lnTo>
                <a:lnTo>
                  <a:pt x="194" y="178"/>
                </a:lnTo>
                <a:lnTo>
                  <a:pt x="194" y="170"/>
                </a:lnTo>
                <a:lnTo>
                  <a:pt x="192" y="162"/>
                </a:lnTo>
                <a:lnTo>
                  <a:pt x="192" y="162"/>
                </a:lnTo>
                <a:lnTo>
                  <a:pt x="190" y="160"/>
                </a:lnTo>
                <a:lnTo>
                  <a:pt x="190" y="1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5" name="Line 189">
            <a:extLst>
              <a:ext uri="{FF2B5EF4-FFF2-40B4-BE49-F238E27FC236}">
                <a16:creationId xmlns:a16="http://schemas.microsoft.com/office/drawing/2014/main" id="{C7ED1954-CFCE-4CEB-BB18-4A6131555D8B}"/>
              </a:ext>
            </a:extLst>
          </p:cNvPr>
          <p:cNvSpPr>
            <a:spLocks noChangeShapeType="1"/>
          </p:cNvSpPr>
          <p:nvPr userDrawn="1"/>
        </p:nvSpPr>
        <p:spPr bwMode="auto">
          <a:xfrm>
            <a:off x="9614053" y="4329291"/>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6" name="Line 190">
            <a:extLst>
              <a:ext uri="{FF2B5EF4-FFF2-40B4-BE49-F238E27FC236}">
                <a16:creationId xmlns:a16="http://schemas.microsoft.com/office/drawing/2014/main" id="{E7F62CEC-932E-4B6A-8C66-EDD58390448B}"/>
              </a:ext>
            </a:extLst>
          </p:cNvPr>
          <p:cNvSpPr>
            <a:spLocks noChangeShapeType="1"/>
          </p:cNvSpPr>
          <p:nvPr userDrawn="1"/>
        </p:nvSpPr>
        <p:spPr bwMode="auto">
          <a:xfrm>
            <a:off x="9614053" y="4329291"/>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7" name="Freeform 191">
            <a:extLst>
              <a:ext uri="{FF2B5EF4-FFF2-40B4-BE49-F238E27FC236}">
                <a16:creationId xmlns:a16="http://schemas.microsoft.com/office/drawing/2014/main" id="{70A32FB9-9AA8-4C13-89A9-64EC59E7824B}"/>
              </a:ext>
            </a:extLst>
          </p:cNvPr>
          <p:cNvSpPr>
            <a:spLocks/>
          </p:cNvSpPr>
          <p:nvPr userDrawn="1"/>
        </p:nvSpPr>
        <p:spPr bwMode="auto">
          <a:xfrm>
            <a:off x="6323709" y="1398385"/>
            <a:ext cx="244848" cy="404973"/>
          </a:xfrm>
          <a:custGeom>
            <a:avLst/>
            <a:gdLst>
              <a:gd name="T0" fmla="*/ 54 w 146"/>
              <a:gd name="T1" fmla="*/ 102 h 236"/>
              <a:gd name="T2" fmla="*/ 58 w 146"/>
              <a:gd name="T3" fmla="*/ 100 h 236"/>
              <a:gd name="T4" fmla="*/ 60 w 146"/>
              <a:gd name="T5" fmla="*/ 114 h 236"/>
              <a:gd name="T6" fmla="*/ 58 w 146"/>
              <a:gd name="T7" fmla="*/ 122 h 236"/>
              <a:gd name="T8" fmla="*/ 54 w 146"/>
              <a:gd name="T9" fmla="*/ 122 h 236"/>
              <a:gd name="T10" fmla="*/ 46 w 146"/>
              <a:gd name="T11" fmla="*/ 134 h 236"/>
              <a:gd name="T12" fmla="*/ 40 w 146"/>
              <a:gd name="T13" fmla="*/ 146 h 236"/>
              <a:gd name="T14" fmla="*/ 28 w 146"/>
              <a:gd name="T15" fmla="*/ 156 h 236"/>
              <a:gd name="T16" fmla="*/ 22 w 146"/>
              <a:gd name="T17" fmla="*/ 160 h 236"/>
              <a:gd name="T18" fmla="*/ 18 w 146"/>
              <a:gd name="T19" fmla="*/ 166 h 236"/>
              <a:gd name="T20" fmla="*/ 16 w 146"/>
              <a:gd name="T21" fmla="*/ 178 h 236"/>
              <a:gd name="T22" fmla="*/ 20 w 146"/>
              <a:gd name="T23" fmla="*/ 190 h 236"/>
              <a:gd name="T24" fmla="*/ 16 w 146"/>
              <a:gd name="T25" fmla="*/ 198 h 236"/>
              <a:gd name="T26" fmla="*/ 18 w 146"/>
              <a:gd name="T27" fmla="*/ 210 h 236"/>
              <a:gd name="T28" fmla="*/ 22 w 146"/>
              <a:gd name="T29" fmla="*/ 220 h 236"/>
              <a:gd name="T30" fmla="*/ 24 w 146"/>
              <a:gd name="T31" fmla="*/ 214 h 236"/>
              <a:gd name="T32" fmla="*/ 32 w 146"/>
              <a:gd name="T33" fmla="*/ 218 h 236"/>
              <a:gd name="T34" fmla="*/ 38 w 146"/>
              <a:gd name="T35" fmla="*/ 220 h 236"/>
              <a:gd name="T36" fmla="*/ 28 w 146"/>
              <a:gd name="T37" fmla="*/ 234 h 236"/>
              <a:gd name="T38" fmla="*/ 40 w 146"/>
              <a:gd name="T39" fmla="*/ 230 h 236"/>
              <a:gd name="T40" fmla="*/ 42 w 146"/>
              <a:gd name="T41" fmla="*/ 234 h 236"/>
              <a:gd name="T42" fmla="*/ 54 w 146"/>
              <a:gd name="T43" fmla="*/ 234 h 236"/>
              <a:gd name="T44" fmla="*/ 70 w 146"/>
              <a:gd name="T45" fmla="*/ 224 h 236"/>
              <a:gd name="T46" fmla="*/ 74 w 146"/>
              <a:gd name="T47" fmla="*/ 222 h 236"/>
              <a:gd name="T48" fmla="*/ 84 w 146"/>
              <a:gd name="T49" fmla="*/ 222 h 236"/>
              <a:gd name="T50" fmla="*/ 86 w 146"/>
              <a:gd name="T51" fmla="*/ 216 h 236"/>
              <a:gd name="T52" fmla="*/ 92 w 146"/>
              <a:gd name="T53" fmla="*/ 218 h 236"/>
              <a:gd name="T54" fmla="*/ 140 w 146"/>
              <a:gd name="T55" fmla="*/ 186 h 236"/>
              <a:gd name="T56" fmla="*/ 144 w 146"/>
              <a:gd name="T57" fmla="*/ 170 h 236"/>
              <a:gd name="T58" fmla="*/ 134 w 146"/>
              <a:gd name="T59" fmla="*/ 164 h 236"/>
              <a:gd name="T60" fmla="*/ 138 w 146"/>
              <a:gd name="T61" fmla="*/ 148 h 236"/>
              <a:gd name="T62" fmla="*/ 136 w 146"/>
              <a:gd name="T63" fmla="*/ 138 h 236"/>
              <a:gd name="T64" fmla="*/ 128 w 146"/>
              <a:gd name="T65" fmla="*/ 124 h 236"/>
              <a:gd name="T66" fmla="*/ 126 w 146"/>
              <a:gd name="T67" fmla="*/ 108 h 236"/>
              <a:gd name="T68" fmla="*/ 126 w 146"/>
              <a:gd name="T69" fmla="*/ 100 h 236"/>
              <a:gd name="T70" fmla="*/ 118 w 146"/>
              <a:gd name="T71" fmla="*/ 66 h 236"/>
              <a:gd name="T72" fmla="*/ 126 w 146"/>
              <a:gd name="T73" fmla="*/ 50 h 236"/>
              <a:gd name="T74" fmla="*/ 118 w 146"/>
              <a:gd name="T75" fmla="*/ 42 h 236"/>
              <a:gd name="T76" fmla="*/ 122 w 146"/>
              <a:gd name="T77" fmla="*/ 20 h 236"/>
              <a:gd name="T78" fmla="*/ 116 w 146"/>
              <a:gd name="T79" fmla="*/ 18 h 236"/>
              <a:gd name="T80" fmla="*/ 100 w 146"/>
              <a:gd name="T81" fmla="*/ 0 h 236"/>
              <a:gd name="T82" fmla="*/ 82 w 146"/>
              <a:gd name="T83" fmla="*/ 4 h 236"/>
              <a:gd name="T84" fmla="*/ 76 w 146"/>
              <a:gd name="T85" fmla="*/ 10 h 236"/>
              <a:gd name="T86" fmla="*/ 68 w 146"/>
              <a:gd name="T87" fmla="*/ 20 h 236"/>
              <a:gd name="T88" fmla="*/ 68 w 146"/>
              <a:gd name="T89" fmla="*/ 32 h 236"/>
              <a:gd name="T90" fmla="*/ 60 w 146"/>
              <a:gd name="T91" fmla="*/ 42 h 236"/>
              <a:gd name="T92" fmla="*/ 48 w 146"/>
              <a:gd name="T93" fmla="*/ 34 h 236"/>
              <a:gd name="T94" fmla="*/ 42 w 146"/>
              <a:gd name="T95" fmla="*/ 34 h 236"/>
              <a:gd name="T96" fmla="*/ 10 w 146"/>
              <a:gd name="T97" fmla="*/ 20 h 236"/>
              <a:gd name="T98" fmla="*/ 0 w 146"/>
              <a:gd name="T99" fmla="*/ 28 h 236"/>
              <a:gd name="T100" fmla="*/ 12 w 146"/>
              <a:gd name="T101" fmla="*/ 38 h 236"/>
              <a:gd name="T102" fmla="*/ 26 w 146"/>
              <a:gd name="T103" fmla="*/ 42 h 236"/>
              <a:gd name="T104" fmla="*/ 36 w 146"/>
              <a:gd name="T105" fmla="*/ 54 h 236"/>
              <a:gd name="T106" fmla="*/ 36 w 146"/>
              <a:gd name="T107" fmla="*/ 64 h 236"/>
              <a:gd name="T108" fmla="*/ 38 w 146"/>
              <a:gd name="T109" fmla="*/ 74 h 236"/>
              <a:gd name="T110" fmla="*/ 40 w 146"/>
              <a:gd name="T111" fmla="*/ 9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 h="236">
                <a:moveTo>
                  <a:pt x="40" y="98"/>
                </a:moveTo>
                <a:lnTo>
                  <a:pt x="40" y="98"/>
                </a:lnTo>
                <a:lnTo>
                  <a:pt x="52" y="98"/>
                </a:lnTo>
                <a:lnTo>
                  <a:pt x="54" y="102"/>
                </a:lnTo>
                <a:lnTo>
                  <a:pt x="54" y="102"/>
                </a:lnTo>
                <a:lnTo>
                  <a:pt x="54" y="102"/>
                </a:lnTo>
                <a:lnTo>
                  <a:pt x="56" y="102"/>
                </a:lnTo>
                <a:lnTo>
                  <a:pt x="56" y="100"/>
                </a:lnTo>
                <a:lnTo>
                  <a:pt x="58" y="100"/>
                </a:lnTo>
                <a:lnTo>
                  <a:pt x="58" y="100"/>
                </a:lnTo>
                <a:lnTo>
                  <a:pt x="58" y="104"/>
                </a:lnTo>
                <a:lnTo>
                  <a:pt x="58" y="106"/>
                </a:lnTo>
                <a:lnTo>
                  <a:pt x="58" y="112"/>
                </a:lnTo>
                <a:lnTo>
                  <a:pt x="60" y="114"/>
                </a:lnTo>
                <a:lnTo>
                  <a:pt x="60" y="114"/>
                </a:lnTo>
                <a:lnTo>
                  <a:pt x="60" y="116"/>
                </a:lnTo>
                <a:lnTo>
                  <a:pt x="58" y="118"/>
                </a:lnTo>
                <a:lnTo>
                  <a:pt x="58" y="118"/>
                </a:lnTo>
                <a:lnTo>
                  <a:pt x="58" y="120"/>
                </a:lnTo>
                <a:lnTo>
                  <a:pt x="58" y="122"/>
                </a:lnTo>
                <a:lnTo>
                  <a:pt x="58" y="122"/>
                </a:lnTo>
                <a:lnTo>
                  <a:pt x="58" y="122"/>
                </a:lnTo>
                <a:lnTo>
                  <a:pt x="58" y="122"/>
                </a:lnTo>
                <a:lnTo>
                  <a:pt x="58" y="122"/>
                </a:lnTo>
                <a:lnTo>
                  <a:pt x="54" y="122"/>
                </a:lnTo>
                <a:lnTo>
                  <a:pt x="52" y="124"/>
                </a:lnTo>
                <a:lnTo>
                  <a:pt x="52" y="124"/>
                </a:lnTo>
                <a:lnTo>
                  <a:pt x="48" y="128"/>
                </a:lnTo>
                <a:lnTo>
                  <a:pt x="48" y="134"/>
                </a:lnTo>
                <a:lnTo>
                  <a:pt x="46" y="134"/>
                </a:lnTo>
                <a:lnTo>
                  <a:pt x="46" y="134"/>
                </a:lnTo>
                <a:lnTo>
                  <a:pt x="40" y="142"/>
                </a:lnTo>
                <a:lnTo>
                  <a:pt x="40" y="142"/>
                </a:lnTo>
                <a:lnTo>
                  <a:pt x="40" y="146"/>
                </a:lnTo>
                <a:lnTo>
                  <a:pt x="40" y="146"/>
                </a:lnTo>
                <a:lnTo>
                  <a:pt x="38" y="148"/>
                </a:lnTo>
                <a:lnTo>
                  <a:pt x="32" y="150"/>
                </a:lnTo>
                <a:lnTo>
                  <a:pt x="32" y="150"/>
                </a:lnTo>
                <a:lnTo>
                  <a:pt x="30" y="152"/>
                </a:lnTo>
                <a:lnTo>
                  <a:pt x="28" y="156"/>
                </a:lnTo>
                <a:lnTo>
                  <a:pt x="26" y="156"/>
                </a:lnTo>
                <a:lnTo>
                  <a:pt x="26" y="156"/>
                </a:lnTo>
                <a:lnTo>
                  <a:pt x="26" y="160"/>
                </a:lnTo>
                <a:lnTo>
                  <a:pt x="26" y="160"/>
                </a:lnTo>
                <a:lnTo>
                  <a:pt x="22" y="160"/>
                </a:lnTo>
                <a:lnTo>
                  <a:pt x="20" y="160"/>
                </a:lnTo>
                <a:lnTo>
                  <a:pt x="20" y="160"/>
                </a:lnTo>
                <a:lnTo>
                  <a:pt x="20" y="162"/>
                </a:lnTo>
                <a:lnTo>
                  <a:pt x="18" y="166"/>
                </a:lnTo>
                <a:lnTo>
                  <a:pt x="18" y="166"/>
                </a:lnTo>
                <a:lnTo>
                  <a:pt x="12" y="170"/>
                </a:lnTo>
                <a:lnTo>
                  <a:pt x="12" y="170"/>
                </a:lnTo>
                <a:lnTo>
                  <a:pt x="12" y="176"/>
                </a:lnTo>
                <a:lnTo>
                  <a:pt x="12" y="176"/>
                </a:lnTo>
                <a:lnTo>
                  <a:pt x="16" y="178"/>
                </a:lnTo>
                <a:lnTo>
                  <a:pt x="16" y="178"/>
                </a:lnTo>
                <a:lnTo>
                  <a:pt x="16" y="180"/>
                </a:lnTo>
                <a:lnTo>
                  <a:pt x="16" y="182"/>
                </a:lnTo>
                <a:lnTo>
                  <a:pt x="20" y="190"/>
                </a:lnTo>
                <a:lnTo>
                  <a:pt x="20" y="190"/>
                </a:lnTo>
                <a:lnTo>
                  <a:pt x="20" y="192"/>
                </a:lnTo>
                <a:lnTo>
                  <a:pt x="20" y="192"/>
                </a:lnTo>
                <a:lnTo>
                  <a:pt x="16" y="196"/>
                </a:lnTo>
                <a:lnTo>
                  <a:pt x="16" y="198"/>
                </a:lnTo>
                <a:lnTo>
                  <a:pt x="16" y="198"/>
                </a:lnTo>
                <a:lnTo>
                  <a:pt x="16" y="206"/>
                </a:lnTo>
                <a:lnTo>
                  <a:pt x="16" y="206"/>
                </a:lnTo>
                <a:lnTo>
                  <a:pt x="18" y="212"/>
                </a:lnTo>
                <a:lnTo>
                  <a:pt x="18" y="212"/>
                </a:lnTo>
                <a:lnTo>
                  <a:pt x="18" y="210"/>
                </a:lnTo>
                <a:lnTo>
                  <a:pt x="20" y="210"/>
                </a:lnTo>
                <a:lnTo>
                  <a:pt x="22" y="210"/>
                </a:lnTo>
                <a:lnTo>
                  <a:pt x="22" y="210"/>
                </a:lnTo>
                <a:lnTo>
                  <a:pt x="22" y="220"/>
                </a:lnTo>
                <a:lnTo>
                  <a:pt x="22" y="220"/>
                </a:lnTo>
                <a:lnTo>
                  <a:pt x="26" y="220"/>
                </a:lnTo>
                <a:lnTo>
                  <a:pt x="26" y="220"/>
                </a:lnTo>
                <a:lnTo>
                  <a:pt x="24" y="216"/>
                </a:lnTo>
                <a:lnTo>
                  <a:pt x="24" y="214"/>
                </a:lnTo>
                <a:lnTo>
                  <a:pt x="24" y="214"/>
                </a:lnTo>
                <a:lnTo>
                  <a:pt x="24" y="214"/>
                </a:lnTo>
                <a:lnTo>
                  <a:pt x="26" y="216"/>
                </a:lnTo>
                <a:lnTo>
                  <a:pt x="26" y="216"/>
                </a:lnTo>
                <a:lnTo>
                  <a:pt x="32" y="218"/>
                </a:lnTo>
                <a:lnTo>
                  <a:pt x="32" y="218"/>
                </a:lnTo>
                <a:lnTo>
                  <a:pt x="32" y="222"/>
                </a:lnTo>
                <a:lnTo>
                  <a:pt x="32" y="222"/>
                </a:lnTo>
                <a:lnTo>
                  <a:pt x="36" y="222"/>
                </a:lnTo>
                <a:lnTo>
                  <a:pt x="38" y="220"/>
                </a:lnTo>
                <a:lnTo>
                  <a:pt x="38" y="220"/>
                </a:lnTo>
                <a:lnTo>
                  <a:pt x="38" y="224"/>
                </a:lnTo>
                <a:lnTo>
                  <a:pt x="38" y="224"/>
                </a:lnTo>
                <a:lnTo>
                  <a:pt x="28" y="226"/>
                </a:lnTo>
                <a:lnTo>
                  <a:pt x="28" y="226"/>
                </a:lnTo>
                <a:lnTo>
                  <a:pt x="28" y="234"/>
                </a:lnTo>
                <a:lnTo>
                  <a:pt x="28" y="234"/>
                </a:lnTo>
                <a:lnTo>
                  <a:pt x="34" y="232"/>
                </a:lnTo>
                <a:lnTo>
                  <a:pt x="36" y="226"/>
                </a:lnTo>
                <a:lnTo>
                  <a:pt x="36" y="226"/>
                </a:lnTo>
                <a:lnTo>
                  <a:pt x="40" y="230"/>
                </a:lnTo>
                <a:lnTo>
                  <a:pt x="40" y="230"/>
                </a:lnTo>
                <a:lnTo>
                  <a:pt x="40" y="232"/>
                </a:lnTo>
                <a:lnTo>
                  <a:pt x="38" y="234"/>
                </a:lnTo>
                <a:lnTo>
                  <a:pt x="38" y="234"/>
                </a:lnTo>
                <a:lnTo>
                  <a:pt x="42" y="234"/>
                </a:lnTo>
                <a:lnTo>
                  <a:pt x="42" y="234"/>
                </a:lnTo>
                <a:lnTo>
                  <a:pt x="42" y="236"/>
                </a:lnTo>
                <a:lnTo>
                  <a:pt x="42" y="236"/>
                </a:lnTo>
                <a:lnTo>
                  <a:pt x="54" y="234"/>
                </a:lnTo>
                <a:lnTo>
                  <a:pt x="54" y="234"/>
                </a:lnTo>
                <a:lnTo>
                  <a:pt x="54" y="232"/>
                </a:lnTo>
                <a:lnTo>
                  <a:pt x="54" y="232"/>
                </a:lnTo>
                <a:lnTo>
                  <a:pt x="60" y="228"/>
                </a:lnTo>
                <a:lnTo>
                  <a:pt x="70" y="224"/>
                </a:lnTo>
                <a:lnTo>
                  <a:pt x="70" y="224"/>
                </a:lnTo>
                <a:lnTo>
                  <a:pt x="70" y="220"/>
                </a:lnTo>
                <a:lnTo>
                  <a:pt x="70" y="220"/>
                </a:lnTo>
                <a:lnTo>
                  <a:pt x="72" y="220"/>
                </a:lnTo>
                <a:lnTo>
                  <a:pt x="74" y="222"/>
                </a:lnTo>
                <a:lnTo>
                  <a:pt x="74" y="222"/>
                </a:lnTo>
                <a:lnTo>
                  <a:pt x="76" y="220"/>
                </a:lnTo>
                <a:lnTo>
                  <a:pt x="78" y="220"/>
                </a:lnTo>
                <a:lnTo>
                  <a:pt x="78" y="220"/>
                </a:lnTo>
                <a:lnTo>
                  <a:pt x="80" y="220"/>
                </a:lnTo>
                <a:lnTo>
                  <a:pt x="84" y="222"/>
                </a:lnTo>
                <a:lnTo>
                  <a:pt x="84" y="222"/>
                </a:lnTo>
                <a:lnTo>
                  <a:pt x="84" y="218"/>
                </a:lnTo>
                <a:lnTo>
                  <a:pt x="84" y="218"/>
                </a:lnTo>
                <a:lnTo>
                  <a:pt x="86" y="218"/>
                </a:lnTo>
                <a:lnTo>
                  <a:pt x="86" y="216"/>
                </a:lnTo>
                <a:lnTo>
                  <a:pt x="86" y="216"/>
                </a:lnTo>
                <a:lnTo>
                  <a:pt x="88" y="216"/>
                </a:lnTo>
                <a:lnTo>
                  <a:pt x="88" y="218"/>
                </a:lnTo>
                <a:lnTo>
                  <a:pt x="88" y="218"/>
                </a:lnTo>
                <a:lnTo>
                  <a:pt x="92" y="218"/>
                </a:lnTo>
                <a:lnTo>
                  <a:pt x="92" y="218"/>
                </a:lnTo>
                <a:lnTo>
                  <a:pt x="100" y="212"/>
                </a:lnTo>
                <a:lnTo>
                  <a:pt x="100" y="212"/>
                </a:lnTo>
                <a:lnTo>
                  <a:pt x="124" y="196"/>
                </a:lnTo>
                <a:lnTo>
                  <a:pt x="140" y="186"/>
                </a:lnTo>
                <a:lnTo>
                  <a:pt x="146" y="180"/>
                </a:lnTo>
                <a:lnTo>
                  <a:pt x="146" y="180"/>
                </a:lnTo>
                <a:lnTo>
                  <a:pt x="146" y="176"/>
                </a:lnTo>
                <a:lnTo>
                  <a:pt x="144" y="170"/>
                </a:lnTo>
                <a:lnTo>
                  <a:pt x="144" y="170"/>
                </a:lnTo>
                <a:lnTo>
                  <a:pt x="144" y="168"/>
                </a:lnTo>
                <a:lnTo>
                  <a:pt x="142" y="168"/>
                </a:lnTo>
                <a:lnTo>
                  <a:pt x="136" y="166"/>
                </a:lnTo>
                <a:lnTo>
                  <a:pt x="136" y="166"/>
                </a:lnTo>
                <a:lnTo>
                  <a:pt x="134" y="164"/>
                </a:lnTo>
                <a:lnTo>
                  <a:pt x="134" y="162"/>
                </a:lnTo>
                <a:lnTo>
                  <a:pt x="134" y="156"/>
                </a:lnTo>
                <a:lnTo>
                  <a:pt x="134" y="156"/>
                </a:lnTo>
                <a:lnTo>
                  <a:pt x="134" y="152"/>
                </a:lnTo>
                <a:lnTo>
                  <a:pt x="138" y="148"/>
                </a:lnTo>
                <a:lnTo>
                  <a:pt x="138" y="148"/>
                </a:lnTo>
                <a:lnTo>
                  <a:pt x="138" y="146"/>
                </a:lnTo>
                <a:lnTo>
                  <a:pt x="138" y="144"/>
                </a:lnTo>
                <a:lnTo>
                  <a:pt x="136" y="138"/>
                </a:lnTo>
                <a:lnTo>
                  <a:pt x="136" y="138"/>
                </a:lnTo>
                <a:lnTo>
                  <a:pt x="134" y="134"/>
                </a:lnTo>
                <a:lnTo>
                  <a:pt x="132" y="132"/>
                </a:lnTo>
                <a:lnTo>
                  <a:pt x="132" y="132"/>
                </a:lnTo>
                <a:lnTo>
                  <a:pt x="128" y="128"/>
                </a:lnTo>
                <a:lnTo>
                  <a:pt x="128" y="124"/>
                </a:lnTo>
                <a:lnTo>
                  <a:pt x="128" y="124"/>
                </a:lnTo>
                <a:lnTo>
                  <a:pt x="126" y="116"/>
                </a:lnTo>
                <a:lnTo>
                  <a:pt x="126" y="116"/>
                </a:lnTo>
                <a:lnTo>
                  <a:pt x="126" y="112"/>
                </a:lnTo>
                <a:lnTo>
                  <a:pt x="126" y="108"/>
                </a:lnTo>
                <a:lnTo>
                  <a:pt x="126" y="108"/>
                </a:lnTo>
                <a:lnTo>
                  <a:pt x="128" y="106"/>
                </a:lnTo>
                <a:lnTo>
                  <a:pt x="126" y="104"/>
                </a:lnTo>
                <a:lnTo>
                  <a:pt x="126" y="100"/>
                </a:lnTo>
                <a:lnTo>
                  <a:pt x="126" y="100"/>
                </a:lnTo>
                <a:lnTo>
                  <a:pt x="126" y="96"/>
                </a:lnTo>
                <a:lnTo>
                  <a:pt x="124" y="92"/>
                </a:lnTo>
                <a:lnTo>
                  <a:pt x="124" y="92"/>
                </a:lnTo>
                <a:lnTo>
                  <a:pt x="118" y="66"/>
                </a:lnTo>
                <a:lnTo>
                  <a:pt x="118" y="66"/>
                </a:lnTo>
                <a:lnTo>
                  <a:pt x="118" y="64"/>
                </a:lnTo>
                <a:lnTo>
                  <a:pt x="120" y="60"/>
                </a:lnTo>
                <a:lnTo>
                  <a:pt x="126" y="54"/>
                </a:lnTo>
                <a:lnTo>
                  <a:pt x="126" y="54"/>
                </a:lnTo>
                <a:lnTo>
                  <a:pt x="126" y="50"/>
                </a:lnTo>
                <a:lnTo>
                  <a:pt x="124" y="46"/>
                </a:lnTo>
                <a:lnTo>
                  <a:pt x="122" y="42"/>
                </a:lnTo>
                <a:lnTo>
                  <a:pt x="122" y="42"/>
                </a:lnTo>
                <a:lnTo>
                  <a:pt x="120" y="44"/>
                </a:lnTo>
                <a:lnTo>
                  <a:pt x="118" y="42"/>
                </a:lnTo>
                <a:lnTo>
                  <a:pt x="118" y="42"/>
                </a:lnTo>
                <a:lnTo>
                  <a:pt x="116" y="38"/>
                </a:lnTo>
                <a:lnTo>
                  <a:pt x="116" y="32"/>
                </a:lnTo>
                <a:lnTo>
                  <a:pt x="118" y="24"/>
                </a:lnTo>
                <a:lnTo>
                  <a:pt x="122" y="20"/>
                </a:lnTo>
                <a:lnTo>
                  <a:pt x="122" y="18"/>
                </a:lnTo>
                <a:lnTo>
                  <a:pt x="122" y="18"/>
                </a:lnTo>
                <a:lnTo>
                  <a:pt x="122" y="18"/>
                </a:lnTo>
                <a:lnTo>
                  <a:pt x="116" y="18"/>
                </a:lnTo>
                <a:lnTo>
                  <a:pt x="116" y="18"/>
                </a:lnTo>
                <a:lnTo>
                  <a:pt x="108" y="12"/>
                </a:lnTo>
                <a:lnTo>
                  <a:pt x="108" y="12"/>
                </a:lnTo>
                <a:lnTo>
                  <a:pt x="104" y="4"/>
                </a:lnTo>
                <a:lnTo>
                  <a:pt x="100" y="0"/>
                </a:lnTo>
                <a:lnTo>
                  <a:pt x="100" y="0"/>
                </a:lnTo>
                <a:lnTo>
                  <a:pt x="96" y="2"/>
                </a:lnTo>
                <a:lnTo>
                  <a:pt x="92" y="6"/>
                </a:lnTo>
                <a:lnTo>
                  <a:pt x="90" y="6"/>
                </a:lnTo>
                <a:lnTo>
                  <a:pt x="90" y="6"/>
                </a:lnTo>
                <a:lnTo>
                  <a:pt x="82" y="4"/>
                </a:lnTo>
                <a:lnTo>
                  <a:pt x="82" y="4"/>
                </a:lnTo>
                <a:lnTo>
                  <a:pt x="80" y="6"/>
                </a:lnTo>
                <a:lnTo>
                  <a:pt x="78" y="8"/>
                </a:lnTo>
                <a:lnTo>
                  <a:pt x="76" y="10"/>
                </a:lnTo>
                <a:lnTo>
                  <a:pt x="76" y="10"/>
                </a:lnTo>
                <a:lnTo>
                  <a:pt x="72" y="12"/>
                </a:lnTo>
                <a:lnTo>
                  <a:pt x="70" y="14"/>
                </a:lnTo>
                <a:lnTo>
                  <a:pt x="70" y="14"/>
                </a:lnTo>
                <a:lnTo>
                  <a:pt x="70" y="18"/>
                </a:lnTo>
                <a:lnTo>
                  <a:pt x="68" y="20"/>
                </a:lnTo>
                <a:lnTo>
                  <a:pt x="68" y="20"/>
                </a:lnTo>
                <a:lnTo>
                  <a:pt x="70" y="22"/>
                </a:lnTo>
                <a:lnTo>
                  <a:pt x="70" y="28"/>
                </a:lnTo>
                <a:lnTo>
                  <a:pt x="70" y="28"/>
                </a:lnTo>
                <a:lnTo>
                  <a:pt x="68" y="32"/>
                </a:lnTo>
                <a:lnTo>
                  <a:pt x="62" y="36"/>
                </a:lnTo>
                <a:lnTo>
                  <a:pt x="62" y="36"/>
                </a:lnTo>
                <a:lnTo>
                  <a:pt x="60" y="38"/>
                </a:lnTo>
                <a:lnTo>
                  <a:pt x="60" y="40"/>
                </a:lnTo>
                <a:lnTo>
                  <a:pt x="60" y="42"/>
                </a:lnTo>
                <a:lnTo>
                  <a:pt x="52" y="36"/>
                </a:lnTo>
                <a:lnTo>
                  <a:pt x="52" y="36"/>
                </a:lnTo>
                <a:lnTo>
                  <a:pt x="52" y="34"/>
                </a:lnTo>
                <a:lnTo>
                  <a:pt x="48" y="34"/>
                </a:lnTo>
                <a:lnTo>
                  <a:pt x="48" y="34"/>
                </a:lnTo>
                <a:lnTo>
                  <a:pt x="46" y="34"/>
                </a:lnTo>
                <a:lnTo>
                  <a:pt x="46" y="36"/>
                </a:lnTo>
                <a:lnTo>
                  <a:pt x="46" y="36"/>
                </a:lnTo>
                <a:lnTo>
                  <a:pt x="42" y="34"/>
                </a:lnTo>
                <a:lnTo>
                  <a:pt x="42" y="34"/>
                </a:lnTo>
                <a:lnTo>
                  <a:pt x="34" y="34"/>
                </a:lnTo>
                <a:lnTo>
                  <a:pt x="28" y="36"/>
                </a:lnTo>
                <a:lnTo>
                  <a:pt x="14" y="20"/>
                </a:lnTo>
                <a:lnTo>
                  <a:pt x="14" y="20"/>
                </a:lnTo>
                <a:lnTo>
                  <a:pt x="10" y="20"/>
                </a:lnTo>
                <a:lnTo>
                  <a:pt x="8" y="20"/>
                </a:lnTo>
                <a:lnTo>
                  <a:pt x="8" y="22"/>
                </a:lnTo>
                <a:lnTo>
                  <a:pt x="6" y="24"/>
                </a:lnTo>
                <a:lnTo>
                  <a:pt x="0" y="28"/>
                </a:lnTo>
                <a:lnTo>
                  <a:pt x="0" y="28"/>
                </a:lnTo>
                <a:lnTo>
                  <a:pt x="4" y="28"/>
                </a:lnTo>
                <a:lnTo>
                  <a:pt x="8" y="30"/>
                </a:lnTo>
                <a:lnTo>
                  <a:pt x="8" y="32"/>
                </a:lnTo>
                <a:lnTo>
                  <a:pt x="8" y="32"/>
                </a:lnTo>
                <a:lnTo>
                  <a:pt x="12" y="38"/>
                </a:lnTo>
                <a:lnTo>
                  <a:pt x="14" y="40"/>
                </a:lnTo>
                <a:lnTo>
                  <a:pt x="18" y="40"/>
                </a:lnTo>
                <a:lnTo>
                  <a:pt x="18" y="40"/>
                </a:lnTo>
                <a:lnTo>
                  <a:pt x="24" y="42"/>
                </a:lnTo>
                <a:lnTo>
                  <a:pt x="26" y="42"/>
                </a:lnTo>
                <a:lnTo>
                  <a:pt x="28" y="44"/>
                </a:lnTo>
                <a:lnTo>
                  <a:pt x="28" y="44"/>
                </a:lnTo>
                <a:lnTo>
                  <a:pt x="34" y="52"/>
                </a:lnTo>
                <a:lnTo>
                  <a:pt x="34" y="52"/>
                </a:lnTo>
                <a:lnTo>
                  <a:pt x="36" y="54"/>
                </a:lnTo>
                <a:lnTo>
                  <a:pt x="36" y="58"/>
                </a:lnTo>
                <a:lnTo>
                  <a:pt x="36" y="58"/>
                </a:lnTo>
                <a:lnTo>
                  <a:pt x="36" y="60"/>
                </a:lnTo>
                <a:lnTo>
                  <a:pt x="36" y="62"/>
                </a:lnTo>
                <a:lnTo>
                  <a:pt x="36" y="64"/>
                </a:lnTo>
                <a:lnTo>
                  <a:pt x="36" y="66"/>
                </a:lnTo>
                <a:lnTo>
                  <a:pt x="36" y="66"/>
                </a:lnTo>
                <a:lnTo>
                  <a:pt x="38" y="70"/>
                </a:lnTo>
                <a:lnTo>
                  <a:pt x="38" y="74"/>
                </a:lnTo>
                <a:lnTo>
                  <a:pt x="38" y="74"/>
                </a:lnTo>
                <a:lnTo>
                  <a:pt x="38" y="80"/>
                </a:lnTo>
                <a:lnTo>
                  <a:pt x="36" y="84"/>
                </a:lnTo>
                <a:lnTo>
                  <a:pt x="36" y="84"/>
                </a:lnTo>
                <a:lnTo>
                  <a:pt x="38" y="88"/>
                </a:lnTo>
                <a:lnTo>
                  <a:pt x="40" y="9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8" name="Freeform 192">
            <a:extLst>
              <a:ext uri="{FF2B5EF4-FFF2-40B4-BE49-F238E27FC236}">
                <a16:creationId xmlns:a16="http://schemas.microsoft.com/office/drawing/2014/main" id="{DFCDFB14-314B-4A49-A40F-05754DA77E06}"/>
              </a:ext>
            </a:extLst>
          </p:cNvPr>
          <p:cNvSpPr>
            <a:spLocks noEditPoints="1"/>
          </p:cNvSpPr>
          <p:nvPr userDrawn="1"/>
        </p:nvSpPr>
        <p:spPr bwMode="auto">
          <a:xfrm>
            <a:off x="4473938" y="5252492"/>
            <a:ext cx="80497" cy="37751"/>
          </a:xfrm>
          <a:custGeom>
            <a:avLst/>
            <a:gdLst>
              <a:gd name="T0" fmla="*/ 46 w 48"/>
              <a:gd name="T1" fmla="*/ 10 h 22"/>
              <a:gd name="T2" fmla="*/ 42 w 48"/>
              <a:gd name="T3" fmla="*/ 10 h 22"/>
              <a:gd name="T4" fmla="*/ 40 w 48"/>
              <a:gd name="T5" fmla="*/ 10 h 22"/>
              <a:gd name="T6" fmla="*/ 34 w 48"/>
              <a:gd name="T7" fmla="*/ 14 h 22"/>
              <a:gd name="T8" fmla="*/ 30 w 48"/>
              <a:gd name="T9" fmla="*/ 12 h 22"/>
              <a:gd name="T10" fmla="*/ 32 w 48"/>
              <a:gd name="T11" fmla="*/ 18 h 22"/>
              <a:gd name="T12" fmla="*/ 24 w 48"/>
              <a:gd name="T13" fmla="*/ 18 h 22"/>
              <a:gd name="T14" fmla="*/ 22 w 48"/>
              <a:gd name="T15" fmla="*/ 18 h 22"/>
              <a:gd name="T16" fmla="*/ 22 w 48"/>
              <a:gd name="T17" fmla="*/ 22 h 22"/>
              <a:gd name="T18" fmla="*/ 22 w 48"/>
              <a:gd name="T19" fmla="*/ 22 h 22"/>
              <a:gd name="T20" fmla="*/ 22 w 48"/>
              <a:gd name="T21" fmla="*/ 22 h 22"/>
              <a:gd name="T22" fmla="*/ 18 w 48"/>
              <a:gd name="T23" fmla="*/ 20 h 22"/>
              <a:gd name="T24" fmla="*/ 16 w 48"/>
              <a:gd name="T25" fmla="*/ 18 h 22"/>
              <a:gd name="T26" fmla="*/ 18 w 48"/>
              <a:gd name="T27" fmla="*/ 18 h 22"/>
              <a:gd name="T28" fmla="*/ 18 w 48"/>
              <a:gd name="T29" fmla="*/ 16 h 22"/>
              <a:gd name="T30" fmla="*/ 20 w 48"/>
              <a:gd name="T31" fmla="*/ 12 h 22"/>
              <a:gd name="T32" fmla="*/ 24 w 48"/>
              <a:gd name="T33" fmla="*/ 8 h 22"/>
              <a:gd name="T34" fmla="*/ 26 w 48"/>
              <a:gd name="T35" fmla="*/ 8 h 22"/>
              <a:gd name="T36" fmla="*/ 26 w 48"/>
              <a:gd name="T37" fmla="*/ 6 h 22"/>
              <a:gd name="T38" fmla="*/ 26 w 48"/>
              <a:gd name="T39" fmla="*/ 4 h 22"/>
              <a:gd name="T40" fmla="*/ 32 w 48"/>
              <a:gd name="T41" fmla="*/ 0 h 22"/>
              <a:gd name="T42" fmla="*/ 36 w 48"/>
              <a:gd name="T43" fmla="*/ 2 h 22"/>
              <a:gd name="T44" fmla="*/ 34 w 48"/>
              <a:gd name="T45" fmla="*/ 4 h 22"/>
              <a:gd name="T46" fmla="*/ 34 w 48"/>
              <a:gd name="T47" fmla="*/ 4 h 22"/>
              <a:gd name="T48" fmla="*/ 36 w 48"/>
              <a:gd name="T49" fmla="*/ 6 h 22"/>
              <a:gd name="T50" fmla="*/ 40 w 48"/>
              <a:gd name="T51" fmla="*/ 4 h 22"/>
              <a:gd name="T52" fmla="*/ 42 w 48"/>
              <a:gd name="T53" fmla="*/ 2 h 22"/>
              <a:gd name="T54" fmla="*/ 42 w 48"/>
              <a:gd name="T55" fmla="*/ 2 h 22"/>
              <a:gd name="T56" fmla="*/ 42 w 48"/>
              <a:gd name="T57" fmla="*/ 6 h 22"/>
              <a:gd name="T58" fmla="*/ 48 w 48"/>
              <a:gd name="T59" fmla="*/ 8 h 22"/>
              <a:gd name="T60" fmla="*/ 24 w 48"/>
              <a:gd name="T61" fmla="*/ 2 h 22"/>
              <a:gd name="T62" fmla="*/ 14 w 48"/>
              <a:gd name="T63" fmla="*/ 2 h 22"/>
              <a:gd name="T64" fmla="*/ 6 w 48"/>
              <a:gd name="T65" fmla="*/ 0 h 22"/>
              <a:gd name="T66" fmla="*/ 6 w 48"/>
              <a:gd name="T67" fmla="*/ 4 h 22"/>
              <a:gd name="T68" fmla="*/ 4 w 48"/>
              <a:gd name="T69" fmla="*/ 6 h 22"/>
              <a:gd name="T70" fmla="*/ 8 w 48"/>
              <a:gd name="T71" fmla="*/ 6 h 22"/>
              <a:gd name="T72" fmla="*/ 8 w 48"/>
              <a:gd name="T73" fmla="*/ 10 h 22"/>
              <a:gd name="T74" fmla="*/ 2 w 48"/>
              <a:gd name="T75" fmla="*/ 14 h 22"/>
              <a:gd name="T76" fmla="*/ 2 w 48"/>
              <a:gd name="T77" fmla="*/ 20 h 22"/>
              <a:gd name="T78" fmla="*/ 6 w 48"/>
              <a:gd name="T79" fmla="*/ 18 h 22"/>
              <a:gd name="T80" fmla="*/ 6 w 48"/>
              <a:gd name="T81" fmla="*/ 14 h 22"/>
              <a:gd name="T82" fmla="*/ 10 w 48"/>
              <a:gd name="T83" fmla="*/ 14 h 22"/>
              <a:gd name="T84" fmla="*/ 14 w 48"/>
              <a:gd name="T85" fmla="*/ 14 h 22"/>
              <a:gd name="T86" fmla="*/ 18 w 48"/>
              <a:gd name="T87" fmla="*/ 6 h 22"/>
              <a:gd name="T88" fmla="*/ 20 w 48"/>
              <a:gd name="T89"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22">
                <a:moveTo>
                  <a:pt x="48" y="8"/>
                </a:moveTo>
                <a:lnTo>
                  <a:pt x="46" y="10"/>
                </a:lnTo>
                <a:lnTo>
                  <a:pt x="46" y="10"/>
                </a:lnTo>
                <a:lnTo>
                  <a:pt x="42" y="10"/>
                </a:lnTo>
                <a:lnTo>
                  <a:pt x="40" y="8"/>
                </a:lnTo>
                <a:lnTo>
                  <a:pt x="40" y="10"/>
                </a:lnTo>
                <a:lnTo>
                  <a:pt x="40" y="10"/>
                </a:lnTo>
                <a:lnTo>
                  <a:pt x="34" y="14"/>
                </a:lnTo>
                <a:lnTo>
                  <a:pt x="30" y="12"/>
                </a:lnTo>
                <a:lnTo>
                  <a:pt x="30" y="12"/>
                </a:lnTo>
                <a:lnTo>
                  <a:pt x="32" y="18"/>
                </a:lnTo>
                <a:lnTo>
                  <a:pt x="32" y="18"/>
                </a:lnTo>
                <a:lnTo>
                  <a:pt x="28" y="18"/>
                </a:lnTo>
                <a:lnTo>
                  <a:pt x="24" y="18"/>
                </a:lnTo>
                <a:lnTo>
                  <a:pt x="24" y="18"/>
                </a:lnTo>
                <a:lnTo>
                  <a:pt x="22" y="18"/>
                </a:lnTo>
                <a:lnTo>
                  <a:pt x="22" y="20"/>
                </a:lnTo>
                <a:lnTo>
                  <a:pt x="22" y="22"/>
                </a:lnTo>
                <a:lnTo>
                  <a:pt x="22" y="22"/>
                </a:lnTo>
                <a:lnTo>
                  <a:pt x="22" y="22"/>
                </a:lnTo>
                <a:lnTo>
                  <a:pt x="22" y="22"/>
                </a:lnTo>
                <a:lnTo>
                  <a:pt x="22" y="22"/>
                </a:lnTo>
                <a:lnTo>
                  <a:pt x="18" y="20"/>
                </a:lnTo>
                <a:lnTo>
                  <a:pt x="18" y="20"/>
                </a:lnTo>
                <a:lnTo>
                  <a:pt x="16" y="18"/>
                </a:lnTo>
                <a:lnTo>
                  <a:pt x="16" y="18"/>
                </a:lnTo>
                <a:lnTo>
                  <a:pt x="18" y="18"/>
                </a:lnTo>
                <a:lnTo>
                  <a:pt x="18" y="18"/>
                </a:lnTo>
                <a:lnTo>
                  <a:pt x="18" y="16"/>
                </a:lnTo>
                <a:lnTo>
                  <a:pt x="18" y="16"/>
                </a:lnTo>
                <a:lnTo>
                  <a:pt x="18" y="16"/>
                </a:lnTo>
                <a:lnTo>
                  <a:pt x="20" y="12"/>
                </a:lnTo>
                <a:lnTo>
                  <a:pt x="24" y="8"/>
                </a:lnTo>
                <a:lnTo>
                  <a:pt x="24" y="8"/>
                </a:lnTo>
                <a:lnTo>
                  <a:pt x="26" y="8"/>
                </a:lnTo>
                <a:lnTo>
                  <a:pt x="26" y="8"/>
                </a:lnTo>
                <a:lnTo>
                  <a:pt x="26" y="6"/>
                </a:lnTo>
                <a:lnTo>
                  <a:pt x="26" y="6"/>
                </a:lnTo>
                <a:lnTo>
                  <a:pt x="26" y="4"/>
                </a:lnTo>
                <a:lnTo>
                  <a:pt x="26" y="4"/>
                </a:lnTo>
                <a:lnTo>
                  <a:pt x="32" y="0"/>
                </a:lnTo>
                <a:lnTo>
                  <a:pt x="32" y="0"/>
                </a:lnTo>
                <a:lnTo>
                  <a:pt x="36" y="0"/>
                </a:lnTo>
                <a:lnTo>
                  <a:pt x="36" y="2"/>
                </a:lnTo>
                <a:lnTo>
                  <a:pt x="36" y="2"/>
                </a:lnTo>
                <a:lnTo>
                  <a:pt x="34" y="4"/>
                </a:lnTo>
                <a:lnTo>
                  <a:pt x="34" y="4"/>
                </a:lnTo>
                <a:lnTo>
                  <a:pt x="34" y="4"/>
                </a:lnTo>
                <a:lnTo>
                  <a:pt x="36" y="6"/>
                </a:lnTo>
                <a:lnTo>
                  <a:pt x="36" y="6"/>
                </a:lnTo>
                <a:lnTo>
                  <a:pt x="40" y="4"/>
                </a:lnTo>
                <a:lnTo>
                  <a:pt x="40" y="4"/>
                </a:lnTo>
                <a:lnTo>
                  <a:pt x="40" y="2"/>
                </a:lnTo>
                <a:lnTo>
                  <a:pt x="42" y="2"/>
                </a:lnTo>
                <a:lnTo>
                  <a:pt x="42" y="2"/>
                </a:lnTo>
                <a:lnTo>
                  <a:pt x="42" y="2"/>
                </a:lnTo>
                <a:lnTo>
                  <a:pt x="42" y="6"/>
                </a:lnTo>
                <a:lnTo>
                  <a:pt x="42" y="6"/>
                </a:lnTo>
                <a:lnTo>
                  <a:pt x="48" y="8"/>
                </a:lnTo>
                <a:lnTo>
                  <a:pt x="48" y="8"/>
                </a:lnTo>
                <a:close/>
                <a:moveTo>
                  <a:pt x="20" y="6"/>
                </a:moveTo>
                <a:lnTo>
                  <a:pt x="24" y="2"/>
                </a:lnTo>
                <a:lnTo>
                  <a:pt x="24" y="2"/>
                </a:lnTo>
                <a:lnTo>
                  <a:pt x="14" y="2"/>
                </a:lnTo>
                <a:lnTo>
                  <a:pt x="6" y="0"/>
                </a:lnTo>
                <a:lnTo>
                  <a:pt x="6" y="0"/>
                </a:lnTo>
                <a:lnTo>
                  <a:pt x="6" y="4"/>
                </a:lnTo>
                <a:lnTo>
                  <a:pt x="6" y="4"/>
                </a:lnTo>
                <a:lnTo>
                  <a:pt x="6" y="6"/>
                </a:lnTo>
                <a:lnTo>
                  <a:pt x="4" y="6"/>
                </a:lnTo>
                <a:lnTo>
                  <a:pt x="4" y="6"/>
                </a:lnTo>
                <a:lnTo>
                  <a:pt x="8" y="6"/>
                </a:lnTo>
                <a:lnTo>
                  <a:pt x="8" y="6"/>
                </a:lnTo>
                <a:lnTo>
                  <a:pt x="8" y="10"/>
                </a:lnTo>
                <a:lnTo>
                  <a:pt x="8" y="10"/>
                </a:lnTo>
                <a:lnTo>
                  <a:pt x="2" y="14"/>
                </a:lnTo>
                <a:lnTo>
                  <a:pt x="0" y="16"/>
                </a:lnTo>
                <a:lnTo>
                  <a:pt x="2" y="20"/>
                </a:lnTo>
                <a:lnTo>
                  <a:pt x="2" y="20"/>
                </a:lnTo>
                <a:lnTo>
                  <a:pt x="6" y="18"/>
                </a:lnTo>
                <a:lnTo>
                  <a:pt x="6" y="16"/>
                </a:lnTo>
                <a:lnTo>
                  <a:pt x="6" y="14"/>
                </a:lnTo>
                <a:lnTo>
                  <a:pt x="6" y="14"/>
                </a:lnTo>
                <a:lnTo>
                  <a:pt x="10" y="14"/>
                </a:lnTo>
                <a:lnTo>
                  <a:pt x="10" y="14"/>
                </a:lnTo>
                <a:lnTo>
                  <a:pt x="14" y="14"/>
                </a:lnTo>
                <a:lnTo>
                  <a:pt x="14" y="14"/>
                </a:lnTo>
                <a:lnTo>
                  <a:pt x="18" y="6"/>
                </a:lnTo>
                <a:lnTo>
                  <a:pt x="18" y="6"/>
                </a:lnTo>
                <a:lnTo>
                  <a:pt x="20" y="6"/>
                </a:lnTo>
                <a:lnTo>
                  <a:pt x="20" y="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9" name="Freeform 193">
            <a:extLst>
              <a:ext uri="{FF2B5EF4-FFF2-40B4-BE49-F238E27FC236}">
                <a16:creationId xmlns:a16="http://schemas.microsoft.com/office/drawing/2014/main" id="{5F9507F5-14F8-4EB7-8343-5F675B8A53F2}"/>
              </a:ext>
            </a:extLst>
          </p:cNvPr>
          <p:cNvSpPr>
            <a:spLocks/>
          </p:cNvSpPr>
          <p:nvPr userDrawn="1"/>
        </p:nvSpPr>
        <p:spPr bwMode="auto">
          <a:xfrm>
            <a:off x="6685948" y="3358042"/>
            <a:ext cx="13417" cy="17160"/>
          </a:xfrm>
          <a:custGeom>
            <a:avLst/>
            <a:gdLst>
              <a:gd name="T0" fmla="*/ 6 w 8"/>
              <a:gd name="T1" fmla="*/ 0 h 10"/>
              <a:gd name="T2" fmla="*/ 6 w 8"/>
              <a:gd name="T3" fmla="*/ 0 h 10"/>
              <a:gd name="T4" fmla="*/ 8 w 8"/>
              <a:gd name="T5" fmla="*/ 2 h 10"/>
              <a:gd name="T6" fmla="*/ 8 w 8"/>
              <a:gd name="T7" fmla="*/ 2 h 10"/>
              <a:gd name="T8" fmla="*/ 8 w 8"/>
              <a:gd name="T9" fmla="*/ 6 h 10"/>
              <a:gd name="T10" fmla="*/ 4 w 8"/>
              <a:gd name="T11" fmla="*/ 10 h 10"/>
              <a:gd name="T12" fmla="*/ 4 w 8"/>
              <a:gd name="T13" fmla="*/ 10 h 10"/>
              <a:gd name="T14" fmla="*/ 0 w 8"/>
              <a:gd name="T15" fmla="*/ 6 h 10"/>
              <a:gd name="T16" fmla="*/ 0 w 8"/>
              <a:gd name="T17" fmla="*/ 2 h 10"/>
              <a:gd name="T18" fmla="*/ 0 w 8"/>
              <a:gd name="T19" fmla="*/ 0 h 10"/>
              <a:gd name="T20" fmla="*/ 6 w 8"/>
              <a:gd name="T21" fmla="*/ 0 h 10"/>
              <a:gd name="T22" fmla="*/ 6 w 8"/>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0">
                <a:moveTo>
                  <a:pt x="6" y="0"/>
                </a:moveTo>
                <a:lnTo>
                  <a:pt x="6" y="0"/>
                </a:lnTo>
                <a:lnTo>
                  <a:pt x="8" y="2"/>
                </a:lnTo>
                <a:lnTo>
                  <a:pt x="8" y="2"/>
                </a:lnTo>
                <a:lnTo>
                  <a:pt x="8" y="6"/>
                </a:lnTo>
                <a:lnTo>
                  <a:pt x="4" y="10"/>
                </a:lnTo>
                <a:lnTo>
                  <a:pt x="4" y="10"/>
                </a:lnTo>
                <a:lnTo>
                  <a:pt x="0" y="6"/>
                </a:lnTo>
                <a:lnTo>
                  <a:pt x="0" y="2"/>
                </a:lnTo>
                <a:lnTo>
                  <a:pt x="0" y="0"/>
                </a:lnTo>
                <a:lnTo>
                  <a:pt x="6" y="0"/>
                </a:lnTo>
                <a:lnTo>
                  <a:pt x="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0" name="Freeform 194">
            <a:extLst>
              <a:ext uri="{FF2B5EF4-FFF2-40B4-BE49-F238E27FC236}">
                <a16:creationId xmlns:a16="http://schemas.microsoft.com/office/drawing/2014/main" id="{03C18AC2-60BD-43C4-BD49-6F2CBC9278CB}"/>
              </a:ext>
            </a:extLst>
          </p:cNvPr>
          <p:cNvSpPr>
            <a:spLocks/>
          </p:cNvSpPr>
          <p:nvPr userDrawn="1"/>
        </p:nvSpPr>
        <p:spPr bwMode="auto">
          <a:xfrm>
            <a:off x="6585326" y="3261947"/>
            <a:ext cx="348824" cy="305446"/>
          </a:xfrm>
          <a:custGeom>
            <a:avLst/>
            <a:gdLst>
              <a:gd name="T0" fmla="*/ 134 w 208"/>
              <a:gd name="T1" fmla="*/ 74 h 178"/>
              <a:gd name="T2" fmla="*/ 142 w 208"/>
              <a:gd name="T3" fmla="*/ 84 h 178"/>
              <a:gd name="T4" fmla="*/ 148 w 208"/>
              <a:gd name="T5" fmla="*/ 92 h 178"/>
              <a:gd name="T6" fmla="*/ 190 w 208"/>
              <a:gd name="T7" fmla="*/ 112 h 178"/>
              <a:gd name="T8" fmla="*/ 156 w 208"/>
              <a:gd name="T9" fmla="*/ 166 h 178"/>
              <a:gd name="T10" fmla="*/ 134 w 208"/>
              <a:gd name="T11" fmla="*/ 174 h 178"/>
              <a:gd name="T12" fmla="*/ 124 w 208"/>
              <a:gd name="T13" fmla="*/ 176 h 178"/>
              <a:gd name="T14" fmla="*/ 116 w 208"/>
              <a:gd name="T15" fmla="*/ 172 h 178"/>
              <a:gd name="T16" fmla="*/ 112 w 208"/>
              <a:gd name="T17" fmla="*/ 172 h 178"/>
              <a:gd name="T18" fmla="*/ 106 w 208"/>
              <a:gd name="T19" fmla="*/ 174 h 178"/>
              <a:gd name="T20" fmla="*/ 102 w 208"/>
              <a:gd name="T21" fmla="*/ 178 h 178"/>
              <a:gd name="T22" fmla="*/ 94 w 208"/>
              <a:gd name="T23" fmla="*/ 178 h 178"/>
              <a:gd name="T24" fmla="*/ 86 w 208"/>
              <a:gd name="T25" fmla="*/ 178 h 178"/>
              <a:gd name="T26" fmla="*/ 76 w 208"/>
              <a:gd name="T27" fmla="*/ 176 h 178"/>
              <a:gd name="T28" fmla="*/ 66 w 208"/>
              <a:gd name="T29" fmla="*/ 176 h 178"/>
              <a:gd name="T30" fmla="*/ 62 w 208"/>
              <a:gd name="T31" fmla="*/ 176 h 178"/>
              <a:gd name="T32" fmla="*/ 48 w 208"/>
              <a:gd name="T33" fmla="*/ 176 h 178"/>
              <a:gd name="T34" fmla="*/ 46 w 208"/>
              <a:gd name="T35" fmla="*/ 168 h 178"/>
              <a:gd name="T36" fmla="*/ 44 w 208"/>
              <a:gd name="T37" fmla="*/ 164 h 178"/>
              <a:gd name="T38" fmla="*/ 34 w 208"/>
              <a:gd name="T39" fmla="*/ 162 h 178"/>
              <a:gd name="T40" fmla="*/ 32 w 208"/>
              <a:gd name="T41" fmla="*/ 158 h 178"/>
              <a:gd name="T42" fmla="*/ 26 w 208"/>
              <a:gd name="T43" fmla="*/ 144 h 178"/>
              <a:gd name="T44" fmla="*/ 22 w 208"/>
              <a:gd name="T45" fmla="*/ 138 h 178"/>
              <a:gd name="T46" fmla="*/ 16 w 208"/>
              <a:gd name="T47" fmla="*/ 130 h 178"/>
              <a:gd name="T48" fmla="*/ 10 w 208"/>
              <a:gd name="T49" fmla="*/ 124 h 178"/>
              <a:gd name="T50" fmla="*/ 0 w 208"/>
              <a:gd name="T51" fmla="*/ 122 h 178"/>
              <a:gd name="T52" fmla="*/ 2 w 208"/>
              <a:gd name="T53" fmla="*/ 114 h 178"/>
              <a:gd name="T54" fmla="*/ 12 w 208"/>
              <a:gd name="T55" fmla="*/ 112 h 178"/>
              <a:gd name="T56" fmla="*/ 14 w 208"/>
              <a:gd name="T57" fmla="*/ 108 h 178"/>
              <a:gd name="T58" fmla="*/ 16 w 208"/>
              <a:gd name="T59" fmla="*/ 88 h 178"/>
              <a:gd name="T60" fmla="*/ 20 w 208"/>
              <a:gd name="T61" fmla="*/ 82 h 178"/>
              <a:gd name="T62" fmla="*/ 22 w 208"/>
              <a:gd name="T63" fmla="*/ 72 h 178"/>
              <a:gd name="T64" fmla="*/ 28 w 208"/>
              <a:gd name="T65" fmla="*/ 60 h 178"/>
              <a:gd name="T66" fmla="*/ 34 w 208"/>
              <a:gd name="T67" fmla="*/ 54 h 178"/>
              <a:gd name="T68" fmla="*/ 38 w 208"/>
              <a:gd name="T69" fmla="*/ 46 h 178"/>
              <a:gd name="T70" fmla="*/ 42 w 208"/>
              <a:gd name="T71" fmla="*/ 34 h 178"/>
              <a:gd name="T72" fmla="*/ 50 w 208"/>
              <a:gd name="T73" fmla="*/ 22 h 178"/>
              <a:gd name="T74" fmla="*/ 64 w 208"/>
              <a:gd name="T75" fmla="*/ 8 h 178"/>
              <a:gd name="T76" fmla="*/ 68 w 208"/>
              <a:gd name="T77" fmla="*/ 8 h 178"/>
              <a:gd name="T78" fmla="*/ 72 w 208"/>
              <a:gd name="T79" fmla="*/ 12 h 178"/>
              <a:gd name="T80" fmla="*/ 76 w 208"/>
              <a:gd name="T81" fmla="*/ 0 h 178"/>
              <a:gd name="T82" fmla="*/ 84 w 208"/>
              <a:gd name="T83" fmla="*/ 4 h 178"/>
              <a:gd name="T84" fmla="*/ 88 w 208"/>
              <a:gd name="T85" fmla="*/ 8 h 178"/>
              <a:gd name="T86" fmla="*/ 94 w 208"/>
              <a:gd name="T87" fmla="*/ 8 h 178"/>
              <a:gd name="T88" fmla="*/ 102 w 208"/>
              <a:gd name="T89" fmla="*/ 12 h 178"/>
              <a:gd name="T90" fmla="*/ 114 w 208"/>
              <a:gd name="T91" fmla="*/ 18 h 178"/>
              <a:gd name="T92" fmla="*/ 122 w 208"/>
              <a:gd name="T93" fmla="*/ 30 h 178"/>
              <a:gd name="T94" fmla="*/ 130 w 208"/>
              <a:gd name="T95" fmla="*/ 38 h 178"/>
              <a:gd name="T96" fmla="*/ 124 w 208"/>
              <a:gd name="T97" fmla="*/ 48 h 178"/>
              <a:gd name="T98" fmla="*/ 122 w 208"/>
              <a:gd name="T99" fmla="*/ 56 h 178"/>
              <a:gd name="T100" fmla="*/ 120 w 208"/>
              <a:gd name="T101" fmla="*/ 64 h 178"/>
              <a:gd name="T102" fmla="*/ 128 w 208"/>
              <a:gd name="T103" fmla="*/ 68 h 178"/>
              <a:gd name="T104" fmla="*/ 138 w 208"/>
              <a:gd name="T105" fmla="*/ 6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178">
                <a:moveTo>
                  <a:pt x="138" y="68"/>
                </a:moveTo>
                <a:lnTo>
                  <a:pt x="134" y="74"/>
                </a:lnTo>
                <a:lnTo>
                  <a:pt x="134" y="74"/>
                </a:lnTo>
                <a:lnTo>
                  <a:pt x="140" y="80"/>
                </a:lnTo>
                <a:lnTo>
                  <a:pt x="140" y="80"/>
                </a:lnTo>
                <a:lnTo>
                  <a:pt x="142" y="84"/>
                </a:lnTo>
                <a:lnTo>
                  <a:pt x="144" y="88"/>
                </a:lnTo>
                <a:lnTo>
                  <a:pt x="144" y="88"/>
                </a:lnTo>
                <a:lnTo>
                  <a:pt x="148" y="92"/>
                </a:lnTo>
                <a:lnTo>
                  <a:pt x="154" y="96"/>
                </a:lnTo>
                <a:lnTo>
                  <a:pt x="154" y="96"/>
                </a:lnTo>
                <a:lnTo>
                  <a:pt x="190" y="112"/>
                </a:lnTo>
                <a:lnTo>
                  <a:pt x="208" y="112"/>
                </a:lnTo>
                <a:lnTo>
                  <a:pt x="172" y="166"/>
                </a:lnTo>
                <a:lnTo>
                  <a:pt x="156" y="166"/>
                </a:lnTo>
                <a:lnTo>
                  <a:pt x="150" y="170"/>
                </a:lnTo>
                <a:lnTo>
                  <a:pt x="138" y="170"/>
                </a:lnTo>
                <a:lnTo>
                  <a:pt x="134" y="174"/>
                </a:lnTo>
                <a:lnTo>
                  <a:pt x="134" y="174"/>
                </a:lnTo>
                <a:lnTo>
                  <a:pt x="128" y="174"/>
                </a:lnTo>
                <a:lnTo>
                  <a:pt x="124" y="176"/>
                </a:lnTo>
                <a:lnTo>
                  <a:pt x="120" y="174"/>
                </a:lnTo>
                <a:lnTo>
                  <a:pt x="120" y="174"/>
                </a:lnTo>
                <a:lnTo>
                  <a:pt x="116" y="172"/>
                </a:lnTo>
                <a:lnTo>
                  <a:pt x="116" y="170"/>
                </a:lnTo>
                <a:lnTo>
                  <a:pt x="116" y="170"/>
                </a:lnTo>
                <a:lnTo>
                  <a:pt x="112" y="172"/>
                </a:lnTo>
                <a:lnTo>
                  <a:pt x="110" y="174"/>
                </a:lnTo>
                <a:lnTo>
                  <a:pt x="106" y="174"/>
                </a:lnTo>
                <a:lnTo>
                  <a:pt x="106" y="174"/>
                </a:lnTo>
                <a:lnTo>
                  <a:pt x="104" y="174"/>
                </a:lnTo>
                <a:lnTo>
                  <a:pt x="102" y="174"/>
                </a:lnTo>
                <a:lnTo>
                  <a:pt x="102" y="178"/>
                </a:lnTo>
                <a:lnTo>
                  <a:pt x="102" y="178"/>
                </a:lnTo>
                <a:lnTo>
                  <a:pt x="94" y="178"/>
                </a:lnTo>
                <a:lnTo>
                  <a:pt x="94" y="178"/>
                </a:lnTo>
                <a:lnTo>
                  <a:pt x="90" y="178"/>
                </a:lnTo>
                <a:lnTo>
                  <a:pt x="86" y="178"/>
                </a:lnTo>
                <a:lnTo>
                  <a:pt x="86" y="178"/>
                </a:lnTo>
                <a:lnTo>
                  <a:pt x="80" y="176"/>
                </a:lnTo>
                <a:lnTo>
                  <a:pt x="76" y="176"/>
                </a:lnTo>
                <a:lnTo>
                  <a:pt x="76" y="176"/>
                </a:lnTo>
                <a:lnTo>
                  <a:pt x="72" y="176"/>
                </a:lnTo>
                <a:lnTo>
                  <a:pt x="68" y="178"/>
                </a:lnTo>
                <a:lnTo>
                  <a:pt x="66" y="176"/>
                </a:lnTo>
                <a:lnTo>
                  <a:pt x="66" y="176"/>
                </a:lnTo>
                <a:lnTo>
                  <a:pt x="64" y="176"/>
                </a:lnTo>
                <a:lnTo>
                  <a:pt x="62" y="176"/>
                </a:lnTo>
                <a:lnTo>
                  <a:pt x="58" y="178"/>
                </a:lnTo>
                <a:lnTo>
                  <a:pt x="58" y="178"/>
                </a:lnTo>
                <a:lnTo>
                  <a:pt x="48" y="176"/>
                </a:lnTo>
                <a:lnTo>
                  <a:pt x="46" y="172"/>
                </a:lnTo>
                <a:lnTo>
                  <a:pt x="46" y="172"/>
                </a:lnTo>
                <a:lnTo>
                  <a:pt x="46" y="168"/>
                </a:lnTo>
                <a:lnTo>
                  <a:pt x="46" y="166"/>
                </a:lnTo>
                <a:lnTo>
                  <a:pt x="44" y="164"/>
                </a:lnTo>
                <a:lnTo>
                  <a:pt x="44" y="164"/>
                </a:lnTo>
                <a:lnTo>
                  <a:pt x="40" y="164"/>
                </a:lnTo>
                <a:lnTo>
                  <a:pt x="40" y="164"/>
                </a:lnTo>
                <a:lnTo>
                  <a:pt x="34" y="162"/>
                </a:lnTo>
                <a:lnTo>
                  <a:pt x="32" y="162"/>
                </a:lnTo>
                <a:lnTo>
                  <a:pt x="32" y="158"/>
                </a:lnTo>
                <a:lnTo>
                  <a:pt x="32" y="158"/>
                </a:lnTo>
                <a:lnTo>
                  <a:pt x="28" y="152"/>
                </a:lnTo>
                <a:lnTo>
                  <a:pt x="26" y="144"/>
                </a:lnTo>
                <a:lnTo>
                  <a:pt x="26" y="144"/>
                </a:lnTo>
                <a:lnTo>
                  <a:pt x="26" y="140"/>
                </a:lnTo>
                <a:lnTo>
                  <a:pt x="22" y="138"/>
                </a:lnTo>
                <a:lnTo>
                  <a:pt x="22" y="138"/>
                </a:lnTo>
                <a:lnTo>
                  <a:pt x="20" y="134"/>
                </a:lnTo>
                <a:lnTo>
                  <a:pt x="16" y="130"/>
                </a:lnTo>
                <a:lnTo>
                  <a:pt x="16" y="130"/>
                </a:lnTo>
                <a:lnTo>
                  <a:pt x="14" y="126"/>
                </a:lnTo>
                <a:lnTo>
                  <a:pt x="10" y="124"/>
                </a:lnTo>
                <a:lnTo>
                  <a:pt x="10" y="124"/>
                </a:lnTo>
                <a:lnTo>
                  <a:pt x="4" y="124"/>
                </a:lnTo>
                <a:lnTo>
                  <a:pt x="2" y="124"/>
                </a:lnTo>
                <a:lnTo>
                  <a:pt x="0" y="122"/>
                </a:lnTo>
                <a:lnTo>
                  <a:pt x="0" y="122"/>
                </a:lnTo>
                <a:lnTo>
                  <a:pt x="2" y="114"/>
                </a:lnTo>
                <a:lnTo>
                  <a:pt x="2" y="114"/>
                </a:lnTo>
                <a:lnTo>
                  <a:pt x="8" y="114"/>
                </a:lnTo>
                <a:lnTo>
                  <a:pt x="8" y="114"/>
                </a:lnTo>
                <a:lnTo>
                  <a:pt x="12" y="112"/>
                </a:lnTo>
                <a:lnTo>
                  <a:pt x="12" y="112"/>
                </a:lnTo>
                <a:lnTo>
                  <a:pt x="12" y="112"/>
                </a:lnTo>
                <a:lnTo>
                  <a:pt x="14" y="108"/>
                </a:lnTo>
                <a:lnTo>
                  <a:pt x="16" y="104"/>
                </a:lnTo>
                <a:lnTo>
                  <a:pt x="16" y="104"/>
                </a:lnTo>
                <a:lnTo>
                  <a:pt x="16" y="88"/>
                </a:lnTo>
                <a:lnTo>
                  <a:pt x="16" y="88"/>
                </a:lnTo>
                <a:lnTo>
                  <a:pt x="16" y="86"/>
                </a:lnTo>
                <a:lnTo>
                  <a:pt x="20" y="82"/>
                </a:lnTo>
                <a:lnTo>
                  <a:pt x="22" y="76"/>
                </a:lnTo>
                <a:lnTo>
                  <a:pt x="22" y="72"/>
                </a:lnTo>
                <a:lnTo>
                  <a:pt x="22" y="72"/>
                </a:lnTo>
                <a:lnTo>
                  <a:pt x="22" y="64"/>
                </a:lnTo>
                <a:lnTo>
                  <a:pt x="22" y="64"/>
                </a:lnTo>
                <a:lnTo>
                  <a:pt x="28" y="60"/>
                </a:lnTo>
                <a:lnTo>
                  <a:pt x="28" y="60"/>
                </a:lnTo>
                <a:lnTo>
                  <a:pt x="32" y="58"/>
                </a:lnTo>
                <a:lnTo>
                  <a:pt x="34" y="54"/>
                </a:lnTo>
                <a:lnTo>
                  <a:pt x="34" y="54"/>
                </a:lnTo>
                <a:lnTo>
                  <a:pt x="38" y="46"/>
                </a:lnTo>
                <a:lnTo>
                  <a:pt x="38" y="46"/>
                </a:lnTo>
                <a:lnTo>
                  <a:pt x="40" y="40"/>
                </a:lnTo>
                <a:lnTo>
                  <a:pt x="42" y="34"/>
                </a:lnTo>
                <a:lnTo>
                  <a:pt x="42" y="34"/>
                </a:lnTo>
                <a:lnTo>
                  <a:pt x="44" y="30"/>
                </a:lnTo>
                <a:lnTo>
                  <a:pt x="46" y="26"/>
                </a:lnTo>
                <a:lnTo>
                  <a:pt x="50" y="22"/>
                </a:lnTo>
                <a:lnTo>
                  <a:pt x="50" y="22"/>
                </a:lnTo>
                <a:lnTo>
                  <a:pt x="56" y="10"/>
                </a:lnTo>
                <a:lnTo>
                  <a:pt x="64" y="8"/>
                </a:lnTo>
                <a:lnTo>
                  <a:pt x="64" y="8"/>
                </a:lnTo>
                <a:lnTo>
                  <a:pt x="66" y="8"/>
                </a:lnTo>
                <a:lnTo>
                  <a:pt x="68" y="8"/>
                </a:lnTo>
                <a:lnTo>
                  <a:pt x="70" y="8"/>
                </a:lnTo>
                <a:lnTo>
                  <a:pt x="70" y="8"/>
                </a:lnTo>
                <a:lnTo>
                  <a:pt x="72" y="12"/>
                </a:lnTo>
                <a:lnTo>
                  <a:pt x="76" y="0"/>
                </a:lnTo>
                <a:lnTo>
                  <a:pt x="76" y="0"/>
                </a:lnTo>
                <a:lnTo>
                  <a:pt x="76" y="0"/>
                </a:lnTo>
                <a:lnTo>
                  <a:pt x="80" y="0"/>
                </a:lnTo>
                <a:lnTo>
                  <a:pt x="80" y="0"/>
                </a:lnTo>
                <a:lnTo>
                  <a:pt x="84" y="4"/>
                </a:lnTo>
                <a:lnTo>
                  <a:pt x="86" y="6"/>
                </a:lnTo>
                <a:lnTo>
                  <a:pt x="88" y="8"/>
                </a:lnTo>
                <a:lnTo>
                  <a:pt x="88" y="8"/>
                </a:lnTo>
                <a:lnTo>
                  <a:pt x="92" y="6"/>
                </a:lnTo>
                <a:lnTo>
                  <a:pt x="94" y="6"/>
                </a:lnTo>
                <a:lnTo>
                  <a:pt x="94" y="8"/>
                </a:lnTo>
                <a:lnTo>
                  <a:pt x="94" y="8"/>
                </a:lnTo>
                <a:lnTo>
                  <a:pt x="98" y="10"/>
                </a:lnTo>
                <a:lnTo>
                  <a:pt x="102" y="12"/>
                </a:lnTo>
                <a:lnTo>
                  <a:pt x="110" y="14"/>
                </a:lnTo>
                <a:lnTo>
                  <a:pt x="110" y="14"/>
                </a:lnTo>
                <a:lnTo>
                  <a:pt x="114" y="18"/>
                </a:lnTo>
                <a:lnTo>
                  <a:pt x="118" y="22"/>
                </a:lnTo>
                <a:lnTo>
                  <a:pt x="118" y="22"/>
                </a:lnTo>
                <a:lnTo>
                  <a:pt x="122" y="30"/>
                </a:lnTo>
                <a:lnTo>
                  <a:pt x="124" y="34"/>
                </a:lnTo>
                <a:lnTo>
                  <a:pt x="124" y="34"/>
                </a:lnTo>
                <a:lnTo>
                  <a:pt x="130" y="38"/>
                </a:lnTo>
                <a:lnTo>
                  <a:pt x="130" y="38"/>
                </a:lnTo>
                <a:lnTo>
                  <a:pt x="126" y="44"/>
                </a:lnTo>
                <a:lnTo>
                  <a:pt x="124" y="48"/>
                </a:lnTo>
                <a:lnTo>
                  <a:pt x="124" y="52"/>
                </a:lnTo>
                <a:lnTo>
                  <a:pt x="124" y="52"/>
                </a:lnTo>
                <a:lnTo>
                  <a:pt x="122" y="56"/>
                </a:lnTo>
                <a:lnTo>
                  <a:pt x="122" y="58"/>
                </a:lnTo>
                <a:lnTo>
                  <a:pt x="120" y="62"/>
                </a:lnTo>
                <a:lnTo>
                  <a:pt x="120" y="64"/>
                </a:lnTo>
                <a:lnTo>
                  <a:pt x="120" y="64"/>
                </a:lnTo>
                <a:lnTo>
                  <a:pt x="124" y="68"/>
                </a:lnTo>
                <a:lnTo>
                  <a:pt x="128" y="68"/>
                </a:lnTo>
                <a:lnTo>
                  <a:pt x="128" y="68"/>
                </a:lnTo>
                <a:lnTo>
                  <a:pt x="132" y="66"/>
                </a:lnTo>
                <a:lnTo>
                  <a:pt x="138"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1" name="Freeform 195">
            <a:extLst>
              <a:ext uri="{FF2B5EF4-FFF2-40B4-BE49-F238E27FC236}">
                <a16:creationId xmlns:a16="http://schemas.microsoft.com/office/drawing/2014/main" id="{9D5FC4AE-771E-41AC-ABF1-A6EAC4993AB0}"/>
              </a:ext>
            </a:extLst>
          </p:cNvPr>
          <p:cNvSpPr>
            <a:spLocks/>
          </p:cNvSpPr>
          <p:nvPr userDrawn="1"/>
        </p:nvSpPr>
        <p:spPr bwMode="auto">
          <a:xfrm>
            <a:off x="6390790" y="1817086"/>
            <a:ext cx="103976" cy="85799"/>
          </a:xfrm>
          <a:custGeom>
            <a:avLst/>
            <a:gdLst>
              <a:gd name="T0" fmla="*/ 60 w 62"/>
              <a:gd name="T1" fmla="*/ 14 h 50"/>
              <a:gd name="T2" fmla="*/ 60 w 62"/>
              <a:gd name="T3" fmla="*/ 12 h 50"/>
              <a:gd name="T4" fmla="*/ 62 w 62"/>
              <a:gd name="T5" fmla="*/ 10 h 50"/>
              <a:gd name="T6" fmla="*/ 58 w 62"/>
              <a:gd name="T7" fmla="*/ 4 h 50"/>
              <a:gd name="T8" fmla="*/ 52 w 62"/>
              <a:gd name="T9" fmla="*/ 2 h 50"/>
              <a:gd name="T10" fmla="*/ 48 w 62"/>
              <a:gd name="T11" fmla="*/ 0 h 50"/>
              <a:gd name="T12" fmla="*/ 44 w 62"/>
              <a:gd name="T13" fmla="*/ 0 h 50"/>
              <a:gd name="T14" fmla="*/ 44 w 62"/>
              <a:gd name="T15" fmla="*/ 4 h 50"/>
              <a:gd name="T16" fmla="*/ 30 w 62"/>
              <a:gd name="T17" fmla="*/ 4 h 50"/>
              <a:gd name="T18" fmla="*/ 30 w 62"/>
              <a:gd name="T19" fmla="*/ 2 h 50"/>
              <a:gd name="T20" fmla="*/ 26 w 62"/>
              <a:gd name="T21" fmla="*/ 2 h 50"/>
              <a:gd name="T22" fmla="*/ 26 w 62"/>
              <a:gd name="T23" fmla="*/ 2 h 50"/>
              <a:gd name="T24" fmla="*/ 24 w 62"/>
              <a:gd name="T25" fmla="*/ 6 h 50"/>
              <a:gd name="T26" fmla="*/ 12 w 62"/>
              <a:gd name="T27" fmla="*/ 6 h 50"/>
              <a:gd name="T28" fmla="*/ 0 w 62"/>
              <a:gd name="T29" fmla="*/ 10 h 50"/>
              <a:gd name="T30" fmla="*/ 0 w 62"/>
              <a:gd name="T31" fmla="*/ 28 h 50"/>
              <a:gd name="T32" fmla="*/ 6 w 62"/>
              <a:gd name="T33" fmla="*/ 28 h 50"/>
              <a:gd name="T34" fmla="*/ 4 w 62"/>
              <a:gd name="T35" fmla="*/ 38 h 50"/>
              <a:gd name="T36" fmla="*/ 12 w 62"/>
              <a:gd name="T37" fmla="*/ 38 h 50"/>
              <a:gd name="T38" fmla="*/ 16 w 62"/>
              <a:gd name="T39" fmla="*/ 38 h 50"/>
              <a:gd name="T40" fmla="*/ 16 w 62"/>
              <a:gd name="T41" fmla="*/ 36 h 50"/>
              <a:gd name="T42" fmla="*/ 26 w 62"/>
              <a:gd name="T43" fmla="*/ 38 h 50"/>
              <a:gd name="T44" fmla="*/ 30 w 62"/>
              <a:gd name="T45" fmla="*/ 40 h 50"/>
              <a:gd name="T46" fmla="*/ 34 w 62"/>
              <a:gd name="T47" fmla="*/ 42 h 50"/>
              <a:gd name="T48" fmla="*/ 44 w 62"/>
              <a:gd name="T49" fmla="*/ 48 h 50"/>
              <a:gd name="T50" fmla="*/ 46 w 62"/>
              <a:gd name="T51" fmla="*/ 44 h 50"/>
              <a:gd name="T52" fmla="*/ 48 w 62"/>
              <a:gd name="T53" fmla="*/ 40 h 50"/>
              <a:gd name="T54" fmla="*/ 52 w 62"/>
              <a:gd name="T55" fmla="*/ 36 h 50"/>
              <a:gd name="T56" fmla="*/ 54 w 62"/>
              <a:gd name="T57" fmla="*/ 30 h 50"/>
              <a:gd name="T58" fmla="*/ 50 w 62"/>
              <a:gd name="T59" fmla="*/ 28 h 50"/>
              <a:gd name="T60" fmla="*/ 50 w 62"/>
              <a:gd name="T61" fmla="*/ 22 h 50"/>
              <a:gd name="T62" fmla="*/ 48 w 62"/>
              <a:gd name="T63" fmla="*/ 16 h 50"/>
              <a:gd name="T64" fmla="*/ 52 w 62"/>
              <a:gd name="T65" fmla="*/ 14 h 50"/>
              <a:gd name="T66" fmla="*/ 56 w 62"/>
              <a:gd name="T67" fmla="*/ 14 h 50"/>
              <a:gd name="T68" fmla="*/ 56 w 62"/>
              <a:gd name="T69"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50">
                <a:moveTo>
                  <a:pt x="56" y="16"/>
                </a:moveTo>
                <a:lnTo>
                  <a:pt x="60" y="14"/>
                </a:lnTo>
                <a:lnTo>
                  <a:pt x="60" y="14"/>
                </a:lnTo>
                <a:lnTo>
                  <a:pt x="60" y="12"/>
                </a:lnTo>
                <a:lnTo>
                  <a:pt x="62" y="10"/>
                </a:lnTo>
                <a:lnTo>
                  <a:pt x="62" y="10"/>
                </a:lnTo>
                <a:lnTo>
                  <a:pt x="60" y="6"/>
                </a:lnTo>
                <a:lnTo>
                  <a:pt x="58" y="4"/>
                </a:lnTo>
                <a:lnTo>
                  <a:pt x="58" y="4"/>
                </a:lnTo>
                <a:lnTo>
                  <a:pt x="52" y="2"/>
                </a:lnTo>
                <a:lnTo>
                  <a:pt x="48" y="0"/>
                </a:lnTo>
                <a:lnTo>
                  <a:pt x="48" y="0"/>
                </a:lnTo>
                <a:lnTo>
                  <a:pt x="44" y="0"/>
                </a:lnTo>
                <a:lnTo>
                  <a:pt x="44" y="0"/>
                </a:lnTo>
                <a:lnTo>
                  <a:pt x="44" y="0"/>
                </a:lnTo>
                <a:lnTo>
                  <a:pt x="44" y="4"/>
                </a:lnTo>
                <a:lnTo>
                  <a:pt x="44" y="4"/>
                </a:lnTo>
                <a:lnTo>
                  <a:pt x="30" y="4"/>
                </a:lnTo>
                <a:lnTo>
                  <a:pt x="30" y="4"/>
                </a:lnTo>
                <a:lnTo>
                  <a:pt x="30" y="2"/>
                </a:lnTo>
                <a:lnTo>
                  <a:pt x="28" y="2"/>
                </a:lnTo>
                <a:lnTo>
                  <a:pt x="26" y="2"/>
                </a:lnTo>
                <a:lnTo>
                  <a:pt x="26" y="2"/>
                </a:lnTo>
                <a:lnTo>
                  <a:pt x="26" y="2"/>
                </a:lnTo>
                <a:lnTo>
                  <a:pt x="24" y="6"/>
                </a:lnTo>
                <a:lnTo>
                  <a:pt x="24" y="6"/>
                </a:lnTo>
                <a:lnTo>
                  <a:pt x="18" y="6"/>
                </a:lnTo>
                <a:lnTo>
                  <a:pt x="12" y="6"/>
                </a:lnTo>
                <a:lnTo>
                  <a:pt x="0" y="10"/>
                </a:lnTo>
                <a:lnTo>
                  <a:pt x="0" y="10"/>
                </a:lnTo>
                <a:lnTo>
                  <a:pt x="0" y="20"/>
                </a:lnTo>
                <a:lnTo>
                  <a:pt x="0" y="28"/>
                </a:lnTo>
                <a:lnTo>
                  <a:pt x="0" y="28"/>
                </a:lnTo>
                <a:lnTo>
                  <a:pt x="6" y="28"/>
                </a:lnTo>
                <a:lnTo>
                  <a:pt x="6" y="28"/>
                </a:lnTo>
                <a:lnTo>
                  <a:pt x="4" y="38"/>
                </a:lnTo>
                <a:lnTo>
                  <a:pt x="4" y="38"/>
                </a:lnTo>
                <a:lnTo>
                  <a:pt x="12" y="38"/>
                </a:lnTo>
                <a:lnTo>
                  <a:pt x="12" y="38"/>
                </a:lnTo>
                <a:lnTo>
                  <a:pt x="16" y="38"/>
                </a:lnTo>
                <a:lnTo>
                  <a:pt x="16" y="36"/>
                </a:lnTo>
                <a:lnTo>
                  <a:pt x="16" y="36"/>
                </a:lnTo>
                <a:lnTo>
                  <a:pt x="20" y="36"/>
                </a:lnTo>
                <a:lnTo>
                  <a:pt x="26" y="38"/>
                </a:lnTo>
                <a:lnTo>
                  <a:pt x="26" y="38"/>
                </a:lnTo>
                <a:lnTo>
                  <a:pt x="30" y="40"/>
                </a:lnTo>
                <a:lnTo>
                  <a:pt x="30" y="42"/>
                </a:lnTo>
                <a:lnTo>
                  <a:pt x="34" y="42"/>
                </a:lnTo>
                <a:lnTo>
                  <a:pt x="38" y="50"/>
                </a:lnTo>
                <a:lnTo>
                  <a:pt x="44" y="48"/>
                </a:lnTo>
                <a:lnTo>
                  <a:pt x="44" y="48"/>
                </a:lnTo>
                <a:lnTo>
                  <a:pt x="46" y="44"/>
                </a:lnTo>
                <a:lnTo>
                  <a:pt x="46" y="40"/>
                </a:lnTo>
                <a:lnTo>
                  <a:pt x="48" y="40"/>
                </a:lnTo>
                <a:lnTo>
                  <a:pt x="48" y="40"/>
                </a:lnTo>
                <a:lnTo>
                  <a:pt x="52" y="36"/>
                </a:lnTo>
                <a:lnTo>
                  <a:pt x="54" y="34"/>
                </a:lnTo>
                <a:lnTo>
                  <a:pt x="54" y="30"/>
                </a:lnTo>
                <a:lnTo>
                  <a:pt x="54" y="30"/>
                </a:lnTo>
                <a:lnTo>
                  <a:pt x="50" y="28"/>
                </a:lnTo>
                <a:lnTo>
                  <a:pt x="50" y="28"/>
                </a:lnTo>
                <a:lnTo>
                  <a:pt x="50" y="22"/>
                </a:lnTo>
                <a:lnTo>
                  <a:pt x="48" y="16"/>
                </a:lnTo>
                <a:lnTo>
                  <a:pt x="48" y="16"/>
                </a:lnTo>
                <a:lnTo>
                  <a:pt x="52" y="14"/>
                </a:lnTo>
                <a:lnTo>
                  <a:pt x="52" y="14"/>
                </a:lnTo>
                <a:lnTo>
                  <a:pt x="56" y="14"/>
                </a:lnTo>
                <a:lnTo>
                  <a:pt x="56" y="14"/>
                </a:lnTo>
                <a:lnTo>
                  <a:pt x="56" y="16"/>
                </a:lnTo>
                <a:lnTo>
                  <a:pt x="56" y="1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2" name="Freeform 196">
            <a:extLst>
              <a:ext uri="{FF2B5EF4-FFF2-40B4-BE49-F238E27FC236}">
                <a16:creationId xmlns:a16="http://schemas.microsoft.com/office/drawing/2014/main" id="{24C73A84-FE5E-4DCD-A81D-A8D5F97CA38B}"/>
              </a:ext>
            </a:extLst>
          </p:cNvPr>
          <p:cNvSpPr>
            <a:spLocks/>
          </p:cNvSpPr>
          <p:nvPr userDrawn="1"/>
        </p:nvSpPr>
        <p:spPr bwMode="auto">
          <a:xfrm>
            <a:off x="6679240" y="3162419"/>
            <a:ext cx="140871" cy="168167"/>
          </a:xfrm>
          <a:custGeom>
            <a:avLst/>
            <a:gdLst>
              <a:gd name="T0" fmla="*/ 22 w 84"/>
              <a:gd name="T1" fmla="*/ 6 h 98"/>
              <a:gd name="T2" fmla="*/ 14 w 84"/>
              <a:gd name="T3" fmla="*/ 4 h 98"/>
              <a:gd name="T4" fmla="*/ 10 w 84"/>
              <a:gd name="T5" fmla="*/ 6 h 98"/>
              <a:gd name="T6" fmla="*/ 10 w 84"/>
              <a:gd name="T7" fmla="*/ 10 h 98"/>
              <a:gd name="T8" fmla="*/ 8 w 84"/>
              <a:gd name="T9" fmla="*/ 12 h 98"/>
              <a:gd name="T10" fmla="*/ 6 w 84"/>
              <a:gd name="T11" fmla="*/ 12 h 98"/>
              <a:gd name="T12" fmla="*/ 6 w 84"/>
              <a:gd name="T13" fmla="*/ 18 h 98"/>
              <a:gd name="T14" fmla="*/ 4 w 84"/>
              <a:gd name="T15" fmla="*/ 24 h 98"/>
              <a:gd name="T16" fmla="*/ 4 w 84"/>
              <a:gd name="T17" fmla="*/ 30 h 98"/>
              <a:gd name="T18" fmla="*/ 0 w 84"/>
              <a:gd name="T19" fmla="*/ 42 h 98"/>
              <a:gd name="T20" fmla="*/ 0 w 84"/>
              <a:gd name="T21" fmla="*/ 48 h 98"/>
              <a:gd name="T22" fmla="*/ 0 w 84"/>
              <a:gd name="T23" fmla="*/ 52 h 98"/>
              <a:gd name="T24" fmla="*/ 0 w 84"/>
              <a:gd name="T25" fmla="*/ 68 h 98"/>
              <a:gd name="T26" fmla="*/ 8 w 84"/>
              <a:gd name="T27" fmla="*/ 66 h 98"/>
              <a:gd name="T28" fmla="*/ 12 w 84"/>
              <a:gd name="T29" fmla="*/ 64 h 98"/>
              <a:gd name="T30" fmla="*/ 14 w 84"/>
              <a:gd name="T31" fmla="*/ 66 h 98"/>
              <a:gd name="T32" fmla="*/ 18 w 84"/>
              <a:gd name="T33" fmla="*/ 58 h 98"/>
              <a:gd name="T34" fmla="*/ 20 w 84"/>
              <a:gd name="T35" fmla="*/ 56 h 98"/>
              <a:gd name="T36" fmla="*/ 24 w 84"/>
              <a:gd name="T37" fmla="*/ 58 h 98"/>
              <a:gd name="T38" fmla="*/ 30 w 84"/>
              <a:gd name="T39" fmla="*/ 64 h 98"/>
              <a:gd name="T40" fmla="*/ 32 w 84"/>
              <a:gd name="T41" fmla="*/ 66 h 98"/>
              <a:gd name="T42" fmla="*/ 38 w 84"/>
              <a:gd name="T43" fmla="*/ 64 h 98"/>
              <a:gd name="T44" fmla="*/ 38 w 84"/>
              <a:gd name="T45" fmla="*/ 66 h 98"/>
              <a:gd name="T46" fmla="*/ 46 w 84"/>
              <a:gd name="T47" fmla="*/ 70 h 98"/>
              <a:gd name="T48" fmla="*/ 54 w 84"/>
              <a:gd name="T49" fmla="*/ 72 h 98"/>
              <a:gd name="T50" fmla="*/ 62 w 84"/>
              <a:gd name="T51" fmla="*/ 82 h 98"/>
              <a:gd name="T52" fmla="*/ 66 w 84"/>
              <a:gd name="T53" fmla="*/ 88 h 98"/>
              <a:gd name="T54" fmla="*/ 68 w 84"/>
              <a:gd name="T55" fmla="*/ 92 h 98"/>
              <a:gd name="T56" fmla="*/ 76 w 84"/>
              <a:gd name="T57" fmla="*/ 94 h 98"/>
              <a:gd name="T58" fmla="*/ 84 w 84"/>
              <a:gd name="T59" fmla="*/ 92 h 98"/>
              <a:gd name="T60" fmla="*/ 78 w 84"/>
              <a:gd name="T61" fmla="*/ 86 h 98"/>
              <a:gd name="T62" fmla="*/ 76 w 84"/>
              <a:gd name="T63" fmla="*/ 86 h 98"/>
              <a:gd name="T64" fmla="*/ 74 w 84"/>
              <a:gd name="T65" fmla="*/ 76 h 98"/>
              <a:gd name="T66" fmla="*/ 70 w 84"/>
              <a:gd name="T67" fmla="*/ 74 h 98"/>
              <a:gd name="T68" fmla="*/ 64 w 84"/>
              <a:gd name="T69" fmla="*/ 72 h 98"/>
              <a:gd name="T70" fmla="*/ 60 w 84"/>
              <a:gd name="T71" fmla="*/ 60 h 98"/>
              <a:gd name="T72" fmla="*/ 58 w 84"/>
              <a:gd name="T73" fmla="*/ 58 h 98"/>
              <a:gd name="T74" fmla="*/ 52 w 84"/>
              <a:gd name="T75" fmla="*/ 52 h 98"/>
              <a:gd name="T76" fmla="*/ 48 w 84"/>
              <a:gd name="T77" fmla="*/ 52 h 98"/>
              <a:gd name="T78" fmla="*/ 46 w 84"/>
              <a:gd name="T79" fmla="*/ 52 h 98"/>
              <a:gd name="T80" fmla="*/ 44 w 84"/>
              <a:gd name="T81" fmla="*/ 46 h 98"/>
              <a:gd name="T82" fmla="*/ 42 w 84"/>
              <a:gd name="T83" fmla="*/ 46 h 98"/>
              <a:gd name="T84" fmla="*/ 42 w 84"/>
              <a:gd name="T85" fmla="*/ 48 h 98"/>
              <a:gd name="T86" fmla="*/ 38 w 84"/>
              <a:gd name="T87" fmla="*/ 44 h 98"/>
              <a:gd name="T88" fmla="*/ 38 w 84"/>
              <a:gd name="T89" fmla="*/ 38 h 98"/>
              <a:gd name="T90" fmla="*/ 34 w 84"/>
              <a:gd name="T91" fmla="*/ 22 h 98"/>
              <a:gd name="T92" fmla="*/ 36 w 84"/>
              <a:gd name="T93" fmla="*/ 16 h 98"/>
              <a:gd name="T94" fmla="*/ 32 w 84"/>
              <a:gd name="T95" fmla="*/ 10 h 98"/>
              <a:gd name="T96" fmla="*/ 32 w 84"/>
              <a:gd name="T97" fmla="*/ 4 h 98"/>
              <a:gd name="T98" fmla="*/ 28 w 84"/>
              <a:gd name="T99" fmla="*/ 2 h 98"/>
              <a:gd name="T100" fmla="*/ 26 w 84"/>
              <a:gd name="T10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 h="98">
                <a:moveTo>
                  <a:pt x="26" y="0"/>
                </a:moveTo>
                <a:lnTo>
                  <a:pt x="22" y="6"/>
                </a:lnTo>
                <a:lnTo>
                  <a:pt x="14" y="4"/>
                </a:lnTo>
                <a:lnTo>
                  <a:pt x="14" y="4"/>
                </a:lnTo>
                <a:lnTo>
                  <a:pt x="12" y="4"/>
                </a:lnTo>
                <a:lnTo>
                  <a:pt x="10" y="6"/>
                </a:lnTo>
                <a:lnTo>
                  <a:pt x="10" y="6"/>
                </a:lnTo>
                <a:lnTo>
                  <a:pt x="10" y="10"/>
                </a:lnTo>
                <a:lnTo>
                  <a:pt x="8" y="12"/>
                </a:lnTo>
                <a:lnTo>
                  <a:pt x="8" y="12"/>
                </a:lnTo>
                <a:lnTo>
                  <a:pt x="8" y="12"/>
                </a:lnTo>
                <a:lnTo>
                  <a:pt x="6" y="12"/>
                </a:lnTo>
                <a:lnTo>
                  <a:pt x="6" y="14"/>
                </a:lnTo>
                <a:lnTo>
                  <a:pt x="6" y="18"/>
                </a:lnTo>
                <a:lnTo>
                  <a:pt x="6" y="18"/>
                </a:lnTo>
                <a:lnTo>
                  <a:pt x="4" y="24"/>
                </a:lnTo>
                <a:lnTo>
                  <a:pt x="4" y="30"/>
                </a:lnTo>
                <a:lnTo>
                  <a:pt x="4" y="30"/>
                </a:lnTo>
                <a:lnTo>
                  <a:pt x="4" y="36"/>
                </a:lnTo>
                <a:lnTo>
                  <a:pt x="0" y="42"/>
                </a:lnTo>
                <a:lnTo>
                  <a:pt x="0" y="42"/>
                </a:lnTo>
                <a:lnTo>
                  <a:pt x="0" y="48"/>
                </a:lnTo>
                <a:lnTo>
                  <a:pt x="0" y="52"/>
                </a:lnTo>
                <a:lnTo>
                  <a:pt x="0" y="52"/>
                </a:lnTo>
                <a:lnTo>
                  <a:pt x="0" y="62"/>
                </a:lnTo>
                <a:lnTo>
                  <a:pt x="0" y="68"/>
                </a:lnTo>
                <a:lnTo>
                  <a:pt x="8" y="66"/>
                </a:lnTo>
                <a:lnTo>
                  <a:pt x="8" y="66"/>
                </a:lnTo>
                <a:lnTo>
                  <a:pt x="10" y="64"/>
                </a:lnTo>
                <a:lnTo>
                  <a:pt x="12" y="64"/>
                </a:lnTo>
                <a:lnTo>
                  <a:pt x="14" y="66"/>
                </a:lnTo>
                <a:lnTo>
                  <a:pt x="14" y="66"/>
                </a:lnTo>
                <a:lnTo>
                  <a:pt x="16" y="70"/>
                </a:lnTo>
                <a:lnTo>
                  <a:pt x="18" y="58"/>
                </a:lnTo>
                <a:lnTo>
                  <a:pt x="18" y="58"/>
                </a:lnTo>
                <a:lnTo>
                  <a:pt x="20" y="56"/>
                </a:lnTo>
                <a:lnTo>
                  <a:pt x="24" y="58"/>
                </a:lnTo>
                <a:lnTo>
                  <a:pt x="24" y="58"/>
                </a:lnTo>
                <a:lnTo>
                  <a:pt x="28" y="62"/>
                </a:lnTo>
                <a:lnTo>
                  <a:pt x="30" y="64"/>
                </a:lnTo>
                <a:lnTo>
                  <a:pt x="32" y="66"/>
                </a:lnTo>
                <a:lnTo>
                  <a:pt x="32" y="66"/>
                </a:lnTo>
                <a:lnTo>
                  <a:pt x="36" y="64"/>
                </a:lnTo>
                <a:lnTo>
                  <a:pt x="38" y="64"/>
                </a:lnTo>
                <a:lnTo>
                  <a:pt x="38" y="66"/>
                </a:lnTo>
                <a:lnTo>
                  <a:pt x="38" y="66"/>
                </a:lnTo>
                <a:lnTo>
                  <a:pt x="42" y="68"/>
                </a:lnTo>
                <a:lnTo>
                  <a:pt x="46" y="70"/>
                </a:lnTo>
                <a:lnTo>
                  <a:pt x="54" y="72"/>
                </a:lnTo>
                <a:lnTo>
                  <a:pt x="54" y="72"/>
                </a:lnTo>
                <a:lnTo>
                  <a:pt x="58" y="76"/>
                </a:lnTo>
                <a:lnTo>
                  <a:pt x="62" y="82"/>
                </a:lnTo>
                <a:lnTo>
                  <a:pt x="62" y="82"/>
                </a:lnTo>
                <a:lnTo>
                  <a:pt x="66" y="88"/>
                </a:lnTo>
                <a:lnTo>
                  <a:pt x="68" y="92"/>
                </a:lnTo>
                <a:lnTo>
                  <a:pt x="68" y="92"/>
                </a:lnTo>
                <a:lnTo>
                  <a:pt x="74" y="96"/>
                </a:lnTo>
                <a:lnTo>
                  <a:pt x="76" y="94"/>
                </a:lnTo>
                <a:lnTo>
                  <a:pt x="80" y="98"/>
                </a:lnTo>
                <a:lnTo>
                  <a:pt x="84" y="92"/>
                </a:lnTo>
                <a:lnTo>
                  <a:pt x="84" y="90"/>
                </a:lnTo>
                <a:lnTo>
                  <a:pt x="78" y="86"/>
                </a:lnTo>
                <a:lnTo>
                  <a:pt x="76" y="86"/>
                </a:lnTo>
                <a:lnTo>
                  <a:pt x="76" y="86"/>
                </a:lnTo>
                <a:lnTo>
                  <a:pt x="74" y="82"/>
                </a:lnTo>
                <a:lnTo>
                  <a:pt x="74" y="76"/>
                </a:lnTo>
                <a:lnTo>
                  <a:pt x="74" y="76"/>
                </a:lnTo>
                <a:lnTo>
                  <a:pt x="70" y="74"/>
                </a:lnTo>
                <a:lnTo>
                  <a:pt x="64" y="72"/>
                </a:lnTo>
                <a:lnTo>
                  <a:pt x="64" y="72"/>
                </a:lnTo>
                <a:lnTo>
                  <a:pt x="62" y="66"/>
                </a:lnTo>
                <a:lnTo>
                  <a:pt x="60" y="60"/>
                </a:lnTo>
                <a:lnTo>
                  <a:pt x="60" y="60"/>
                </a:lnTo>
                <a:lnTo>
                  <a:pt x="58" y="58"/>
                </a:lnTo>
                <a:lnTo>
                  <a:pt x="52" y="58"/>
                </a:lnTo>
                <a:lnTo>
                  <a:pt x="52" y="52"/>
                </a:lnTo>
                <a:lnTo>
                  <a:pt x="52" y="52"/>
                </a:lnTo>
                <a:lnTo>
                  <a:pt x="48" y="52"/>
                </a:lnTo>
                <a:lnTo>
                  <a:pt x="46" y="52"/>
                </a:lnTo>
                <a:lnTo>
                  <a:pt x="46" y="52"/>
                </a:lnTo>
                <a:lnTo>
                  <a:pt x="46" y="48"/>
                </a:lnTo>
                <a:lnTo>
                  <a:pt x="44" y="46"/>
                </a:lnTo>
                <a:lnTo>
                  <a:pt x="44" y="46"/>
                </a:lnTo>
                <a:lnTo>
                  <a:pt x="42" y="46"/>
                </a:lnTo>
                <a:lnTo>
                  <a:pt x="42" y="48"/>
                </a:lnTo>
                <a:lnTo>
                  <a:pt x="42" y="48"/>
                </a:lnTo>
                <a:lnTo>
                  <a:pt x="38" y="44"/>
                </a:lnTo>
                <a:lnTo>
                  <a:pt x="38" y="44"/>
                </a:lnTo>
                <a:lnTo>
                  <a:pt x="38" y="38"/>
                </a:lnTo>
                <a:lnTo>
                  <a:pt x="38" y="38"/>
                </a:lnTo>
                <a:lnTo>
                  <a:pt x="34" y="22"/>
                </a:lnTo>
                <a:lnTo>
                  <a:pt x="34" y="22"/>
                </a:lnTo>
                <a:lnTo>
                  <a:pt x="34" y="18"/>
                </a:lnTo>
                <a:lnTo>
                  <a:pt x="36" y="16"/>
                </a:lnTo>
                <a:lnTo>
                  <a:pt x="36" y="16"/>
                </a:lnTo>
                <a:lnTo>
                  <a:pt x="32" y="10"/>
                </a:lnTo>
                <a:lnTo>
                  <a:pt x="32" y="10"/>
                </a:lnTo>
                <a:lnTo>
                  <a:pt x="32" y="4"/>
                </a:lnTo>
                <a:lnTo>
                  <a:pt x="32" y="4"/>
                </a:lnTo>
                <a:lnTo>
                  <a:pt x="28" y="2"/>
                </a:lnTo>
                <a:lnTo>
                  <a:pt x="26" y="0"/>
                </a:lnTo>
                <a:lnTo>
                  <a:pt x="2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3" name="Freeform 197">
            <a:extLst>
              <a:ext uri="{FF2B5EF4-FFF2-40B4-BE49-F238E27FC236}">
                <a16:creationId xmlns:a16="http://schemas.microsoft.com/office/drawing/2014/main" id="{29D7A34A-A121-4260-9907-9FEE4A428D88}"/>
              </a:ext>
            </a:extLst>
          </p:cNvPr>
          <p:cNvSpPr>
            <a:spLocks/>
          </p:cNvSpPr>
          <p:nvPr userDrawn="1"/>
        </p:nvSpPr>
        <p:spPr bwMode="auto">
          <a:xfrm>
            <a:off x="6067122" y="3612009"/>
            <a:ext cx="48634" cy="34320"/>
          </a:xfrm>
          <a:custGeom>
            <a:avLst/>
            <a:gdLst>
              <a:gd name="T0" fmla="*/ 4 w 29"/>
              <a:gd name="T1" fmla="*/ 0 h 20"/>
              <a:gd name="T2" fmla="*/ 4 w 29"/>
              <a:gd name="T3" fmla="*/ 0 h 20"/>
              <a:gd name="T4" fmla="*/ 4 w 29"/>
              <a:gd name="T5" fmla="*/ 4 h 20"/>
              <a:gd name="T6" fmla="*/ 2 w 29"/>
              <a:gd name="T7" fmla="*/ 4 h 20"/>
              <a:gd name="T8" fmla="*/ 2 w 29"/>
              <a:gd name="T9" fmla="*/ 4 h 20"/>
              <a:gd name="T10" fmla="*/ 2 w 29"/>
              <a:gd name="T11" fmla="*/ 8 h 20"/>
              <a:gd name="T12" fmla="*/ 2 w 29"/>
              <a:gd name="T13" fmla="*/ 14 h 20"/>
              <a:gd name="T14" fmla="*/ 2 w 29"/>
              <a:gd name="T15" fmla="*/ 14 h 20"/>
              <a:gd name="T16" fmla="*/ 0 w 29"/>
              <a:gd name="T17" fmla="*/ 18 h 20"/>
              <a:gd name="T18" fmla="*/ 27 w 29"/>
              <a:gd name="T19" fmla="*/ 20 h 20"/>
              <a:gd name="T20" fmla="*/ 29 w 29"/>
              <a:gd name="T21" fmla="*/ 0 h 20"/>
              <a:gd name="T22" fmla="*/ 4 w 2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0">
                <a:moveTo>
                  <a:pt x="4" y="0"/>
                </a:moveTo>
                <a:lnTo>
                  <a:pt x="4" y="0"/>
                </a:lnTo>
                <a:lnTo>
                  <a:pt x="4" y="4"/>
                </a:lnTo>
                <a:lnTo>
                  <a:pt x="2" y="4"/>
                </a:lnTo>
                <a:lnTo>
                  <a:pt x="2" y="4"/>
                </a:lnTo>
                <a:lnTo>
                  <a:pt x="2" y="8"/>
                </a:lnTo>
                <a:lnTo>
                  <a:pt x="2" y="14"/>
                </a:lnTo>
                <a:lnTo>
                  <a:pt x="2" y="14"/>
                </a:lnTo>
                <a:lnTo>
                  <a:pt x="0" y="18"/>
                </a:lnTo>
                <a:lnTo>
                  <a:pt x="27" y="20"/>
                </a:lnTo>
                <a:lnTo>
                  <a:pt x="29"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4" name="Freeform 198">
            <a:extLst>
              <a:ext uri="{FF2B5EF4-FFF2-40B4-BE49-F238E27FC236}">
                <a16:creationId xmlns:a16="http://schemas.microsoft.com/office/drawing/2014/main" id="{10B89D41-6BA8-4E84-8F70-72AFCC6FC0E1}"/>
              </a:ext>
            </a:extLst>
          </p:cNvPr>
          <p:cNvSpPr>
            <a:spLocks/>
          </p:cNvSpPr>
          <p:nvPr userDrawn="1"/>
        </p:nvSpPr>
        <p:spPr bwMode="auto">
          <a:xfrm>
            <a:off x="3826602" y="3265379"/>
            <a:ext cx="63727" cy="41184"/>
          </a:xfrm>
          <a:custGeom>
            <a:avLst/>
            <a:gdLst>
              <a:gd name="T0" fmla="*/ 0 w 38"/>
              <a:gd name="T1" fmla="*/ 12 h 24"/>
              <a:gd name="T2" fmla="*/ 0 w 38"/>
              <a:gd name="T3" fmla="*/ 12 h 24"/>
              <a:gd name="T4" fmla="*/ 4 w 38"/>
              <a:gd name="T5" fmla="*/ 14 h 24"/>
              <a:gd name="T6" fmla="*/ 8 w 38"/>
              <a:gd name="T7" fmla="*/ 16 h 24"/>
              <a:gd name="T8" fmla="*/ 8 w 38"/>
              <a:gd name="T9" fmla="*/ 16 h 24"/>
              <a:gd name="T10" fmla="*/ 8 w 38"/>
              <a:gd name="T11" fmla="*/ 18 h 24"/>
              <a:gd name="T12" fmla="*/ 8 w 38"/>
              <a:gd name="T13" fmla="*/ 20 h 24"/>
              <a:gd name="T14" fmla="*/ 8 w 38"/>
              <a:gd name="T15" fmla="*/ 20 h 24"/>
              <a:gd name="T16" fmla="*/ 14 w 38"/>
              <a:gd name="T17" fmla="*/ 20 h 24"/>
              <a:gd name="T18" fmla="*/ 18 w 38"/>
              <a:gd name="T19" fmla="*/ 20 h 24"/>
              <a:gd name="T20" fmla="*/ 18 w 38"/>
              <a:gd name="T21" fmla="*/ 20 h 24"/>
              <a:gd name="T22" fmla="*/ 26 w 38"/>
              <a:gd name="T23" fmla="*/ 20 h 24"/>
              <a:gd name="T24" fmla="*/ 34 w 38"/>
              <a:gd name="T25" fmla="*/ 24 h 24"/>
              <a:gd name="T26" fmla="*/ 34 w 38"/>
              <a:gd name="T27" fmla="*/ 24 h 24"/>
              <a:gd name="T28" fmla="*/ 36 w 38"/>
              <a:gd name="T29" fmla="*/ 20 h 24"/>
              <a:gd name="T30" fmla="*/ 36 w 38"/>
              <a:gd name="T31" fmla="*/ 20 h 24"/>
              <a:gd name="T32" fmla="*/ 38 w 38"/>
              <a:gd name="T33" fmla="*/ 20 h 24"/>
              <a:gd name="T34" fmla="*/ 38 w 38"/>
              <a:gd name="T35" fmla="*/ 10 h 24"/>
              <a:gd name="T36" fmla="*/ 38 w 38"/>
              <a:gd name="T37" fmla="*/ 10 h 24"/>
              <a:gd name="T38" fmla="*/ 38 w 38"/>
              <a:gd name="T39" fmla="*/ 10 h 24"/>
              <a:gd name="T40" fmla="*/ 32 w 38"/>
              <a:gd name="T41" fmla="*/ 8 h 24"/>
              <a:gd name="T42" fmla="*/ 32 w 38"/>
              <a:gd name="T43" fmla="*/ 8 h 24"/>
              <a:gd name="T44" fmla="*/ 28 w 38"/>
              <a:gd name="T45" fmla="*/ 6 h 24"/>
              <a:gd name="T46" fmla="*/ 26 w 38"/>
              <a:gd name="T47" fmla="*/ 4 h 24"/>
              <a:gd name="T48" fmla="*/ 26 w 38"/>
              <a:gd name="T49" fmla="*/ 4 h 24"/>
              <a:gd name="T50" fmla="*/ 18 w 38"/>
              <a:gd name="T51" fmla="*/ 2 h 24"/>
              <a:gd name="T52" fmla="*/ 12 w 38"/>
              <a:gd name="T53" fmla="*/ 0 h 24"/>
              <a:gd name="T54" fmla="*/ 12 w 38"/>
              <a:gd name="T55" fmla="*/ 0 h 24"/>
              <a:gd name="T56" fmla="*/ 10 w 38"/>
              <a:gd name="T57" fmla="*/ 2 h 24"/>
              <a:gd name="T58" fmla="*/ 6 w 38"/>
              <a:gd name="T59" fmla="*/ 4 h 24"/>
              <a:gd name="T60" fmla="*/ 6 w 38"/>
              <a:gd name="T61" fmla="*/ 8 h 24"/>
              <a:gd name="T62" fmla="*/ 6 w 38"/>
              <a:gd name="T63" fmla="*/ 8 h 24"/>
              <a:gd name="T64" fmla="*/ 6 w 38"/>
              <a:gd name="T65" fmla="*/ 10 h 24"/>
              <a:gd name="T66" fmla="*/ 2 w 38"/>
              <a:gd name="T67" fmla="*/ 10 h 24"/>
              <a:gd name="T68" fmla="*/ 0 w 38"/>
              <a:gd name="T69" fmla="*/ 10 h 24"/>
              <a:gd name="T70" fmla="*/ 0 w 38"/>
              <a:gd name="T71" fmla="*/ 12 h 24"/>
              <a:gd name="T72" fmla="*/ 0 w 38"/>
              <a:gd name="T7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24">
                <a:moveTo>
                  <a:pt x="0" y="12"/>
                </a:moveTo>
                <a:lnTo>
                  <a:pt x="0" y="12"/>
                </a:lnTo>
                <a:lnTo>
                  <a:pt x="4" y="14"/>
                </a:lnTo>
                <a:lnTo>
                  <a:pt x="8" y="16"/>
                </a:lnTo>
                <a:lnTo>
                  <a:pt x="8" y="16"/>
                </a:lnTo>
                <a:lnTo>
                  <a:pt x="8" y="18"/>
                </a:lnTo>
                <a:lnTo>
                  <a:pt x="8" y="20"/>
                </a:lnTo>
                <a:lnTo>
                  <a:pt x="8" y="20"/>
                </a:lnTo>
                <a:lnTo>
                  <a:pt x="14" y="20"/>
                </a:lnTo>
                <a:lnTo>
                  <a:pt x="18" y="20"/>
                </a:lnTo>
                <a:lnTo>
                  <a:pt x="18" y="20"/>
                </a:lnTo>
                <a:lnTo>
                  <a:pt x="26" y="20"/>
                </a:lnTo>
                <a:lnTo>
                  <a:pt x="34" y="24"/>
                </a:lnTo>
                <a:lnTo>
                  <a:pt x="34" y="24"/>
                </a:lnTo>
                <a:lnTo>
                  <a:pt x="36" y="20"/>
                </a:lnTo>
                <a:lnTo>
                  <a:pt x="36" y="20"/>
                </a:lnTo>
                <a:lnTo>
                  <a:pt x="38" y="20"/>
                </a:lnTo>
                <a:lnTo>
                  <a:pt x="38" y="10"/>
                </a:lnTo>
                <a:lnTo>
                  <a:pt x="38" y="10"/>
                </a:lnTo>
                <a:lnTo>
                  <a:pt x="38" y="10"/>
                </a:lnTo>
                <a:lnTo>
                  <a:pt x="32" y="8"/>
                </a:lnTo>
                <a:lnTo>
                  <a:pt x="32" y="8"/>
                </a:lnTo>
                <a:lnTo>
                  <a:pt x="28" y="6"/>
                </a:lnTo>
                <a:lnTo>
                  <a:pt x="26" y="4"/>
                </a:lnTo>
                <a:lnTo>
                  <a:pt x="26" y="4"/>
                </a:lnTo>
                <a:lnTo>
                  <a:pt x="18" y="2"/>
                </a:lnTo>
                <a:lnTo>
                  <a:pt x="12" y="0"/>
                </a:lnTo>
                <a:lnTo>
                  <a:pt x="12" y="0"/>
                </a:lnTo>
                <a:lnTo>
                  <a:pt x="10" y="2"/>
                </a:lnTo>
                <a:lnTo>
                  <a:pt x="6" y="4"/>
                </a:lnTo>
                <a:lnTo>
                  <a:pt x="6" y="8"/>
                </a:lnTo>
                <a:lnTo>
                  <a:pt x="6" y="8"/>
                </a:lnTo>
                <a:lnTo>
                  <a:pt x="6" y="10"/>
                </a:lnTo>
                <a:lnTo>
                  <a:pt x="2" y="10"/>
                </a:lnTo>
                <a:lnTo>
                  <a:pt x="0" y="10"/>
                </a:lnTo>
                <a:lnTo>
                  <a:pt x="0" y="12"/>
                </a:lnTo>
                <a:lnTo>
                  <a:pt x="0" y="1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5" name="Freeform 199">
            <a:extLst>
              <a:ext uri="{FF2B5EF4-FFF2-40B4-BE49-F238E27FC236}">
                <a16:creationId xmlns:a16="http://schemas.microsoft.com/office/drawing/2014/main" id="{B50D3D59-7E86-47F9-B45C-EDCF01803566}"/>
              </a:ext>
            </a:extLst>
          </p:cNvPr>
          <p:cNvSpPr>
            <a:spLocks/>
          </p:cNvSpPr>
          <p:nvPr userDrawn="1"/>
        </p:nvSpPr>
        <p:spPr bwMode="auto">
          <a:xfrm>
            <a:off x="6410915" y="2757447"/>
            <a:ext cx="248201" cy="295149"/>
          </a:xfrm>
          <a:custGeom>
            <a:avLst/>
            <a:gdLst>
              <a:gd name="T0" fmla="*/ 146 w 148"/>
              <a:gd name="T1" fmla="*/ 146 h 172"/>
              <a:gd name="T2" fmla="*/ 144 w 148"/>
              <a:gd name="T3" fmla="*/ 136 h 172"/>
              <a:gd name="T4" fmla="*/ 144 w 148"/>
              <a:gd name="T5" fmla="*/ 130 h 172"/>
              <a:gd name="T6" fmla="*/ 144 w 148"/>
              <a:gd name="T7" fmla="*/ 126 h 172"/>
              <a:gd name="T8" fmla="*/ 132 w 148"/>
              <a:gd name="T9" fmla="*/ 108 h 172"/>
              <a:gd name="T10" fmla="*/ 128 w 148"/>
              <a:gd name="T11" fmla="*/ 102 h 172"/>
              <a:gd name="T12" fmla="*/ 124 w 148"/>
              <a:gd name="T13" fmla="*/ 88 h 172"/>
              <a:gd name="T14" fmla="*/ 122 w 148"/>
              <a:gd name="T15" fmla="*/ 80 h 172"/>
              <a:gd name="T16" fmla="*/ 118 w 148"/>
              <a:gd name="T17" fmla="*/ 78 h 172"/>
              <a:gd name="T18" fmla="*/ 118 w 148"/>
              <a:gd name="T19" fmla="*/ 68 h 172"/>
              <a:gd name="T20" fmla="*/ 110 w 148"/>
              <a:gd name="T21" fmla="*/ 58 h 172"/>
              <a:gd name="T22" fmla="*/ 108 w 148"/>
              <a:gd name="T23" fmla="*/ 46 h 172"/>
              <a:gd name="T24" fmla="*/ 114 w 148"/>
              <a:gd name="T25" fmla="*/ 52 h 172"/>
              <a:gd name="T26" fmla="*/ 116 w 148"/>
              <a:gd name="T27" fmla="*/ 62 h 172"/>
              <a:gd name="T28" fmla="*/ 124 w 148"/>
              <a:gd name="T29" fmla="*/ 70 h 172"/>
              <a:gd name="T30" fmla="*/ 136 w 148"/>
              <a:gd name="T31" fmla="*/ 58 h 172"/>
              <a:gd name="T32" fmla="*/ 138 w 148"/>
              <a:gd name="T33" fmla="*/ 50 h 172"/>
              <a:gd name="T34" fmla="*/ 132 w 148"/>
              <a:gd name="T35" fmla="*/ 14 h 172"/>
              <a:gd name="T36" fmla="*/ 126 w 148"/>
              <a:gd name="T37" fmla="*/ 12 h 172"/>
              <a:gd name="T38" fmla="*/ 118 w 148"/>
              <a:gd name="T39" fmla="*/ 14 h 172"/>
              <a:gd name="T40" fmla="*/ 112 w 148"/>
              <a:gd name="T41" fmla="*/ 14 h 172"/>
              <a:gd name="T42" fmla="*/ 108 w 148"/>
              <a:gd name="T43" fmla="*/ 12 h 172"/>
              <a:gd name="T44" fmla="*/ 100 w 148"/>
              <a:gd name="T45" fmla="*/ 14 h 172"/>
              <a:gd name="T46" fmla="*/ 96 w 148"/>
              <a:gd name="T47" fmla="*/ 14 h 172"/>
              <a:gd name="T48" fmla="*/ 96 w 148"/>
              <a:gd name="T49" fmla="*/ 10 h 172"/>
              <a:gd name="T50" fmla="*/ 92 w 148"/>
              <a:gd name="T51" fmla="*/ 10 h 172"/>
              <a:gd name="T52" fmla="*/ 90 w 148"/>
              <a:gd name="T53" fmla="*/ 12 h 172"/>
              <a:gd name="T54" fmla="*/ 90 w 148"/>
              <a:gd name="T55" fmla="*/ 16 h 172"/>
              <a:gd name="T56" fmla="*/ 86 w 148"/>
              <a:gd name="T57" fmla="*/ 16 h 172"/>
              <a:gd name="T58" fmla="*/ 88 w 148"/>
              <a:gd name="T59" fmla="*/ 12 h 172"/>
              <a:gd name="T60" fmla="*/ 76 w 148"/>
              <a:gd name="T61" fmla="*/ 12 h 172"/>
              <a:gd name="T62" fmla="*/ 72 w 148"/>
              <a:gd name="T63" fmla="*/ 18 h 172"/>
              <a:gd name="T64" fmla="*/ 64 w 148"/>
              <a:gd name="T65" fmla="*/ 18 h 172"/>
              <a:gd name="T66" fmla="*/ 54 w 148"/>
              <a:gd name="T67" fmla="*/ 14 h 172"/>
              <a:gd name="T68" fmla="*/ 38 w 148"/>
              <a:gd name="T69" fmla="*/ 16 h 172"/>
              <a:gd name="T70" fmla="*/ 30 w 148"/>
              <a:gd name="T71" fmla="*/ 12 h 172"/>
              <a:gd name="T72" fmla="*/ 28 w 148"/>
              <a:gd name="T73" fmla="*/ 8 h 172"/>
              <a:gd name="T74" fmla="*/ 10 w 148"/>
              <a:gd name="T75" fmla="*/ 8 h 172"/>
              <a:gd name="T76" fmla="*/ 4 w 148"/>
              <a:gd name="T77" fmla="*/ 0 h 172"/>
              <a:gd name="T78" fmla="*/ 0 w 148"/>
              <a:gd name="T79" fmla="*/ 6 h 172"/>
              <a:gd name="T80" fmla="*/ 4 w 148"/>
              <a:gd name="T81" fmla="*/ 18 h 172"/>
              <a:gd name="T82" fmla="*/ 2 w 148"/>
              <a:gd name="T83" fmla="*/ 24 h 172"/>
              <a:gd name="T84" fmla="*/ 0 w 148"/>
              <a:gd name="T85" fmla="*/ 34 h 172"/>
              <a:gd name="T86" fmla="*/ 2 w 148"/>
              <a:gd name="T87" fmla="*/ 42 h 172"/>
              <a:gd name="T88" fmla="*/ 102 w 148"/>
              <a:gd name="T89" fmla="*/ 168 h 172"/>
              <a:gd name="T90" fmla="*/ 118 w 148"/>
              <a:gd name="T91" fmla="*/ 168 h 172"/>
              <a:gd name="T92" fmla="*/ 126 w 148"/>
              <a:gd name="T93" fmla="*/ 162 h 172"/>
              <a:gd name="T94" fmla="*/ 140 w 148"/>
              <a:gd name="T95" fmla="*/ 15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72">
                <a:moveTo>
                  <a:pt x="148" y="148"/>
                </a:moveTo>
                <a:lnTo>
                  <a:pt x="148" y="148"/>
                </a:lnTo>
                <a:lnTo>
                  <a:pt x="146" y="146"/>
                </a:lnTo>
                <a:lnTo>
                  <a:pt x="146" y="146"/>
                </a:lnTo>
                <a:lnTo>
                  <a:pt x="144" y="136"/>
                </a:lnTo>
                <a:lnTo>
                  <a:pt x="144" y="136"/>
                </a:lnTo>
                <a:lnTo>
                  <a:pt x="148" y="134"/>
                </a:lnTo>
                <a:lnTo>
                  <a:pt x="148" y="134"/>
                </a:lnTo>
                <a:lnTo>
                  <a:pt x="144" y="130"/>
                </a:lnTo>
                <a:lnTo>
                  <a:pt x="144" y="130"/>
                </a:lnTo>
                <a:lnTo>
                  <a:pt x="144" y="126"/>
                </a:lnTo>
                <a:lnTo>
                  <a:pt x="144" y="126"/>
                </a:lnTo>
                <a:lnTo>
                  <a:pt x="136" y="110"/>
                </a:lnTo>
                <a:lnTo>
                  <a:pt x="136" y="110"/>
                </a:lnTo>
                <a:lnTo>
                  <a:pt x="132" y="108"/>
                </a:lnTo>
                <a:lnTo>
                  <a:pt x="132" y="108"/>
                </a:lnTo>
                <a:lnTo>
                  <a:pt x="128" y="102"/>
                </a:lnTo>
                <a:lnTo>
                  <a:pt x="128" y="102"/>
                </a:lnTo>
                <a:lnTo>
                  <a:pt x="126" y="94"/>
                </a:lnTo>
                <a:lnTo>
                  <a:pt x="124" y="88"/>
                </a:lnTo>
                <a:lnTo>
                  <a:pt x="124" y="88"/>
                </a:lnTo>
                <a:lnTo>
                  <a:pt x="122" y="82"/>
                </a:lnTo>
                <a:lnTo>
                  <a:pt x="122" y="82"/>
                </a:lnTo>
                <a:lnTo>
                  <a:pt x="122" y="80"/>
                </a:lnTo>
                <a:lnTo>
                  <a:pt x="122" y="80"/>
                </a:lnTo>
                <a:lnTo>
                  <a:pt x="118" y="78"/>
                </a:lnTo>
                <a:lnTo>
                  <a:pt x="118" y="78"/>
                </a:lnTo>
                <a:lnTo>
                  <a:pt x="118" y="72"/>
                </a:lnTo>
                <a:lnTo>
                  <a:pt x="118" y="68"/>
                </a:lnTo>
                <a:lnTo>
                  <a:pt x="118" y="68"/>
                </a:lnTo>
                <a:lnTo>
                  <a:pt x="114" y="64"/>
                </a:lnTo>
                <a:lnTo>
                  <a:pt x="114" y="64"/>
                </a:lnTo>
                <a:lnTo>
                  <a:pt x="110" y="58"/>
                </a:lnTo>
                <a:lnTo>
                  <a:pt x="106" y="50"/>
                </a:lnTo>
                <a:lnTo>
                  <a:pt x="106" y="50"/>
                </a:lnTo>
                <a:lnTo>
                  <a:pt x="108" y="46"/>
                </a:lnTo>
                <a:lnTo>
                  <a:pt x="108" y="46"/>
                </a:lnTo>
                <a:lnTo>
                  <a:pt x="112" y="48"/>
                </a:lnTo>
                <a:lnTo>
                  <a:pt x="114" y="52"/>
                </a:lnTo>
                <a:lnTo>
                  <a:pt x="114" y="52"/>
                </a:lnTo>
                <a:lnTo>
                  <a:pt x="116" y="58"/>
                </a:lnTo>
                <a:lnTo>
                  <a:pt x="116" y="62"/>
                </a:lnTo>
                <a:lnTo>
                  <a:pt x="116" y="62"/>
                </a:lnTo>
                <a:lnTo>
                  <a:pt x="124" y="70"/>
                </a:lnTo>
                <a:lnTo>
                  <a:pt x="124" y="70"/>
                </a:lnTo>
                <a:lnTo>
                  <a:pt x="130" y="70"/>
                </a:lnTo>
                <a:lnTo>
                  <a:pt x="130" y="70"/>
                </a:lnTo>
                <a:lnTo>
                  <a:pt x="136" y="58"/>
                </a:lnTo>
                <a:lnTo>
                  <a:pt x="136" y="58"/>
                </a:lnTo>
                <a:lnTo>
                  <a:pt x="138" y="50"/>
                </a:lnTo>
                <a:lnTo>
                  <a:pt x="138" y="50"/>
                </a:lnTo>
                <a:lnTo>
                  <a:pt x="136" y="44"/>
                </a:lnTo>
                <a:lnTo>
                  <a:pt x="134" y="22"/>
                </a:lnTo>
                <a:lnTo>
                  <a:pt x="132" y="14"/>
                </a:lnTo>
                <a:lnTo>
                  <a:pt x="130" y="12"/>
                </a:lnTo>
                <a:lnTo>
                  <a:pt x="130" y="12"/>
                </a:lnTo>
                <a:lnTo>
                  <a:pt x="126" y="12"/>
                </a:lnTo>
                <a:lnTo>
                  <a:pt x="122" y="12"/>
                </a:lnTo>
                <a:lnTo>
                  <a:pt x="122" y="12"/>
                </a:lnTo>
                <a:lnTo>
                  <a:pt x="118" y="14"/>
                </a:lnTo>
                <a:lnTo>
                  <a:pt x="112" y="16"/>
                </a:lnTo>
                <a:lnTo>
                  <a:pt x="112" y="16"/>
                </a:lnTo>
                <a:lnTo>
                  <a:pt x="112" y="14"/>
                </a:lnTo>
                <a:lnTo>
                  <a:pt x="112" y="12"/>
                </a:lnTo>
                <a:lnTo>
                  <a:pt x="108" y="12"/>
                </a:lnTo>
                <a:lnTo>
                  <a:pt x="108" y="12"/>
                </a:lnTo>
                <a:lnTo>
                  <a:pt x="104" y="14"/>
                </a:lnTo>
                <a:lnTo>
                  <a:pt x="102" y="16"/>
                </a:lnTo>
                <a:lnTo>
                  <a:pt x="100" y="14"/>
                </a:lnTo>
                <a:lnTo>
                  <a:pt x="100" y="14"/>
                </a:lnTo>
                <a:lnTo>
                  <a:pt x="96" y="14"/>
                </a:lnTo>
                <a:lnTo>
                  <a:pt x="96" y="14"/>
                </a:lnTo>
                <a:lnTo>
                  <a:pt x="94" y="12"/>
                </a:lnTo>
                <a:lnTo>
                  <a:pt x="96" y="12"/>
                </a:lnTo>
                <a:lnTo>
                  <a:pt x="96" y="10"/>
                </a:lnTo>
                <a:lnTo>
                  <a:pt x="96" y="10"/>
                </a:lnTo>
                <a:lnTo>
                  <a:pt x="92" y="10"/>
                </a:lnTo>
                <a:lnTo>
                  <a:pt x="92" y="10"/>
                </a:lnTo>
                <a:lnTo>
                  <a:pt x="90" y="10"/>
                </a:lnTo>
                <a:lnTo>
                  <a:pt x="88" y="12"/>
                </a:lnTo>
                <a:lnTo>
                  <a:pt x="90" y="12"/>
                </a:lnTo>
                <a:lnTo>
                  <a:pt x="90" y="12"/>
                </a:lnTo>
                <a:lnTo>
                  <a:pt x="90" y="14"/>
                </a:lnTo>
                <a:lnTo>
                  <a:pt x="90" y="16"/>
                </a:lnTo>
                <a:lnTo>
                  <a:pt x="90" y="18"/>
                </a:lnTo>
                <a:lnTo>
                  <a:pt x="86" y="16"/>
                </a:lnTo>
                <a:lnTo>
                  <a:pt x="86" y="16"/>
                </a:lnTo>
                <a:lnTo>
                  <a:pt x="86" y="14"/>
                </a:lnTo>
                <a:lnTo>
                  <a:pt x="88" y="12"/>
                </a:lnTo>
                <a:lnTo>
                  <a:pt x="88" y="12"/>
                </a:lnTo>
                <a:lnTo>
                  <a:pt x="82" y="14"/>
                </a:lnTo>
                <a:lnTo>
                  <a:pt x="76" y="12"/>
                </a:lnTo>
                <a:lnTo>
                  <a:pt x="76" y="12"/>
                </a:lnTo>
                <a:lnTo>
                  <a:pt x="74" y="18"/>
                </a:lnTo>
                <a:lnTo>
                  <a:pt x="74" y="18"/>
                </a:lnTo>
                <a:lnTo>
                  <a:pt x="72" y="18"/>
                </a:lnTo>
                <a:lnTo>
                  <a:pt x="68" y="16"/>
                </a:lnTo>
                <a:lnTo>
                  <a:pt x="68" y="16"/>
                </a:lnTo>
                <a:lnTo>
                  <a:pt x="64" y="18"/>
                </a:lnTo>
                <a:lnTo>
                  <a:pt x="58" y="18"/>
                </a:lnTo>
                <a:lnTo>
                  <a:pt x="58" y="18"/>
                </a:lnTo>
                <a:lnTo>
                  <a:pt x="54" y="14"/>
                </a:lnTo>
                <a:lnTo>
                  <a:pt x="54" y="14"/>
                </a:lnTo>
                <a:lnTo>
                  <a:pt x="46" y="16"/>
                </a:lnTo>
                <a:lnTo>
                  <a:pt x="38" y="16"/>
                </a:lnTo>
                <a:lnTo>
                  <a:pt x="38" y="14"/>
                </a:lnTo>
                <a:lnTo>
                  <a:pt x="38" y="14"/>
                </a:lnTo>
                <a:lnTo>
                  <a:pt x="30" y="12"/>
                </a:lnTo>
                <a:lnTo>
                  <a:pt x="30" y="12"/>
                </a:lnTo>
                <a:lnTo>
                  <a:pt x="28" y="8"/>
                </a:lnTo>
                <a:lnTo>
                  <a:pt x="28" y="8"/>
                </a:lnTo>
                <a:lnTo>
                  <a:pt x="22" y="6"/>
                </a:lnTo>
                <a:lnTo>
                  <a:pt x="18" y="6"/>
                </a:lnTo>
                <a:lnTo>
                  <a:pt x="10" y="8"/>
                </a:lnTo>
                <a:lnTo>
                  <a:pt x="6" y="2"/>
                </a:lnTo>
                <a:lnTo>
                  <a:pt x="6" y="2"/>
                </a:lnTo>
                <a:lnTo>
                  <a:pt x="4" y="0"/>
                </a:lnTo>
                <a:lnTo>
                  <a:pt x="0" y="2"/>
                </a:lnTo>
                <a:lnTo>
                  <a:pt x="0" y="2"/>
                </a:lnTo>
                <a:lnTo>
                  <a:pt x="0" y="6"/>
                </a:lnTo>
                <a:lnTo>
                  <a:pt x="0" y="12"/>
                </a:lnTo>
                <a:lnTo>
                  <a:pt x="0" y="12"/>
                </a:lnTo>
                <a:lnTo>
                  <a:pt x="4" y="18"/>
                </a:lnTo>
                <a:lnTo>
                  <a:pt x="4" y="22"/>
                </a:lnTo>
                <a:lnTo>
                  <a:pt x="2" y="24"/>
                </a:lnTo>
                <a:lnTo>
                  <a:pt x="2" y="24"/>
                </a:lnTo>
                <a:lnTo>
                  <a:pt x="0" y="28"/>
                </a:lnTo>
                <a:lnTo>
                  <a:pt x="0" y="34"/>
                </a:lnTo>
                <a:lnTo>
                  <a:pt x="0" y="34"/>
                </a:lnTo>
                <a:lnTo>
                  <a:pt x="0" y="40"/>
                </a:lnTo>
                <a:lnTo>
                  <a:pt x="2" y="42"/>
                </a:lnTo>
                <a:lnTo>
                  <a:pt x="2" y="42"/>
                </a:lnTo>
                <a:lnTo>
                  <a:pt x="6" y="48"/>
                </a:lnTo>
                <a:lnTo>
                  <a:pt x="6" y="168"/>
                </a:lnTo>
                <a:lnTo>
                  <a:pt x="102" y="168"/>
                </a:lnTo>
                <a:lnTo>
                  <a:pt x="106" y="166"/>
                </a:lnTo>
                <a:lnTo>
                  <a:pt x="106" y="168"/>
                </a:lnTo>
                <a:lnTo>
                  <a:pt x="118" y="168"/>
                </a:lnTo>
                <a:lnTo>
                  <a:pt x="120" y="172"/>
                </a:lnTo>
                <a:lnTo>
                  <a:pt x="126" y="170"/>
                </a:lnTo>
                <a:lnTo>
                  <a:pt x="126" y="162"/>
                </a:lnTo>
                <a:lnTo>
                  <a:pt x="132" y="160"/>
                </a:lnTo>
                <a:lnTo>
                  <a:pt x="136" y="152"/>
                </a:lnTo>
                <a:lnTo>
                  <a:pt x="140" y="152"/>
                </a:lnTo>
                <a:lnTo>
                  <a:pt x="148" y="14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6" name="Freeform 200">
            <a:extLst>
              <a:ext uri="{FF2B5EF4-FFF2-40B4-BE49-F238E27FC236}">
                <a16:creationId xmlns:a16="http://schemas.microsoft.com/office/drawing/2014/main" id="{DB61265D-928A-49D3-BAE2-BEE86A921B70}"/>
              </a:ext>
            </a:extLst>
          </p:cNvPr>
          <p:cNvSpPr>
            <a:spLocks/>
          </p:cNvSpPr>
          <p:nvPr userDrawn="1"/>
        </p:nvSpPr>
        <p:spPr bwMode="auto">
          <a:xfrm>
            <a:off x="4031200" y="3646328"/>
            <a:ext cx="124101" cy="188759"/>
          </a:xfrm>
          <a:custGeom>
            <a:avLst/>
            <a:gdLst>
              <a:gd name="T0" fmla="*/ 26 w 74"/>
              <a:gd name="T1" fmla="*/ 0 h 110"/>
              <a:gd name="T2" fmla="*/ 14 w 74"/>
              <a:gd name="T3" fmla="*/ 8 h 110"/>
              <a:gd name="T4" fmla="*/ 14 w 74"/>
              <a:gd name="T5" fmla="*/ 12 h 110"/>
              <a:gd name="T6" fmla="*/ 16 w 74"/>
              <a:gd name="T7" fmla="*/ 20 h 110"/>
              <a:gd name="T8" fmla="*/ 12 w 74"/>
              <a:gd name="T9" fmla="*/ 24 h 110"/>
              <a:gd name="T10" fmla="*/ 10 w 74"/>
              <a:gd name="T11" fmla="*/ 34 h 110"/>
              <a:gd name="T12" fmla="*/ 12 w 74"/>
              <a:gd name="T13" fmla="*/ 40 h 110"/>
              <a:gd name="T14" fmla="*/ 8 w 74"/>
              <a:gd name="T15" fmla="*/ 42 h 110"/>
              <a:gd name="T16" fmla="*/ 6 w 74"/>
              <a:gd name="T17" fmla="*/ 44 h 110"/>
              <a:gd name="T18" fmla="*/ 4 w 74"/>
              <a:gd name="T19" fmla="*/ 44 h 110"/>
              <a:gd name="T20" fmla="*/ 4 w 74"/>
              <a:gd name="T21" fmla="*/ 48 h 110"/>
              <a:gd name="T22" fmla="*/ 6 w 74"/>
              <a:gd name="T23" fmla="*/ 50 h 110"/>
              <a:gd name="T24" fmla="*/ 6 w 74"/>
              <a:gd name="T25" fmla="*/ 54 h 110"/>
              <a:gd name="T26" fmla="*/ 6 w 74"/>
              <a:gd name="T27" fmla="*/ 52 h 110"/>
              <a:gd name="T28" fmla="*/ 4 w 74"/>
              <a:gd name="T29" fmla="*/ 62 h 110"/>
              <a:gd name="T30" fmla="*/ 6 w 74"/>
              <a:gd name="T31" fmla="*/ 62 h 110"/>
              <a:gd name="T32" fmla="*/ 6 w 74"/>
              <a:gd name="T33" fmla="*/ 66 h 110"/>
              <a:gd name="T34" fmla="*/ 4 w 74"/>
              <a:gd name="T35" fmla="*/ 66 h 110"/>
              <a:gd name="T36" fmla="*/ 0 w 74"/>
              <a:gd name="T37" fmla="*/ 70 h 110"/>
              <a:gd name="T38" fmla="*/ 8 w 74"/>
              <a:gd name="T39" fmla="*/ 72 h 110"/>
              <a:gd name="T40" fmla="*/ 14 w 74"/>
              <a:gd name="T41" fmla="*/ 72 h 110"/>
              <a:gd name="T42" fmla="*/ 16 w 74"/>
              <a:gd name="T43" fmla="*/ 72 h 110"/>
              <a:gd name="T44" fmla="*/ 16 w 74"/>
              <a:gd name="T45" fmla="*/ 70 h 110"/>
              <a:gd name="T46" fmla="*/ 18 w 74"/>
              <a:gd name="T47" fmla="*/ 70 h 110"/>
              <a:gd name="T48" fmla="*/ 18 w 74"/>
              <a:gd name="T49" fmla="*/ 74 h 110"/>
              <a:gd name="T50" fmla="*/ 14 w 74"/>
              <a:gd name="T51" fmla="*/ 74 h 110"/>
              <a:gd name="T52" fmla="*/ 12 w 74"/>
              <a:gd name="T53" fmla="*/ 78 h 110"/>
              <a:gd name="T54" fmla="*/ 14 w 74"/>
              <a:gd name="T55" fmla="*/ 78 h 110"/>
              <a:gd name="T56" fmla="*/ 14 w 74"/>
              <a:gd name="T57" fmla="*/ 80 h 110"/>
              <a:gd name="T58" fmla="*/ 6 w 74"/>
              <a:gd name="T59" fmla="*/ 88 h 110"/>
              <a:gd name="T60" fmla="*/ 10 w 74"/>
              <a:gd name="T61" fmla="*/ 94 h 110"/>
              <a:gd name="T62" fmla="*/ 4 w 74"/>
              <a:gd name="T63" fmla="*/ 98 h 110"/>
              <a:gd name="T64" fmla="*/ 10 w 74"/>
              <a:gd name="T65" fmla="*/ 104 h 110"/>
              <a:gd name="T66" fmla="*/ 14 w 74"/>
              <a:gd name="T67" fmla="*/ 102 h 110"/>
              <a:gd name="T68" fmla="*/ 14 w 74"/>
              <a:gd name="T69" fmla="*/ 100 h 110"/>
              <a:gd name="T70" fmla="*/ 18 w 74"/>
              <a:gd name="T71" fmla="*/ 108 h 110"/>
              <a:gd name="T72" fmla="*/ 20 w 74"/>
              <a:gd name="T73" fmla="*/ 110 h 110"/>
              <a:gd name="T74" fmla="*/ 22 w 74"/>
              <a:gd name="T75" fmla="*/ 110 h 110"/>
              <a:gd name="T76" fmla="*/ 26 w 74"/>
              <a:gd name="T77" fmla="*/ 108 h 110"/>
              <a:gd name="T78" fmla="*/ 30 w 74"/>
              <a:gd name="T79" fmla="*/ 104 h 110"/>
              <a:gd name="T80" fmla="*/ 34 w 74"/>
              <a:gd name="T81" fmla="*/ 94 h 110"/>
              <a:gd name="T82" fmla="*/ 38 w 74"/>
              <a:gd name="T83" fmla="*/ 88 h 110"/>
              <a:gd name="T84" fmla="*/ 44 w 74"/>
              <a:gd name="T85" fmla="*/ 80 h 110"/>
              <a:gd name="T86" fmla="*/ 62 w 74"/>
              <a:gd name="T87" fmla="*/ 70 h 110"/>
              <a:gd name="T88" fmla="*/ 68 w 74"/>
              <a:gd name="T89" fmla="*/ 64 h 110"/>
              <a:gd name="T90" fmla="*/ 70 w 74"/>
              <a:gd name="T91" fmla="*/ 52 h 110"/>
              <a:gd name="T92" fmla="*/ 74 w 74"/>
              <a:gd name="T93" fmla="*/ 52 h 110"/>
              <a:gd name="T94" fmla="*/ 72 w 74"/>
              <a:gd name="T95" fmla="*/ 44 h 110"/>
              <a:gd name="T96" fmla="*/ 72 w 74"/>
              <a:gd name="T97" fmla="*/ 34 h 110"/>
              <a:gd name="T98" fmla="*/ 72 w 74"/>
              <a:gd name="T99" fmla="*/ 28 h 110"/>
              <a:gd name="T100" fmla="*/ 68 w 74"/>
              <a:gd name="T101" fmla="*/ 26 h 110"/>
              <a:gd name="T102" fmla="*/ 62 w 74"/>
              <a:gd name="T103" fmla="*/ 22 h 110"/>
              <a:gd name="T104" fmla="*/ 60 w 74"/>
              <a:gd name="T105" fmla="*/ 22 h 110"/>
              <a:gd name="T106" fmla="*/ 46 w 74"/>
              <a:gd name="T107" fmla="*/ 20 h 110"/>
              <a:gd name="T108" fmla="*/ 44 w 74"/>
              <a:gd name="T109" fmla="*/ 20 h 110"/>
              <a:gd name="T110" fmla="*/ 42 w 74"/>
              <a:gd name="T111" fmla="*/ 16 h 110"/>
              <a:gd name="T112" fmla="*/ 40 w 74"/>
              <a:gd name="T113" fmla="*/ 10 h 110"/>
              <a:gd name="T114" fmla="*/ 32 w 74"/>
              <a:gd name="T115" fmla="*/ 6 h 110"/>
              <a:gd name="T116" fmla="*/ 28 w 74"/>
              <a:gd name="T117" fmla="*/ 2 h 110"/>
              <a:gd name="T118" fmla="*/ 26 w 74"/>
              <a:gd name="T11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10">
                <a:moveTo>
                  <a:pt x="26" y="0"/>
                </a:moveTo>
                <a:lnTo>
                  <a:pt x="26" y="0"/>
                </a:lnTo>
                <a:lnTo>
                  <a:pt x="14" y="8"/>
                </a:lnTo>
                <a:lnTo>
                  <a:pt x="14" y="8"/>
                </a:lnTo>
                <a:lnTo>
                  <a:pt x="14" y="10"/>
                </a:lnTo>
                <a:lnTo>
                  <a:pt x="14" y="12"/>
                </a:lnTo>
                <a:lnTo>
                  <a:pt x="14" y="12"/>
                </a:lnTo>
                <a:lnTo>
                  <a:pt x="16" y="20"/>
                </a:lnTo>
                <a:lnTo>
                  <a:pt x="16" y="20"/>
                </a:lnTo>
                <a:lnTo>
                  <a:pt x="12" y="24"/>
                </a:lnTo>
                <a:lnTo>
                  <a:pt x="10" y="28"/>
                </a:lnTo>
                <a:lnTo>
                  <a:pt x="10" y="34"/>
                </a:lnTo>
                <a:lnTo>
                  <a:pt x="12" y="40"/>
                </a:lnTo>
                <a:lnTo>
                  <a:pt x="12" y="40"/>
                </a:lnTo>
                <a:lnTo>
                  <a:pt x="8" y="40"/>
                </a:lnTo>
                <a:lnTo>
                  <a:pt x="8" y="42"/>
                </a:lnTo>
                <a:lnTo>
                  <a:pt x="8" y="42"/>
                </a:lnTo>
                <a:lnTo>
                  <a:pt x="6" y="44"/>
                </a:lnTo>
                <a:lnTo>
                  <a:pt x="4" y="44"/>
                </a:lnTo>
                <a:lnTo>
                  <a:pt x="4" y="44"/>
                </a:lnTo>
                <a:lnTo>
                  <a:pt x="4" y="48"/>
                </a:lnTo>
                <a:lnTo>
                  <a:pt x="4" y="48"/>
                </a:lnTo>
                <a:lnTo>
                  <a:pt x="6" y="50"/>
                </a:lnTo>
                <a:lnTo>
                  <a:pt x="6" y="50"/>
                </a:lnTo>
                <a:lnTo>
                  <a:pt x="6" y="52"/>
                </a:lnTo>
                <a:lnTo>
                  <a:pt x="6" y="54"/>
                </a:lnTo>
                <a:lnTo>
                  <a:pt x="6" y="52"/>
                </a:lnTo>
                <a:lnTo>
                  <a:pt x="6" y="52"/>
                </a:lnTo>
                <a:lnTo>
                  <a:pt x="2" y="56"/>
                </a:lnTo>
                <a:lnTo>
                  <a:pt x="4" y="62"/>
                </a:lnTo>
                <a:lnTo>
                  <a:pt x="6" y="62"/>
                </a:lnTo>
                <a:lnTo>
                  <a:pt x="6" y="62"/>
                </a:lnTo>
                <a:lnTo>
                  <a:pt x="6" y="66"/>
                </a:lnTo>
                <a:lnTo>
                  <a:pt x="6" y="66"/>
                </a:lnTo>
                <a:lnTo>
                  <a:pt x="4" y="66"/>
                </a:lnTo>
                <a:lnTo>
                  <a:pt x="4" y="66"/>
                </a:lnTo>
                <a:lnTo>
                  <a:pt x="0" y="70"/>
                </a:lnTo>
                <a:lnTo>
                  <a:pt x="0" y="70"/>
                </a:lnTo>
                <a:lnTo>
                  <a:pt x="8" y="72"/>
                </a:lnTo>
                <a:lnTo>
                  <a:pt x="8" y="72"/>
                </a:lnTo>
                <a:lnTo>
                  <a:pt x="10" y="74"/>
                </a:lnTo>
                <a:lnTo>
                  <a:pt x="14" y="72"/>
                </a:lnTo>
                <a:lnTo>
                  <a:pt x="14" y="72"/>
                </a:lnTo>
                <a:lnTo>
                  <a:pt x="16" y="72"/>
                </a:lnTo>
                <a:lnTo>
                  <a:pt x="16" y="70"/>
                </a:lnTo>
                <a:lnTo>
                  <a:pt x="16" y="70"/>
                </a:lnTo>
                <a:lnTo>
                  <a:pt x="18" y="70"/>
                </a:lnTo>
                <a:lnTo>
                  <a:pt x="18" y="70"/>
                </a:lnTo>
                <a:lnTo>
                  <a:pt x="18" y="74"/>
                </a:lnTo>
                <a:lnTo>
                  <a:pt x="18" y="74"/>
                </a:lnTo>
                <a:lnTo>
                  <a:pt x="14" y="74"/>
                </a:lnTo>
                <a:lnTo>
                  <a:pt x="14" y="74"/>
                </a:lnTo>
                <a:lnTo>
                  <a:pt x="12" y="76"/>
                </a:lnTo>
                <a:lnTo>
                  <a:pt x="12" y="78"/>
                </a:lnTo>
                <a:lnTo>
                  <a:pt x="12" y="78"/>
                </a:lnTo>
                <a:lnTo>
                  <a:pt x="14" y="78"/>
                </a:lnTo>
                <a:lnTo>
                  <a:pt x="14" y="78"/>
                </a:lnTo>
                <a:lnTo>
                  <a:pt x="14" y="80"/>
                </a:lnTo>
                <a:lnTo>
                  <a:pt x="14" y="80"/>
                </a:lnTo>
                <a:lnTo>
                  <a:pt x="6" y="88"/>
                </a:lnTo>
                <a:lnTo>
                  <a:pt x="8" y="92"/>
                </a:lnTo>
                <a:lnTo>
                  <a:pt x="10" y="94"/>
                </a:lnTo>
                <a:lnTo>
                  <a:pt x="4" y="98"/>
                </a:lnTo>
                <a:lnTo>
                  <a:pt x="4" y="98"/>
                </a:lnTo>
                <a:lnTo>
                  <a:pt x="6" y="100"/>
                </a:lnTo>
                <a:lnTo>
                  <a:pt x="10" y="104"/>
                </a:lnTo>
                <a:lnTo>
                  <a:pt x="10" y="104"/>
                </a:lnTo>
                <a:lnTo>
                  <a:pt x="14" y="102"/>
                </a:lnTo>
                <a:lnTo>
                  <a:pt x="14" y="100"/>
                </a:lnTo>
                <a:lnTo>
                  <a:pt x="14" y="100"/>
                </a:lnTo>
                <a:lnTo>
                  <a:pt x="16" y="102"/>
                </a:lnTo>
                <a:lnTo>
                  <a:pt x="18" y="108"/>
                </a:lnTo>
                <a:lnTo>
                  <a:pt x="18" y="108"/>
                </a:lnTo>
                <a:lnTo>
                  <a:pt x="20" y="110"/>
                </a:lnTo>
                <a:lnTo>
                  <a:pt x="22" y="110"/>
                </a:lnTo>
                <a:lnTo>
                  <a:pt x="22" y="110"/>
                </a:lnTo>
                <a:lnTo>
                  <a:pt x="22" y="110"/>
                </a:lnTo>
                <a:lnTo>
                  <a:pt x="26" y="108"/>
                </a:lnTo>
                <a:lnTo>
                  <a:pt x="28" y="106"/>
                </a:lnTo>
                <a:lnTo>
                  <a:pt x="30" y="104"/>
                </a:lnTo>
                <a:lnTo>
                  <a:pt x="30" y="104"/>
                </a:lnTo>
                <a:lnTo>
                  <a:pt x="34" y="94"/>
                </a:lnTo>
                <a:lnTo>
                  <a:pt x="38" y="88"/>
                </a:lnTo>
                <a:lnTo>
                  <a:pt x="38" y="88"/>
                </a:lnTo>
                <a:lnTo>
                  <a:pt x="44" y="80"/>
                </a:lnTo>
                <a:lnTo>
                  <a:pt x="44" y="80"/>
                </a:lnTo>
                <a:lnTo>
                  <a:pt x="50" y="76"/>
                </a:lnTo>
                <a:lnTo>
                  <a:pt x="62" y="70"/>
                </a:lnTo>
                <a:lnTo>
                  <a:pt x="62" y="70"/>
                </a:lnTo>
                <a:lnTo>
                  <a:pt x="68" y="64"/>
                </a:lnTo>
                <a:lnTo>
                  <a:pt x="70" y="58"/>
                </a:lnTo>
                <a:lnTo>
                  <a:pt x="70" y="52"/>
                </a:lnTo>
                <a:lnTo>
                  <a:pt x="74" y="52"/>
                </a:lnTo>
                <a:lnTo>
                  <a:pt x="74" y="52"/>
                </a:lnTo>
                <a:lnTo>
                  <a:pt x="74" y="50"/>
                </a:lnTo>
                <a:lnTo>
                  <a:pt x="72" y="44"/>
                </a:lnTo>
                <a:lnTo>
                  <a:pt x="72" y="44"/>
                </a:lnTo>
                <a:lnTo>
                  <a:pt x="72" y="34"/>
                </a:lnTo>
                <a:lnTo>
                  <a:pt x="68" y="32"/>
                </a:lnTo>
                <a:lnTo>
                  <a:pt x="72" y="28"/>
                </a:lnTo>
                <a:lnTo>
                  <a:pt x="72" y="28"/>
                </a:lnTo>
                <a:lnTo>
                  <a:pt x="68" y="26"/>
                </a:lnTo>
                <a:lnTo>
                  <a:pt x="62" y="22"/>
                </a:lnTo>
                <a:lnTo>
                  <a:pt x="62" y="22"/>
                </a:lnTo>
                <a:lnTo>
                  <a:pt x="62" y="20"/>
                </a:lnTo>
                <a:lnTo>
                  <a:pt x="60" y="22"/>
                </a:lnTo>
                <a:lnTo>
                  <a:pt x="60" y="24"/>
                </a:lnTo>
                <a:lnTo>
                  <a:pt x="46" y="20"/>
                </a:lnTo>
                <a:lnTo>
                  <a:pt x="46" y="20"/>
                </a:lnTo>
                <a:lnTo>
                  <a:pt x="44" y="20"/>
                </a:lnTo>
                <a:lnTo>
                  <a:pt x="42" y="16"/>
                </a:lnTo>
                <a:lnTo>
                  <a:pt x="42" y="16"/>
                </a:lnTo>
                <a:lnTo>
                  <a:pt x="42" y="12"/>
                </a:lnTo>
                <a:lnTo>
                  <a:pt x="40" y="10"/>
                </a:lnTo>
                <a:lnTo>
                  <a:pt x="40" y="10"/>
                </a:lnTo>
                <a:lnTo>
                  <a:pt x="32" y="6"/>
                </a:lnTo>
                <a:lnTo>
                  <a:pt x="32" y="6"/>
                </a:lnTo>
                <a:lnTo>
                  <a:pt x="28" y="2"/>
                </a:lnTo>
                <a:lnTo>
                  <a:pt x="28" y="0"/>
                </a:lnTo>
                <a:lnTo>
                  <a:pt x="2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7" name="Freeform 201">
            <a:extLst>
              <a:ext uri="{FF2B5EF4-FFF2-40B4-BE49-F238E27FC236}">
                <a16:creationId xmlns:a16="http://schemas.microsoft.com/office/drawing/2014/main" id="{F7E03DCC-B0AA-4C15-8606-DB6C7BD43D70}"/>
              </a:ext>
            </a:extLst>
          </p:cNvPr>
          <p:cNvSpPr>
            <a:spLocks/>
          </p:cNvSpPr>
          <p:nvPr userDrawn="1"/>
        </p:nvSpPr>
        <p:spPr bwMode="auto">
          <a:xfrm>
            <a:off x="4245861" y="3110940"/>
            <a:ext cx="80497" cy="54911"/>
          </a:xfrm>
          <a:custGeom>
            <a:avLst/>
            <a:gdLst>
              <a:gd name="T0" fmla="*/ 2 w 48"/>
              <a:gd name="T1" fmla="*/ 26 h 32"/>
              <a:gd name="T2" fmla="*/ 2 w 48"/>
              <a:gd name="T3" fmla="*/ 26 h 32"/>
              <a:gd name="T4" fmla="*/ 6 w 48"/>
              <a:gd name="T5" fmla="*/ 32 h 32"/>
              <a:gd name="T6" fmla="*/ 6 w 48"/>
              <a:gd name="T7" fmla="*/ 32 h 32"/>
              <a:gd name="T8" fmla="*/ 8 w 48"/>
              <a:gd name="T9" fmla="*/ 32 h 32"/>
              <a:gd name="T10" fmla="*/ 8 w 48"/>
              <a:gd name="T11" fmla="*/ 32 h 32"/>
              <a:gd name="T12" fmla="*/ 12 w 48"/>
              <a:gd name="T13" fmla="*/ 26 h 32"/>
              <a:gd name="T14" fmla="*/ 12 w 48"/>
              <a:gd name="T15" fmla="*/ 26 h 32"/>
              <a:gd name="T16" fmla="*/ 10 w 48"/>
              <a:gd name="T17" fmla="*/ 20 h 32"/>
              <a:gd name="T18" fmla="*/ 10 w 48"/>
              <a:gd name="T19" fmla="*/ 20 h 32"/>
              <a:gd name="T20" fmla="*/ 18 w 48"/>
              <a:gd name="T21" fmla="*/ 22 h 32"/>
              <a:gd name="T22" fmla="*/ 18 w 48"/>
              <a:gd name="T23" fmla="*/ 22 h 32"/>
              <a:gd name="T24" fmla="*/ 20 w 48"/>
              <a:gd name="T25" fmla="*/ 26 h 32"/>
              <a:gd name="T26" fmla="*/ 20 w 48"/>
              <a:gd name="T27" fmla="*/ 26 h 32"/>
              <a:gd name="T28" fmla="*/ 24 w 48"/>
              <a:gd name="T29" fmla="*/ 26 h 32"/>
              <a:gd name="T30" fmla="*/ 28 w 48"/>
              <a:gd name="T31" fmla="*/ 24 h 32"/>
              <a:gd name="T32" fmla="*/ 28 w 48"/>
              <a:gd name="T33" fmla="*/ 20 h 32"/>
              <a:gd name="T34" fmla="*/ 28 w 48"/>
              <a:gd name="T35" fmla="*/ 20 h 32"/>
              <a:gd name="T36" fmla="*/ 34 w 48"/>
              <a:gd name="T37" fmla="*/ 20 h 32"/>
              <a:gd name="T38" fmla="*/ 42 w 48"/>
              <a:gd name="T39" fmla="*/ 22 h 32"/>
              <a:gd name="T40" fmla="*/ 46 w 48"/>
              <a:gd name="T41" fmla="*/ 22 h 32"/>
              <a:gd name="T42" fmla="*/ 48 w 48"/>
              <a:gd name="T43" fmla="*/ 20 h 32"/>
              <a:gd name="T44" fmla="*/ 48 w 48"/>
              <a:gd name="T45" fmla="*/ 18 h 32"/>
              <a:gd name="T46" fmla="*/ 46 w 48"/>
              <a:gd name="T47" fmla="*/ 14 h 32"/>
              <a:gd name="T48" fmla="*/ 46 w 48"/>
              <a:gd name="T49" fmla="*/ 14 h 32"/>
              <a:gd name="T50" fmla="*/ 42 w 48"/>
              <a:gd name="T51" fmla="*/ 12 h 32"/>
              <a:gd name="T52" fmla="*/ 38 w 48"/>
              <a:gd name="T53" fmla="*/ 10 h 32"/>
              <a:gd name="T54" fmla="*/ 38 w 48"/>
              <a:gd name="T55" fmla="*/ 10 h 32"/>
              <a:gd name="T56" fmla="*/ 36 w 48"/>
              <a:gd name="T57" fmla="*/ 10 h 32"/>
              <a:gd name="T58" fmla="*/ 28 w 48"/>
              <a:gd name="T59" fmla="*/ 8 h 32"/>
              <a:gd name="T60" fmla="*/ 28 w 48"/>
              <a:gd name="T61" fmla="*/ 8 h 32"/>
              <a:gd name="T62" fmla="*/ 26 w 48"/>
              <a:gd name="T63" fmla="*/ 6 h 32"/>
              <a:gd name="T64" fmla="*/ 22 w 48"/>
              <a:gd name="T65" fmla="*/ 2 h 32"/>
              <a:gd name="T66" fmla="*/ 22 w 48"/>
              <a:gd name="T67" fmla="*/ 2 h 32"/>
              <a:gd name="T68" fmla="*/ 18 w 48"/>
              <a:gd name="T69" fmla="*/ 2 h 32"/>
              <a:gd name="T70" fmla="*/ 18 w 48"/>
              <a:gd name="T71" fmla="*/ 2 h 32"/>
              <a:gd name="T72" fmla="*/ 16 w 48"/>
              <a:gd name="T73" fmla="*/ 0 h 32"/>
              <a:gd name="T74" fmla="*/ 16 w 48"/>
              <a:gd name="T75" fmla="*/ 0 h 32"/>
              <a:gd name="T76" fmla="*/ 6 w 48"/>
              <a:gd name="T77" fmla="*/ 0 h 32"/>
              <a:gd name="T78" fmla="*/ 6 w 48"/>
              <a:gd name="T79" fmla="*/ 0 h 32"/>
              <a:gd name="T80" fmla="*/ 2 w 48"/>
              <a:gd name="T81" fmla="*/ 2 h 32"/>
              <a:gd name="T82" fmla="*/ 2 w 48"/>
              <a:gd name="T83" fmla="*/ 2 h 32"/>
              <a:gd name="T84" fmla="*/ 0 w 48"/>
              <a:gd name="T85" fmla="*/ 2 h 32"/>
              <a:gd name="T86" fmla="*/ 2 w 48"/>
              <a:gd name="T87" fmla="*/ 12 h 32"/>
              <a:gd name="T88" fmla="*/ 0 w 48"/>
              <a:gd name="T89" fmla="*/ 16 h 32"/>
              <a:gd name="T90" fmla="*/ 0 w 48"/>
              <a:gd name="T91" fmla="*/ 18 h 32"/>
              <a:gd name="T92" fmla="*/ 0 w 48"/>
              <a:gd name="T93" fmla="*/ 18 h 32"/>
              <a:gd name="T94" fmla="*/ 2 w 48"/>
              <a:gd name="T95" fmla="*/ 22 h 32"/>
              <a:gd name="T96" fmla="*/ 2 w 48"/>
              <a:gd name="T97" fmla="*/ 22 h 32"/>
              <a:gd name="T98" fmla="*/ 2 w 48"/>
              <a:gd name="T99" fmla="*/ 26 h 32"/>
              <a:gd name="T100" fmla="*/ 2 w 48"/>
              <a:gd name="T10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32">
                <a:moveTo>
                  <a:pt x="2" y="26"/>
                </a:moveTo>
                <a:lnTo>
                  <a:pt x="2" y="26"/>
                </a:lnTo>
                <a:lnTo>
                  <a:pt x="6" y="32"/>
                </a:lnTo>
                <a:lnTo>
                  <a:pt x="6" y="32"/>
                </a:lnTo>
                <a:lnTo>
                  <a:pt x="8" y="32"/>
                </a:lnTo>
                <a:lnTo>
                  <a:pt x="8" y="32"/>
                </a:lnTo>
                <a:lnTo>
                  <a:pt x="12" y="26"/>
                </a:lnTo>
                <a:lnTo>
                  <a:pt x="12" y="26"/>
                </a:lnTo>
                <a:lnTo>
                  <a:pt x="10" y="20"/>
                </a:lnTo>
                <a:lnTo>
                  <a:pt x="10" y="20"/>
                </a:lnTo>
                <a:lnTo>
                  <a:pt x="18" y="22"/>
                </a:lnTo>
                <a:lnTo>
                  <a:pt x="18" y="22"/>
                </a:lnTo>
                <a:lnTo>
                  <a:pt x="20" y="26"/>
                </a:lnTo>
                <a:lnTo>
                  <a:pt x="20" y="26"/>
                </a:lnTo>
                <a:lnTo>
                  <a:pt x="24" y="26"/>
                </a:lnTo>
                <a:lnTo>
                  <a:pt x="28" y="24"/>
                </a:lnTo>
                <a:lnTo>
                  <a:pt x="28" y="20"/>
                </a:lnTo>
                <a:lnTo>
                  <a:pt x="28" y="20"/>
                </a:lnTo>
                <a:lnTo>
                  <a:pt x="34" y="20"/>
                </a:lnTo>
                <a:lnTo>
                  <a:pt x="42" y="22"/>
                </a:lnTo>
                <a:lnTo>
                  <a:pt x="46" y="22"/>
                </a:lnTo>
                <a:lnTo>
                  <a:pt x="48" y="20"/>
                </a:lnTo>
                <a:lnTo>
                  <a:pt x="48" y="18"/>
                </a:lnTo>
                <a:lnTo>
                  <a:pt x="46" y="14"/>
                </a:lnTo>
                <a:lnTo>
                  <a:pt x="46" y="14"/>
                </a:lnTo>
                <a:lnTo>
                  <a:pt x="42" y="12"/>
                </a:lnTo>
                <a:lnTo>
                  <a:pt x="38" y="10"/>
                </a:lnTo>
                <a:lnTo>
                  <a:pt x="38" y="10"/>
                </a:lnTo>
                <a:lnTo>
                  <a:pt x="36" y="10"/>
                </a:lnTo>
                <a:lnTo>
                  <a:pt x="28" y="8"/>
                </a:lnTo>
                <a:lnTo>
                  <a:pt x="28" y="8"/>
                </a:lnTo>
                <a:lnTo>
                  <a:pt x="26" y="6"/>
                </a:lnTo>
                <a:lnTo>
                  <a:pt x="22" y="2"/>
                </a:lnTo>
                <a:lnTo>
                  <a:pt x="22" y="2"/>
                </a:lnTo>
                <a:lnTo>
                  <a:pt x="18" y="2"/>
                </a:lnTo>
                <a:lnTo>
                  <a:pt x="18" y="2"/>
                </a:lnTo>
                <a:lnTo>
                  <a:pt x="16" y="0"/>
                </a:lnTo>
                <a:lnTo>
                  <a:pt x="16" y="0"/>
                </a:lnTo>
                <a:lnTo>
                  <a:pt x="6" y="0"/>
                </a:lnTo>
                <a:lnTo>
                  <a:pt x="6" y="0"/>
                </a:lnTo>
                <a:lnTo>
                  <a:pt x="2" y="2"/>
                </a:lnTo>
                <a:lnTo>
                  <a:pt x="2" y="2"/>
                </a:lnTo>
                <a:lnTo>
                  <a:pt x="0" y="2"/>
                </a:lnTo>
                <a:lnTo>
                  <a:pt x="2" y="12"/>
                </a:lnTo>
                <a:lnTo>
                  <a:pt x="0" y="16"/>
                </a:lnTo>
                <a:lnTo>
                  <a:pt x="0" y="18"/>
                </a:lnTo>
                <a:lnTo>
                  <a:pt x="0" y="18"/>
                </a:lnTo>
                <a:lnTo>
                  <a:pt x="2" y="22"/>
                </a:lnTo>
                <a:lnTo>
                  <a:pt x="2" y="22"/>
                </a:lnTo>
                <a:lnTo>
                  <a:pt x="2" y="26"/>
                </a:lnTo>
                <a:lnTo>
                  <a:pt x="2"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8" name="Freeform 202">
            <a:extLst>
              <a:ext uri="{FF2B5EF4-FFF2-40B4-BE49-F238E27FC236}">
                <a16:creationId xmlns:a16="http://schemas.microsoft.com/office/drawing/2014/main" id="{97F09FC4-FCFB-425F-AB99-179C60DCC27E}"/>
              </a:ext>
            </a:extLst>
          </p:cNvPr>
          <p:cNvSpPr>
            <a:spLocks/>
          </p:cNvSpPr>
          <p:nvPr userDrawn="1"/>
        </p:nvSpPr>
        <p:spPr bwMode="auto">
          <a:xfrm>
            <a:off x="6786570" y="3320291"/>
            <a:ext cx="43603" cy="58344"/>
          </a:xfrm>
          <a:custGeom>
            <a:avLst/>
            <a:gdLst>
              <a:gd name="T0" fmla="*/ 24 w 26"/>
              <a:gd name="T1" fmla="*/ 26 h 34"/>
              <a:gd name="T2" fmla="*/ 24 w 26"/>
              <a:gd name="T3" fmla="*/ 26 h 34"/>
              <a:gd name="T4" fmla="*/ 22 w 26"/>
              <a:gd name="T5" fmla="*/ 22 h 34"/>
              <a:gd name="T6" fmla="*/ 22 w 26"/>
              <a:gd name="T7" fmla="*/ 22 h 34"/>
              <a:gd name="T8" fmla="*/ 20 w 26"/>
              <a:gd name="T9" fmla="*/ 22 h 34"/>
              <a:gd name="T10" fmla="*/ 20 w 26"/>
              <a:gd name="T11" fmla="*/ 20 h 34"/>
              <a:gd name="T12" fmla="*/ 20 w 26"/>
              <a:gd name="T13" fmla="*/ 20 h 34"/>
              <a:gd name="T14" fmla="*/ 26 w 26"/>
              <a:gd name="T15" fmla="*/ 14 h 34"/>
              <a:gd name="T16" fmla="*/ 26 w 26"/>
              <a:gd name="T17" fmla="*/ 8 h 34"/>
              <a:gd name="T18" fmla="*/ 26 w 26"/>
              <a:gd name="T19" fmla="*/ 4 h 34"/>
              <a:gd name="T20" fmla="*/ 22 w 26"/>
              <a:gd name="T21" fmla="*/ 0 h 34"/>
              <a:gd name="T22" fmla="*/ 16 w 26"/>
              <a:gd name="T23" fmla="*/ 6 h 34"/>
              <a:gd name="T24" fmla="*/ 12 w 26"/>
              <a:gd name="T25" fmla="*/ 2 h 34"/>
              <a:gd name="T26" fmla="*/ 10 w 26"/>
              <a:gd name="T27" fmla="*/ 4 h 34"/>
              <a:gd name="T28" fmla="*/ 10 w 26"/>
              <a:gd name="T29" fmla="*/ 4 h 34"/>
              <a:gd name="T30" fmla="*/ 6 w 26"/>
              <a:gd name="T31" fmla="*/ 10 h 34"/>
              <a:gd name="T32" fmla="*/ 4 w 26"/>
              <a:gd name="T33" fmla="*/ 14 h 34"/>
              <a:gd name="T34" fmla="*/ 4 w 26"/>
              <a:gd name="T35" fmla="*/ 18 h 34"/>
              <a:gd name="T36" fmla="*/ 4 w 26"/>
              <a:gd name="T37" fmla="*/ 18 h 34"/>
              <a:gd name="T38" fmla="*/ 2 w 26"/>
              <a:gd name="T39" fmla="*/ 22 h 34"/>
              <a:gd name="T40" fmla="*/ 2 w 26"/>
              <a:gd name="T41" fmla="*/ 24 h 34"/>
              <a:gd name="T42" fmla="*/ 0 w 26"/>
              <a:gd name="T43" fmla="*/ 28 h 34"/>
              <a:gd name="T44" fmla="*/ 0 w 26"/>
              <a:gd name="T45" fmla="*/ 30 h 34"/>
              <a:gd name="T46" fmla="*/ 0 w 26"/>
              <a:gd name="T47" fmla="*/ 30 h 34"/>
              <a:gd name="T48" fmla="*/ 4 w 26"/>
              <a:gd name="T49" fmla="*/ 34 h 34"/>
              <a:gd name="T50" fmla="*/ 8 w 26"/>
              <a:gd name="T51" fmla="*/ 34 h 34"/>
              <a:gd name="T52" fmla="*/ 8 w 26"/>
              <a:gd name="T53" fmla="*/ 34 h 34"/>
              <a:gd name="T54" fmla="*/ 12 w 26"/>
              <a:gd name="T55" fmla="*/ 32 h 34"/>
              <a:gd name="T56" fmla="*/ 18 w 26"/>
              <a:gd name="T57" fmla="*/ 34 h 34"/>
              <a:gd name="T58" fmla="*/ 24 w 26"/>
              <a:gd name="T5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34">
                <a:moveTo>
                  <a:pt x="24" y="26"/>
                </a:moveTo>
                <a:lnTo>
                  <a:pt x="24" y="26"/>
                </a:lnTo>
                <a:lnTo>
                  <a:pt x="22" y="22"/>
                </a:lnTo>
                <a:lnTo>
                  <a:pt x="22" y="22"/>
                </a:lnTo>
                <a:lnTo>
                  <a:pt x="20" y="22"/>
                </a:lnTo>
                <a:lnTo>
                  <a:pt x="20" y="20"/>
                </a:lnTo>
                <a:lnTo>
                  <a:pt x="20" y="20"/>
                </a:lnTo>
                <a:lnTo>
                  <a:pt x="26" y="14"/>
                </a:lnTo>
                <a:lnTo>
                  <a:pt x="26" y="8"/>
                </a:lnTo>
                <a:lnTo>
                  <a:pt x="26" y="4"/>
                </a:lnTo>
                <a:lnTo>
                  <a:pt x="22" y="0"/>
                </a:lnTo>
                <a:lnTo>
                  <a:pt x="16" y="6"/>
                </a:lnTo>
                <a:lnTo>
                  <a:pt x="12" y="2"/>
                </a:lnTo>
                <a:lnTo>
                  <a:pt x="10" y="4"/>
                </a:lnTo>
                <a:lnTo>
                  <a:pt x="10" y="4"/>
                </a:lnTo>
                <a:lnTo>
                  <a:pt x="6" y="10"/>
                </a:lnTo>
                <a:lnTo>
                  <a:pt x="4" y="14"/>
                </a:lnTo>
                <a:lnTo>
                  <a:pt x="4" y="18"/>
                </a:lnTo>
                <a:lnTo>
                  <a:pt x="4" y="18"/>
                </a:lnTo>
                <a:lnTo>
                  <a:pt x="2" y="22"/>
                </a:lnTo>
                <a:lnTo>
                  <a:pt x="2" y="24"/>
                </a:lnTo>
                <a:lnTo>
                  <a:pt x="0" y="28"/>
                </a:lnTo>
                <a:lnTo>
                  <a:pt x="0" y="30"/>
                </a:lnTo>
                <a:lnTo>
                  <a:pt x="0" y="30"/>
                </a:lnTo>
                <a:lnTo>
                  <a:pt x="4" y="34"/>
                </a:lnTo>
                <a:lnTo>
                  <a:pt x="8" y="34"/>
                </a:lnTo>
                <a:lnTo>
                  <a:pt x="8" y="34"/>
                </a:lnTo>
                <a:lnTo>
                  <a:pt x="12" y="32"/>
                </a:lnTo>
                <a:lnTo>
                  <a:pt x="18" y="34"/>
                </a:lnTo>
                <a:lnTo>
                  <a:pt x="24" y="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9" name="Freeform 203">
            <a:extLst>
              <a:ext uri="{FF2B5EF4-FFF2-40B4-BE49-F238E27FC236}">
                <a16:creationId xmlns:a16="http://schemas.microsoft.com/office/drawing/2014/main" id="{2FB2B0F3-7166-4D81-AB77-D4AC8E9A2D98}"/>
              </a:ext>
            </a:extLst>
          </p:cNvPr>
          <p:cNvSpPr>
            <a:spLocks noEditPoints="1"/>
          </p:cNvSpPr>
          <p:nvPr userDrawn="1"/>
        </p:nvSpPr>
        <p:spPr bwMode="auto">
          <a:xfrm>
            <a:off x="6036936" y="1885726"/>
            <a:ext cx="105654" cy="133847"/>
          </a:xfrm>
          <a:custGeom>
            <a:avLst/>
            <a:gdLst>
              <a:gd name="T0" fmla="*/ 24 w 63"/>
              <a:gd name="T1" fmla="*/ 54 h 78"/>
              <a:gd name="T2" fmla="*/ 30 w 63"/>
              <a:gd name="T3" fmla="*/ 60 h 78"/>
              <a:gd name="T4" fmla="*/ 32 w 63"/>
              <a:gd name="T5" fmla="*/ 64 h 78"/>
              <a:gd name="T6" fmla="*/ 37 w 63"/>
              <a:gd name="T7" fmla="*/ 64 h 78"/>
              <a:gd name="T8" fmla="*/ 37 w 63"/>
              <a:gd name="T9" fmla="*/ 54 h 78"/>
              <a:gd name="T10" fmla="*/ 30 w 63"/>
              <a:gd name="T11" fmla="*/ 46 h 78"/>
              <a:gd name="T12" fmla="*/ 37 w 63"/>
              <a:gd name="T13" fmla="*/ 38 h 78"/>
              <a:gd name="T14" fmla="*/ 39 w 63"/>
              <a:gd name="T15" fmla="*/ 32 h 78"/>
              <a:gd name="T16" fmla="*/ 32 w 63"/>
              <a:gd name="T17" fmla="*/ 26 h 78"/>
              <a:gd name="T18" fmla="*/ 26 w 63"/>
              <a:gd name="T19" fmla="*/ 16 h 78"/>
              <a:gd name="T20" fmla="*/ 32 w 63"/>
              <a:gd name="T21" fmla="*/ 16 h 78"/>
              <a:gd name="T22" fmla="*/ 37 w 63"/>
              <a:gd name="T23" fmla="*/ 12 h 78"/>
              <a:gd name="T24" fmla="*/ 34 w 63"/>
              <a:gd name="T25" fmla="*/ 6 h 78"/>
              <a:gd name="T26" fmla="*/ 37 w 63"/>
              <a:gd name="T27" fmla="*/ 0 h 78"/>
              <a:gd name="T28" fmla="*/ 26 w 63"/>
              <a:gd name="T29" fmla="*/ 4 h 78"/>
              <a:gd name="T30" fmla="*/ 22 w 63"/>
              <a:gd name="T31" fmla="*/ 10 h 78"/>
              <a:gd name="T32" fmla="*/ 16 w 63"/>
              <a:gd name="T33" fmla="*/ 14 h 78"/>
              <a:gd name="T34" fmla="*/ 8 w 63"/>
              <a:gd name="T35" fmla="*/ 16 h 78"/>
              <a:gd name="T36" fmla="*/ 2 w 63"/>
              <a:gd name="T37" fmla="*/ 22 h 78"/>
              <a:gd name="T38" fmla="*/ 2 w 63"/>
              <a:gd name="T39" fmla="*/ 24 h 78"/>
              <a:gd name="T40" fmla="*/ 8 w 63"/>
              <a:gd name="T41" fmla="*/ 20 h 78"/>
              <a:gd name="T42" fmla="*/ 12 w 63"/>
              <a:gd name="T43" fmla="*/ 18 h 78"/>
              <a:gd name="T44" fmla="*/ 22 w 63"/>
              <a:gd name="T45" fmla="*/ 28 h 78"/>
              <a:gd name="T46" fmla="*/ 16 w 63"/>
              <a:gd name="T47" fmla="*/ 24 h 78"/>
              <a:gd name="T48" fmla="*/ 0 w 63"/>
              <a:gd name="T49" fmla="*/ 30 h 78"/>
              <a:gd name="T50" fmla="*/ 2 w 63"/>
              <a:gd name="T51" fmla="*/ 42 h 78"/>
              <a:gd name="T52" fmla="*/ 2 w 63"/>
              <a:gd name="T53" fmla="*/ 48 h 78"/>
              <a:gd name="T54" fmla="*/ 4 w 63"/>
              <a:gd name="T55" fmla="*/ 56 h 78"/>
              <a:gd name="T56" fmla="*/ 10 w 63"/>
              <a:gd name="T57" fmla="*/ 64 h 78"/>
              <a:gd name="T58" fmla="*/ 61 w 63"/>
              <a:gd name="T59" fmla="*/ 66 h 78"/>
              <a:gd name="T60" fmla="*/ 51 w 63"/>
              <a:gd name="T61" fmla="*/ 70 h 78"/>
              <a:gd name="T62" fmla="*/ 45 w 63"/>
              <a:gd name="T63" fmla="*/ 68 h 78"/>
              <a:gd name="T64" fmla="*/ 43 w 63"/>
              <a:gd name="T65" fmla="*/ 68 h 78"/>
              <a:gd name="T66" fmla="*/ 43 w 63"/>
              <a:gd name="T67" fmla="*/ 72 h 78"/>
              <a:gd name="T68" fmla="*/ 45 w 63"/>
              <a:gd name="T69" fmla="*/ 76 h 78"/>
              <a:gd name="T70" fmla="*/ 49 w 63"/>
              <a:gd name="T71" fmla="*/ 78 h 78"/>
              <a:gd name="T72" fmla="*/ 53 w 63"/>
              <a:gd name="T73" fmla="*/ 76 h 78"/>
              <a:gd name="T74" fmla="*/ 57 w 63"/>
              <a:gd name="T75" fmla="*/ 72 h 78"/>
              <a:gd name="T76" fmla="*/ 63 w 63"/>
              <a:gd name="T77" fmla="*/ 66 h 78"/>
              <a:gd name="T78" fmla="*/ 39 w 63"/>
              <a:gd name="T79" fmla="*/ 66 h 78"/>
              <a:gd name="T80" fmla="*/ 37 w 63"/>
              <a:gd name="T81" fmla="*/ 74 h 78"/>
              <a:gd name="T82" fmla="*/ 39 w 63"/>
              <a:gd name="T83" fmla="*/ 68 h 78"/>
              <a:gd name="T84" fmla="*/ 39 w 63"/>
              <a:gd name="T85" fmla="*/ 66 h 78"/>
              <a:gd name="T86" fmla="*/ 55 w 63"/>
              <a:gd name="T87" fmla="*/ 38 h 78"/>
              <a:gd name="T88" fmla="*/ 53 w 63"/>
              <a:gd name="T89" fmla="*/ 46 h 78"/>
              <a:gd name="T90" fmla="*/ 49 w 63"/>
              <a:gd name="T91" fmla="*/ 50 h 78"/>
              <a:gd name="T92" fmla="*/ 49 w 63"/>
              <a:gd name="T93" fmla="*/ 46 h 78"/>
              <a:gd name="T94" fmla="*/ 43 w 63"/>
              <a:gd name="T95" fmla="*/ 50 h 78"/>
              <a:gd name="T96" fmla="*/ 39 w 63"/>
              <a:gd name="T97" fmla="*/ 50 h 78"/>
              <a:gd name="T98" fmla="*/ 41 w 63"/>
              <a:gd name="T99" fmla="*/ 54 h 78"/>
              <a:gd name="T100" fmla="*/ 43 w 63"/>
              <a:gd name="T101" fmla="*/ 62 h 78"/>
              <a:gd name="T102" fmla="*/ 49 w 63"/>
              <a:gd name="T103" fmla="*/ 62 h 78"/>
              <a:gd name="T104" fmla="*/ 51 w 63"/>
              <a:gd name="T105" fmla="*/ 60 h 78"/>
              <a:gd name="T106" fmla="*/ 55 w 63"/>
              <a:gd name="T107" fmla="*/ 66 h 78"/>
              <a:gd name="T108" fmla="*/ 55 w 63"/>
              <a:gd name="T109" fmla="*/ 62 h 78"/>
              <a:gd name="T110" fmla="*/ 61 w 63"/>
              <a:gd name="T111" fmla="*/ 58 h 78"/>
              <a:gd name="T112" fmla="*/ 57 w 63"/>
              <a:gd name="T113" fmla="*/ 52 h 78"/>
              <a:gd name="T114" fmla="*/ 61 w 63"/>
              <a:gd name="T115" fmla="*/ 50 h 78"/>
              <a:gd name="T116" fmla="*/ 59 w 63"/>
              <a:gd name="T117" fmla="*/ 38 h 78"/>
              <a:gd name="T118" fmla="*/ 12 w 63"/>
              <a:gd name="T119" fmla="*/ 20 h 78"/>
              <a:gd name="T120" fmla="*/ 10 w 63"/>
              <a:gd name="T121" fmla="*/ 26 h 78"/>
              <a:gd name="T122" fmla="*/ 14 w 63"/>
              <a:gd name="T123" fmla="*/ 22 h 78"/>
              <a:gd name="T124" fmla="*/ 12 w 63"/>
              <a:gd name="T125"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 h="78">
                <a:moveTo>
                  <a:pt x="22" y="64"/>
                </a:moveTo>
                <a:lnTo>
                  <a:pt x="22" y="64"/>
                </a:lnTo>
                <a:lnTo>
                  <a:pt x="24" y="54"/>
                </a:lnTo>
                <a:lnTo>
                  <a:pt x="24" y="54"/>
                </a:lnTo>
                <a:lnTo>
                  <a:pt x="30" y="60"/>
                </a:lnTo>
                <a:lnTo>
                  <a:pt x="30" y="60"/>
                </a:lnTo>
                <a:lnTo>
                  <a:pt x="30" y="64"/>
                </a:lnTo>
                <a:lnTo>
                  <a:pt x="32" y="64"/>
                </a:lnTo>
                <a:lnTo>
                  <a:pt x="32" y="64"/>
                </a:lnTo>
                <a:lnTo>
                  <a:pt x="32" y="64"/>
                </a:lnTo>
                <a:lnTo>
                  <a:pt x="34" y="64"/>
                </a:lnTo>
                <a:lnTo>
                  <a:pt x="37" y="64"/>
                </a:lnTo>
                <a:lnTo>
                  <a:pt x="37" y="64"/>
                </a:lnTo>
                <a:lnTo>
                  <a:pt x="37" y="54"/>
                </a:lnTo>
                <a:lnTo>
                  <a:pt x="37" y="54"/>
                </a:lnTo>
                <a:lnTo>
                  <a:pt x="26" y="54"/>
                </a:lnTo>
                <a:lnTo>
                  <a:pt x="26" y="54"/>
                </a:lnTo>
                <a:lnTo>
                  <a:pt x="30" y="46"/>
                </a:lnTo>
                <a:lnTo>
                  <a:pt x="32" y="36"/>
                </a:lnTo>
                <a:lnTo>
                  <a:pt x="32" y="36"/>
                </a:lnTo>
                <a:lnTo>
                  <a:pt x="37" y="38"/>
                </a:lnTo>
                <a:lnTo>
                  <a:pt x="41" y="34"/>
                </a:lnTo>
                <a:lnTo>
                  <a:pt x="39" y="32"/>
                </a:lnTo>
                <a:lnTo>
                  <a:pt x="39" y="32"/>
                </a:lnTo>
                <a:lnTo>
                  <a:pt x="34" y="32"/>
                </a:lnTo>
                <a:lnTo>
                  <a:pt x="34" y="32"/>
                </a:lnTo>
                <a:lnTo>
                  <a:pt x="32" y="26"/>
                </a:lnTo>
                <a:lnTo>
                  <a:pt x="32" y="18"/>
                </a:lnTo>
                <a:lnTo>
                  <a:pt x="32" y="18"/>
                </a:lnTo>
                <a:lnTo>
                  <a:pt x="26" y="16"/>
                </a:lnTo>
                <a:lnTo>
                  <a:pt x="26" y="16"/>
                </a:lnTo>
                <a:lnTo>
                  <a:pt x="32" y="16"/>
                </a:lnTo>
                <a:lnTo>
                  <a:pt x="32" y="16"/>
                </a:lnTo>
                <a:lnTo>
                  <a:pt x="34" y="12"/>
                </a:lnTo>
                <a:lnTo>
                  <a:pt x="34" y="12"/>
                </a:lnTo>
                <a:lnTo>
                  <a:pt x="37" y="12"/>
                </a:lnTo>
                <a:lnTo>
                  <a:pt x="37" y="12"/>
                </a:lnTo>
                <a:lnTo>
                  <a:pt x="34" y="6"/>
                </a:lnTo>
                <a:lnTo>
                  <a:pt x="34" y="6"/>
                </a:lnTo>
                <a:lnTo>
                  <a:pt x="37" y="2"/>
                </a:lnTo>
                <a:lnTo>
                  <a:pt x="37" y="2"/>
                </a:lnTo>
                <a:lnTo>
                  <a:pt x="37" y="0"/>
                </a:lnTo>
                <a:lnTo>
                  <a:pt x="37" y="0"/>
                </a:lnTo>
                <a:lnTo>
                  <a:pt x="30" y="2"/>
                </a:lnTo>
                <a:lnTo>
                  <a:pt x="26" y="4"/>
                </a:lnTo>
                <a:lnTo>
                  <a:pt x="26" y="4"/>
                </a:lnTo>
                <a:lnTo>
                  <a:pt x="24" y="8"/>
                </a:lnTo>
                <a:lnTo>
                  <a:pt x="22" y="10"/>
                </a:lnTo>
                <a:lnTo>
                  <a:pt x="22" y="12"/>
                </a:lnTo>
                <a:lnTo>
                  <a:pt x="22" y="12"/>
                </a:lnTo>
                <a:lnTo>
                  <a:pt x="16" y="14"/>
                </a:lnTo>
                <a:lnTo>
                  <a:pt x="14" y="14"/>
                </a:lnTo>
                <a:lnTo>
                  <a:pt x="12" y="14"/>
                </a:lnTo>
                <a:lnTo>
                  <a:pt x="8" y="16"/>
                </a:lnTo>
                <a:lnTo>
                  <a:pt x="8" y="16"/>
                </a:lnTo>
                <a:lnTo>
                  <a:pt x="2" y="22"/>
                </a:lnTo>
                <a:lnTo>
                  <a:pt x="2" y="22"/>
                </a:lnTo>
                <a:lnTo>
                  <a:pt x="2" y="24"/>
                </a:lnTo>
                <a:lnTo>
                  <a:pt x="2" y="24"/>
                </a:lnTo>
                <a:lnTo>
                  <a:pt x="2" y="24"/>
                </a:lnTo>
                <a:lnTo>
                  <a:pt x="6" y="24"/>
                </a:lnTo>
                <a:lnTo>
                  <a:pt x="6" y="24"/>
                </a:lnTo>
                <a:lnTo>
                  <a:pt x="8" y="20"/>
                </a:lnTo>
                <a:lnTo>
                  <a:pt x="8" y="20"/>
                </a:lnTo>
                <a:lnTo>
                  <a:pt x="10" y="18"/>
                </a:lnTo>
                <a:lnTo>
                  <a:pt x="12" y="18"/>
                </a:lnTo>
                <a:lnTo>
                  <a:pt x="20" y="18"/>
                </a:lnTo>
                <a:lnTo>
                  <a:pt x="20" y="18"/>
                </a:lnTo>
                <a:lnTo>
                  <a:pt x="22" y="28"/>
                </a:lnTo>
                <a:lnTo>
                  <a:pt x="22" y="28"/>
                </a:lnTo>
                <a:lnTo>
                  <a:pt x="18" y="24"/>
                </a:lnTo>
                <a:lnTo>
                  <a:pt x="16" y="24"/>
                </a:lnTo>
                <a:lnTo>
                  <a:pt x="12" y="32"/>
                </a:lnTo>
                <a:lnTo>
                  <a:pt x="12" y="32"/>
                </a:lnTo>
                <a:lnTo>
                  <a:pt x="0" y="30"/>
                </a:lnTo>
                <a:lnTo>
                  <a:pt x="0" y="30"/>
                </a:lnTo>
                <a:lnTo>
                  <a:pt x="2" y="40"/>
                </a:lnTo>
                <a:lnTo>
                  <a:pt x="2" y="42"/>
                </a:lnTo>
                <a:lnTo>
                  <a:pt x="6" y="44"/>
                </a:lnTo>
                <a:lnTo>
                  <a:pt x="6" y="46"/>
                </a:lnTo>
                <a:lnTo>
                  <a:pt x="2" y="48"/>
                </a:lnTo>
                <a:lnTo>
                  <a:pt x="2" y="48"/>
                </a:lnTo>
                <a:lnTo>
                  <a:pt x="2" y="52"/>
                </a:lnTo>
                <a:lnTo>
                  <a:pt x="4" y="56"/>
                </a:lnTo>
                <a:lnTo>
                  <a:pt x="10" y="62"/>
                </a:lnTo>
                <a:lnTo>
                  <a:pt x="10" y="62"/>
                </a:lnTo>
                <a:lnTo>
                  <a:pt x="10" y="64"/>
                </a:lnTo>
                <a:lnTo>
                  <a:pt x="22" y="64"/>
                </a:lnTo>
                <a:close/>
                <a:moveTo>
                  <a:pt x="61" y="66"/>
                </a:moveTo>
                <a:lnTo>
                  <a:pt x="61" y="66"/>
                </a:lnTo>
                <a:lnTo>
                  <a:pt x="55" y="68"/>
                </a:lnTo>
                <a:lnTo>
                  <a:pt x="51" y="70"/>
                </a:lnTo>
                <a:lnTo>
                  <a:pt x="51" y="70"/>
                </a:lnTo>
                <a:lnTo>
                  <a:pt x="49" y="70"/>
                </a:lnTo>
                <a:lnTo>
                  <a:pt x="49" y="70"/>
                </a:lnTo>
                <a:lnTo>
                  <a:pt x="45" y="68"/>
                </a:lnTo>
                <a:lnTo>
                  <a:pt x="45" y="68"/>
                </a:lnTo>
                <a:lnTo>
                  <a:pt x="43" y="68"/>
                </a:lnTo>
                <a:lnTo>
                  <a:pt x="43" y="68"/>
                </a:lnTo>
                <a:lnTo>
                  <a:pt x="43" y="68"/>
                </a:lnTo>
                <a:lnTo>
                  <a:pt x="43" y="70"/>
                </a:lnTo>
                <a:lnTo>
                  <a:pt x="43" y="72"/>
                </a:lnTo>
                <a:lnTo>
                  <a:pt x="43" y="72"/>
                </a:lnTo>
                <a:lnTo>
                  <a:pt x="45" y="76"/>
                </a:lnTo>
                <a:lnTo>
                  <a:pt x="45" y="76"/>
                </a:lnTo>
                <a:lnTo>
                  <a:pt x="45" y="76"/>
                </a:lnTo>
                <a:lnTo>
                  <a:pt x="47" y="78"/>
                </a:lnTo>
                <a:lnTo>
                  <a:pt x="49" y="78"/>
                </a:lnTo>
                <a:lnTo>
                  <a:pt x="51" y="76"/>
                </a:lnTo>
                <a:lnTo>
                  <a:pt x="51" y="76"/>
                </a:lnTo>
                <a:lnTo>
                  <a:pt x="53" y="76"/>
                </a:lnTo>
                <a:lnTo>
                  <a:pt x="55" y="76"/>
                </a:lnTo>
                <a:lnTo>
                  <a:pt x="55" y="76"/>
                </a:lnTo>
                <a:lnTo>
                  <a:pt x="57" y="72"/>
                </a:lnTo>
                <a:lnTo>
                  <a:pt x="57" y="72"/>
                </a:lnTo>
                <a:lnTo>
                  <a:pt x="61" y="68"/>
                </a:lnTo>
                <a:lnTo>
                  <a:pt x="63" y="66"/>
                </a:lnTo>
                <a:lnTo>
                  <a:pt x="61" y="66"/>
                </a:lnTo>
                <a:lnTo>
                  <a:pt x="61" y="66"/>
                </a:lnTo>
                <a:close/>
                <a:moveTo>
                  <a:pt x="39" y="66"/>
                </a:moveTo>
                <a:lnTo>
                  <a:pt x="39" y="66"/>
                </a:lnTo>
                <a:lnTo>
                  <a:pt x="37" y="72"/>
                </a:lnTo>
                <a:lnTo>
                  <a:pt x="37" y="74"/>
                </a:lnTo>
                <a:lnTo>
                  <a:pt x="37" y="74"/>
                </a:lnTo>
                <a:lnTo>
                  <a:pt x="37" y="74"/>
                </a:lnTo>
                <a:lnTo>
                  <a:pt x="39" y="68"/>
                </a:lnTo>
                <a:lnTo>
                  <a:pt x="41" y="66"/>
                </a:lnTo>
                <a:lnTo>
                  <a:pt x="39" y="64"/>
                </a:lnTo>
                <a:lnTo>
                  <a:pt x="39" y="66"/>
                </a:lnTo>
                <a:lnTo>
                  <a:pt x="39" y="66"/>
                </a:lnTo>
                <a:close/>
                <a:moveTo>
                  <a:pt x="55" y="38"/>
                </a:moveTo>
                <a:lnTo>
                  <a:pt x="55" y="38"/>
                </a:lnTo>
                <a:lnTo>
                  <a:pt x="51" y="40"/>
                </a:lnTo>
                <a:lnTo>
                  <a:pt x="53" y="46"/>
                </a:lnTo>
                <a:lnTo>
                  <a:pt x="53" y="46"/>
                </a:lnTo>
                <a:lnTo>
                  <a:pt x="51" y="48"/>
                </a:lnTo>
                <a:lnTo>
                  <a:pt x="51" y="50"/>
                </a:lnTo>
                <a:lnTo>
                  <a:pt x="49" y="50"/>
                </a:lnTo>
                <a:lnTo>
                  <a:pt x="49" y="50"/>
                </a:lnTo>
                <a:lnTo>
                  <a:pt x="49" y="46"/>
                </a:lnTo>
                <a:lnTo>
                  <a:pt x="49" y="46"/>
                </a:lnTo>
                <a:lnTo>
                  <a:pt x="45" y="46"/>
                </a:lnTo>
                <a:lnTo>
                  <a:pt x="43" y="46"/>
                </a:lnTo>
                <a:lnTo>
                  <a:pt x="43" y="50"/>
                </a:lnTo>
                <a:lnTo>
                  <a:pt x="43" y="50"/>
                </a:lnTo>
                <a:lnTo>
                  <a:pt x="39" y="50"/>
                </a:lnTo>
                <a:lnTo>
                  <a:pt x="39" y="50"/>
                </a:lnTo>
                <a:lnTo>
                  <a:pt x="39" y="52"/>
                </a:lnTo>
                <a:lnTo>
                  <a:pt x="39" y="52"/>
                </a:lnTo>
                <a:lnTo>
                  <a:pt x="41" y="54"/>
                </a:lnTo>
                <a:lnTo>
                  <a:pt x="43" y="54"/>
                </a:lnTo>
                <a:lnTo>
                  <a:pt x="43" y="54"/>
                </a:lnTo>
                <a:lnTo>
                  <a:pt x="43" y="62"/>
                </a:lnTo>
                <a:lnTo>
                  <a:pt x="43" y="62"/>
                </a:lnTo>
                <a:lnTo>
                  <a:pt x="49" y="62"/>
                </a:lnTo>
                <a:lnTo>
                  <a:pt x="49" y="62"/>
                </a:lnTo>
                <a:lnTo>
                  <a:pt x="47" y="60"/>
                </a:lnTo>
                <a:lnTo>
                  <a:pt x="49" y="60"/>
                </a:lnTo>
                <a:lnTo>
                  <a:pt x="51" y="60"/>
                </a:lnTo>
                <a:lnTo>
                  <a:pt x="51" y="66"/>
                </a:lnTo>
                <a:lnTo>
                  <a:pt x="51" y="66"/>
                </a:lnTo>
                <a:lnTo>
                  <a:pt x="55" y="66"/>
                </a:lnTo>
                <a:lnTo>
                  <a:pt x="55" y="66"/>
                </a:lnTo>
                <a:lnTo>
                  <a:pt x="55" y="62"/>
                </a:lnTo>
                <a:lnTo>
                  <a:pt x="55" y="62"/>
                </a:lnTo>
                <a:lnTo>
                  <a:pt x="59" y="60"/>
                </a:lnTo>
                <a:lnTo>
                  <a:pt x="61" y="58"/>
                </a:lnTo>
                <a:lnTo>
                  <a:pt x="61" y="58"/>
                </a:lnTo>
                <a:lnTo>
                  <a:pt x="61" y="54"/>
                </a:lnTo>
                <a:lnTo>
                  <a:pt x="61" y="54"/>
                </a:lnTo>
                <a:lnTo>
                  <a:pt x="57" y="52"/>
                </a:lnTo>
                <a:lnTo>
                  <a:pt x="57" y="52"/>
                </a:lnTo>
                <a:lnTo>
                  <a:pt x="61" y="50"/>
                </a:lnTo>
                <a:lnTo>
                  <a:pt x="61" y="50"/>
                </a:lnTo>
                <a:lnTo>
                  <a:pt x="61" y="44"/>
                </a:lnTo>
                <a:lnTo>
                  <a:pt x="59" y="38"/>
                </a:lnTo>
                <a:lnTo>
                  <a:pt x="59" y="38"/>
                </a:lnTo>
                <a:lnTo>
                  <a:pt x="55" y="38"/>
                </a:lnTo>
                <a:lnTo>
                  <a:pt x="55" y="38"/>
                </a:lnTo>
                <a:close/>
                <a:moveTo>
                  <a:pt x="12" y="20"/>
                </a:moveTo>
                <a:lnTo>
                  <a:pt x="12" y="20"/>
                </a:lnTo>
                <a:lnTo>
                  <a:pt x="10" y="24"/>
                </a:lnTo>
                <a:lnTo>
                  <a:pt x="10" y="26"/>
                </a:lnTo>
                <a:lnTo>
                  <a:pt x="12" y="24"/>
                </a:lnTo>
                <a:lnTo>
                  <a:pt x="12" y="24"/>
                </a:lnTo>
                <a:lnTo>
                  <a:pt x="14" y="22"/>
                </a:lnTo>
                <a:lnTo>
                  <a:pt x="14" y="20"/>
                </a:lnTo>
                <a:lnTo>
                  <a:pt x="12" y="20"/>
                </a:lnTo>
                <a:lnTo>
                  <a:pt x="12"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0" name="Freeform 204">
            <a:extLst>
              <a:ext uri="{FF2B5EF4-FFF2-40B4-BE49-F238E27FC236}">
                <a16:creationId xmlns:a16="http://schemas.microsoft.com/office/drawing/2014/main" id="{A63B098E-D3C2-43B8-A0FC-42756DC83107}"/>
              </a:ext>
            </a:extLst>
          </p:cNvPr>
          <p:cNvSpPr>
            <a:spLocks/>
          </p:cNvSpPr>
          <p:nvPr userDrawn="1"/>
        </p:nvSpPr>
        <p:spPr bwMode="auto">
          <a:xfrm>
            <a:off x="6129172" y="2129396"/>
            <a:ext cx="134163" cy="89231"/>
          </a:xfrm>
          <a:custGeom>
            <a:avLst/>
            <a:gdLst>
              <a:gd name="T0" fmla="*/ 64 w 80"/>
              <a:gd name="T1" fmla="*/ 46 h 52"/>
              <a:gd name="T2" fmla="*/ 66 w 80"/>
              <a:gd name="T3" fmla="*/ 42 h 52"/>
              <a:gd name="T4" fmla="*/ 70 w 80"/>
              <a:gd name="T5" fmla="*/ 40 h 52"/>
              <a:gd name="T6" fmla="*/ 72 w 80"/>
              <a:gd name="T7" fmla="*/ 38 h 52"/>
              <a:gd name="T8" fmla="*/ 72 w 80"/>
              <a:gd name="T9" fmla="*/ 34 h 52"/>
              <a:gd name="T10" fmla="*/ 80 w 80"/>
              <a:gd name="T11" fmla="*/ 32 h 52"/>
              <a:gd name="T12" fmla="*/ 78 w 80"/>
              <a:gd name="T13" fmla="*/ 26 h 52"/>
              <a:gd name="T14" fmla="*/ 74 w 80"/>
              <a:gd name="T15" fmla="*/ 24 h 52"/>
              <a:gd name="T16" fmla="*/ 74 w 80"/>
              <a:gd name="T17" fmla="*/ 22 h 52"/>
              <a:gd name="T18" fmla="*/ 70 w 80"/>
              <a:gd name="T19" fmla="*/ 18 h 52"/>
              <a:gd name="T20" fmla="*/ 68 w 80"/>
              <a:gd name="T21" fmla="*/ 18 h 52"/>
              <a:gd name="T22" fmla="*/ 58 w 80"/>
              <a:gd name="T23" fmla="*/ 16 h 52"/>
              <a:gd name="T24" fmla="*/ 54 w 80"/>
              <a:gd name="T25" fmla="*/ 12 h 52"/>
              <a:gd name="T26" fmla="*/ 50 w 80"/>
              <a:gd name="T27" fmla="*/ 10 h 52"/>
              <a:gd name="T28" fmla="*/ 48 w 80"/>
              <a:gd name="T29" fmla="*/ 10 h 52"/>
              <a:gd name="T30" fmla="*/ 46 w 80"/>
              <a:gd name="T31" fmla="*/ 8 h 52"/>
              <a:gd name="T32" fmla="*/ 44 w 80"/>
              <a:gd name="T33" fmla="*/ 6 h 52"/>
              <a:gd name="T34" fmla="*/ 32 w 80"/>
              <a:gd name="T35" fmla="*/ 4 h 52"/>
              <a:gd name="T36" fmla="*/ 26 w 80"/>
              <a:gd name="T37" fmla="*/ 0 h 52"/>
              <a:gd name="T38" fmla="*/ 18 w 80"/>
              <a:gd name="T39" fmla="*/ 6 h 52"/>
              <a:gd name="T40" fmla="*/ 10 w 80"/>
              <a:gd name="T41" fmla="*/ 12 h 52"/>
              <a:gd name="T42" fmla="*/ 6 w 80"/>
              <a:gd name="T43" fmla="*/ 14 h 52"/>
              <a:gd name="T44" fmla="*/ 2 w 80"/>
              <a:gd name="T45" fmla="*/ 14 h 52"/>
              <a:gd name="T46" fmla="*/ 0 w 80"/>
              <a:gd name="T47" fmla="*/ 20 h 52"/>
              <a:gd name="T48" fmla="*/ 4 w 80"/>
              <a:gd name="T49" fmla="*/ 24 h 52"/>
              <a:gd name="T50" fmla="*/ 6 w 80"/>
              <a:gd name="T51" fmla="*/ 28 h 52"/>
              <a:gd name="T52" fmla="*/ 8 w 80"/>
              <a:gd name="T53" fmla="*/ 36 h 52"/>
              <a:gd name="T54" fmla="*/ 10 w 80"/>
              <a:gd name="T55" fmla="*/ 40 h 52"/>
              <a:gd name="T56" fmla="*/ 14 w 80"/>
              <a:gd name="T57" fmla="*/ 40 h 52"/>
              <a:gd name="T58" fmla="*/ 16 w 80"/>
              <a:gd name="T59" fmla="*/ 42 h 52"/>
              <a:gd name="T60" fmla="*/ 20 w 80"/>
              <a:gd name="T61" fmla="*/ 46 h 52"/>
              <a:gd name="T62" fmla="*/ 28 w 80"/>
              <a:gd name="T63" fmla="*/ 52 h 52"/>
              <a:gd name="T64" fmla="*/ 30 w 80"/>
              <a:gd name="T65" fmla="*/ 50 h 52"/>
              <a:gd name="T66" fmla="*/ 34 w 80"/>
              <a:gd name="T67" fmla="*/ 44 h 52"/>
              <a:gd name="T68" fmla="*/ 36 w 80"/>
              <a:gd name="T69" fmla="*/ 42 h 52"/>
              <a:gd name="T70" fmla="*/ 42 w 80"/>
              <a:gd name="T71" fmla="*/ 42 h 52"/>
              <a:gd name="T72" fmla="*/ 44 w 80"/>
              <a:gd name="T73" fmla="*/ 44 h 52"/>
              <a:gd name="T74" fmla="*/ 54 w 80"/>
              <a:gd name="T75" fmla="*/ 48 h 52"/>
              <a:gd name="T76" fmla="*/ 64 w 80"/>
              <a:gd name="T7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0" h="52">
                <a:moveTo>
                  <a:pt x="64" y="46"/>
                </a:moveTo>
                <a:lnTo>
                  <a:pt x="64" y="46"/>
                </a:lnTo>
                <a:lnTo>
                  <a:pt x="64" y="44"/>
                </a:lnTo>
                <a:lnTo>
                  <a:pt x="66" y="42"/>
                </a:lnTo>
                <a:lnTo>
                  <a:pt x="70" y="40"/>
                </a:lnTo>
                <a:lnTo>
                  <a:pt x="70" y="40"/>
                </a:lnTo>
                <a:lnTo>
                  <a:pt x="70" y="40"/>
                </a:lnTo>
                <a:lnTo>
                  <a:pt x="72" y="38"/>
                </a:lnTo>
                <a:lnTo>
                  <a:pt x="72" y="36"/>
                </a:lnTo>
                <a:lnTo>
                  <a:pt x="72" y="34"/>
                </a:lnTo>
                <a:lnTo>
                  <a:pt x="72" y="34"/>
                </a:lnTo>
                <a:lnTo>
                  <a:pt x="80" y="32"/>
                </a:lnTo>
                <a:lnTo>
                  <a:pt x="80" y="32"/>
                </a:lnTo>
                <a:lnTo>
                  <a:pt x="78" y="26"/>
                </a:lnTo>
                <a:lnTo>
                  <a:pt x="76" y="24"/>
                </a:lnTo>
                <a:lnTo>
                  <a:pt x="74" y="24"/>
                </a:lnTo>
                <a:lnTo>
                  <a:pt x="74" y="24"/>
                </a:lnTo>
                <a:lnTo>
                  <a:pt x="74" y="22"/>
                </a:lnTo>
                <a:lnTo>
                  <a:pt x="72" y="20"/>
                </a:lnTo>
                <a:lnTo>
                  <a:pt x="70" y="18"/>
                </a:lnTo>
                <a:lnTo>
                  <a:pt x="68" y="18"/>
                </a:lnTo>
                <a:lnTo>
                  <a:pt x="68" y="18"/>
                </a:lnTo>
                <a:lnTo>
                  <a:pt x="64" y="18"/>
                </a:lnTo>
                <a:lnTo>
                  <a:pt x="58" y="16"/>
                </a:lnTo>
                <a:lnTo>
                  <a:pt x="58" y="16"/>
                </a:lnTo>
                <a:lnTo>
                  <a:pt x="54" y="12"/>
                </a:lnTo>
                <a:lnTo>
                  <a:pt x="52" y="10"/>
                </a:lnTo>
                <a:lnTo>
                  <a:pt x="50" y="10"/>
                </a:lnTo>
                <a:lnTo>
                  <a:pt x="50" y="10"/>
                </a:lnTo>
                <a:lnTo>
                  <a:pt x="48" y="10"/>
                </a:lnTo>
                <a:lnTo>
                  <a:pt x="46" y="10"/>
                </a:lnTo>
                <a:lnTo>
                  <a:pt x="46" y="8"/>
                </a:lnTo>
                <a:lnTo>
                  <a:pt x="44" y="6"/>
                </a:lnTo>
                <a:lnTo>
                  <a:pt x="44" y="6"/>
                </a:lnTo>
                <a:lnTo>
                  <a:pt x="36" y="6"/>
                </a:lnTo>
                <a:lnTo>
                  <a:pt x="32" y="4"/>
                </a:lnTo>
                <a:lnTo>
                  <a:pt x="26" y="0"/>
                </a:lnTo>
                <a:lnTo>
                  <a:pt x="26" y="0"/>
                </a:lnTo>
                <a:lnTo>
                  <a:pt x="18" y="6"/>
                </a:lnTo>
                <a:lnTo>
                  <a:pt x="18" y="6"/>
                </a:lnTo>
                <a:lnTo>
                  <a:pt x="12" y="8"/>
                </a:lnTo>
                <a:lnTo>
                  <a:pt x="10" y="12"/>
                </a:lnTo>
                <a:lnTo>
                  <a:pt x="10" y="12"/>
                </a:lnTo>
                <a:lnTo>
                  <a:pt x="6" y="14"/>
                </a:lnTo>
                <a:lnTo>
                  <a:pt x="2" y="14"/>
                </a:lnTo>
                <a:lnTo>
                  <a:pt x="2" y="14"/>
                </a:lnTo>
                <a:lnTo>
                  <a:pt x="0" y="16"/>
                </a:lnTo>
                <a:lnTo>
                  <a:pt x="0" y="20"/>
                </a:lnTo>
                <a:lnTo>
                  <a:pt x="0" y="20"/>
                </a:lnTo>
                <a:lnTo>
                  <a:pt x="4" y="24"/>
                </a:lnTo>
                <a:lnTo>
                  <a:pt x="6" y="28"/>
                </a:lnTo>
                <a:lnTo>
                  <a:pt x="6" y="28"/>
                </a:lnTo>
                <a:lnTo>
                  <a:pt x="8" y="32"/>
                </a:lnTo>
                <a:lnTo>
                  <a:pt x="8" y="36"/>
                </a:lnTo>
                <a:lnTo>
                  <a:pt x="8" y="36"/>
                </a:lnTo>
                <a:lnTo>
                  <a:pt x="10" y="40"/>
                </a:lnTo>
                <a:lnTo>
                  <a:pt x="12" y="40"/>
                </a:lnTo>
                <a:lnTo>
                  <a:pt x="14" y="40"/>
                </a:lnTo>
                <a:lnTo>
                  <a:pt x="16" y="42"/>
                </a:lnTo>
                <a:lnTo>
                  <a:pt x="16" y="42"/>
                </a:lnTo>
                <a:lnTo>
                  <a:pt x="20" y="46"/>
                </a:lnTo>
                <a:lnTo>
                  <a:pt x="20" y="46"/>
                </a:lnTo>
                <a:lnTo>
                  <a:pt x="24" y="50"/>
                </a:lnTo>
                <a:lnTo>
                  <a:pt x="28" y="52"/>
                </a:lnTo>
                <a:lnTo>
                  <a:pt x="30" y="50"/>
                </a:lnTo>
                <a:lnTo>
                  <a:pt x="30" y="50"/>
                </a:lnTo>
                <a:lnTo>
                  <a:pt x="30" y="50"/>
                </a:lnTo>
                <a:lnTo>
                  <a:pt x="34" y="44"/>
                </a:lnTo>
                <a:lnTo>
                  <a:pt x="36" y="42"/>
                </a:lnTo>
                <a:lnTo>
                  <a:pt x="36" y="42"/>
                </a:lnTo>
                <a:lnTo>
                  <a:pt x="38" y="42"/>
                </a:lnTo>
                <a:lnTo>
                  <a:pt x="42" y="42"/>
                </a:lnTo>
                <a:lnTo>
                  <a:pt x="44" y="44"/>
                </a:lnTo>
                <a:lnTo>
                  <a:pt x="44" y="44"/>
                </a:lnTo>
                <a:lnTo>
                  <a:pt x="48" y="46"/>
                </a:lnTo>
                <a:lnTo>
                  <a:pt x="54" y="48"/>
                </a:lnTo>
                <a:lnTo>
                  <a:pt x="54" y="48"/>
                </a:lnTo>
                <a:lnTo>
                  <a:pt x="64" y="46"/>
                </a:lnTo>
                <a:lnTo>
                  <a:pt x="64" y="4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1" name="Freeform 205">
            <a:extLst>
              <a:ext uri="{FF2B5EF4-FFF2-40B4-BE49-F238E27FC236}">
                <a16:creationId xmlns:a16="http://schemas.microsoft.com/office/drawing/2014/main" id="{E3196CB6-4EB9-4D6A-B6B6-D392DF3F4829}"/>
              </a:ext>
            </a:extLst>
          </p:cNvPr>
          <p:cNvSpPr>
            <a:spLocks noEditPoints="1"/>
          </p:cNvSpPr>
          <p:nvPr userDrawn="1"/>
        </p:nvSpPr>
        <p:spPr bwMode="auto">
          <a:xfrm>
            <a:off x="6581972" y="2644192"/>
            <a:ext cx="53665" cy="34320"/>
          </a:xfrm>
          <a:custGeom>
            <a:avLst/>
            <a:gdLst>
              <a:gd name="T0" fmla="*/ 26 w 32"/>
              <a:gd name="T1" fmla="*/ 12 h 20"/>
              <a:gd name="T2" fmla="*/ 26 w 32"/>
              <a:gd name="T3" fmla="*/ 12 h 20"/>
              <a:gd name="T4" fmla="*/ 24 w 32"/>
              <a:gd name="T5" fmla="*/ 6 h 20"/>
              <a:gd name="T6" fmla="*/ 28 w 32"/>
              <a:gd name="T7" fmla="*/ 6 h 20"/>
              <a:gd name="T8" fmla="*/ 28 w 32"/>
              <a:gd name="T9" fmla="*/ 6 h 20"/>
              <a:gd name="T10" fmla="*/ 30 w 32"/>
              <a:gd name="T11" fmla="*/ 2 h 20"/>
              <a:gd name="T12" fmla="*/ 32 w 32"/>
              <a:gd name="T13" fmla="*/ 0 h 20"/>
              <a:gd name="T14" fmla="*/ 32 w 32"/>
              <a:gd name="T15" fmla="*/ 0 h 20"/>
              <a:gd name="T16" fmla="*/ 32 w 32"/>
              <a:gd name="T17" fmla="*/ 0 h 20"/>
              <a:gd name="T18" fmla="*/ 26 w 32"/>
              <a:gd name="T19" fmla="*/ 4 h 20"/>
              <a:gd name="T20" fmla="*/ 22 w 32"/>
              <a:gd name="T21" fmla="*/ 6 h 20"/>
              <a:gd name="T22" fmla="*/ 22 w 32"/>
              <a:gd name="T23" fmla="*/ 6 h 20"/>
              <a:gd name="T24" fmla="*/ 16 w 32"/>
              <a:gd name="T25" fmla="*/ 6 h 20"/>
              <a:gd name="T26" fmla="*/ 10 w 32"/>
              <a:gd name="T27" fmla="*/ 6 h 20"/>
              <a:gd name="T28" fmla="*/ 10 w 32"/>
              <a:gd name="T29" fmla="*/ 6 h 20"/>
              <a:gd name="T30" fmla="*/ 12 w 32"/>
              <a:gd name="T31" fmla="*/ 10 h 20"/>
              <a:gd name="T32" fmla="*/ 12 w 32"/>
              <a:gd name="T33" fmla="*/ 10 h 20"/>
              <a:gd name="T34" fmla="*/ 8 w 32"/>
              <a:gd name="T35" fmla="*/ 10 h 20"/>
              <a:gd name="T36" fmla="*/ 8 w 32"/>
              <a:gd name="T37" fmla="*/ 10 h 20"/>
              <a:gd name="T38" fmla="*/ 10 w 32"/>
              <a:gd name="T39" fmla="*/ 12 h 20"/>
              <a:gd name="T40" fmla="*/ 14 w 32"/>
              <a:gd name="T41" fmla="*/ 12 h 20"/>
              <a:gd name="T42" fmla="*/ 14 w 32"/>
              <a:gd name="T43" fmla="*/ 12 h 20"/>
              <a:gd name="T44" fmla="*/ 18 w 32"/>
              <a:gd name="T45" fmla="*/ 10 h 20"/>
              <a:gd name="T46" fmla="*/ 18 w 32"/>
              <a:gd name="T47" fmla="*/ 10 h 20"/>
              <a:gd name="T48" fmla="*/ 20 w 32"/>
              <a:gd name="T49" fmla="*/ 10 h 20"/>
              <a:gd name="T50" fmla="*/ 20 w 32"/>
              <a:gd name="T51" fmla="*/ 10 h 20"/>
              <a:gd name="T52" fmla="*/ 26 w 32"/>
              <a:gd name="T53" fmla="*/ 12 h 20"/>
              <a:gd name="T54" fmla="*/ 26 w 32"/>
              <a:gd name="T55" fmla="*/ 12 h 20"/>
              <a:gd name="T56" fmla="*/ 26 w 32"/>
              <a:gd name="T57" fmla="*/ 12 h 20"/>
              <a:gd name="T58" fmla="*/ 26 w 32"/>
              <a:gd name="T59" fmla="*/ 12 h 20"/>
              <a:gd name="T60" fmla="*/ 24 w 32"/>
              <a:gd name="T61" fmla="*/ 12 h 20"/>
              <a:gd name="T62" fmla="*/ 24 w 32"/>
              <a:gd name="T63" fmla="*/ 12 h 20"/>
              <a:gd name="T64" fmla="*/ 22 w 32"/>
              <a:gd name="T65" fmla="*/ 14 h 20"/>
              <a:gd name="T66" fmla="*/ 18 w 32"/>
              <a:gd name="T67" fmla="*/ 16 h 20"/>
              <a:gd name="T68" fmla="*/ 18 w 32"/>
              <a:gd name="T69" fmla="*/ 16 h 20"/>
              <a:gd name="T70" fmla="*/ 12 w 32"/>
              <a:gd name="T71" fmla="*/ 20 h 20"/>
              <a:gd name="T72" fmla="*/ 8 w 32"/>
              <a:gd name="T73" fmla="*/ 20 h 20"/>
              <a:gd name="T74" fmla="*/ 2 w 32"/>
              <a:gd name="T75" fmla="*/ 16 h 20"/>
              <a:gd name="T76" fmla="*/ 2 w 32"/>
              <a:gd name="T77" fmla="*/ 16 h 20"/>
              <a:gd name="T78" fmla="*/ 0 w 32"/>
              <a:gd name="T79" fmla="*/ 12 h 20"/>
              <a:gd name="T80" fmla="*/ 0 w 32"/>
              <a:gd name="T81" fmla="*/ 12 h 20"/>
              <a:gd name="T82" fmla="*/ 8 w 32"/>
              <a:gd name="T83" fmla="*/ 10 h 20"/>
              <a:gd name="T84" fmla="*/ 8 w 32"/>
              <a:gd name="T85" fmla="*/ 10 h 20"/>
              <a:gd name="T86" fmla="*/ 10 w 32"/>
              <a:gd name="T87" fmla="*/ 12 h 20"/>
              <a:gd name="T88" fmla="*/ 14 w 32"/>
              <a:gd name="T89" fmla="*/ 12 h 20"/>
              <a:gd name="T90" fmla="*/ 14 w 32"/>
              <a:gd name="T91" fmla="*/ 12 h 20"/>
              <a:gd name="T92" fmla="*/ 18 w 32"/>
              <a:gd name="T93" fmla="*/ 10 h 20"/>
              <a:gd name="T94" fmla="*/ 18 w 32"/>
              <a:gd name="T95" fmla="*/ 10 h 20"/>
              <a:gd name="T96" fmla="*/ 20 w 32"/>
              <a:gd name="T97" fmla="*/ 10 h 20"/>
              <a:gd name="T98" fmla="*/ 20 w 32"/>
              <a:gd name="T99" fmla="*/ 10 h 20"/>
              <a:gd name="T100" fmla="*/ 26 w 32"/>
              <a:gd name="T101" fmla="*/ 12 h 20"/>
              <a:gd name="T102" fmla="*/ 26 w 32"/>
              <a:gd name="T103"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20">
                <a:moveTo>
                  <a:pt x="26" y="12"/>
                </a:moveTo>
                <a:lnTo>
                  <a:pt x="26" y="12"/>
                </a:lnTo>
                <a:lnTo>
                  <a:pt x="24" y="6"/>
                </a:lnTo>
                <a:lnTo>
                  <a:pt x="28" y="6"/>
                </a:lnTo>
                <a:lnTo>
                  <a:pt x="28" y="6"/>
                </a:lnTo>
                <a:lnTo>
                  <a:pt x="30" y="2"/>
                </a:lnTo>
                <a:lnTo>
                  <a:pt x="32" y="0"/>
                </a:lnTo>
                <a:lnTo>
                  <a:pt x="32" y="0"/>
                </a:lnTo>
                <a:lnTo>
                  <a:pt x="32" y="0"/>
                </a:lnTo>
                <a:lnTo>
                  <a:pt x="26" y="4"/>
                </a:lnTo>
                <a:lnTo>
                  <a:pt x="22" y="6"/>
                </a:lnTo>
                <a:lnTo>
                  <a:pt x="22" y="6"/>
                </a:lnTo>
                <a:lnTo>
                  <a:pt x="16" y="6"/>
                </a:lnTo>
                <a:lnTo>
                  <a:pt x="10" y="6"/>
                </a:lnTo>
                <a:lnTo>
                  <a:pt x="10" y="6"/>
                </a:lnTo>
                <a:lnTo>
                  <a:pt x="12" y="10"/>
                </a:lnTo>
                <a:lnTo>
                  <a:pt x="12" y="10"/>
                </a:lnTo>
                <a:lnTo>
                  <a:pt x="8" y="10"/>
                </a:lnTo>
                <a:lnTo>
                  <a:pt x="8" y="10"/>
                </a:lnTo>
                <a:lnTo>
                  <a:pt x="10" y="12"/>
                </a:lnTo>
                <a:lnTo>
                  <a:pt x="14" y="12"/>
                </a:lnTo>
                <a:lnTo>
                  <a:pt x="14" y="12"/>
                </a:lnTo>
                <a:lnTo>
                  <a:pt x="18" y="10"/>
                </a:lnTo>
                <a:lnTo>
                  <a:pt x="18" y="10"/>
                </a:lnTo>
                <a:lnTo>
                  <a:pt x="20" y="10"/>
                </a:lnTo>
                <a:lnTo>
                  <a:pt x="20" y="10"/>
                </a:lnTo>
                <a:lnTo>
                  <a:pt x="26" y="12"/>
                </a:lnTo>
                <a:lnTo>
                  <a:pt x="26" y="12"/>
                </a:lnTo>
                <a:close/>
                <a:moveTo>
                  <a:pt x="26" y="12"/>
                </a:moveTo>
                <a:lnTo>
                  <a:pt x="26" y="12"/>
                </a:lnTo>
                <a:lnTo>
                  <a:pt x="24" y="12"/>
                </a:lnTo>
                <a:lnTo>
                  <a:pt x="24" y="12"/>
                </a:lnTo>
                <a:lnTo>
                  <a:pt x="22" y="14"/>
                </a:lnTo>
                <a:lnTo>
                  <a:pt x="18" y="16"/>
                </a:lnTo>
                <a:lnTo>
                  <a:pt x="18" y="16"/>
                </a:lnTo>
                <a:lnTo>
                  <a:pt x="12" y="20"/>
                </a:lnTo>
                <a:lnTo>
                  <a:pt x="8" y="20"/>
                </a:lnTo>
                <a:lnTo>
                  <a:pt x="2" y="16"/>
                </a:lnTo>
                <a:lnTo>
                  <a:pt x="2" y="16"/>
                </a:lnTo>
                <a:lnTo>
                  <a:pt x="0" y="12"/>
                </a:lnTo>
                <a:lnTo>
                  <a:pt x="0" y="12"/>
                </a:lnTo>
                <a:lnTo>
                  <a:pt x="8" y="10"/>
                </a:lnTo>
                <a:lnTo>
                  <a:pt x="8" y="10"/>
                </a:lnTo>
                <a:lnTo>
                  <a:pt x="10" y="12"/>
                </a:lnTo>
                <a:lnTo>
                  <a:pt x="14" y="12"/>
                </a:lnTo>
                <a:lnTo>
                  <a:pt x="14" y="12"/>
                </a:lnTo>
                <a:lnTo>
                  <a:pt x="18" y="10"/>
                </a:lnTo>
                <a:lnTo>
                  <a:pt x="18" y="10"/>
                </a:lnTo>
                <a:lnTo>
                  <a:pt x="20" y="10"/>
                </a:lnTo>
                <a:lnTo>
                  <a:pt x="20" y="10"/>
                </a:lnTo>
                <a:lnTo>
                  <a:pt x="26" y="12"/>
                </a:lnTo>
                <a:lnTo>
                  <a:pt x="26"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2" name="Freeform 206">
            <a:extLst>
              <a:ext uri="{FF2B5EF4-FFF2-40B4-BE49-F238E27FC236}">
                <a16:creationId xmlns:a16="http://schemas.microsoft.com/office/drawing/2014/main" id="{34931784-F1B3-4A11-BAE9-434DBF44F4A0}"/>
              </a:ext>
            </a:extLst>
          </p:cNvPr>
          <p:cNvSpPr>
            <a:spLocks noEditPoints="1"/>
          </p:cNvSpPr>
          <p:nvPr userDrawn="1"/>
        </p:nvSpPr>
        <p:spPr bwMode="auto">
          <a:xfrm>
            <a:off x="3960686" y="3007981"/>
            <a:ext cx="227540" cy="102959"/>
          </a:xfrm>
          <a:custGeom>
            <a:avLst/>
            <a:gdLst>
              <a:gd name="T0" fmla="*/ 22 w 136"/>
              <a:gd name="T1" fmla="*/ 24 h 60"/>
              <a:gd name="T2" fmla="*/ 24 w 136"/>
              <a:gd name="T3" fmla="*/ 24 h 60"/>
              <a:gd name="T4" fmla="*/ 20 w 136"/>
              <a:gd name="T5" fmla="*/ 30 h 60"/>
              <a:gd name="T6" fmla="*/ 22 w 136"/>
              <a:gd name="T7" fmla="*/ 30 h 60"/>
              <a:gd name="T8" fmla="*/ 28 w 136"/>
              <a:gd name="T9" fmla="*/ 20 h 60"/>
              <a:gd name="T10" fmla="*/ 22 w 136"/>
              <a:gd name="T11" fmla="*/ 18 h 60"/>
              <a:gd name="T12" fmla="*/ 12 w 136"/>
              <a:gd name="T13" fmla="*/ 6 h 60"/>
              <a:gd name="T14" fmla="*/ 4 w 136"/>
              <a:gd name="T15" fmla="*/ 18 h 60"/>
              <a:gd name="T16" fmla="*/ 0 w 136"/>
              <a:gd name="T17" fmla="*/ 20 h 60"/>
              <a:gd name="T18" fmla="*/ 12 w 136"/>
              <a:gd name="T19" fmla="*/ 20 h 60"/>
              <a:gd name="T20" fmla="*/ 16 w 136"/>
              <a:gd name="T21" fmla="*/ 16 h 60"/>
              <a:gd name="T22" fmla="*/ 18 w 136"/>
              <a:gd name="T23" fmla="*/ 12 h 60"/>
              <a:gd name="T24" fmla="*/ 26 w 136"/>
              <a:gd name="T25" fmla="*/ 8 h 60"/>
              <a:gd name="T26" fmla="*/ 38 w 136"/>
              <a:gd name="T27" fmla="*/ 8 h 60"/>
              <a:gd name="T28" fmla="*/ 38 w 136"/>
              <a:gd name="T29" fmla="*/ 12 h 60"/>
              <a:gd name="T30" fmla="*/ 48 w 136"/>
              <a:gd name="T31" fmla="*/ 14 h 60"/>
              <a:gd name="T32" fmla="*/ 56 w 136"/>
              <a:gd name="T33" fmla="*/ 18 h 60"/>
              <a:gd name="T34" fmla="*/ 58 w 136"/>
              <a:gd name="T35" fmla="*/ 24 h 60"/>
              <a:gd name="T36" fmla="*/ 64 w 136"/>
              <a:gd name="T37" fmla="*/ 26 h 60"/>
              <a:gd name="T38" fmla="*/ 66 w 136"/>
              <a:gd name="T39" fmla="*/ 30 h 60"/>
              <a:gd name="T40" fmla="*/ 80 w 136"/>
              <a:gd name="T41" fmla="*/ 28 h 60"/>
              <a:gd name="T42" fmla="*/ 82 w 136"/>
              <a:gd name="T43" fmla="*/ 38 h 60"/>
              <a:gd name="T44" fmla="*/ 98 w 136"/>
              <a:gd name="T45" fmla="*/ 46 h 60"/>
              <a:gd name="T46" fmla="*/ 94 w 136"/>
              <a:gd name="T47" fmla="*/ 54 h 60"/>
              <a:gd name="T48" fmla="*/ 92 w 136"/>
              <a:gd name="T49" fmla="*/ 60 h 60"/>
              <a:gd name="T50" fmla="*/ 126 w 136"/>
              <a:gd name="T51" fmla="*/ 54 h 60"/>
              <a:gd name="T52" fmla="*/ 130 w 136"/>
              <a:gd name="T53" fmla="*/ 56 h 60"/>
              <a:gd name="T54" fmla="*/ 136 w 136"/>
              <a:gd name="T55" fmla="*/ 52 h 60"/>
              <a:gd name="T56" fmla="*/ 136 w 136"/>
              <a:gd name="T57" fmla="*/ 48 h 60"/>
              <a:gd name="T58" fmla="*/ 124 w 136"/>
              <a:gd name="T59" fmla="*/ 46 h 60"/>
              <a:gd name="T60" fmla="*/ 118 w 136"/>
              <a:gd name="T61" fmla="*/ 44 h 60"/>
              <a:gd name="T62" fmla="*/ 108 w 136"/>
              <a:gd name="T63" fmla="*/ 36 h 60"/>
              <a:gd name="T64" fmla="*/ 102 w 136"/>
              <a:gd name="T65" fmla="*/ 30 h 60"/>
              <a:gd name="T66" fmla="*/ 98 w 136"/>
              <a:gd name="T67" fmla="*/ 30 h 60"/>
              <a:gd name="T68" fmla="*/ 96 w 136"/>
              <a:gd name="T69" fmla="*/ 24 h 60"/>
              <a:gd name="T70" fmla="*/ 90 w 136"/>
              <a:gd name="T71" fmla="*/ 20 h 60"/>
              <a:gd name="T72" fmla="*/ 86 w 136"/>
              <a:gd name="T73" fmla="*/ 20 h 60"/>
              <a:gd name="T74" fmla="*/ 78 w 136"/>
              <a:gd name="T75" fmla="*/ 18 h 60"/>
              <a:gd name="T76" fmla="*/ 70 w 136"/>
              <a:gd name="T77" fmla="*/ 14 h 60"/>
              <a:gd name="T78" fmla="*/ 66 w 136"/>
              <a:gd name="T79" fmla="*/ 6 h 60"/>
              <a:gd name="T80" fmla="*/ 42 w 136"/>
              <a:gd name="T81" fmla="*/ 2 h 60"/>
              <a:gd name="T82" fmla="*/ 38 w 136"/>
              <a:gd name="T83" fmla="*/ 4 h 60"/>
              <a:gd name="T84" fmla="*/ 38 w 136"/>
              <a:gd name="T85" fmla="*/ 0 h 60"/>
              <a:gd name="T86" fmla="*/ 22 w 136"/>
              <a:gd name="T8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60">
                <a:moveTo>
                  <a:pt x="22" y="18"/>
                </a:moveTo>
                <a:lnTo>
                  <a:pt x="22" y="18"/>
                </a:lnTo>
                <a:lnTo>
                  <a:pt x="22" y="24"/>
                </a:lnTo>
                <a:lnTo>
                  <a:pt x="22" y="24"/>
                </a:lnTo>
                <a:lnTo>
                  <a:pt x="24" y="22"/>
                </a:lnTo>
                <a:lnTo>
                  <a:pt x="24" y="24"/>
                </a:lnTo>
                <a:lnTo>
                  <a:pt x="24" y="26"/>
                </a:lnTo>
                <a:lnTo>
                  <a:pt x="20" y="30"/>
                </a:lnTo>
                <a:lnTo>
                  <a:pt x="20" y="30"/>
                </a:lnTo>
                <a:lnTo>
                  <a:pt x="18" y="30"/>
                </a:lnTo>
                <a:lnTo>
                  <a:pt x="20" y="30"/>
                </a:lnTo>
                <a:lnTo>
                  <a:pt x="22" y="30"/>
                </a:lnTo>
                <a:lnTo>
                  <a:pt x="22" y="30"/>
                </a:lnTo>
                <a:lnTo>
                  <a:pt x="28" y="26"/>
                </a:lnTo>
                <a:lnTo>
                  <a:pt x="28" y="20"/>
                </a:lnTo>
                <a:lnTo>
                  <a:pt x="28" y="20"/>
                </a:lnTo>
                <a:lnTo>
                  <a:pt x="22" y="18"/>
                </a:lnTo>
                <a:lnTo>
                  <a:pt x="22" y="18"/>
                </a:lnTo>
                <a:close/>
                <a:moveTo>
                  <a:pt x="22" y="0"/>
                </a:moveTo>
                <a:lnTo>
                  <a:pt x="22" y="0"/>
                </a:lnTo>
                <a:lnTo>
                  <a:pt x="12" y="6"/>
                </a:lnTo>
                <a:lnTo>
                  <a:pt x="4" y="14"/>
                </a:lnTo>
                <a:lnTo>
                  <a:pt x="4" y="14"/>
                </a:lnTo>
                <a:lnTo>
                  <a:pt x="4" y="18"/>
                </a:lnTo>
                <a:lnTo>
                  <a:pt x="4" y="18"/>
                </a:lnTo>
                <a:lnTo>
                  <a:pt x="0" y="20"/>
                </a:lnTo>
                <a:lnTo>
                  <a:pt x="0" y="20"/>
                </a:lnTo>
                <a:lnTo>
                  <a:pt x="6" y="22"/>
                </a:lnTo>
                <a:lnTo>
                  <a:pt x="12" y="20"/>
                </a:lnTo>
                <a:lnTo>
                  <a:pt x="12" y="20"/>
                </a:lnTo>
                <a:lnTo>
                  <a:pt x="12" y="16"/>
                </a:lnTo>
                <a:lnTo>
                  <a:pt x="12" y="16"/>
                </a:lnTo>
                <a:lnTo>
                  <a:pt x="16" y="16"/>
                </a:lnTo>
                <a:lnTo>
                  <a:pt x="16" y="16"/>
                </a:lnTo>
                <a:lnTo>
                  <a:pt x="16" y="16"/>
                </a:lnTo>
                <a:lnTo>
                  <a:pt x="18" y="12"/>
                </a:lnTo>
                <a:lnTo>
                  <a:pt x="18" y="12"/>
                </a:lnTo>
                <a:lnTo>
                  <a:pt x="22" y="8"/>
                </a:lnTo>
                <a:lnTo>
                  <a:pt x="26" y="8"/>
                </a:lnTo>
                <a:lnTo>
                  <a:pt x="30" y="6"/>
                </a:lnTo>
                <a:lnTo>
                  <a:pt x="30" y="6"/>
                </a:lnTo>
                <a:lnTo>
                  <a:pt x="38" y="8"/>
                </a:lnTo>
                <a:lnTo>
                  <a:pt x="38" y="8"/>
                </a:lnTo>
                <a:lnTo>
                  <a:pt x="38" y="12"/>
                </a:lnTo>
                <a:lnTo>
                  <a:pt x="38" y="12"/>
                </a:lnTo>
                <a:lnTo>
                  <a:pt x="42" y="14"/>
                </a:lnTo>
                <a:lnTo>
                  <a:pt x="48" y="14"/>
                </a:lnTo>
                <a:lnTo>
                  <a:pt x="48" y="14"/>
                </a:lnTo>
                <a:lnTo>
                  <a:pt x="52" y="18"/>
                </a:lnTo>
                <a:lnTo>
                  <a:pt x="52" y="18"/>
                </a:lnTo>
                <a:lnTo>
                  <a:pt x="56" y="18"/>
                </a:lnTo>
                <a:lnTo>
                  <a:pt x="56" y="18"/>
                </a:lnTo>
                <a:lnTo>
                  <a:pt x="56" y="20"/>
                </a:lnTo>
                <a:lnTo>
                  <a:pt x="58" y="24"/>
                </a:lnTo>
                <a:lnTo>
                  <a:pt x="58" y="24"/>
                </a:lnTo>
                <a:lnTo>
                  <a:pt x="60" y="24"/>
                </a:lnTo>
                <a:lnTo>
                  <a:pt x="64" y="26"/>
                </a:lnTo>
                <a:lnTo>
                  <a:pt x="64" y="26"/>
                </a:lnTo>
                <a:lnTo>
                  <a:pt x="66" y="30"/>
                </a:lnTo>
                <a:lnTo>
                  <a:pt x="66" y="30"/>
                </a:lnTo>
                <a:lnTo>
                  <a:pt x="74" y="30"/>
                </a:lnTo>
                <a:lnTo>
                  <a:pt x="80" y="28"/>
                </a:lnTo>
                <a:lnTo>
                  <a:pt x="80" y="28"/>
                </a:lnTo>
                <a:lnTo>
                  <a:pt x="80" y="34"/>
                </a:lnTo>
                <a:lnTo>
                  <a:pt x="80" y="34"/>
                </a:lnTo>
                <a:lnTo>
                  <a:pt x="82" y="38"/>
                </a:lnTo>
                <a:lnTo>
                  <a:pt x="86" y="42"/>
                </a:lnTo>
                <a:lnTo>
                  <a:pt x="98" y="46"/>
                </a:lnTo>
                <a:lnTo>
                  <a:pt x="98" y="46"/>
                </a:lnTo>
                <a:lnTo>
                  <a:pt x="98" y="50"/>
                </a:lnTo>
                <a:lnTo>
                  <a:pt x="98" y="50"/>
                </a:lnTo>
                <a:lnTo>
                  <a:pt x="94" y="54"/>
                </a:lnTo>
                <a:lnTo>
                  <a:pt x="92" y="56"/>
                </a:lnTo>
                <a:lnTo>
                  <a:pt x="92" y="56"/>
                </a:lnTo>
                <a:lnTo>
                  <a:pt x="92" y="60"/>
                </a:lnTo>
                <a:lnTo>
                  <a:pt x="92" y="60"/>
                </a:lnTo>
                <a:lnTo>
                  <a:pt x="110" y="56"/>
                </a:lnTo>
                <a:lnTo>
                  <a:pt x="126" y="54"/>
                </a:lnTo>
                <a:lnTo>
                  <a:pt x="126" y="54"/>
                </a:lnTo>
                <a:lnTo>
                  <a:pt x="128" y="56"/>
                </a:lnTo>
                <a:lnTo>
                  <a:pt x="130" y="56"/>
                </a:lnTo>
                <a:lnTo>
                  <a:pt x="130" y="56"/>
                </a:lnTo>
                <a:lnTo>
                  <a:pt x="136" y="52"/>
                </a:lnTo>
                <a:lnTo>
                  <a:pt x="136" y="52"/>
                </a:lnTo>
                <a:lnTo>
                  <a:pt x="136" y="50"/>
                </a:lnTo>
                <a:lnTo>
                  <a:pt x="136" y="48"/>
                </a:lnTo>
                <a:lnTo>
                  <a:pt x="136" y="48"/>
                </a:lnTo>
                <a:lnTo>
                  <a:pt x="130" y="44"/>
                </a:lnTo>
                <a:lnTo>
                  <a:pt x="130" y="44"/>
                </a:lnTo>
                <a:lnTo>
                  <a:pt x="124" y="46"/>
                </a:lnTo>
                <a:lnTo>
                  <a:pt x="120" y="46"/>
                </a:lnTo>
                <a:lnTo>
                  <a:pt x="118" y="44"/>
                </a:lnTo>
                <a:lnTo>
                  <a:pt x="118" y="44"/>
                </a:lnTo>
                <a:lnTo>
                  <a:pt x="120" y="36"/>
                </a:lnTo>
                <a:lnTo>
                  <a:pt x="120" y="36"/>
                </a:lnTo>
                <a:lnTo>
                  <a:pt x="108" y="36"/>
                </a:lnTo>
                <a:lnTo>
                  <a:pt x="106" y="34"/>
                </a:lnTo>
                <a:lnTo>
                  <a:pt x="102" y="30"/>
                </a:lnTo>
                <a:lnTo>
                  <a:pt x="102" y="30"/>
                </a:lnTo>
                <a:lnTo>
                  <a:pt x="100" y="30"/>
                </a:lnTo>
                <a:lnTo>
                  <a:pt x="98" y="30"/>
                </a:lnTo>
                <a:lnTo>
                  <a:pt x="98" y="30"/>
                </a:lnTo>
                <a:lnTo>
                  <a:pt x="98" y="26"/>
                </a:lnTo>
                <a:lnTo>
                  <a:pt x="96" y="24"/>
                </a:lnTo>
                <a:lnTo>
                  <a:pt x="96" y="24"/>
                </a:lnTo>
                <a:lnTo>
                  <a:pt x="92" y="22"/>
                </a:lnTo>
                <a:lnTo>
                  <a:pt x="90" y="24"/>
                </a:lnTo>
                <a:lnTo>
                  <a:pt x="90" y="20"/>
                </a:lnTo>
                <a:lnTo>
                  <a:pt x="90" y="20"/>
                </a:lnTo>
                <a:lnTo>
                  <a:pt x="86" y="20"/>
                </a:lnTo>
                <a:lnTo>
                  <a:pt x="86" y="20"/>
                </a:lnTo>
                <a:lnTo>
                  <a:pt x="84" y="18"/>
                </a:lnTo>
                <a:lnTo>
                  <a:pt x="84" y="18"/>
                </a:lnTo>
                <a:lnTo>
                  <a:pt x="78" y="18"/>
                </a:lnTo>
                <a:lnTo>
                  <a:pt x="72" y="16"/>
                </a:lnTo>
                <a:lnTo>
                  <a:pt x="72" y="16"/>
                </a:lnTo>
                <a:lnTo>
                  <a:pt x="70" y="14"/>
                </a:lnTo>
                <a:lnTo>
                  <a:pt x="68" y="12"/>
                </a:lnTo>
                <a:lnTo>
                  <a:pt x="66" y="6"/>
                </a:lnTo>
                <a:lnTo>
                  <a:pt x="66" y="6"/>
                </a:lnTo>
                <a:lnTo>
                  <a:pt x="54" y="4"/>
                </a:lnTo>
                <a:lnTo>
                  <a:pt x="42" y="2"/>
                </a:lnTo>
                <a:lnTo>
                  <a:pt x="42" y="2"/>
                </a:lnTo>
                <a:lnTo>
                  <a:pt x="42" y="4"/>
                </a:lnTo>
                <a:lnTo>
                  <a:pt x="40" y="4"/>
                </a:lnTo>
                <a:lnTo>
                  <a:pt x="38" y="4"/>
                </a:lnTo>
                <a:lnTo>
                  <a:pt x="38" y="4"/>
                </a:lnTo>
                <a:lnTo>
                  <a:pt x="38" y="0"/>
                </a:lnTo>
                <a:lnTo>
                  <a:pt x="38" y="0"/>
                </a:lnTo>
                <a:lnTo>
                  <a:pt x="30" y="0"/>
                </a:lnTo>
                <a:lnTo>
                  <a:pt x="22" y="0"/>
                </a:lnTo>
                <a:lnTo>
                  <a:pt x="2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3" name="Freeform 207">
            <a:extLst>
              <a:ext uri="{FF2B5EF4-FFF2-40B4-BE49-F238E27FC236}">
                <a16:creationId xmlns:a16="http://schemas.microsoft.com/office/drawing/2014/main" id="{881FB98C-7413-4D6E-81A4-9E98808A2818}"/>
              </a:ext>
            </a:extLst>
          </p:cNvPr>
          <p:cNvSpPr>
            <a:spLocks/>
          </p:cNvSpPr>
          <p:nvPr userDrawn="1"/>
        </p:nvSpPr>
        <p:spPr bwMode="auto">
          <a:xfrm>
            <a:off x="6155595" y="2280402"/>
            <a:ext cx="137762" cy="151007"/>
          </a:xfrm>
          <a:custGeom>
            <a:avLst/>
            <a:gdLst>
              <a:gd name="T0" fmla="*/ 66 w 82"/>
              <a:gd name="T1" fmla="*/ 84 h 88"/>
              <a:gd name="T2" fmla="*/ 62 w 82"/>
              <a:gd name="T3" fmla="*/ 80 h 88"/>
              <a:gd name="T4" fmla="*/ 56 w 82"/>
              <a:gd name="T5" fmla="*/ 76 h 88"/>
              <a:gd name="T6" fmla="*/ 46 w 82"/>
              <a:gd name="T7" fmla="*/ 64 h 88"/>
              <a:gd name="T8" fmla="*/ 38 w 82"/>
              <a:gd name="T9" fmla="*/ 54 h 88"/>
              <a:gd name="T10" fmla="*/ 40 w 82"/>
              <a:gd name="T11" fmla="*/ 52 h 88"/>
              <a:gd name="T12" fmla="*/ 32 w 82"/>
              <a:gd name="T13" fmla="*/ 40 h 88"/>
              <a:gd name="T14" fmla="*/ 32 w 82"/>
              <a:gd name="T15" fmla="*/ 34 h 88"/>
              <a:gd name="T16" fmla="*/ 36 w 82"/>
              <a:gd name="T17" fmla="*/ 34 h 88"/>
              <a:gd name="T18" fmla="*/ 42 w 82"/>
              <a:gd name="T19" fmla="*/ 38 h 88"/>
              <a:gd name="T20" fmla="*/ 44 w 82"/>
              <a:gd name="T21" fmla="*/ 38 h 88"/>
              <a:gd name="T22" fmla="*/ 50 w 82"/>
              <a:gd name="T23" fmla="*/ 40 h 88"/>
              <a:gd name="T24" fmla="*/ 60 w 82"/>
              <a:gd name="T25" fmla="*/ 38 h 88"/>
              <a:gd name="T26" fmla="*/ 66 w 82"/>
              <a:gd name="T27" fmla="*/ 40 h 88"/>
              <a:gd name="T28" fmla="*/ 68 w 82"/>
              <a:gd name="T29" fmla="*/ 42 h 88"/>
              <a:gd name="T30" fmla="*/ 80 w 82"/>
              <a:gd name="T31" fmla="*/ 44 h 88"/>
              <a:gd name="T32" fmla="*/ 82 w 82"/>
              <a:gd name="T33" fmla="*/ 40 h 88"/>
              <a:gd name="T34" fmla="*/ 80 w 82"/>
              <a:gd name="T35" fmla="*/ 34 h 88"/>
              <a:gd name="T36" fmla="*/ 80 w 82"/>
              <a:gd name="T37" fmla="*/ 30 h 88"/>
              <a:gd name="T38" fmla="*/ 74 w 82"/>
              <a:gd name="T39" fmla="*/ 30 h 88"/>
              <a:gd name="T40" fmla="*/ 66 w 82"/>
              <a:gd name="T41" fmla="*/ 26 h 88"/>
              <a:gd name="T42" fmla="*/ 54 w 82"/>
              <a:gd name="T43" fmla="*/ 16 h 88"/>
              <a:gd name="T44" fmla="*/ 48 w 82"/>
              <a:gd name="T45" fmla="*/ 6 h 88"/>
              <a:gd name="T46" fmla="*/ 42 w 82"/>
              <a:gd name="T47" fmla="*/ 0 h 88"/>
              <a:gd name="T48" fmla="*/ 38 w 82"/>
              <a:gd name="T49" fmla="*/ 4 h 88"/>
              <a:gd name="T50" fmla="*/ 32 w 82"/>
              <a:gd name="T51" fmla="*/ 8 h 88"/>
              <a:gd name="T52" fmla="*/ 28 w 82"/>
              <a:gd name="T53" fmla="*/ 10 h 88"/>
              <a:gd name="T54" fmla="*/ 22 w 82"/>
              <a:gd name="T55" fmla="*/ 22 h 88"/>
              <a:gd name="T56" fmla="*/ 18 w 82"/>
              <a:gd name="T57" fmla="*/ 20 h 88"/>
              <a:gd name="T58" fmla="*/ 16 w 82"/>
              <a:gd name="T59" fmla="*/ 20 h 88"/>
              <a:gd name="T60" fmla="*/ 16 w 82"/>
              <a:gd name="T61" fmla="*/ 28 h 88"/>
              <a:gd name="T62" fmla="*/ 0 w 82"/>
              <a:gd name="T63" fmla="*/ 34 h 88"/>
              <a:gd name="T64" fmla="*/ 2 w 82"/>
              <a:gd name="T65" fmla="*/ 40 h 88"/>
              <a:gd name="T66" fmla="*/ 6 w 82"/>
              <a:gd name="T67" fmla="*/ 44 h 88"/>
              <a:gd name="T68" fmla="*/ 6 w 82"/>
              <a:gd name="T69" fmla="*/ 42 h 88"/>
              <a:gd name="T70" fmla="*/ 10 w 82"/>
              <a:gd name="T71" fmla="*/ 40 h 88"/>
              <a:gd name="T72" fmla="*/ 16 w 82"/>
              <a:gd name="T73" fmla="*/ 34 h 88"/>
              <a:gd name="T74" fmla="*/ 16 w 82"/>
              <a:gd name="T75" fmla="*/ 46 h 88"/>
              <a:gd name="T76" fmla="*/ 24 w 82"/>
              <a:gd name="T77" fmla="*/ 56 h 88"/>
              <a:gd name="T78" fmla="*/ 22 w 82"/>
              <a:gd name="T79" fmla="*/ 60 h 88"/>
              <a:gd name="T80" fmla="*/ 28 w 82"/>
              <a:gd name="T81" fmla="*/ 64 h 88"/>
              <a:gd name="T82" fmla="*/ 34 w 82"/>
              <a:gd name="T83" fmla="*/ 66 h 88"/>
              <a:gd name="T84" fmla="*/ 38 w 82"/>
              <a:gd name="T85" fmla="*/ 68 h 88"/>
              <a:gd name="T86" fmla="*/ 54 w 82"/>
              <a:gd name="T87" fmla="*/ 80 h 88"/>
              <a:gd name="T88" fmla="*/ 60 w 82"/>
              <a:gd name="T89" fmla="*/ 80 h 88"/>
              <a:gd name="T90" fmla="*/ 66 w 82"/>
              <a:gd name="T91" fmla="*/ 88 h 88"/>
              <a:gd name="T92" fmla="*/ 70 w 82"/>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 h="88">
                <a:moveTo>
                  <a:pt x="70" y="88"/>
                </a:moveTo>
                <a:lnTo>
                  <a:pt x="70" y="88"/>
                </a:lnTo>
                <a:lnTo>
                  <a:pt x="66" y="84"/>
                </a:lnTo>
                <a:lnTo>
                  <a:pt x="66" y="84"/>
                </a:lnTo>
                <a:lnTo>
                  <a:pt x="62" y="80"/>
                </a:lnTo>
                <a:lnTo>
                  <a:pt x="62" y="80"/>
                </a:lnTo>
                <a:lnTo>
                  <a:pt x="60" y="78"/>
                </a:lnTo>
                <a:lnTo>
                  <a:pt x="56" y="76"/>
                </a:lnTo>
                <a:lnTo>
                  <a:pt x="56" y="76"/>
                </a:lnTo>
                <a:lnTo>
                  <a:pt x="52" y="70"/>
                </a:lnTo>
                <a:lnTo>
                  <a:pt x="52" y="70"/>
                </a:lnTo>
                <a:lnTo>
                  <a:pt x="46" y="64"/>
                </a:lnTo>
                <a:lnTo>
                  <a:pt x="40" y="56"/>
                </a:lnTo>
                <a:lnTo>
                  <a:pt x="40" y="56"/>
                </a:lnTo>
                <a:lnTo>
                  <a:pt x="38" y="54"/>
                </a:lnTo>
                <a:lnTo>
                  <a:pt x="40" y="54"/>
                </a:lnTo>
                <a:lnTo>
                  <a:pt x="40" y="52"/>
                </a:lnTo>
                <a:lnTo>
                  <a:pt x="40" y="52"/>
                </a:lnTo>
                <a:lnTo>
                  <a:pt x="36" y="44"/>
                </a:lnTo>
                <a:lnTo>
                  <a:pt x="32" y="40"/>
                </a:lnTo>
                <a:lnTo>
                  <a:pt x="32" y="40"/>
                </a:lnTo>
                <a:lnTo>
                  <a:pt x="32" y="36"/>
                </a:lnTo>
                <a:lnTo>
                  <a:pt x="32" y="36"/>
                </a:lnTo>
                <a:lnTo>
                  <a:pt x="32" y="34"/>
                </a:lnTo>
                <a:lnTo>
                  <a:pt x="34" y="34"/>
                </a:lnTo>
                <a:lnTo>
                  <a:pt x="36" y="34"/>
                </a:lnTo>
                <a:lnTo>
                  <a:pt x="36" y="34"/>
                </a:lnTo>
                <a:lnTo>
                  <a:pt x="38" y="38"/>
                </a:lnTo>
                <a:lnTo>
                  <a:pt x="40" y="38"/>
                </a:lnTo>
                <a:lnTo>
                  <a:pt x="42" y="38"/>
                </a:lnTo>
                <a:lnTo>
                  <a:pt x="42" y="38"/>
                </a:lnTo>
                <a:lnTo>
                  <a:pt x="42" y="36"/>
                </a:lnTo>
                <a:lnTo>
                  <a:pt x="44" y="38"/>
                </a:lnTo>
                <a:lnTo>
                  <a:pt x="48" y="40"/>
                </a:lnTo>
                <a:lnTo>
                  <a:pt x="48" y="40"/>
                </a:lnTo>
                <a:lnTo>
                  <a:pt x="50" y="40"/>
                </a:lnTo>
                <a:lnTo>
                  <a:pt x="52" y="38"/>
                </a:lnTo>
                <a:lnTo>
                  <a:pt x="56" y="38"/>
                </a:lnTo>
                <a:lnTo>
                  <a:pt x="60" y="38"/>
                </a:lnTo>
                <a:lnTo>
                  <a:pt x="60" y="38"/>
                </a:lnTo>
                <a:lnTo>
                  <a:pt x="66" y="40"/>
                </a:lnTo>
                <a:lnTo>
                  <a:pt x="66" y="40"/>
                </a:lnTo>
                <a:lnTo>
                  <a:pt x="66" y="40"/>
                </a:lnTo>
                <a:lnTo>
                  <a:pt x="68" y="42"/>
                </a:lnTo>
                <a:lnTo>
                  <a:pt x="68" y="42"/>
                </a:lnTo>
                <a:lnTo>
                  <a:pt x="70" y="44"/>
                </a:lnTo>
                <a:lnTo>
                  <a:pt x="74" y="44"/>
                </a:lnTo>
                <a:lnTo>
                  <a:pt x="80" y="44"/>
                </a:lnTo>
                <a:lnTo>
                  <a:pt x="80" y="44"/>
                </a:lnTo>
                <a:lnTo>
                  <a:pt x="82" y="42"/>
                </a:lnTo>
                <a:lnTo>
                  <a:pt x="82" y="40"/>
                </a:lnTo>
                <a:lnTo>
                  <a:pt x="80" y="36"/>
                </a:lnTo>
                <a:lnTo>
                  <a:pt x="80" y="36"/>
                </a:lnTo>
                <a:lnTo>
                  <a:pt x="80" y="34"/>
                </a:lnTo>
                <a:lnTo>
                  <a:pt x="80" y="32"/>
                </a:lnTo>
                <a:lnTo>
                  <a:pt x="82" y="30"/>
                </a:lnTo>
                <a:lnTo>
                  <a:pt x="80" y="30"/>
                </a:lnTo>
                <a:lnTo>
                  <a:pt x="80" y="30"/>
                </a:lnTo>
                <a:lnTo>
                  <a:pt x="76" y="30"/>
                </a:lnTo>
                <a:lnTo>
                  <a:pt x="74" y="30"/>
                </a:lnTo>
                <a:lnTo>
                  <a:pt x="70" y="28"/>
                </a:lnTo>
                <a:lnTo>
                  <a:pt x="70" y="28"/>
                </a:lnTo>
                <a:lnTo>
                  <a:pt x="66" y="26"/>
                </a:lnTo>
                <a:lnTo>
                  <a:pt x="60" y="22"/>
                </a:lnTo>
                <a:lnTo>
                  <a:pt x="60" y="22"/>
                </a:lnTo>
                <a:lnTo>
                  <a:pt x="54" y="16"/>
                </a:lnTo>
                <a:lnTo>
                  <a:pt x="50" y="10"/>
                </a:lnTo>
                <a:lnTo>
                  <a:pt x="50" y="10"/>
                </a:lnTo>
                <a:lnTo>
                  <a:pt x="48" y="6"/>
                </a:lnTo>
                <a:lnTo>
                  <a:pt x="46" y="4"/>
                </a:lnTo>
                <a:lnTo>
                  <a:pt x="42" y="0"/>
                </a:lnTo>
                <a:lnTo>
                  <a:pt x="42" y="0"/>
                </a:lnTo>
                <a:lnTo>
                  <a:pt x="40" y="2"/>
                </a:lnTo>
                <a:lnTo>
                  <a:pt x="38" y="4"/>
                </a:lnTo>
                <a:lnTo>
                  <a:pt x="38" y="4"/>
                </a:lnTo>
                <a:lnTo>
                  <a:pt x="36" y="8"/>
                </a:lnTo>
                <a:lnTo>
                  <a:pt x="32" y="8"/>
                </a:lnTo>
                <a:lnTo>
                  <a:pt x="32" y="8"/>
                </a:lnTo>
                <a:lnTo>
                  <a:pt x="30" y="8"/>
                </a:lnTo>
                <a:lnTo>
                  <a:pt x="28" y="10"/>
                </a:lnTo>
                <a:lnTo>
                  <a:pt x="28" y="10"/>
                </a:lnTo>
                <a:lnTo>
                  <a:pt x="26" y="18"/>
                </a:lnTo>
                <a:lnTo>
                  <a:pt x="24" y="22"/>
                </a:lnTo>
                <a:lnTo>
                  <a:pt x="22" y="22"/>
                </a:lnTo>
                <a:lnTo>
                  <a:pt x="22" y="22"/>
                </a:lnTo>
                <a:lnTo>
                  <a:pt x="20" y="22"/>
                </a:lnTo>
                <a:lnTo>
                  <a:pt x="18" y="20"/>
                </a:lnTo>
                <a:lnTo>
                  <a:pt x="18" y="18"/>
                </a:lnTo>
                <a:lnTo>
                  <a:pt x="16" y="20"/>
                </a:lnTo>
                <a:lnTo>
                  <a:pt x="16" y="20"/>
                </a:lnTo>
                <a:lnTo>
                  <a:pt x="18" y="24"/>
                </a:lnTo>
                <a:lnTo>
                  <a:pt x="16" y="28"/>
                </a:lnTo>
                <a:lnTo>
                  <a:pt x="16" y="28"/>
                </a:lnTo>
                <a:lnTo>
                  <a:pt x="12" y="30"/>
                </a:lnTo>
                <a:lnTo>
                  <a:pt x="8" y="32"/>
                </a:lnTo>
                <a:lnTo>
                  <a:pt x="0" y="34"/>
                </a:lnTo>
                <a:lnTo>
                  <a:pt x="0" y="34"/>
                </a:lnTo>
                <a:lnTo>
                  <a:pt x="0" y="34"/>
                </a:lnTo>
                <a:lnTo>
                  <a:pt x="2" y="40"/>
                </a:lnTo>
                <a:lnTo>
                  <a:pt x="2" y="46"/>
                </a:lnTo>
                <a:lnTo>
                  <a:pt x="2" y="46"/>
                </a:lnTo>
                <a:lnTo>
                  <a:pt x="6" y="44"/>
                </a:lnTo>
                <a:lnTo>
                  <a:pt x="6" y="44"/>
                </a:lnTo>
                <a:lnTo>
                  <a:pt x="6" y="42"/>
                </a:lnTo>
                <a:lnTo>
                  <a:pt x="6" y="42"/>
                </a:lnTo>
                <a:lnTo>
                  <a:pt x="8" y="40"/>
                </a:lnTo>
                <a:lnTo>
                  <a:pt x="10" y="40"/>
                </a:lnTo>
                <a:lnTo>
                  <a:pt x="10" y="40"/>
                </a:lnTo>
                <a:lnTo>
                  <a:pt x="14" y="30"/>
                </a:lnTo>
                <a:lnTo>
                  <a:pt x="14" y="30"/>
                </a:lnTo>
                <a:lnTo>
                  <a:pt x="16" y="34"/>
                </a:lnTo>
                <a:lnTo>
                  <a:pt x="18" y="38"/>
                </a:lnTo>
                <a:lnTo>
                  <a:pt x="16" y="46"/>
                </a:lnTo>
                <a:lnTo>
                  <a:pt x="16" y="46"/>
                </a:lnTo>
                <a:lnTo>
                  <a:pt x="24" y="52"/>
                </a:lnTo>
                <a:lnTo>
                  <a:pt x="26" y="54"/>
                </a:lnTo>
                <a:lnTo>
                  <a:pt x="24" y="56"/>
                </a:lnTo>
                <a:lnTo>
                  <a:pt x="22" y="56"/>
                </a:lnTo>
                <a:lnTo>
                  <a:pt x="22" y="56"/>
                </a:lnTo>
                <a:lnTo>
                  <a:pt x="22" y="60"/>
                </a:lnTo>
                <a:lnTo>
                  <a:pt x="22" y="60"/>
                </a:lnTo>
                <a:lnTo>
                  <a:pt x="28" y="64"/>
                </a:lnTo>
                <a:lnTo>
                  <a:pt x="28" y="64"/>
                </a:lnTo>
                <a:lnTo>
                  <a:pt x="32" y="64"/>
                </a:lnTo>
                <a:lnTo>
                  <a:pt x="32" y="64"/>
                </a:lnTo>
                <a:lnTo>
                  <a:pt x="34" y="66"/>
                </a:lnTo>
                <a:lnTo>
                  <a:pt x="34" y="68"/>
                </a:lnTo>
                <a:lnTo>
                  <a:pt x="34" y="68"/>
                </a:lnTo>
                <a:lnTo>
                  <a:pt x="38" y="68"/>
                </a:lnTo>
                <a:lnTo>
                  <a:pt x="42" y="66"/>
                </a:lnTo>
                <a:lnTo>
                  <a:pt x="42" y="66"/>
                </a:lnTo>
                <a:lnTo>
                  <a:pt x="54" y="80"/>
                </a:lnTo>
                <a:lnTo>
                  <a:pt x="54" y="80"/>
                </a:lnTo>
                <a:lnTo>
                  <a:pt x="58" y="80"/>
                </a:lnTo>
                <a:lnTo>
                  <a:pt x="60" y="80"/>
                </a:lnTo>
                <a:lnTo>
                  <a:pt x="60" y="80"/>
                </a:lnTo>
                <a:lnTo>
                  <a:pt x="62" y="84"/>
                </a:lnTo>
                <a:lnTo>
                  <a:pt x="66" y="88"/>
                </a:lnTo>
                <a:lnTo>
                  <a:pt x="66" y="88"/>
                </a:lnTo>
                <a:lnTo>
                  <a:pt x="70" y="88"/>
                </a:lnTo>
                <a:lnTo>
                  <a:pt x="70" y="8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4" name="Freeform 490">
            <a:extLst>
              <a:ext uri="{FF2B5EF4-FFF2-40B4-BE49-F238E27FC236}">
                <a16:creationId xmlns:a16="http://schemas.microsoft.com/office/drawing/2014/main" id="{BD79E2A7-79DD-4280-9973-D1CEDC67D1A2}"/>
              </a:ext>
            </a:extLst>
          </p:cNvPr>
          <p:cNvSpPr>
            <a:spLocks/>
          </p:cNvSpPr>
          <p:nvPr userDrawn="1"/>
        </p:nvSpPr>
        <p:spPr bwMode="auto">
          <a:xfrm>
            <a:off x="6101419" y="3574256"/>
            <a:ext cx="168720" cy="240238"/>
          </a:xfrm>
          <a:custGeom>
            <a:avLst/>
            <a:gdLst>
              <a:gd name="T0" fmla="*/ 12 w 100"/>
              <a:gd name="T1" fmla="*/ 136 h 140"/>
              <a:gd name="T2" fmla="*/ 20 w 100"/>
              <a:gd name="T3" fmla="*/ 136 h 140"/>
              <a:gd name="T4" fmla="*/ 20 w 100"/>
              <a:gd name="T5" fmla="*/ 132 h 140"/>
              <a:gd name="T6" fmla="*/ 26 w 100"/>
              <a:gd name="T7" fmla="*/ 134 h 140"/>
              <a:gd name="T8" fmla="*/ 30 w 100"/>
              <a:gd name="T9" fmla="*/ 134 h 140"/>
              <a:gd name="T10" fmla="*/ 34 w 100"/>
              <a:gd name="T11" fmla="*/ 132 h 140"/>
              <a:gd name="T12" fmla="*/ 40 w 100"/>
              <a:gd name="T13" fmla="*/ 132 h 140"/>
              <a:gd name="T14" fmla="*/ 40 w 100"/>
              <a:gd name="T15" fmla="*/ 126 h 140"/>
              <a:gd name="T16" fmla="*/ 48 w 100"/>
              <a:gd name="T17" fmla="*/ 128 h 140"/>
              <a:gd name="T18" fmla="*/ 52 w 100"/>
              <a:gd name="T19" fmla="*/ 140 h 140"/>
              <a:gd name="T20" fmla="*/ 70 w 100"/>
              <a:gd name="T21" fmla="*/ 130 h 140"/>
              <a:gd name="T22" fmla="*/ 74 w 100"/>
              <a:gd name="T23" fmla="*/ 114 h 140"/>
              <a:gd name="T24" fmla="*/ 76 w 100"/>
              <a:gd name="T25" fmla="*/ 100 h 140"/>
              <a:gd name="T26" fmla="*/ 80 w 100"/>
              <a:gd name="T27" fmla="*/ 84 h 140"/>
              <a:gd name="T28" fmla="*/ 86 w 100"/>
              <a:gd name="T29" fmla="*/ 74 h 140"/>
              <a:gd name="T30" fmla="*/ 92 w 100"/>
              <a:gd name="T31" fmla="*/ 56 h 140"/>
              <a:gd name="T32" fmla="*/ 92 w 100"/>
              <a:gd name="T33" fmla="*/ 36 h 140"/>
              <a:gd name="T34" fmla="*/ 94 w 100"/>
              <a:gd name="T35" fmla="*/ 20 h 140"/>
              <a:gd name="T36" fmla="*/ 100 w 100"/>
              <a:gd name="T37" fmla="*/ 0 h 140"/>
              <a:gd name="T38" fmla="*/ 90 w 100"/>
              <a:gd name="T39" fmla="*/ 4 h 140"/>
              <a:gd name="T40" fmla="*/ 84 w 100"/>
              <a:gd name="T41" fmla="*/ 2 h 140"/>
              <a:gd name="T42" fmla="*/ 80 w 100"/>
              <a:gd name="T43" fmla="*/ 8 h 140"/>
              <a:gd name="T44" fmla="*/ 74 w 100"/>
              <a:gd name="T45" fmla="*/ 12 h 140"/>
              <a:gd name="T46" fmla="*/ 70 w 100"/>
              <a:gd name="T47" fmla="*/ 20 h 140"/>
              <a:gd name="T48" fmla="*/ 72 w 100"/>
              <a:gd name="T49" fmla="*/ 26 h 140"/>
              <a:gd name="T50" fmla="*/ 58 w 100"/>
              <a:gd name="T51" fmla="*/ 24 h 140"/>
              <a:gd name="T52" fmla="*/ 52 w 100"/>
              <a:gd name="T53" fmla="*/ 22 h 140"/>
              <a:gd name="T54" fmla="*/ 42 w 100"/>
              <a:gd name="T55" fmla="*/ 20 h 140"/>
              <a:gd name="T56" fmla="*/ 32 w 100"/>
              <a:gd name="T57" fmla="*/ 30 h 140"/>
              <a:gd name="T58" fmla="*/ 32 w 100"/>
              <a:gd name="T59" fmla="*/ 36 h 140"/>
              <a:gd name="T60" fmla="*/ 38 w 100"/>
              <a:gd name="T61" fmla="*/ 34 h 140"/>
              <a:gd name="T62" fmla="*/ 50 w 100"/>
              <a:gd name="T63" fmla="*/ 36 h 140"/>
              <a:gd name="T64" fmla="*/ 46 w 100"/>
              <a:gd name="T65" fmla="*/ 46 h 140"/>
              <a:gd name="T66" fmla="*/ 38 w 100"/>
              <a:gd name="T67" fmla="*/ 48 h 140"/>
              <a:gd name="T68" fmla="*/ 38 w 100"/>
              <a:gd name="T69" fmla="*/ 58 h 140"/>
              <a:gd name="T70" fmla="*/ 36 w 100"/>
              <a:gd name="T71" fmla="*/ 60 h 140"/>
              <a:gd name="T72" fmla="*/ 40 w 100"/>
              <a:gd name="T73" fmla="*/ 62 h 140"/>
              <a:gd name="T74" fmla="*/ 42 w 100"/>
              <a:gd name="T75" fmla="*/ 70 h 140"/>
              <a:gd name="T76" fmla="*/ 42 w 100"/>
              <a:gd name="T77" fmla="*/ 78 h 140"/>
              <a:gd name="T78" fmla="*/ 44 w 100"/>
              <a:gd name="T79" fmla="*/ 84 h 140"/>
              <a:gd name="T80" fmla="*/ 42 w 100"/>
              <a:gd name="T81" fmla="*/ 88 h 140"/>
              <a:gd name="T82" fmla="*/ 46 w 100"/>
              <a:gd name="T83" fmla="*/ 96 h 140"/>
              <a:gd name="T84" fmla="*/ 44 w 100"/>
              <a:gd name="T85" fmla="*/ 104 h 140"/>
              <a:gd name="T86" fmla="*/ 38 w 100"/>
              <a:gd name="T87" fmla="*/ 98 h 140"/>
              <a:gd name="T88" fmla="*/ 36 w 100"/>
              <a:gd name="T89" fmla="*/ 96 h 140"/>
              <a:gd name="T90" fmla="*/ 26 w 100"/>
              <a:gd name="T91" fmla="*/ 98 h 140"/>
              <a:gd name="T92" fmla="*/ 22 w 100"/>
              <a:gd name="T93" fmla="*/ 94 h 140"/>
              <a:gd name="T94" fmla="*/ 22 w 100"/>
              <a:gd name="T95" fmla="*/ 98 h 140"/>
              <a:gd name="T96" fmla="*/ 14 w 100"/>
              <a:gd name="T97" fmla="*/ 98 h 140"/>
              <a:gd name="T98" fmla="*/ 12 w 100"/>
              <a:gd name="T99" fmla="*/ 102 h 140"/>
              <a:gd name="T100" fmla="*/ 12 w 100"/>
              <a:gd name="T101" fmla="*/ 106 h 140"/>
              <a:gd name="T102" fmla="*/ 14 w 100"/>
              <a:gd name="T103" fmla="*/ 116 h 140"/>
              <a:gd name="T104" fmla="*/ 14 w 100"/>
              <a:gd name="T105" fmla="*/ 122 h 140"/>
              <a:gd name="T106" fmla="*/ 8 w 100"/>
              <a:gd name="T107" fmla="*/ 120 h 140"/>
              <a:gd name="T108" fmla="*/ 2 w 100"/>
              <a:gd name="T109" fmla="*/ 120 h 140"/>
              <a:gd name="T110" fmla="*/ 0 w 100"/>
              <a:gd name="T111" fmla="*/ 128 h 140"/>
              <a:gd name="T112" fmla="*/ 6 w 100"/>
              <a:gd name="T113" fmla="*/ 134 h 140"/>
              <a:gd name="T114" fmla="*/ 8 w 100"/>
              <a:gd name="T115" fmla="*/ 13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140">
                <a:moveTo>
                  <a:pt x="12" y="138"/>
                </a:moveTo>
                <a:lnTo>
                  <a:pt x="12" y="138"/>
                </a:lnTo>
                <a:lnTo>
                  <a:pt x="12" y="136"/>
                </a:lnTo>
                <a:lnTo>
                  <a:pt x="16" y="136"/>
                </a:lnTo>
                <a:lnTo>
                  <a:pt x="16" y="136"/>
                </a:lnTo>
                <a:lnTo>
                  <a:pt x="20" y="136"/>
                </a:lnTo>
                <a:lnTo>
                  <a:pt x="18" y="134"/>
                </a:lnTo>
                <a:lnTo>
                  <a:pt x="20" y="132"/>
                </a:lnTo>
                <a:lnTo>
                  <a:pt x="20" y="132"/>
                </a:lnTo>
                <a:lnTo>
                  <a:pt x="22" y="132"/>
                </a:lnTo>
                <a:lnTo>
                  <a:pt x="24" y="132"/>
                </a:lnTo>
                <a:lnTo>
                  <a:pt x="26" y="134"/>
                </a:lnTo>
                <a:lnTo>
                  <a:pt x="26" y="134"/>
                </a:lnTo>
                <a:lnTo>
                  <a:pt x="28" y="134"/>
                </a:lnTo>
                <a:lnTo>
                  <a:pt x="30" y="134"/>
                </a:lnTo>
                <a:lnTo>
                  <a:pt x="30" y="134"/>
                </a:lnTo>
                <a:lnTo>
                  <a:pt x="32" y="132"/>
                </a:lnTo>
                <a:lnTo>
                  <a:pt x="34" y="132"/>
                </a:lnTo>
                <a:lnTo>
                  <a:pt x="38" y="134"/>
                </a:lnTo>
                <a:lnTo>
                  <a:pt x="38" y="134"/>
                </a:lnTo>
                <a:lnTo>
                  <a:pt x="40" y="132"/>
                </a:lnTo>
                <a:lnTo>
                  <a:pt x="40" y="130"/>
                </a:lnTo>
                <a:lnTo>
                  <a:pt x="40" y="126"/>
                </a:lnTo>
                <a:lnTo>
                  <a:pt x="40" y="126"/>
                </a:lnTo>
                <a:lnTo>
                  <a:pt x="44" y="128"/>
                </a:lnTo>
                <a:lnTo>
                  <a:pt x="44" y="128"/>
                </a:lnTo>
                <a:lnTo>
                  <a:pt x="48" y="128"/>
                </a:lnTo>
                <a:lnTo>
                  <a:pt x="50" y="126"/>
                </a:lnTo>
                <a:lnTo>
                  <a:pt x="50" y="136"/>
                </a:lnTo>
                <a:lnTo>
                  <a:pt x="52" y="140"/>
                </a:lnTo>
                <a:lnTo>
                  <a:pt x="56" y="138"/>
                </a:lnTo>
                <a:lnTo>
                  <a:pt x="64" y="136"/>
                </a:lnTo>
                <a:lnTo>
                  <a:pt x="70" y="130"/>
                </a:lnTo>
                <a:lnTo>
                  <a:pt x="70" y="126"/>
                </a:lnTo>
                <a:lnTo>
                  <a:pt x="74" y="120"/>
                </a:lnTo>
                <a:lnTo>
                  <a:pt x="74" y="114"/>
                </a:lnTo>
                <a:lnTo>
                  <a:pt x="76" y="110"/>
                </a:lnTo>
                <a:lnTo>
                  <a:pt x="76" y="106"/>
                </a:lnTo>
                <a:lnTo>
                  <a:pt x="76" y="100"/>
                </a:lnTo>
                <a:lnTo>
                  <a:pt x="78" y="96"/>
                </a:lnTo>
                <a:lnTo>
                  <a:pt x="80" y="90"/>
                </a:lnTo>
                <a:lnTo>
                  <a:pt x="80" y="84"/>
                </a:lnTo>
                <a:lnTo>
                  <a:pt x="84" y="80"/>
                </a:lnTo>
                <a:lnTo>
                  <a:pt x="84" y="82"/>
                </a:lnTo>
                <a:lnTo>
                  <a:pt x="86" y="74"/>
                </a:lnTo>
                <a:lnTo>
                  <a:pt x="86" y="68"/>
                </a:lnTo>
                <a:lnTo>
                  <a:pt x="90" y="62"/>
                </a:lnTo>
                <a:lnTo>
                  <a:pt x="92" y="56"/>
                </a:lnTo>
                <a:lnTo>
                  <a:pt x="92" y="48"/>
                </a:lnTo>
                <a:lnTo>
                  <a:pt x="92" y="42"/>
                </a:lnTo>
                <a:lnTo>
                  <a:pt x="92" y="36"/>
                </a:lnTo>
                <a:lnTo>
                  <a:pt x="92" y="30"/>
                </a:lnTo>
                <a:lnTo>
                  <a:pt x="94" y="24"/>
                </a:lnTo>
                <a:lnTo>
                  <a:pt x="94" y="20"/>
                </a:lnTo>
                <a:lnTo>
                  <a:pt x="98" y="16"/>
                </a:lnTo>
                <a:lnTo>
                  <a:pt x="100" y="10"/>
                </a:lnTo>
                <a:lnTo>
                  <a:pt x="100" y="0"/>
                </a:lnTo>
                <a:lnTo>
                  <a:pt x="100" y="0"/>
                </a:lnTo>
                <a:lnTo>
                  <a:pt x="90" y="4"/>
                </a:lnTo>
                <a:lnTo>
                  <a:pt x="90" y="4"/>
                </a:lnTo>
                <a:lnTo>
                  <a:pt x="88" y="4"/>
                </a:lnTo>
                <a:lnTo>
                  <a:pt x="84" y="2"/>
                </a:lnTo>
                <a:lnTo>
                  <a:pt x="84" y="2"/>
                </a:lnTo>
                <a:lnTo>
                  <a:pt x="80" y="4"/>
                </a:lnTo>
                <a:lnTo>
                  <a:pt x="80" y="8"/>
                </a:lnTo>
                <a:lnTo>
                  <a:pt x="80" y="8"/>
                </a:lnTo>
                <a:lnTo>
                  <a:pt x="78" y="10"/>
                </a:lnTo>
                <a:lnTo>
                  <a:pt x="76" y="12"/>
                </a:lnTo>
                <a:lnTo>
                  <a:pt x="74" y="12"/>
                </a:lnTo>
                <a:lnTo>
                  <a:pt x="74" y="12"/>
                </a:lnTo>
                <a:lnTo>
                  <a:pt x="72" y="14"/>
                </a:lnTo>
                <a:lnTo>
                  <a:pt x="70" y="20"/>
                </a:lnTo>
                <a:lnTo>
                  <a:pt x="70" y="20"/>
                </a:lnTo>
                <a:lnTo>
                  <a:pt x="72" y="26"/>
                </a:lnTo>
                <a:lnTo>
                  <a:pt x="72" y="26"/>
                </a:lnTo>
                <a:lnTo>
                  <a:pt x="66" y="24"/>
                </a:lnTo>
                <a:lnTo>
                  <a:pt x="66" y="24"/>
                </a:lnTo>
                <a:lnTo>
                  <a:pt x="58" y="24"/>
                </a:lnTo>
                <a:lnTo>
                  <a:pt x="58" y="24"/>
                </a:lnTo>
                <a:lnTo>
                  <a:pt x="54" y="24"/>
                </a:lnTo>
                <a:lnTo>
                  <a:pt x="52" y="22"/>
                </a:lnTo>
                <a:lnTo>
                  <a:pt x="52" y="22"/>
                </a:lnTo>
                <a:lnTo>
                  <a:pt x="48" y="20"/>
                </a:lnTo>
                <a:lnTo>
                  <a:pt x="42" y="20"/>
                </a:lnTo>
                <a:lnTo>
                  <a:pt x="32" y="20"/>
                </a:lnTo>
                <a:lnTo>
                  <a:pt x="32" y="20"/>
                </a:lnTo>
                <a:lnTo>
                  <a:pt x="32" y="30"/>
                </a:lnTo>
                <a:lnTo>
                  <a:pt x="32" y="30"/>
                </a:lnTo>
                <a:lnTo>
                  <a:pt x="32" y="34"/>
                </a:lnTo>
                <a:lnTo>
                  <a:pt x="32" y="36"/>
                </a:lnTo>
                <a:lnTo>
                  <a:pt x="34" y="36"/>
                </a:lnTo>
                <a:lnTo>
                  <a:pt x="34" y="36"/>
                </a:lnTo>
                <a:lnTo>
                  <a:pt x="38" y="34"/>
                </a:lnTo>
                <a:lnTo>
                  <a:pt x="42" y="34"/>
                </a:lnTo>
                <a:lnTo>
                  <a:pt x="42" y="34"/>
                </a:lnTo>
                <a:lnTo>
                  <a:pt x="50" y="36"/>
                </a:lnTo>
                <a:lnTo>
                  <a:pt x="48" y="46"/>
                </a:lnTo>
                <a:lnTo>
                  <a:pt x="48" y="46"/>
                </a:lnTo>
                <a:lnTo>
                  <a:pt x="46" y="46"/>
                </a:lnTo>
                <a:lnTo>
                  <a:pt x="42" y="46"/>
                </a:lnTo>
                <a:lnTo>
                  <a:pt x="42" y="46"/>
                </a:lnTo>
                <a:lnTo>
                  <a:pt x="38" y="48"/>
                </a:lnTo>
                <a:lnTo>
                  <a:pt x="36" y="52"/>
                </a:lnTo>
                <a:lnTo>
                  <a:pt x="36" y="52"/>
                </a:lnTo>
                <a:lnTo>
                  <a:pt x="38" y="58"/>
                </a:lnTo>
                <a:lnTo>
                  <a:pt x="38" y="58"/>
                </a:lnTo>
                <a:lnTo>
                  <a:pt x="36" y="58"/>
                </a:lnTo>
                <a:lnTo>
                  <a:pt x="36" y="60"/>
                </a:lnTo>
                <a:lnTo>
                  <a:pt x="36" y="60"/>
                </a:lnTo>
                <a:lnTo>
                  <a:pt x="36" y="60"/>
                </a:lnTo>
                <a:lnTo>
                  <a:pt x="40" y="62"/>
                </a:lnTo>
                <a:lnTo>
                  <a:pt x="42" y="66"/>
                </a:lnTo>
                <a:lnTo>
                  <a:pt x="42" y="66"/>
                </a:lnTo>
                <a:lnTo>
                  <a:pt x="42" y="70"/>
                </a:lnTo>
                <a:lnTo>
                  <a:pt x="42" y="74"/>
                </a:lnTo>
                <a:lnTo>
                  <a:pt x="42" y="74"/>
                </a:lnTo>
                <a:lnTo>
                  <a:pt x="42" y="78"/>
                </a:lnTo>
                <a:lnTo>
                  <a:pt x="44" y="80"/>
                </a:lnTo>
                <a:lnTo>
                  <a:pt x="44" y="80"/>
                </a:lnTo>
                <a:lnTo>
                  <a:pt x="44" y="84"/>
                </a:lnTo>
                <a:lnTo>
                  <a:pt x="42" y="86"/>
                </a:lnTo>
                <a:lnTo>
                  <a:pt x="42" y="86"/>
                </a:lnTo>
                <a:lnTo>
                  <a:pt x="42" y="88"/>
                </a:lnTo>
                <a:lnTo>
                  <a:pt x="42" y="88"/>
                </a:lnTo>
                <a:lnTo>
                  <a:pt x="46" y="90"/>
                </a:lnTo>
                <a:lnTo>
                  <a:pt x="46" y="96"/>
                </a:lnTo>
                <a:lnTo>
                  <a:pt x="46" y="96"/>
                </a:lnTo>
                <a:lnTo>
                  <a:pt x="44" y="102"/>
                </a:lnTo>
                <a:lnTo>
                  <a:pt x="44" y="104"/>
                </a:lnTo>
                <a:lnTo>
                  <a:pt x="42" y="102"/>
                </a:lnTo>
                <a:lnTo>
                  <a:pt x="42" y="102"/>
                </a:lnTo>
                <a:lnTo>
                  <a:pt x="38" y="98"/>
                </a:lnTo>
                <a:lnTo>
                  <a:pt x="38" y="96"/>
                </a:lnTo>
                <a:lnTo>
                  <a:pt x="36" y="96"/>
                </a:lnTo>
                <a:lnTo>
                  <a:pt x="36" y="96"/>
                </a:lnTo>
                <a:lnTo>
                  <a:pt x="30" y="96"/>
                </a:lnTo>
                <a:lnTo>
                  <a:pt x="26" y="98"/>
                </a:lnTo>
                <a:lnTo>
                  <a:pt x="26" y="98"/>
                </a:lnTo>
                <a:lnTo>
                  <a:pt x="26" y="96"/>
                </a:lnTo>
                <a:lnTo>
                  <a:pt x="22" y="94"/>
                </a:lnTo>
                <a:lnTo>
                  <a:pt x="22" y="94"/>
                </a:lnTo>
                <a:lnTo>
                  <a:pt x="20" y="94"/>
                </a:lnTo>
                <a:lnTo>
                  <a:pt x="20" y="94"/>
                </a:lnTo>
                <a:lnTo>
                  <a:pt x="22" y="98"/>
                </a:lnTo>
                <a:lnTo>
                  <a:pt x="20" y="98"/>
                </a:lnTo>
                <a:lnTo>
                  <a:pt x="20" y="98"/>
                </a:lnTo>
                <a:lnTo>
                  <a:pt x="14" y="98"/>
                </a:lnTo>
                <a:lnTo>
                  <a:pt x="12" y="98"/>
                </a:lnTo>
                <a:lnTo>
                  <a:pt x="12" y="102"/>
                </a:lnTo>
                <a:lnTo>
                  <a:pt x="12" y="102"/>
                </a:lnTo>
                <a:lnTo>
                  <a:pt x="14" y="104"/>
                </a:lnTo>
                <a:lnTo>
                  <a:pt x="12" y="106"/>
                </a:lnTo>
                <a:lnTo>
                  <a:pt x="12" y="106"/>
                </a:lnTo>
                <a:lnTo>
                  <a:pt x="12" y="108"/>
                </a:lnTo>
                <a:lnTo>
                  <a:pt x="12" y="110"/>
                </a:lnTo>
                <a:lnTo>
                  <a:pt x="14" y="116"/>
                </a:lnTo>
                <a:lnTo>
                  <a:pt x="14" y="116"/>
                </a:lnTo>
                <a:lnTo>
                  <a:pt x="16" y="120"/>
                </a:lnTo>
                <a:lnTo>
                  <a:pt x="14" y="122"/>
                </a:lnTo>
                <a:lnTo>
                  <a:pt x="12" y="122"/>
                </a:lnTo>
                <a:lnTo>
                  <a:pt x="12" y="122"/>
                </a:lnTo>
                <a:lnTo>
                  <a:pt x="8" y="120"/>
                </a:lnTo>
                <a:lnTo>
                  <a:pt x="4" y="118"/>
                </a:lnTo>
                <a:lnTo>
                  <a:pt x="4" y="118"/>
                </a:lnTo>
                <a:lnTo>
                  <a:pt x="2" y="120"/>
                </a:lnTo>
                <a:lnTo>
                  <a:pt x="0" y="124"/>
                </a:lnTo>
                <a:lnTo>
                  <a:pt x="0" y="128"/>
                </a:lnTo>
                <a:lnTo>
                  <a:pt x="0" y="128"/>
                </a:lnTo>
                <a:lnTo>
                  <a:pt x="2" y="130"/>
                </a:lnTo>
                <a:lnTo>
                  <a:pt x="6" y="132"/>
                </a:lnTo>
                <a:lnTo>
                  <a:pt x="6" y="134"/>
                </a:lnTo>
                <a:lnTo>
                  <a:pt x="8" y="134"/>
                </a:lnTo>
                <a:lnTo>
                  <a:pt x="8" y="134"/>
                </a:lnTo>
                <a:lnTo>
                  <a:pt x="8" y="138"/>
                </a:lnTo>
                <a:lnTo>
                  <a:pt x="12" y="1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5" name="Freeform 211">
            <a:extLst>
              <a:ext uri="{FF2B5EF4-FFF2-40B4-BE49-F238E27FC236}">
                <a16:creationId xmlns:a16="http://schemas.microsoft.com/office/drawing/2014/main" id="{79EC9924-E153-4EBB-99C7-9F8A6453819F}"/>
              </a:ext>
            </a:extLst>
          </p:cNvPr>
          <p:cNvSpPr>
            <a:spLocks/>
          </p:cNvSpPr>
          <p:nvPr userDrawn="1"/>
        </p:nvSpPr>
        <p:spPr bwMode="auto">
          <a:xfrm>
            <a:off x="8543991" y="2774607"/>
            <a:ext cx="9287" cy="13728"/>
          </a:xfrm>
          <a:custGeom>
            <a:avLst/>
            <a:gdLst>
              <a:gd name="T0" fmla="*/ 4 w 6"/>
              <a:gd name="T1" fmla="*/ 0 h 8"/>
              <a:gd name="T2" fmla="*/ 6 w 6"/>
              <a:gd name="T3" fmla="*/ 0 h 8"/>
              <a:gd name="T4" fmla="*/ 6 w 6"/>
              <a:gd name="T5" fmla="*/ 0 h 8"/>
              <a:gd name="T6" fmla="*/ 6 w 6"/>
              <a:gd name="T7" fmla="*/ 4 h 8"/>
              <a:gd name="T8" fmla="*/ 6 w 6"/>
              <a:gd name="T9" fmla="*/ 8 h 8"/>
              <a:gd name="T10" fmla="*/ 6 w 6"/>
              <a:gd name="T11" fmla="*/ 8 h 8"/>
              <a:gd name="T12" fmla="*/ 4 w 6"/>
              <a:gd name="T13" fmla="*/ 8 h 8"/>
              <a:gd name="T14" fmla="*/ 2 w 6"/>
              <a:gd name="T15" fmla="*/ 8 h 8"/>
              <a:gd name="T16" fmla="*/ 2 w 6"/>
              <a:gd name="T17" fmla="*/ 6 h 8"/>
              <a:gd name="T18" fmla="*/ 2 w 6"/>
              <a:gd name="T19" fmla="*/ 6 h 8"/>
              <a:gd name="T20" fmla="*/ 2 w 6"/>
              <a:gd name="T21" fmla="*/ 6 h 8"/>
              <a:gd name="T22" fmla="*/ 0 w 6"/>
              <a:gd name="T23" fmla="*/ 6 h 8"/>
              <a:gd name="T24" fmla="*/ 0 w 6"/>
              <a:gd name="T25" fmla="*/ 6 h 8"/>
              <a:gd name="T26" fmla="*/ 0 w 6"/>
              <a:gd name="T27" fmla="*/ 2 h 8"/>
              <a:gd name="T28" fmla="*/ 0 w 6"/>
              <a:gd name="T29" fmla="*/ 2 h 8"/>
              <a:gd name="T30" fmla="*/ 4 w 6"/>
              <a:gd name="T31" fmla="*/ 0 h 8"/>
              <a:gd name="T32" fmla="*/ 4 w 6"/>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8">
                <a:moveTo>
                  <a:pt x="4" y="0"/>
                </a:moveTo>
                <a:lnTo>
                  <a:pt x="6" y="0"/>
                </a:lnTo>
                <a:lnTo>
                  <a:pt x="6" y="0"/>
                </a:lnTo>
                <a:lnTo>
                  <a:pt x="6" y="4"/>
                </a:lnTo>
                <a:lnTo>
                  <a:pt x="6" y="8"/>
                </a:lnTo>
                <a:lnTo>
                  <a:pt x="6" y="8"/>
                </a:lnTo>
                <a:lnTo>
                  <a:pt x="4" y="8"/>
                </a:lnTo>
                <a:lnTo>
                  <a:pt x="2" y="8"/>
                </a:lnTo>
                <a:lnTo>
                  <a:pt x="2" y="6"/>
                </a:lnTo>
                <a:lnTo>
                  <a:pt x="2" y="6"/>
                </a:lnTo>
                <a:lnTo>
                  <a:pt x="2" y="6"/>
                </a:lnTo>
                <a:lnTo>
                  <a:pt x="0" y="6"/>
                </a:lnTo>
                <a:lnTo>
                  <a:pt x="0" y="6"/>
                </a:lnTo>
                <a:lnTo>
                  <a:pt x="0" y="2"/>
                </a:lnTo>
                <a:lnTo>
                  <a:pt x="0" y="2"/>
                </a:lnTo>
                <a:lnTo>
                  <a:pt x="4" y="0"/>
                </a:lnTo>
                <a:lnTo>
                  <a:pt x="4"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6" name="Freeform 212">
            <a:extLst>
              <a:ext uri="{FF2B5EF4-FFF2-40B4-BE49-F238E27FC236}">
                <a16:creationId xmlns:a16="http://schemas.microsoft.com/office/drawing/2014/main" id="{E9EB5D36-E7AC-4D46-9F2B-125ADF78F24C}"/>
              </a:ext>
            </a:extLst>
          </p:cNvPr>
          <p:cNvSpPr>
            <a:spLocks noEditPoints="1"/>
          </p:cNvSpPr>
          <p:nvPr userDrawn="1"/>
        </p:nvSpPr>
        <p:spPr bwMode="auto">
          <a:xfrm>
            <a:off x="7489877" y="2050460"/>
            <a:ext cx="1382267" cy="1129119"/>
          </a:xfrm>
          <a:custGeom>
            <a:avLst/>
            <a:gdLst>
              <a:gd name="T0" fmla="*/ 480 w 824"/>
              <a:gd name="T1" fmla="*/ 634 h 658"/>
              <a:gd name="T2" fmla="*/ 498 w 824"/>
              <a:gd name="T3" fmla="*/ 654 h 658"/>
              <a:gd name="T4" fmla="*/ 510 w 824"/>
              <a:gd name="T5" fmla="*/ 630 h 658"/>
              <a:gd name="T6" fmla="*/ 646 w 824"/>
              <a:gd name="T7" fmla="*/ 412 h 658"/>
              <a:gd name="T8" fmla="*/ 620 w 824"/>
              <a:gd name="T9" fmla="*/ 354 h 658"/>
              <a:gd name="T10" fmla="*/ 644 w 824"/>
              <a:gd name="T11" fmla="*/ 330 h 658"/>
              <a:gd name="T12" fmla="*/ 662 w 824"/>
              <a:gd name="T13" fmla="*/ 322 h 658"/>
              <a:gd name="T14" fmla="*/ 644 w 824"/>
              <a:gd name="T15" fmla="*/ 308 h 658"/>
              <a:gd name="T16" fmla="*/ 614 w 824"/>
              <a:gd name="T17" fmla="*/ 320 h 658"/>
              <a:gd name="T18" fmla="*/ 596 w 824"/>
              <a:gd name="T19" fmla="*/ 292 h 658"/>
              <a:gd name="T20" fmla="*/ 628 w 824"/>
              <a:gd name="T21" fmla="*/ 268 h 658"/>
              <a:gd name="T22" fmla="*/ 662 w 824"/>
              <a:gd name="T23" fmla="*/ 252 h 658"/>
              <a:gd name="T24" fmla="*/ 648 w 824"/>
              <a:gd name="T25" fmla="*/ 288 h 658"/>
              <a:gd name="T26" fmla="*/ 680 w 824"/>
              <a:gd name="T27" fmla="*/ 268 h 658"/>
              <a:gd name="T28" fmla="*/ 708 w 824"/>
              <a:gd name="T29" fmla="*/ 246 h 658"/>
              <a:gd name="T30" fmla="*/ 756 w 824"/>
              <a:gd name="T31" fmla="*/ 212 h 658"/>
              <a:gd name="T32" fmla="*/ 786 w 824"/>
              <a:gd name="T33" fmla="*/ 166 h 658"/>
              <a:gd name="T34" fmla="*/ 814 w 824"/>
              <a:gd name="T35" fmla="*/ 148 h 658"/>
              <a:gd name="T36" fmla="*/ 798 w 824"/>
              <a:gd name="T37" fmla="*/ 112 h 658"/>
              <a:gd name="T38" fmla="*/ 746 w 824"/>
              <a:gd name="T39" fmla="*/ 72 h 658"/>
              <a:gd name="T40" fmla="*/ 682 w 824"/>
              <a:gd name="T41" fmla="*/ 6 h 658"/>
              <a:gd name="T42" fmla="*/ 636 w 824"/>
              <a:gd name="T43" fmla="*/ 38 h 658"/>
              <a:gd name="T44" fmla="*/ 610 w 824"/>
              <a:gd name="T45" fmla="*/ 78 h 658"/>
              <a:gd name="T46" fmla="*/ 582 w 824"/>
              <a:gd name="T47" fmla="*/ 120 h 658"/>
              <a:gd name="T48" fmla="*/ 614 w 824"/>
              <a:gd name="T49" fmla="*/ 138 h 658"/>
              <a:gd name="T50" fmla="*/ 530 w 824"/>
              <a:gd name="T51" fmla="*/ 176 h 658"/>
              <a:gd name="T52" fmla="*/ 458 w 824"/>
              <a:gd name="T53" fmla="*/ 220 h 658"/>
              <a:gd name="T54" fmla="*/ 334 w 824"/>
              <a:gd name="T55" fmla="*/ 218 h 658"/>
              <a:gd name="T56" fmla="*/ 254 w 824"/>
              <a:gd name="T57" fmla="*/ 162 h 658"/>
              <a:gd name="T58" fmla="*/ 208 w 824"/>
              <a:gd name="T59" fmla="*/ 86 h 658"/>
              <a:gd name="T60" fmla="*/ 124 w 824"/>
              <a:gd name="T61" fmla="*/ 150 h 658"/>
              <a:gd name="T62" fmla="*/ 96 w 824"/>
              <a:gd name="T63" fmla="*/ 218 h 658"/>
              <a:gd name="T64" fmla="*/ 68 w 824"/>
              <a:gd name="T65" fmla="*/ 240 h 658"/>
              <a:gd name="T66" fmla="*/ 34 w 824"/>
              <a:gd name="T67" fmla="*/ 262 h 658"/>
              <a:gd name="T68" fmla="*/ 10 w 824"/>
              <a:gd name="T69" fmla="*/ 268 h 658"/>
              <a:gd name="T70" fmla="*/ 14 w 824"/>
              <a:gd name="T71" fmla="*/ 298 h 658"/>
              <a:gd name="T72" fmla="*/ 64 w 824"/>
              <a:gd name="T73" fmla="*/ 338 h 658"/>
              <a:gd name="T74" fmla="*/ 72 w 824"/>
              <a:gd name="T75" fmla="*/ 390 h 658"/>
              <a:gd name="T76" fmla="*/ 104 w 824"/>
              <a:gd name="T77" fmla="*/ 444 h 658"/>
              <a:gd name="T78" fmla="*/ 170 w 824"/>
              <a:gd name="T79" fmla="*/ 482 h 658"/>
              <a:gd name="T80" fmla="*/ 258 w 824"/>
              <a:gd name="T81" fmla="*/ 484 h 658"/>
              <a:gd name="T82" fmla="*/ 322 w 824"/>
              <a:gd name="T83" fmla="*/ 488 h 658"/>
              <a:gd name="T84" fmla="*/ 332 w 824"/>
              <a:gd name="T85" fmla="*/ 546 h 658"/>
              <a:gd name="T86" fmla="*/ 358 w 824"/>
              <a:gd name="T87" fmla="*/ 574 h 658"/>
              <a:gd name="T88" fmla="*/ 388 w 824"/>
              <a:gd name="T89" fmla="*/ 578 h 658"/>
              <a:gd name="T90" fmla="*/ 460 w 824"/>
              <a:gd name="T91" fmla="*/ 596 h 658"/>
              <a:gd name="T92" fmla="*/ 488 w 824"/>
              <a:gd name="T93" fmla="*/ 598 h 658"/>
              <a:gd name="T94" fmla="*/ 496 w 824"/>
              <a:gd name="T95" fmla="*/ 608 h 658"/>
              <a:gd name="T96" fmla="*/ 516 w 824"/>
              <a:gd name="T97" fmla="*/ 594 h 658"/>
              <a:gd name="T98" fmla="*/ 544 w 824"/>
              <a:gd name="T99" fmla="*/ 578 h 658"/>
              <a:gd name="T100" fmla="*/ 556 w 824"/>
              <a:gd name="T101" fmla="*/ 578 h 658"/>
              <a:gd name="T102" fmla="*/ 580 w 824"/>
              <a:gd name="T103" fmla="*/ 572 h 658"/>
              <a:gd name="T104" fmla="*/ 594 w 824"/>
              <a:gd name="T105" fmla="*/ 556 h 658"/>
              <a:gd name="T106" fmla="*/ 616 w 824"/>
              <a:gd name="T107" fmla="*/ 538 h 658"/>
              <a:gd name="T108" fmla="*/ 624 w 824"/>
              <a:gd name="T109" fmla="*/ 528 h 658"/>
              <a:gd name="T110" fmla="*/ 628 w 824"/>
              <a:gd name="T111" fmla="*/ 502 h 658"/>
              <a:gd name="T112" fmla="*/ 640 w 824"/>
              <a:gd name="T113" fmla="*/ 484 h 658"/>
              <a:gd name="T114" fmla="*/ 646 w 824"/>
              <a:gd name="T115" fmla="*/ 472 h 658"/>
              <a:gd name="T116" fmla="*/ 660 w 824"/>
              <a:gd name="T117" fmla="*/ 450 h 658"/>
              <a:gd name="T118" fmla="*/ 640 w 824"/>
              <a:gd name="T119" fmla="*/ 4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4" h="658">
                <a:moveTo>
                  <a:pt x="506" y="624"/>
                </a:moveTo>
                <a:lnTo>
                  <a:pt x="506" y="624"/>
                </a:lnTo>
                <a:lnTo>
                  <a:pt x="498" y="626"/>
                </a:lnTo>
                <a:lnTo>
                  <a:pt x="492" y="628"/>
                </a:lnTo>
                <a:lnTo>
                  <a:pt x="492" y="628"/>
                </a:lnTo>
                <a:lnTo>
                  <a:pt x="488" y="628"/>
                </a:lnTo>
                <a:lnTo>
                  <a:pt x="484" y="630"/>
                </a:lnTo>
                <a:lnTo>
                  <a:pt x="484" y="630"/>
                </a:lnTo>
                <a:lnTo>
                  <a:pt x="484" y="632"/>
                </a:lnTo>
                <a:lnTo>
                  <a:pt x="484" y="634"/>
                </a:lnTo>
                <a:lnTo>
                  <a:pt x="484" y="634"/>
                </a:lnTo>
                <a:lnTo>
                  <a:pt x="482" y="634"/>
                </a:lnTo>
                <a:lnTo>
                  <a:pt x="480" y="634"/>
                </a:lnTo>
                <a:lnTo>
                  <a:pt x="480" y="634"/>
                </a:lnTo>
                <a:lnTo>
                  <a:pt x="474" y="638"/>
                </a:lnTo>
                <a:lnTo>
                  <a:pt x="474" y="638"/>
                </a:lnTo>
                <a:lnTo>
                  <a:pt x="474" y="646"/>
                </a:lnTo>
                <a:lnTo>
                  <a:pt x="476" y="652"/>
                </a:lnTo>
                <a:lnTo>
                  <a:pt x="476" y="652"/>
                </a:lnTo>
                <a:lnTo>
                  <a:pt x="478" y="652"/>
                </a:lnTo>
                <a:lnTo>
                  <a:pt x="482" y="654"/>
                </a:lnTo>
                <a:lnTo>
                  <a:pt x="482" y="654"/>
                </a:lnTo>
                <a:lnTo>
                  <a:pt x="488" y="658"/>
                </a:lnTo>
                <a:lnTo>
                  <a:pt x="488" y="658"/>
                </a:lnTo>
                <a:lnTo>
                  <a:pt x="498" y="654"/>
                </a:lnTo>
                <a:lnTo>
                  <a:pt x="498" y="654"/>
                </a:lnTo>
                <a:lnTo>
                  <a:pt x="498" y="650"/>
                </a:lnTo>
                <a:lnTo>
                  <a:pt x="498" y="650"/>
                </a:lnTo>
                <a:lnTo>
                  <a:pt x="502" y="650"/>
                </a:lnTo>
                <a:lnTo>
                  <a:pt x="504" y="648"/>
                </a:lnTo>
                <a:lnTo>
                  <a:pt x="504" y="648"/>
                </a:lnTo>
                <a:lnTo>
                  <a:pt x="504" y="646"/>
                </a:lnTo>
                <a:lnTo>
                  <a:pt x="504" y="642"/>
                </a:lnTo>
                <a:lnTo>
                  <a:pt x="506" y="640"/>
                </a:lnTo>
                <a:lnTo>
                  <a:pt x="506" y="640"/>
                </a:lnTo>
                <a:lnTo>
                  <a:pt x="508" y="634"/>
                </a:lnTo>
                <a:lnTo>
                  <a:pt x="510" y="632"/>
                </a:lnTo>
                <a:lnTo>
                  <a:pt x="510" y="632"/>
                </a:lnTo>
                <a:lnTo>
                  <a:pt x="510" y="630"/>
                </a:lnTo>
                <a:lnTo>
                  <a:pt x="510" y="630"/>
                </a:lnTo>
                <a:lnTo>
                  <a:pt x="510" y="630"/>
                </a:lnTo>
                <a:lnTo>
                  <a:pt x="510" y="630"/>
                </a:lnTo>
                <a:lnTo>
                  <a:pt x="510" y="626"/>
                </a:lnTo>
                <a:lnTo>
                  <a:pt x="510" y="626"/>
                </a:lnTo>
                <a:lnTo>
                  <a:pt x="506" y="624"/>
                </a:lnTo>
                <a:lnTo>
                  <a:pt x="506" y="624"/>
                </a:lnTo>
                <a:close/>
                <a:moveTo>
                  <a:pt x="630" y="416"/>
                </a:moveTo>
                <a:lnTo>
                  <a:pt x="630" y="416"/>
                </a:lnTo>
                <a:lnTo>
                  <a:pt x="638" y="414"/>
                </a:lnTo>
                <a:lnTo>
                  <a:pt x="646" y="416"/>
                </a:lnTo>
                <a:lnTo>
                  <a:pt x="646" y="416"/>
                </a:lnTo>
                <a:lnTo>
                  <a:pt x="646" y="412"/>
                </a:lnTo>
                <a:lnTo>
                  <a:pt x="646" y="412"/>
                </a:lnTo>
                <a:lnTo>
                  <a:pt x="636" y="400"/>
                </a:lnTo>
                <a:lnTo>
                  <a:pt x="632" y="392"/>
                </a:lnTo>
                <a:lnTo>
                  <a:pt x="630" y="384"/>
                </a:lnTo>
                <a:lnTo>
                  <a:pt x="630" y="384"/>
                </a:lnTo>
                <a:lnTo>
                  <a:pt x="624" y="386"/>
                </a:lnTo>
                <a:lnTo>
                  <a:pt x="624" y="386"/>
                </a:lnTo>
                <a:lnTo>
                  <a:pt x="626" y="382"/>
                </a:lnTo>
                <a:lnTo>
                  <a:pt x="626" y="382"/>
                </a:lnTo>
                <a:lnTo>
                  <a:pt x="620" y="370"/>
                </a:lnTo>
                <a:lnTo>
                  <a:pt x="618" y="362"/>
                </a:lnTo>
                <a:lnTo>
                  <a:pt x="620" y="354"/>
                </a:lnTo>
                <a:lnTo>
                  <a:pt x="620" y="354"/>
                </a:lnTo>
                <a:lnTo>
                  <a:pt x="622" y="352"/>
                </a:lnTo>
                <a:lnTo>
                  <a:pt x="624" y="350"/>
                </a:lnTo>
                <a:lnTo>
                  <a:pt x="628" y="348"/>
                </a:lnTo>
                <a:lnTo>
                  <a:pt x="628" y="348"/>
                </a:lnTo>
                <a:lnTo>
                  <a:pt x="628" y="342"/>
                </a:lnTo>
                <a:lnTo>
                  <a:pt x="628" y="342"/>
                </a:lnTo>
                <a:lnTo>
                  <a:pt x="632" y="338"/>
                </a:lnTo>
                <a:lnTo>
                  <a:pt x="636" y="334"/>
                </a:lnTo>
                <a:lnTo>
                  <a:pt x="636" y="334"/>
                </a:lnTo>
                <a:lnTo>
                  <a:pt x="638" y="332"/>
                </a:lnTo>
                <a:lnTo>
                  <a:pt x="638" y="332"/>
                </a:lnTo>
                <a:lnTo>
                  <a:pt x="644" y="330"/>
                </a:lnTo>
                <a:lnTo>
                  <a:pt x="644" y="330"/>
                </a:lnTo>
                <a:lnTo>
                  <a:pt x="646" y="326"/>
                </a:lnTo>
                <a:lnTo>
                  <a:pt x="646" y="326"/>
                </a:lnTo>
                <a:lnTo>
                  <a:pt x="650" y="326"/>
                </a:lnTo>
                <a:lnTo>
                  <a:pt x="650" y="326"/>
                </a:lnTo>
                <a:lnTo>
                  <a:pt x="652" y="324"/>
                </a:lnTo>
                <a:lnTo>
                  <a:pt x="652" y="324"/>
                </a:lnTo>
                <a:lnTo>
                  <a:pt x="654" y="322"/>
                </a:lnTo>
                <a:lnTo>
                  <a:pt x="654" y="322"/>
                </a:lnTo>
                <a:lnTo>
                  <a:pt x="654" y="322"/>
                </a:lnTo>
                <a:lnTo>
                  <a:pt x="658" y="324"/>
                </a:lnTo>
                <a:lnTo>
                  <a:pt x="658" y="324"/>
                </a:lnTo>
                <a:lnTo>
                  <a:pt x="660" y="322"/>
                </a:lnTo>
                <a:lnTo>
                  <a:pt x="662" y="322"/>
                </a:lnTo>
                <a:lnTo>
                  <a:pt x="662" y="322"/>
                </a:lnTo>
                <a:lnTo>
                  <a:pt x="666" y="314"/>
                </a:lnTo>
                <a:lnTo>
                  <a:pt x="666" y="312"/>
                </a:lnTo>
                <a:lnTo>
                  <a:pt x="666" y="312"/>
                </a:lnTo>
                <a:lnTo>
                  <a:pt x="660" y="310"/>
                </a:lnTo>
                <a:lnTo>
                  <a:pt x="660" y="310"/>
                </a:lnTo>
                <a:lnTo>
                  <a:pt x="656" y="310"/>
                </a:lnTo>
                <a:lnTo>
                  <a:pt x="654" y="312"/>
                </a:lnTo>
                <a:lnTo>
                  <a:pt x="650" y="312"/>
                </a:lnTo>
                <a:lnTo>
                  <a:pt x="646" y="312"/>
                </a:lnTo>
                <a:lnTo>
                  <a:pt x="646" y="312"/>
                </a:lnTo>
                <a:lnTo>
                  <a:pt x="644" y="308"/>
                </a:lnTo>
                <a:lnTo>
                  <a:pt x="644" y="308"/>
                </a:lnTo>
                <a:lnTo>
                  <a:pt x="638" y="308"/>
                </a:lnTo>
                <a:lnTo>
                  <a:pt x="630" y="308"/>
                </a:lnTo>
                <a:lnTo>
                  <a:pt x="630" y="308"/>
                </a:lnTo>
                <a:lnTo>
                  <a:pt x="630" y="312"/>
                </a:lnTo>
                <a:lnTo>
                  <a:pt x="630" y="312"/>
                </a:lnTo>
                <a:lnTo>
                  <a:pt x="624" y="314"/>
                </a:lnTo>
                <a:lnTo>
                  <a:pt x="624" y="314"/>
                </a:lnTo>
                <a:lnTo>
                  <a:pt x="622" y="316"/>
                </a:lnTo>
                <a:lnTo>
                  <a:pt x="622" y="318"/>
                </a:lnTo>
                <a:lnTo>
                  <a:pt x="622" y="318"/>
                </a:lnTo>
                <a:lnTo>
                  <a:pt x="616" y="318"/>
                </a:lnTo>
                <a:lnTo>
                  <a:pt x="616" y="318"/>
                </a:lnTo>
                <a:lnTo>
                  <a:pt x="614" y="320"/>
                </a:lnTo>
                <a:lnTo>
                  <a:pt x="614" y="320"/>
                </a:lnTo>
                <a:lnTo>
                  <a:pt x="610" y="320"/>
                </a:lnTo>
                <a:lnTo>
                  <a:pt x="610" y="320"/>
                </a:lnTo>
                <a:lnTo>
                  <a:pt x="608" y="316"/>
                </a:lnTo>
                <a:lnTo>
                  <a:pt x="608" y="312"/>
                </a:lnTo>
                <a:lnTo>
                  <a:pt x="608" y="312"/>
                </a:lnTo>
                <a:lnTo>
                  <a:pt x="606" y="308"/>
                </a:lnTo>
                <a:lnTo>
                  <a:pt x="604" y="304"/>
                </a:lnTo>
                <a:lnTo>
                  <a:pt x="602" y="304"/>
                </a:lnTo>
                <a:lnTo>
                  <a:pt x="602" y="304"/>
                </a:lnTo>
                <a:lnTo>
                  <a:pt x="598" y="298"/>
                </a:lnTo>
                <a:lnTo>
                  <a:pt x="596" y="292"/>
                </a:lnTo>
                <a:lnTo>
                  <a:pt x="596" y="292"/>
                </a:lnTo>
                <a:lnTo>
                  <a:pt x="596" y="286"/>
                </a:lnTo>
                <a:lnTo>
                  <a:pt x="596" y="286"/>
                </a:lnTo>
                <a:lnTo>
                  <a:pt x="598" y="284"/>
                </a:lnTo>
                <a:lnTo>
                  <a:pt x="598" y="284"/>
                </a:lnTo>
                <a:lnTo>
                  <a:pt x="606" y="284"/>
                </a:lnTo>
                <a:lnTo>
                  <a:pt x="612" y="284"/>
                </a:lnTo>
                <a:lnTo>
                  <a:pt x="612" y="284"/>
                </a:lnTo>
                <a:lnTo>
                  <a:pt x="614" y="280"/>
                </a:lnTo>
                <a:lnTo>
                  <a:pt x="618" y="274"/>
                </a:lnTo>
                <a:lnTo>
                  <a:pt x="618" y="274"/>
                </a:lnTo>
                <a:lnTo>
                  <a:pt x="626" y="268"/>
                </a:lnTo>
                <a:lnTo>
                  <a:pt x="626" y="268"/>
                </a:lnTo>
                <a:lnTo>
                  <a:pt x="628" y="268"/>
                </a:lnTo>
                <a:lnTo>
                  <a:pt x="628" y="268"/>
                </a:lnTo>
                <a:lnTo>
                  <a:pt x="630" y="266"/>
                </a:lnTo>
                <a:lnTo>
                  <a:pt x="632" y="262"/>
                </a:lnTo>
                <a:lnTo>
                  <a:pt x="634" y="262"/>
                </a:lnTo>
                <a:lnTo>
                  <a:pt x="634" y="262"/>
                </a:lnTo>
                <a:lnTo>
                  <a:pt x="636" y="260"/>
                </a:lnTo>
                <a:lnTo>
                  <a:pt x="636" y="256"/>
                </a:lnTo>
                <a:lnTo>
                  <a:pt x="636" y="256"/>
                </a:lnTo>
                <a:lnTo>
                  <a:pt x="640" y="250"/>
                </a:lnTo>
                <a:lnTo>
                  <a:pt x="644" y="246"/>
                </a:lnTo>
                <a:lnTo>
                  <a:pt x="644" y="246"/>
                </a:lnTo>
                <a:lnTo>
                  <a:pt x="662" y="252"/>
                </a:lnTo>
                <a:lnTo>
                  <a:pt x="662" y="252"/>
                </a:lnTo>
                <a:lnTo>
                  <a:pt x="656" y="260"/>
                </a:lnTo>
                <a:lnTo>
                  <a:pt x="650" y="268"/>
                </a:lnTo>
                <a:lnTo>
                  <a:pt x="650" y="268"/>
                </a:lnTo>
                <a:lnTo>
                  <a:pt x="648" y="270"/>
                </a:lnTo>
                <a:lnTo>
                  <a:pt x="648" y="270"/>
                </a:lnTo>
                <a:lnTo>
                  <a:pt x="648" y="274"/>
                </a:lnTo>
                <a:lnTo>
                  <a:pt x="648" y="278"/>
                </a:lnTo>
                <a:lnTo>
                  <a:pt x="648" y="278"/>
                </a:lnTo>
                <a:lnTo>
                  <a:pt x="654" y="278"/>
                </a:lnTo>
                <a:lnTo>
                  <a:pt x="654" y="278"/>
                </a:lnTo>
                <a:lnTo>
                  <a:pt x="650" y="282"/>
                </a:lnTo>
                <a:lnTo>
                  <a:pt x="648" y="286"/>
                </a:lnTo>
                <a:lnTo>
                  <a:pt x="648" y="288"/>
                </a:lnTo>
                <a:lnTo>
                  <a:pt x="648" y="288"/>
                </a:lnTo>
                <a:lnTo>
                  <a:pt x="650" y="288"/>
                </a:lnTo>
                <a:lnTo>
                  <a:pt x="650" y="288"/>
                </a:lnTo>
                <a:lnTo>
                  <a:pt x="650" y="288"/>
                </a:lnTo>
                <a:lnTo>
                  <a:pt x="650" y="288"/>
                </a:lnTo>
                <a:lnTo>
                  <a:pt x="654" y="288"/>
                </a:lnTo>
                <a:lnTo>
                  <a:pt x="654" y="288"/>
                </a:lnTo>
                <a:lnTo>
                  <a:pt x="654" y="286"/>
                </a:lnTo>
                <a:lnTo>
                  <a:pt x="654" y="284"/>
                </a:lnTo>
                <a:lnTo>
                  <a:pt x="654" y="284"/>
                </a:lnTo>
                <a:lnTo>
                  <a:pt x="666" y="274"/>
                </a:lnTo>
                <a:lnTo>
                  <a:pt x="676" y="268"/>
                </a:lnTo>
                <a:lnTo>
                  <a:pt x="680" y="268"/>
                </a:lnTo>
                <a:lnTo>
                  <a:pt x="684" y="268"/>
                </a:lnTo>
                <a:lnTo>
                  <a:pt x="684" y="268"/>
                </a:lnTo>
                <a:lnTo>
                  <a:pt x="688" y="270"/>
                </a:lnTo>
                <a:lnTo>
                  <a:pt x="688" y="270"/>
                </a:lnTo>
                <a:lnTo>
                  <a:pt x="688" y="270"/>
                </a:lnTo>
                <a:lnTo>
                  <a:pt x="690" y="270"/>
                </a:lnTo>
                <a:lnTo>
                  <a:pt x="690" y="268"/>
                </a:lnTo>
                <a:lnTo>
                  <a:pt x="692" y="268"/>
                </a:lnTo>
                <a:lnTo>
                  <a:pt x="692" y="268"/>
                </a:lnTo>
                <a:lnTo>
                  <a:pt x="692" y="270"/>
                </a:lnTo>
                <a:lnTo>
                  <a:pt x="698" y="260"/>
                </a:lnTo>
                <a:lnTo>
                  <a:pt x="702" y="254"/>
                </a:lnTo>
                <a:lnTo>
                  <a:pt x="708" y="246"/>
                </a:lnTo>
                <a:lnTo>
                  <a:pt x="712" y="240"/>
                </a:lnTo>
                <a:lnTo>
                  <a:pt x="720" y="232"/>
                </a:lnTo>
                <a:lnTo>
                  <a:pt x="720" y="224"/>
                </a:lnTo>
                <a:lnTo>
                  <a:pt x="726" y="222"/>
                </a:lnTo>
                <a:lnTo>
                  <a:pt x="730" y="228"/>
                </a:lnTo>
                <a:lnTo>
                  <a:pt x="734" y="230"/>
                </a:lnTo>
                <a:lnTo>
                  <a:pt x="742" y="232"/>
                </a:lnTo>
                <a:lnTo>
                  <a:pt x="742" y="226"/>
                </a:lnTo>
                <a:lnTo>
                  <a:pt x="742" y="222"/>
                </a:lnTo>
                <a:lnTo>
                  <a:pt x="746" y="218"/>
                </a:lnTo>
                <a:lnTo>
                  <a:pt x="752" y="218"/>
                </a:lnTo>
                <a:lnTo>
                  <a:pt x="756" y="216"/>
                </a:lnTo>
                <a:lnTo>
                  <a:pt x="756" y="212"/>
                </a:lnTo>
                <a:lnTo>
                  <a:pt x="762" y="210"/>
                </a:lnTo>
                <a:lnTo>
                  <a:pt x="762" y="200"/>
                </a:lnTo>
                <a:lnTo>
                  <a:pt x="772" y="212"/>
                </a:lnTo>
                <a:lnTo>
                  <a:pt x="774" y="208"/>
                </a:lnTo>
                <a:lnTo>
                  <a:pt x="774" y="202"/>
                </a:lnTo>
                <a:lnTo>
                  <a:pt x="776" y="200"/>
                </a:lnTo>
                <a:lnTo>
                  <a:pt x="778" y="194"/>
                </a:lnTo>
                <a:lnTo>
                  <a:pt x="776" y="184"/>
                </a:lnTo>
                <a:lnTo>
                  <a:pt x="778" y="178"/>
                </a:lnTo>
                <a:lnTo>
                  <a:pt x="778" y="172"/>
                </a:lnTo>
                <a:lnTo>
                  <a:pt x="782" y="168"/>
                </a:lnTo>
                <a:lnTo>
                  <a:pt x="786" y="166"/>
                </a:lnTo>
                <a:lnTo>
                  <a:pt x="786" y="166"/>
                </a:lnTo>
                <a:lnTo>
                  <a:pt x="786" y="164"/>
                </a:lnTo>
                <a:lnTo>
                  <a:pt x="786" y="164"/>
                </a:lnTo>
                <a:lnTo>
                  <a:pt x="786" y="164"/>
                </a:lnTo>
                <a:lnTo>
                  <a:pt x="786" y="162"/>
                </a:lnTo>
                <a:lnTo>
                  <a:pt x="786" y="162"/>
                </a:lnTo>
                <a:lnTo>
                  <a:pt x="792" y="164"/>
                </a:lnTo>
                <a:lnTo>
                  <a:pt x="794" y="168"/>
                </a:lnTo>
                <a:lnTo>
                  <a:pt x="794" y="168"/>
                </a:lnTo>
                <a:lnTo>
                  <a:pt x="798" y="164"/>
                </a:lnTo>
                <a:lnTo>
                  <a:pt x="804" y="160"/>
                </a:lnTo>
                <a:lnTo>
                  <a:pt x="806" y="156"/>
                </a:lnTo>
                <a:lnTo>
                  <a:pt x="810" y="154"/>
                </a:lnTo>
                <a:lnTo>
                  <a:pt x="814" y="148"/>
                </a:lnTo>
                <a:lnTo>
                  <a:pt x="818" y="142"/>
                </a:lnTo>
                <a:lnTo>
                  <a:pt x="820" y="132"/>
                </a:lnTo>
                <a:lnTo>
                  <a:pt x="820" y="126"/>
                </a:lnTo>
                <a:lnTo>
                  <a:pt x="824" y="124"/>
                </a:lnTo>
                <a:lnTo>
                  <a:pt x="824" y="116"/>
                </a:lnTo>
                <a:lnTo>
                  <a:pt x="820" y="112"/>
                </a:lnTo>
                <a:lnTo>
                  <a:pt x="820" y="108"/>
                </a:lnTo>
                <a:lnTo>
                  <a:pt x="824" y="100"/>
                </a:lnTo>
                <a:lnTo>
                  <a:pt x="816" y="102"/>
                </a:lnTo>
                <a:lnTo>
                  <a:pt x="814" y="106"/>
                </a:lnTo>
                <a:lnTo>
                  <a:pt x="808" y="108"/>
                </a:lnTo>
                <a:lnTo>
                  <a:pt x="804" y="108"/>
                </a:lnTo>
                <a:lnTo>
                  <a:pt x="798" y="112"/>
                </a:lnTo>
                <a:lnTo>
                  <a:pt x="794" y="116"/>
                </a:lnTo>
                <a:lnTo>
                  <a:pt x="788" y="118"/>
                </a:lnTo>
                <a:lnTo>
                  <a:pt x="784" y="120"/>
                </a:lnTo>
                <a:lnTo>
                  <a:pt x="778" y="116"/>
                </a:lnTo>
                <a:lnTo>
                  <a:pt x="772" y="114"/>
                </a:lnTo>
                <a:lnTo>
                  <a:pt x="770" y="108"/>
                </a:lnTo>
                <a:lnTo>
                  <a:pt x="770" y="102"/>
                </a:lnTo>
                <a:lnTo>
                  <a:pt x="768" y="96"/>
                </a:lnTo>
                <a:lnTo>
                  <a:pt x="762" y="90"/>
                </a:lnTo>
                <a:lnTo>
                  <a:pt x="760" y="84"/>
                </a:lnTo>
                <a:lnTo>
                  <a:pt x="758" y="78"/>
                </a:lnTo>
                <a:lnTo>
                  <a:pt x="754" y="74"/>
                </a:lnTo>
                <a:lnTo>
                  <a:pt x="746" y="72"/>
                </a:lnTo>
                <a:lnTo>
                  <a:pt x="740" y="70"/>
                </a:lnTo>
                <a:lnTo>
                  <a:pt x="734" y="70"/>
                </a:lnTo>
                <a:lnTo>
                  <a:pt x="730" y="66"/>
                </a:lnTo>
                <a:lnTo>
                  <a:pt x="726" y="58"/>
                </a:lnTo>
                <a:lnTo>
                  <a:pt x="720" y="48"/>
                </a:lnTo>
                <a:lnTo>
                  <a:pt x="718" y="40"/>
                </a:lnTo>
                <a:lnTo>
                  <a:pt x="718" y="34"/>
                </a:lnTo>
                <a:lnTo>
                  <a:pt x="712" y="28"/>
                </a:lnTo>
                <a:lnTo>
                  <a:pt x="710" y="22"/>
                </a:lnTo>
                <a:lnTo>
                  <a:pt x="702" y="16"/>
                </a:lnTo>
                <a:lnTo>
                  <a:pt x="692" y="16"/>
                </a:lnTo>
                <a:lnTo>
                  <a:pt x="688" y="10"/>
                </a:lnTo>
                <a:lnTo>
                  <a:pt x="682" y="6"/>
                </a:lnTo>
                <a:lnTo>
                  <a:pt x="676" y="2"/>
                </a:lnTo>
                <a:lnTo>
                  <a:pt x="668" y="0"/>
                </a:lnTo>
                <a:lnTo>
                  <a:pt x="664" y="2"/>
                </a:lnTo>
                <a:lnTo>
                  <a:pt x="658" y="4"/>
                </a:lnTo>
                <a:lnTo>
                  <a:pt x="650" y="4"/>
                </a:lnTo>
                <a:lnTo>
                  <a:pt x="644" y="8"/>
                </a:lnTo>
                <a:lnTo>
                  <a:pt x="638" y="14"/>
                </a:lnTo>
                <a:lnTo>
                  <a:pt x="634" y="20"/>
                </a:lnTo>
                <a:lnTo>
                  <a:pt x="632" y="22"/>
                </a:lnTo>
                <a:lnTo>
                  <a:pt x="630" y="26"/>
                </a:lnTo>
                <a:lnTo>
                  <a:pt x="636" y="24"/>
                </a:lnTo>
                <a:lnTo>
                  <a:pt x="636" y="32"/>
                </a:lnTo>
                <a:lnTo>
                  <a:pt x="636" y="38"/>
                </a:lnTo>
                <a:lnTo>
                  <a:pt x="632" y="42"/>
                </a:lnTo>
                <a:lnTo>
                  <a:pt x="634" y="48"/>
                </a:lnTo>
                <a:lnTo>
                  <a:pt x="628" y="56"/>
                </a:lnTo>
                <a:lnTo>
                  <a:pt x="624" y="62"/>
                </a:lnTo>
                <a:lnTo>
                  <a:pt x="624" y="62"/>
                </a:lnTo>
                <a:lnTo>
                  <a:pt x="620" y="66"/>
                </a:lnTo>
                <a:lnTo>
                  <a:pt x="618" y="68"/>
                </a:lnTo>
                <a:lnTo>
                  <a:pt x="618" y="70"/>
                </a:lnTo>
                <a:lnTo>
                  <a:pt x="620" y="72"/>
                </a:lnTo>
                <a:lnTo>
                  <a:pt x="620" y="72"/>
                </a:lnTo>
                <a:lnTo>
                  <a:pt x="618" y="74"/>
                </a:lnTo>
                <a:lnTo>
                  <a:pt x="614" y="76"/>
                </a:lnTo>
                <a:lnTo>
                  <a:pt x="610" y="78"/>
                </a:lnTo>
                <a:lnTo>
                  <a:pt x="600" y="84"/>
                </a:lnTo>
                <a:lnTo>
                  <a:pt x="594" y="80"/>
                </a:lnTo>
                <a:lnTo>
                  <a:pt x="586" y="76"/>
                </a:lnTo>
                <a:lnTo>
                  <a:pt x="580" y="78"/>
                </a:lnTo>
                <a:lnTo>
                  <a:pt x="574" y="94"/>
                </a:lnTo>
                <a:lnTo>
                  <a:pt x="574" y="94"/>
                </a:lnTo>
                <a:lnTo>
                  <a:pt x="576" y="100"/>
                </a:lnTo>
                <a:lnTo>
                  <a:pt x="576" y="100"/>
                </a:lnTo>
                <a:lnTo>
                  <a:pt x="576" y="104"/>
                </a:lnTo>
                <a:lnTo>
                  <a:pt x="574" y="106"/>
                </a:lnTo>
                <a:lnTo>
                  <a:pt x="572" y="110"/>
                </a:lnTo>
                <a:lnTo>
                  <a:pt x="572" y="116"/>
                </a:lnTo>
                <a:lnTo>
                  <a:pt x="582" y="120"/>
                </a:lnTo>
                <a:lnTo>
                  <a:pt x="592" y="118"/>
                </a:lnTo>
                <a:lnTo>
                  <a:pt x="598" y="112"/>
                </a:lnTo>
                <a:lnTo>
                  <a:pt x="602" y="112"/>
                </a:lnTo>
                <a:lnTo>
                  <a:pt x="606" y="116"/>
                </a:lnTo>
                <a:lnTo>
                  <a:pt x="612" y="122"/>
                </a:lnTo>
                <a:lnTo>
                  <a:pt x="622" y="126"/>
                </a:lnTo>
                <a:lnTo>
                  <a:pt x="628" y="132"/>
                </a:lnTo>
                <a:lnTo>
                  <a:pt x="624" y="138"/>
                </a:lnTo>
                <a:lnTo>
                  <a:pt x="624" y="138"/>
                </a:lnTo>
                <a:lnTo>
                  <a:pt x="620" y="136"/>
                </a:lnTo>
                <a:lnTo>
                  <a:pt x="616" y="136"/>
                </a:lnTo>
                <a:lnTo>
                  <a:pt x="614" y="138"/>
                </a:lnTo>
                <a:lnTo>
                  <a:pt x="614" y="138"/>
                </a:lnTo>
                <a:lnTo>
                  <a:pt x="610" y="140"/>
                </a:lnTo>
                <a:lnTo>
                  <a:pt x="606" y="142"/>
                </a:lnTo>
                <a:lnTo>
                  <a:pt x="604" y="146"/>
                </a:lnTo>
                <a:lnTo>
                  <a:pt x="596" y="144"/>
                </a:lnTo>
                <a:lnTo>
                  <a:pt x="586" y="152"/>
                </a:lnTo>
                <a:lnTo>
                  <a:pt x="580" y="148"/>
                </a:lnTo>
                <a:lnTo>
                  <a:pt x="576" y="148"/>
                </a:lnTo>
                <a:lnTo>
                  <a:pt x="574" y="156"/>
                </a:lnTo>
                <a:lnTo>
                  <a:pt x="570" y="160"/>
                </a:lnTo>
                <a:lnTo>
                  <a:pt x="552" y="164"/>
                </a:lnTo>
                <a:lnTo>
                  <a:pt x="550" y="174"/>
                </a:lnTo>
                <a:lnTo>
                  <a:pt x="538" y="180"/>
                </a:lnTo>
                <a:lnTo>
                  <a:pt x="530" y="176"/>
                </a:lnTo>
                <a:lnTo>
                  <a:pt x="524" y="170"/>
                </a:lnTo>
                <a:lnTo>
                  <a:pt x="518" y="168"/>
                </a:lnTo>
                <a:lnTo>
                  <a:pt x="512" y="172"/>
                </a:lnTo>
                <a:lnTo>
                  <a:pt x="510" y="180"/>
                </a:lnTo>
                <a:lnTo>
                  <a:pt x="508" y="186"/>
                </a:lnTo>
                <a:lnTo>
                  <a:pt x="510" y="196"/>
                </a:lnTo>
                <a:lnTo>
                  <a:pt x="512" y="202"/>
                </a:lnTo>
                <a:lnTo>
                  <a:pt x="508" y="208"/>
                </a:lnTo>
                <a:lnTo>
                  <a:pt x="502" y="212"/>
                </a:lnTo>
                <a:lnTo>
                  <a:pt x="492" y="214"/>
                </a:lnTo>
                <a:lnTo>
                  <a:pt x="478" y="218"/>
                </a:lnTo>
                <a:lnTo>
                  <a:pt x="466" y="218"/>
                </a:lnTo>
                <a:lnTo>
                  <a:pt x="458" y="220"/>
                </a:lnTo>
                <a:lnTo>
                  <a:pt x="454" y="220"/>
                </a:lnTo>
                <a:lnTo>
                  <a:pt x="446" y="228"/>
                </a:lnTo>
                <a:lnTo>
                  <a:pt x="438" y="232"/>
                </a:lnTo>
                <a:lnTo>
                  <a:pt x="428" y="232"/>
                </a:lnTo>
                <a:lnTo>
                  <a:pt x="418" y="234"/>
                </a:lnTo>
                <a:lnTo>
                  <a:pt x="406" y="234"/>
                </a:lnTo>
                <a:lnTo>
                  <a:pt x="398" y="230"/>
                </a:lnTo>
                <a:lnTo>
                  <a:pt x="392" y="222"/>
                </a:lnTo>
                <a:lnTo>
                  <a:pt x="388" y="220"/>
                </a:lnTo>
                <a:lnTo>
                  <a:pt x="368" y="220"/>
                </a:lnTo>
                <a:lnTo>
                  <a:pt x="356" y="218"/>
                </a:lnTo>
                <a:lnTo>
                  <a:pt x="344" y="218"/>
                </a:lnTo>
                <a:lnTo>
                  <a:pt x="334" y="218"/>
                </a:lnTo>
                <a:lnTo>
                  <a:pt x="326" y="218"/>
                </a:lnTo>
                <a:lnTo>
                  <a:pt x="320" y="212"/>
                </a:lnTo>
                <a:lnTo>
                  <a:pt x="312" y="206"/>
                </a:lnTo>
                <a:lnTo>
                  <a:pt x="304" y="200"/>
                </a:lnTo>
                <a:lnTo>
                  <a:pt x="300" y="196"/>
                </a:lnTo>
                <a:lnTo>
                  <a:pt x="298" y="188"/>
                </a:lnTo>
                <a:lnTo>
                  <a:pt x="292" y="182"/>
                </a:lnTo>
                <a:lnTo>
                  <a:pt x="284" y="180"/>
                </a:lnTo>
                <a:lnTo>
                  <a:pt x="280" y="176"/>
                </a:lnTo>
                <a:lnTo>
                  <a:pt x="272" y="172"/>
                </a:lnTo>
                <a:lnTo>
                  <a:pt x="264" y="170"/>
                </a:lnTo>
                <a:lnTo>
                  <a:pt x="256" y="168"/>
                </a:lnTo>
                <a:lnTo>
                  <a:pt x="254" y="162"/>
                </a:lnTo>
                <a:lnTo>
                  <a:pt x="256" y="154"/>
                </a:lnTo>
                <a:lnTo>
                  <a:pt x="258" y="148"/>
                </a:lnTo>
                <a:lnTo>
                  <a:pt x="254" y="140"/>
                </a:lnTo>
                <a:lnTo>
                  <a:pt x="246" y="138"/>
                </a:lnTo>
                <a:lnTo>
                  <a:pt x="246" y="132"/>
                </a:lnTo>
                <a:lnTo>
                  <a:pt x="238" y="124"/>
                </a:lnTo>
                <a:lnTo>
                  <a:pt x="230" y="118"/>
                </a:lnTo>
                <a:lnTo>
                  <a:pt x="222" y="120"/>
                </a:lnTo>
                <a:lnTo>
                  <a:pt x="214" y="118"/>
                </a:lnTo>
                <a:lnTo>
                  <a:pt x="210" y="114"/>
                </a:lnTo>
                <a:lnTo>
                  <a:pt x="208" y="110"/>
                </a:lnTo>
                <a:lnTo>
                  <a:pt x="206" y="100"/>
                </a:lnTo>
                <a:lnTo>
                  <a:pt x="208" y="86"/>
                </a:lnTo>
                <a:lnTo>
                  <a:pt x="200" y="92"/>
                </a:lnTo>
                <a:lnTo>
                  <a:pt x="182" y="94"/>
                </a:lnTo>
                <a:lnTo>
                  <a:pt x="176" y="100"/>
                </a:lnTo>
                <a:lnTo>
                  <a:pt x="172" y="106"/>
                </a:lnTo>
                <a:lnTo>
                  <a:pt x="164" y="108"/>
                </a:lnTo>
                <a:lnTo>
                  <a:pt x="162" y="112"/>
                </a:lnTo>
                <a:lnTo>
                  <a:pt x="160" y="120"/>
                </a:lnTo>
                <a:lnTo>
                  <a:pt x="150" y="124"/>
                </a:lnTo>
                <a:lnTo>
                  <a:pt x="142" y="124"/>
                </a:lnTo>
                <a:lnTo>
                  <a:pt x="136" y="128"/>
                </a:lnTo>
                <a:lnTo>
                  <a:pt x="132" y="136"/>
                </a:lnTo>
                <a:lnTo>
                  <a:pt x="126" y="140"/>
                </a:lnTo>
                <a:lnTo>
                  <a:pt x="124" y="150"/>
                </a:lnTo>
                <a:lnTo>
                  <a:pt x="126" y="160"/>
                </a:lnTo>
                <a:lnTo>
                  <a:pt x="130" y="164"/>
                </a:lnTo>
                <a:lnTo>
                  <a:pt x="128" y="168"/>
                </a:lnTo>
                <a:lnTo>
                  <a:pt x="114" y="168"/>
                </a:lnTo>
                <a:lnTo>
                  <a:pt x="104" y="174"/>
                </a:lnTo>
                <a:lnTo>
                  <a:pt x="94" y="176"/>
                </a:lnTo>
                <a:lnTo>
                  <a:pt x="90" y="178"/>
                </a:lnTo>
                <a:lnTo>
                  <a:pt x="92" y="184"/>
                </a:lnTo>
                <a:lnTo>
                  <a:pt x="100" y="190"/>
                </a:lnTo>
                <a:lnTo>
                  <a:pt x="102" y="196"/>
                </a:lnTo>
                <a:lnTo>
                  <a:pt x="100" y="202"/>
                </a:lnTo>
                <a:lnTo>
                  <a:pt x="96" y="208"/>
                </a:lnTo>
                <a:lnTo>
                  <a:pt x="96" y="218"/>
                </a:lnTo>
                <a:lnTo>
                  <a:pt x="96" y="218"/>
                </a:lnTo>
                <a:lnTo>
                  <a:pt x="86" y="224"/>
                </a:lnTo>
                <a:lnTo>
                  <a:pt x="86" y="224"/>
                </a:lnTo>
                <a:lnTo>
                  <a:pt x="80" y="230"/>
                </a:lnTo>
                <a:lnTo>
                  <a:pt x="80" y="230"/>
                </a:lnTo>
                <a:lnTo>
                  <a:pt x="76" y="230"/>
                </a:lnTo>
                <a:lnTo>
                  <a:pt x="72" y="232"/>
                </a:lnTo>
                <a:lnTo>
                  <a:pt x="72" y="232"/>
                </a:lnTo>
                <a:lnTo>
                  <a:pt x="70" y="236"/>
                </a:lnTo>
                <a:lnTo>
                  <a:pt x="70" y="238"/>
                </a:lnTo>
                <a:lnTo>
                  <a:pt x="70" y="238"/>
                </a:lnTo>
                <a:lnTo>
                  <a:pt x="70" y="240"/>
                </a:lnTo>
                <a:lnTo>
                  <a:pt x="68" y="240"/>
                </a:lnTo>
                <a:lnTo>
                  <a:pt x="62" y="240"/>
                </a:lnTo>
                <a:lnTo>
                  <a:pt x="54" y="242"/>
                </a:lnTo>
                <a:lnTo>
                  <a:pt x="50" y="244"/>
                </a:lnTo>
                <a:lnTo>
                  <a:pt x="48" y="246"/>
                </a:lnTo>
                <a:lnTo>
                  <a:pt x="48" y="246"/>
                </a:lnTo>
                <a:lnTo>
                  <a:pt x="48" y="250"/>
                </a:lnTo>
                <a:lnTo>
                  <a:pt x="48" y="252"/>
                </a:lnTo>
                <a:lnTo>
                  <a:pt x="46" y="256"/>
                </a:lnTo>
                <a:lnTo>
                  <a:pt x="46" y="258"/>
                </a:lnTo>
                <a:lnTo>
                  <a:pt x="46" y="258"/>
                </a:lnTo>
                <a:lnTo>
                  <a:pt x="42" y="260"/>
                </a:lnTo>
                <a:lnTo>
                  <a:pt x="40" y="260"/>
                </a:lnTo>
                <a:lnTo>
                  <a:pt x="34" y="262"/>
                </a:lnTo>
                <a:lnTo>
                  <a:pt x="34" y="262"/>
                </a:lnTo>
                <a:lnTo>
                  <a:pt x="30" y="264"/>
                </a:lnTo>
                <a:lnTo>
                  <a:pt x="28" y="264"/>
                </a:lnTo>
                <a:lnTo>
                  <a:pt x="28" y="264"/>
                </a:lnTo>
                <a:lnTo>
                  <a:pt x="26" y="264"/>
                </a:lnTo>
                <a:lnTo>
                  <a:pt x="24" y="262"/>
                </a:lnTo>
                <a:lnTo>
                  <a:pt x="24" y="260"/>
                </a:lnTo>
                <a:lnTo>
                  <a:pt x="22" y="258"/>
                </a:lnTo>
                <a:lnTo>
                  <a:pt x="22" y="258"/>
                </a:lnTo>
                <a:lnTo>
                  <a:pt x="18" y="258"/>
                </a:lnTo>
                <a:lnTo>
                  <a:pt x="14" y="262"/>
                </a:lnTo>
                <a:lnTo>
                  <a:pt x="14" y="262"/>
                </a:lnTo>
                <a:lnTo>
                  <a:pt x="10" y="268"/>
                </a:lnTo>
                <a:lnTo>
                  <a:pt x="10" y="268"/>
                </a:lnTo>
                <a:lnTo>
                  <a:pt x="4" y="270"/>
                </a:lnTo>
                <a:lnTo>
                  <a:pt x="4" y="270"/>
                </a:lnTo>
                <a:lnTo>
                  <a:pt x="0" y="274"/>
                </a:lnTo>
                <a:lnTo>
                  <a:pt x="2" y="276"/>
                </a:lnTo>
                <a:lnTo>
                  <a:pt x="2" y="276"/>
                </a:lnTo>
                <a:lnTo>
                  <a:pt x="2" y="282"/>
                </a:lnTo>
                <a:lnTo>
                  <a:pt x="2" y="286"/>
                </a:lnTo>
                <a:lnTo>
                  <a:pt x="6" y="290"/>
                </a:lnTo>
                <a:lnTo>
                  <a:pt x="14" y="286"/>
                </a:lnTo>
                <a:lnTo>
                  <a:pt x="16" y="288"/>
                </a:lnTo>
                <a:lnTo>
                  <a:pt x="16" y="292"/>
                </a:lnTo>
                <a:lnTo>
                  <a:pt x="14" y="298"/>
                </a:lnTo>
                <a:lnTo>
                  <a:pt x="16" y="306"/>
                </a:lnTo>
                <a:lnTo>
                  <a:pt x="18" y="312"/>
                </a:lnTo>
                <a:lnTo>
                  <a:pt x="20" y="316"/>
                </a:lnTo>
                <a:lnTo>
                  <a:pt x="22" y="320"/>
                </a:lnTo>
                <a:lnTo>
                  <a:pt x="16" y="322"/>
                </a:lnTo>
                <a:lnTo>
                  <a:pt x="16" y="326"/>
                </a:lnTo>
                <a:lnTo>
                  <a:pt x="26" y="326"/>
                </a:lnTo>
                <a:lnTo>
                  <a:pt x="40" y="336"/>
                </a:lnTo>
                <a:lnTo>
                  <a:pt x="44" y="340"/>
                </a:lnTo>
                <a:lnTo>
                  <a:pt x="50" y="346"/>
                </a:lnTo>
                <a:lnTo>
                  <a:pt x="56" y="340"/>
                </a:lnTo>
                <a:lnTo>
                  <a:pt x="58" y="338"/>
                </a:lnTo>
                <a:lnTo>
                  <a:pt x="64" y="338"/>
                </a:lnTo>
                <a:lnTo>
                  <a:pt x="70" y="340"/>
                </a:lnTo>
                <a:lnTo>
                  <a:pt x="76" y="340"/>
                </a:lnTo>
                <a:lnTo>
                  <a:pt x="80" y="346"/>
                </a:lnTo>
                <a:lnTo>
                  <a:pt x="82" y="350"/>
                </a:lnTo>
                <a:lnTo>
                  <a:pt x="86" y="356"/>
                </a:lnTo>
                <a:lnTo>
                  <a:pt x="82" y="360"/>
                </a:lnTo>
                <a:lnTo>
                  <a:pt x="80" y="364"/>
                </a:lnTo>
                <a:lnTo>
                  <a:pt x="78" y="368"/>
                </a:lnTo>
                <a:lnTo>
                  <a:pt x="74" y="372"/>
                </a:lnTo>
                <a:lnTo>
                  <a:pt x="72" y="378"/>
                </a:lnTo>
                <a:lnTo>
                  <a:pt x="68" y="382"/>
                </a:lnTo>
                <a:lnTo>
                  <a:pt x="66" y="386"/>
                </a:lnTo>
                <a:lnTo>
                  <a:pt x="72" y="390"/>
                </a:lnTo>
                <a:lnTo>
                  <a:pt x="74" y="396"/>
                </a:lnTo>
                <a:lnTo>
                  <a:pt x="74" y="404"/>
                </a:lnTo>
                <a:lnTo>
                  <a:pt x="78" y="406"/>
                </a:lnTo>
                <a:lnTo>
                  <a:pt x="82" y="408"/>
                </a:lnTo>
                <a:lnTo>
                  <a:pt x="82" y="412"/>
                </a:lnTo>
                <a:lnTo>
                  <a:pt x="80" y="420"/>
                </a:lnTo>
                <a:lnTo>
                  <a:pt x="80" y="424"/>
                </a:lnTo>
                <a:lnTo>
                  <a:pt x="78" y="426"/>
                </a:lnTo>
                <a:lnTo>
                  <a:pt x="80" y="432"/>
                </a:lnTo>
                <a:lnTo>
                  <a:pt x="86" y="434"/>
                </a:lnTo>
                <a:lnTo>
                  <a:pt x="92" y="438"/>
                </a:lnTo>
                <a:lnTo>
                  <a:pt x="100" y="440"/>
                </a:lnTo>
                <a:lnTo>
                  <a:pt x="104" y="444"/>
                </a:lnTo>
                <a:lnTo>
                  <a:pt x="108" y="448"/>
                </a:lnTo>
                <a:lnTo>
                  <a:pt x="112" y="448"/>
                </a:lnTo>
                <a:lnTo>
                  <a:pt x="118" y="448"/>
                </a:lnTo>
                <a:lnTo>
                  <a:pt x="124" y="448"/>
                </a:lnTo>
                <a:lnTo>
                  <a:pt x="130" y="450"/>
                </a:lnTo>
                <a:lnTo>
                  <a:pt x="136" y="460"/>
                </a:lnTo>
                <a:lnTo>
                  <a:pt x="142" y="460"/>
                </a:lnTo>
                <a:lnTo>
                  <a:pt x="148" y="458"/>
                </a:lnTo>
                <a:lnTo>
                  <a:pt x="154" y="462"/>
                </a:lnTo>
                <a:lnTo>
                  <a:pt x="154" y="468"/>
                </a:lnTo>
                <a:lnTo>
                  <a:pt x="160" y="472"/>
                </a:lnTo>
                <a:lnTo>
                  <a:pt x="166" y="478"/>
                </a:lnTo>
                <a:lnTo>
                  <a:pt x="170" y="482"/>
                </a:lnTo>
                <a:lnTo>
                  <a:pt x="176" y="482"/>
                </a:lnTo>
                <a:lnTo>
                  <a:pt x="182" y="486"/>
                </a:lnTo>
                <a:lnTo>
                  <a:pt x="194" y="488"/>
                </a:lnTo>
                <a:lnTo>
                  <a:pt x="202" y="490"/>
                </a:lnTo>
                <a:lnTo>
                  <a:pt x="208" y="486"/>
                </a:lnTo>
                <a:lnTo>
                  <a:pt x="214" y="488"/>
                </a:lnTo>
                <a:lnTo>
                  <a:pt x="218" y="494"/>
                </a:lnTo>
                <a:lnTo>
                  <a:pt x="224" y="484"/>
                </a:lnTo>
                <a:lnTo>
                  <a:pt x="228" y="482"/>
                </a:lnTo>
                <a:lnTo>
                  <a:pt x="236" y="480"/>
                </a:lnTo>
                <a:lnTo>
                  <a:pt x="242" y="484"/>
                </a:lnTo>
                <a:lnTo>
                  <a:pt x="248" y="484"/>
                </a:lnTo>
                <a:lnTo>
                  <a:pt x="258" y="484"/>
                </a:lnTo>
                <a:lnTo>
                  <a:pt x="264" y="482"/>
                </a:lnTo>
                <a:lnTo>
                  <a:pt x="272" y="480"/>
                </a:lnTo>
                <a:lnTo>
                  <a:pt x="276" y="476"/>
                </a:lnTo>
                <a:lnTo>
                  <a:pt x="284" y="474"/>
                </a:lnTo>
                <a:lnTo>
                  <a:pt x="288" y="476"/>
                </a:lnTo>
                <a:lnTo>
                  <a:pt x="292" y="472"/>
                </a:lnTo>
                <a:lnTo>
                  <a:pt x="298" y="472"/>
                </a:lnTo>
                <a:lnTo>
                  <a:pt x="306" y="476"/>
                </a:lnTo>
                <a:lnTo>
                  <a:pt x="306" y="482"/>
                </a:lnTo>
                <a:lnTo>
                  <a:pt x="308" y="486"/>
                </a:lnTo>
                <a:lnTo>
                  <a:pt x="314" y="484"/>
                </a:lnTo>
                <a:lnTo>
                  <a:pt x="316" y="486"/>
                </a:lnTo>
                <a:lnTo>
                  <a:pt x="322" y="488"/>
                </a:lnTo>
                <a:lnTo>
                  <a:pt x="326" y="490"/>
                </a:lnTo>
                <a:lnTo>
                  <a:pt x="328" y="494"/>
                </a:lnTo>
                <a:lnTo>
                  <a:pt x="330" y="498"/>
                </a:lnTo>
                <a:lnTo>
                  <a:pt x="334" y="498"/>
                </a:lnTo>
                <a:lnTo>
                  <a:pt x="338" y="498"/>
                </a:lnTo>
                <a:lnTo>
                  <a:pt x="340" y="504"/>
                </a:lnTo>
                <a:lnTo>
                  <a:pt x="342" y="508"/>
                </a:lnTo>
                <a:lnTo>
                  <a:pt x="340" y="516"/>
                </a:lnTo>
                <a:lnTo>
                  <a:pt x="342" y="520"/>
                </a:lnTo>
                <a:lnTo>
                  <a:pt x="342" y="524"/>
                </a:lnTo>
                <a:lnTo>
                  <a:pt x="340" y="534"/>
                </a:lnTo>
                <a:lnTo>
                  <a:pt x="336" y="540"/>
                </a:lnTo>
                <a:lnTo>
                  <a:pt x="332" y="546"/>
                </a:lnTo>
                <a:lnTo>
                  <a:pt x="332" y="550"/>
                </a:lnTo>
                <a:lnTo>
                  <a:pt x="334" y="554"/>
                </a:lnTo>
                <a:lnTo>
                  <a:pt x="334" y="560"/>
                </a:lnTo>
                <a:lnTo>
                  <a:pt x="336" y="562"/>
                </a:lnTo>
                <a:lnTo>
                  <a:pt x="338" y="562"/>
                </a:lnTo>
                <a:lnTo>
                  <a:pt x="340" y="558"/>
                </a:lnTo>
                <a:lnTo>
                  <a:pt x="346" y="556"/>
                </a:lnTo>
                <a:lnTo>
                  <a:pt x="350" y="556"/>
                </a:lnTo>
                <a:lnTo>
                  <a:pt x="352" y="560"/>
                </a:lnTo>
                <a:lnTo>
                  <a:pt x="352" y="564"/>
                </a:lnTo>
                <a:lnTo>
                  <a:pt x="354" y="570"/>
                </a:lnTo>
                <a:lnTo>
                  <a:pt x="358" y="570"/>
                </a:lnTo>
                <a:lnTo>
                  <a:pt x="358" y="574"/>
                </a:lnTo>
                <a:lnTo>
                  <a:pt x="354" y="580"/>
                </a:lnTo>
                <a:lnTo>
                  <a:pt x="354" y="584"/>
                </a:lnTo>
                <a:lnTo>
                  <a:pt x="360" y="586"/>
                </a:lnTo>
                <a:lnTo>
                  <a:pt x="364" y="586"/>
                </a:lnTo>
                <a:lnTo>
                  <a:pt x="366" y="594"/>
                </a:lnTo>
                <a:lnTo>
                  <a:pt x="368" y="600"/>
                </a:lnTo>
                <a:lnTo>
                  <a:pt x="378" y="602"/>
                </a:lnTo>
                <a:lnTo>
                  <a:pt x="376" y="608"/>
                </a:lnTo>
                <a:lnTo>
                  <a:pt x="384" y="608"/>
                </a:lnTo>
                <a:lnTo>
                  <a:pt x="388" y="602"/>
                </a:lnTo>
                <a:lnTo>
                  <a:pt x="388" y="592"/>
                </a:lnTo>
                <a:lnTo>
                  <a:pt x="384" y="584"/>
                </a:lnTo>
                <a:lnTo>
                  <a:pt x="388" y="578"/>
                </a:lnTo>
                <a:lnTo>
                  <a:pt x="394" y="580"/>
                </a:lnTo>
                <a:lnTo>
                  <a:pt x="400" y="576"/>
                </a:lnTo>
                <a:lnTo>
                  <a:pt x="408" y="578"/>
                </a:lnTo>
                <a:lnTo>
                  <a:pt x="416" y="576"/>
                </a:lnTo>
                <a:lnTo>
                  <a:pt x="426" y="576"/>
                </a:lnTo>
                <a:lnTo>
                  <a:pt x="432" y="570"/>
                </a:lnTo>
                <a:lnTo>
                  <a:pt x="438" y="572"/>
                </a:lnTo>
                <a:lnTo>
                  <a:pt x="442" y="574"/>
                </a:lnTo>
                <a:lnTo>
                  <a:pt x="448" y="576"/>
                </a:lnTo>
                <a:lnTo>
                  <a:pt x="446" y="584"/>
                </a:lnTo>
                <a:lnTo>
                  <a:pt x="450" y="590"/>
                </a:lnTo>
                <a:lnTo>
                  <a:pt x="454" y="594"/>
                </a:lnTo>
                <a:lnTo>
                  <a:pt x="460" y="596"/>
                </a:lnTo>
                <a:lnTo>
                  <a:pt x="464" y="596"/>
                </a:lnTo>
                <a:lnTo>
                  <a:pt x="470" y="598"/>
                </a:lnTo>
                <a:lnTo>
                  <a:pt x="470" y="598"/>
                </a:lnTo>
                <a:lnTo>
                  <a:pt x="472" y="594"/>
                </a:lnTo>
                <a:lnTo>
                  <a:pt x="472" y="594"/>
                </a:lnTo>
                <a:lnTo>
                  <a:pt x="476" y="594"/>
                </a:lnTo>
                <a:lnTo>
                  <a:pt x="482" y="594"/>
                </a:lnTo>
                <a:lnTo>
                  <a:pt x="484" y="596"/>
                </a:lnTo>
                <a:lnTo>
                  <a:pt x="484" y="596"/>
                </a:lnTo>
                <a:lnTo>
                  <a:pt x="486" y="596"/>
                </a:lnTo>
                <a:lnTo>
                  <a:pt x="488" y="596"/>
                </a:lnTo>
                <a:lnTo>
                  <a:pt x="488" y="596"/>
                </a:lnTo>
                <a:lnTo>
                  <a:pt x="488" y="598"/>
                </a:lnTo>
                <a:lnTo>
                  <a:pt x="490" y="600"/>
                </a:lnTo>
                <a:lnTo>
                  <a:pt x="490" y="600"/>
                </a:lnTo>
                <a:lnTo>
                  <a:pt x="488" y="604"/>
                </a:lnTo>
                <a:lnTo>
                  <a:pt x="488" y="610"/>
                </a:lnTo>
                <a:lnTo>
                  <a:pt x="490" y="610"/>
                </a:lnTo>
                <a:lnTo>
                  <a:pt x="490" y="610"/>
                </a:lnTo>
                <a:lnTo>
                  <a:pt x="492" y="620"/>
                </a:lnTo>
                <a:lnTo>
                  <a:pt x="492" y="620"/>
                </a:lnTo>
                <a:lnTo>
                  <a:pt x="500" y="618"/>
                </a:lnTo>
                <a:lnTo>
                  <a:pt x="500" y="618"/>
                </a:lnTo>
                <a:lnTo>
                  <a:pt x="500" y="612"/>
                </a:lnTo>
                <a:lnTo>
                  <a:pt x="496" y="608"/>
                </a:lnTo>
                <a:lnTo>
                  <a:pt x="496" y="608"/>
                </a:lnTo>
                <a:lnTo>
                  <a:pt x="498" y="608"/>
                </a:lnTo>
                <a:lnTo>
                  <a:pt x="498" y="608"/>
                </a:lnTo>
                <a:lnTo>
                  <a:pt x="500" y="606"/>
                </a:lnTo>
                <a:lnTo>
                  <a:pt x="500" y="604"/>
                </a:lnTo>
                <a:lnTo>
                  <a:pt x="500" y="604"/>
                </a:lnTo>
                <a:lnTo>
                  <a:pt x="504" y="604"/>
                </a:lnTo>
                <a:lnTo>
                  <a:pt x="508" y="602"/>
                </a:lnTo>
                <a:lnTo>
                  <a:pt x="508" y="602"/>
                </a:lnTo>
                <a:lnTo>
                  <a:pt x="512" y="596"/>
                </a:lnTo>
                <a:lnTo>
                  <a:pt x="512" y="596"/>
                </a:lnTo>
                <a:lnTo>
                  <a:pt x="516" y="596"/>
                </a:lnTo>
                <a:lnTo>
                  <a:pt x="516" y="594"/>
                </a:lnTo>
                <a:lnTo>
                  <a:pt x="516" y="594"/>
                </a:lnTo>
                <a:lnTo>
                  <a:pt x="516" y="594"/>
                </a:lnTo>
                <a:lnTo>
                  <a:pt x="518" y="594"/>
                </a:lnTo>
                <a:lnTo>
                  <a:pt x="518" y="594"/>
                </a:lnTo>
                <a:lnTo>
                  <a:pt x="520" y="590"/>
                </a:lnTo>
                <a:lnTo>
                  <a:pt x="520" y="590"/>
                </a:lnTo>
                <a:lnTo>
                  <a:pt x="522" y="590"/>
                </a:lnTo>
                <a:lnTo>
                  <a:pt x="524" y="592"/>
                </a:lnTo>
                <a:lnTo>
                  <a:pt x="526" y="590"/>
                </a:lnTo>
                <a:lnTo>
                  <a:pt x="526" y="590"/>
                </a:lnTo>
                <a:lnTo>
                  <a:pt x="532" y="590"/>
                </a:lnTo>
                <a:lnTo>
                  <a:pt x="538" y="590"/>
                </a:lnTo>
                <a:lnTo>
                  <a:pt x="538" y="590"/>
                </a:lnTo>
                <a:lnTo>
                  <a:pt x="544" y="578"/>
                </a:lnTo>
                <a:lnTo>
                  <a:pt x="546" y="578"/>
                </a:lnTo>
                <a:lnTo>
                  <a:pt x="546" y="578"/>
                </a:lnTo>
                <a:lnTo>
                  <a:pt x="548" y="576"/>
                </a:lnTo>
                <a:lnTo>
                  <a:pt x="548" y="574"/>
                </a:lnTo>
                <a:lnTo>
                  <a:pt x="546" y="574"/>
                </a:lnTo>
                <a:lnTo>
                  <a:pt x="546" y="572"/>
                </a:lnTo>
                <a:lnTo>
                  <a:pt x="546" y="572"/>
                </a:lnTo>
                <a:lnTo>
                  <a:pt x="550" y="572"/>
                </a:lnTo>
                <a:lnTo>
                  <a:pt x="550" y="572"/>
                </a:lnTo>
                <a:lnTo>
                  <a:pt x="552" y="578"/>
                </a:lnTo>
                <a:lnTo>
                  <a:pt x="552" y="578"/>
                </a:lnTo>
                <a:lnTo>
                  <a:pt x="556" y="578"/>
                </a:lnTo>
                <a:lnTo>
                  <a:pt x="556" y="578"/>
                </a:lnTo>
                <a:lnTo>
                  <a:pt x="558" y="578"/>
                </a:lnTo>
                <a:lnTo>
                  <a:pt x="560" y="580"/>
                </a:lnTo>
                <a:lnTo>
                  <a:pt x="560" y="580"/>
                </a:lnTo>
                <a:lnTo>
                  <a:pt x="562" y="578"/>
                </a:lnTo>
                <a:lnTo>
                  <a:pt x="562" y="576"/>
                </a:lnTo>
                <a:lnTo>
                  <a:pt x="562" y="576"/>
                </a:lnTo>
                <a:lnTo>
                  <a:pt x="570" y="574"/>
                </a:lnTo>
                <a:lnTo>
                  <a:pt x="570" y="574"/>
                </a:lnTo>
                <a:lnTo>
                  <a:pt x="574" y="576"/>
                </a:lnTo>
                <a:lnTo>
                  <a:pt x="576" y="576"/>
                </a:lnTo>
                <a:lnTo>
                  <a:pt x="576" y="574"/>
                </a:lnTo>
                <a:lnTo>
                  <a:pt x="576" y="574"/>
                </a:lnTo>
                <a:lnTo>
                  <a:pt x="580" y="572"/>
                </a:lnTo>
                <a:lnTo>
                  <a:pt x="580" y="572"/>
                </a:lnTo>
                <a:lnTo>
                  <a:pt x="582" y="568"/>
                </a:lnTo>
                <a:lnTo>
                  <a:pt x="580" y="566"/>
                </a:lnTo>
                <a:lnTo>
                  <a:pt x="580" y="564"/>
                </a:lnTo>
                <a:lnTo>
                  <a:pt x="580" y="564"/>
                </a:lnTo>
                <a:lnTo>
                  <a:pt x="588" y="560"/>
                </a:lnTo>
                <a:lnTo>
                  <a:pt x="588" y="560"/>
                </a:lnTo>
                <a:lnTo>
                  <a:pt x="588" y="558"/>
                </a:lnTo>
                <a:lnTo>
                  <a:pt x="588" y="558"/>
                </a:lnTo>
                <a:lnTo>
                  <a:pt x="590" y="558"/>
                </a:lnTo>
                <a:lnTo>
                  <a:pt x="592" y="558"/>
                </a:lnTo>
                <a:lnTo>
                  <a:pt x="592" y="558"/>
                </a:lnTo>
                <a:lnTo>
                  <a:pt x="594" y="556"/>
                </a:lnTo>
                <a:lnTo>
                  <a:pt x="594" y="556"/>
                </a:lnTo>
                <a:lnTo>
                  <a:pt x="594" y="552"/>
                </a:lnTo>
                <a:lnTo>
                  <a:pt x="594" y="552"/>
                </a:lnTo>
                <a:lnTo>
                  <a:pt x="598" y="552"/>
                </a:lnTo>
                <a:lnTo>
                  <a:pt x="600" y="552"/>
                </a:lnTo>
                <a:lnTo>
                  <a:pt x="600" y="552"/>
                </a:lnTo>
                <a:lnTo>
                  <a:pt x="602" y="548"/>
                </a:lnTo>
                <a:lnTo>
                  <a:pt x="602" y="548"/>
                </a:lnTo>
                <a:lnTo>
                  <a:pt x="602" y="542"/>
                </a:lnTo>
                <a:lnTo>
                  <a:pt x="602" y="542"/>
                </a:lnTo>
                <a:lnTo>
                  <a:pt x="616" y="540"/>
                </a:lnTo>
                <a:lnTo>
                  <a:pt x="616" y="540"/>
                </a:lnTo>
                <a:lnTo>
                  <a:pt x="616" y="538"/>
                </a:lnTo>
                <a:lnTo>
                  <a:pt x="614" y="538"/>
                </a:lnTo>
                <a:lnTo>
                  <a:pt x="614" y="538"/>
                </a:lnTo>
                <a:lnTo>
                  <a:pt x="614" y="536"/>
                </a:lnTo>
                <a:lnTo>
                  <a:pt x="616" y="534"/>
                </a:lnTo>
                <a:lnTo>
                  <a:pt x="618" y="534"/>
                </a:lnTo>
                <a:lnTo>
                  <a:pt x="618" y="532"/>
                </a:lnTo>
                <a:lnTo>
                  <a:pt x="618" y="532"/>
                </a:lnTo>
                <a:lnTo>
                  <a:pt x="616" y="532"/>
                </a:lnTo>
                <a:lnTo>
                  <a:pt x="616" y="530"/>
                </a:lnTo>
                <a:lnTo>
                  <a:pt x="618" y="528"/>
                </a:lnTo>
                <a:lnTo>
                  <a:pt x="618" y="528"/>
                </a:lnTo>
                <a:lnTo>
                  <a:pt x="624" y="528"/>
                </a:lnTo>
                <a:lnTo>
                  <a:pt x="624" y="528"/>
                </a:lnTo>
                <a:lnTo>
                  <a:pt x="624" y="526"/>
                </a:lnTo>
                <a:lnTo>
                  <a:pt x="626" y="526"/>
                </a:lnTo>
                <a:lnTo>
                  <a:pt x="626" y="526"/>
                </a:lnTo>
                <a:lnTo>
                  <a:pt x="624" y="516"/>
                </a:lnTo>
                <a:lnTo>
                  <a:pt x="624" y="516"/>
                </a:lnTo>
                <a:lnTo>
                  <a:pt x="620" y="516"/>
                </a:lnTo>
                <a:lnTo>
                  <a:pt x="620" y="512"/>
                </a:lnTo>
                <a:lnTo>
                  <a:pt x="620" y="512"/>
                </a:lnTo>
                <a:lnTo>
                  <a:pt x="624" y="512"/>
                </a:lnTo>
                <a:lnTo>
                  <a:pt x="624" y="512"/>
                </a:lnTo>
                <a:lnTo>
                  <a:pt x="624" y="504"/>
                </a:lnTo>
                <a:lnTo>
                  <a:pt x="624" y="504"/>
                </a:lnTo>
                <a:lnTo>
                  <a:pt x="628" y="502"/>
                </a:lnTo>
                <a:lnTo>
                  <a:pt x="632" y="500"/>
                </a:lnTo>
                <a:lnTo>
                  <a:pt x="632" y="500"/>
                </a:lnTo>
                <a:lnTo>
                  <a:pt x="632" y="498"/>
                </a:lnTo>
                <a:lnTo>
                  <a:pt x="632" y="498"/>
                </a:lnTo>
                <a:lnTo>
                  <a:pt x="638" y="494"/>
                </a:lnTo>
                <a:lnTo>
                  <a:pt x="638" y="494"/>
                </a:lnTo>
                <a:lnTo>
                  <a:pt x="638" y="488"/>
                </a:lnTo>
                <a:lnTo>
                  <a:pt x="638" y="488"/>
                </a:lnTo>
                <a:lnTo>
                  <a:pt x="638" y="486"/>
                </a:lnTo>
                <a:lnTo>
                  <a:pt x="640" y="486"/>
                </a:lnTo>
                <a:lnTo>
                  <a:pt x="640" y="486"/>
                </a:lnTo>
                <a:lnTo>
                  <a:pt x="640" y="484"/>
                </a:lnTo>
                <a:lnTo>
                  <a:pt x="640" y="484"/>
                </a:lnTo>
                <a:lnTo>
                  <a:pt x="638" y="484"/>
                </a:lnTo>
                <a:lnTo>
                  <a:pt x="640" y="484"/>
                </a:lnTo>
                <a:lnTo>
                  <a:pt x="644" y="484"/>
                </a:lnTo>
                <a:lnTo>
                  <a:pt x="644" y="484"/>
                </a:lnTo>
                <a:lnTo>
                  <a:pt x="644" y="480"/>
                </a:lnTo>
                <a:lnTo>
                  <a:pt x="646" y="478"/>
                </a:lnTo>
                <a:lnTo>
                  <a:pt x="646" y="478"/>
                </a:lnTo>
                <a:lnTo>
                  <a:pt x="650" y="478"/>
                </a:lnTo>
                <a:lnTo>
                  <a:pt x="650" y="478"/>
                </a:lnTo>
                <a:lnTo>
                  <a:pt x="650" y="474"/>
                </a:lnTo>
                <a:lnTo>
                  <a:pt x="650" y="474"/>
                </a:lnTo>
                <a:lnTo>
                  <a:pt x="646" y="472"/>
                </a:lnTo>
                <a:lnTo>
                  <a:pt x="646" y="472"/>
                </a:lnTo>
                <a:lnTo>
                  <a:pt x="648" y="470"/>
                </a:lnTo>
                <a:lnTo>
                  <a:pt x="648" y="468"/>
                </a:lnTo>
                <a:lnTo>
                  <a:pt x="648" y="462"/>
                </a:lnTo>
                <a:lnTo>
                  <a:pt x="648" y="462"/>
                </a:lnTo>
                <a:lnTo>
                  <a:pt x="656" y="462"/>
                </a:lnTo>
                <a:lnTo>
                  <a:pt x="656" y="462"/>
                </a:lnTo>
                <a:lnTo>
                  <a:pt x="654" y="460"/>
                </a:lnTo>
                <a:lnTo>
                  <a:pt x="654" y="456"/>
                </a:lnTo>
                <a:lnTo>
                  <a:pt x="656" y="454"/>
                </a:lnTo>
                <a:lnTo>
                  <a:pt x="654" y="452"/>
                </a:lnTo>
                <a:lnTo>
                  <a:pt x="654" y="452"/>
                </a:lnTo>
                <a:lnTo>
                  <a:pt x="658" y="450"/>
                </a:lnTo>
                <a:lnTo>
                  <a:pt x="660" y="450"/>
                </a:lnTo>
                <a:lnTo>
                  <a:pt x="660" y="450"/>
                </a:lnTo>
                <a:lnTo>
                  <a:pt x="658" y="446"/>
                </a:lnTo>
                <a:lnTo>
                  <a:pt x="658" y="446"/>
                </a:lnTo>
                <a:lnTo>
                  <a:pt x="654" y="446"/>
                </a:lnTo>
                <a:lnTo>
                  <a:pt x="652" y="442"/>
                </a:lnTo>
                <a:lnTo>
                  <a:pt x="652" y="442"/>
                </a:lnTo>
                <a:lnTo>
                  <a:pt x="646" y="444"/>
                </a:lnTo>
                <a:lnTo>
                  <a:pt x="644" y="444"/>
                </a:lnTo>
                <a:lnTo>
                  <a:pt x="640" y="444"/>
                </a:lnTo>
                <a:lnTo>
                  <a:pt x="640" y="444"/>
                </a:lnTo>
                <a:lnTo>
                  <a:pt x="640" y="442"/>
                </a:lnTo>
                <a:lnTo>
                  <a:pt x="640" y="440"/>
                </a:lnTo>
                <a:lnTo>
                  <a:pt x="640" y="440"/>
                </a:lnTo>
                <a:lnTo>
                  <a:pt x="652" y="432"/>
                </a:lnTo>
                <a:lnTo>
                  <a:pt x="630" y="416"/>
                </a:lnTo>
                <a:close/>
              </a:path>
            </a:pathLst>
          </a:custGeom>
          <a:solidFill>
            <a:srgbClr val="008200"/>
          </a:solidFill>
          <a:ln w="9525">
            <a:solidFill>
              <a:srgbClr val="0082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7" name="Freeform 216">
            <a:extLst>
              <a:ext uri="{FF2B5EF4-FFF2-40B4-BE49-F238E27FC236}">
                <a16:creationId xmlns:a16="http://schemas.microsoft.com/office/drawing/2014/main" id="{33A11B4E-D560-4D01-A570-07CDC276D77D}"/>
              </a:ext>
            </a:extLst>
          </p:cNvPr>
          <p:cNvSpPr>
            <a:spLocks noEditPoints="1"/>
          </p:cNvSpPr>
          <p:nvPr userDrawn="1"/>
        </p:nvSpPr>
        <p:spPr bwMode="auto">
          <a:xfrm>
            <a:off x="6161787" y="3001116"/>
            <a:ext cx="238375" cy="470181"/>
          </a:xfrm>
          <a:custGeom>
            <a:avLst/>
            <a:gdLst>
              <a:gd name="T0" fmla="*/ 18 w 142"/>
              <a:gd name="T1" fmla="*/ 182 h 274"/>
              <a:gd name="T2" fmla="*/ 18 w 142"/>
              <a:gd name="T3" fmla="*/ 188 h 274"/>
              <a:gd name="T4" fmla="*/ 22 w 142"/>
              <a:gd name="T5" fmla="*/ 194 h 274"/>
              <a:gd name="T6" fmla="*/ 22 w 142"/>
              <a:gd name="T7" fmla="*/ 202 h 274"/>
              <a:gd name="T8" fmla="*/ 18 w 142"/>
              <a:gd name="T9" fmla="*/ 208 h 274"/>
              <a:gd name="T10" fmla="*/ 22 w 142"/>
              <a:gd name="T11" fmla="*/ 218 h 274"/>
              <a:gd name="T12" fmla="*/ 24 w 142"/>
              <a:gd name="T13" fmla="*/ 226 h 274"/>
              <a:gd name="T14" fmla="*/ 24 w 142"/>
              <a:gd name="T15" fmla="*/ 232 h 274"/>
              <a:gd name="T16" fmla="*/ 12 w 142"/>
              <a:gd name="T17" fmla="*/ 232 h 274"/>
              <a:gd name="T18" fmla="*/ 6 w 142"/>
              <a:gd name="T19" fmla="*/ 238 h 274"/>
              <a:gd name="T20" fmla="*/ 6 w 142"/>
              <a:gd name="T21" fmla="*/ 242 h 274"/>
              <a:gd name="T22" fmla="*/ 18 w 142"/>
              <a:gd name="T23" fmla="*/ 260 h 274"/>
              <a:gd name="T24" fmla="*/ 22 w 142"/>
              <a:gd name="T25" fmla="*/ 274 h 274"/>
              <a:gd name="T26" fmla="*/ 32 w 142"/>
              <a:gd name="T27" fmla="*/ 268 h 274"/>
              <a:gd name="T28" fmla="*/ 38 w 142"/>
              <a:gd name="T29" fmla="*/ 270 h 274"/>
              <a:gd name="T30" fmla="*/ 60 w 142"/>
              <a:gd name="T31" fmla="*/ 266 h 274"/>
              <a:gd name="T32" fmla="*/ 70 w 142"/>
              <a:gd name="T33" fmla="*/ 256 h 274"/>
              <a:gd name="T34" fmla="*/ 74 w 142"/>
              <a:gd name="T35" fmla="*/ 254 h 274"/>
              <a:gd name="T36" fmla="*/ 72 w 142"/>
              <a:gd name="T37" fmla="*/ 246 h 274"/>
              <a:gd name="T38" fmla="*/ 78 w 142"/>
              <a:gd name="T39" fmla="*/ 242 h 274"/>
              <a:gd name="T40" fmla="*/ 86 w 142"/>
              <a:gd name="T41" fmla="*/ 240 h 274"/>
              <a:gd name="T42" fmla="*/ 94 w 142"/>
              <a:gd name="T43" fmla="*/ 236 h 274"/>
              <a:gd name="T44" fmla="*/ 100 w 142"/>
              <a:gd name="T45" fmla="*/ 230 h 274"/>
              <a:gd name="T46" fmla="*/ 108 w 142"/>
              <a:gd name="T47" fmla="*/ 226 h 274"/>
              <a:gd name="T48" fmla="*/ 112 w 142"/>
              <a:gd name="T49" fmla="*/ 220 h 274"/>
              <a:gd name="T50" fmla="*/ 118 w 142"/>
              <a:gd name="T51" fmla="*/ 216 h 274"/>
              <a:gd name="T52" fmla="*/ 118 w 142"/>
              <a:gd name="T53" fmla="*/ 210 h 274"/>
              <a:gd name="T54" fmla="*/ 116 w 142"/>
              <a:gd name="T55" fmla="*/ 204 h 274"/>
              <a:gd name="T56" fmla="*/ 116 w 142"/>
              <a:gd name="T57" fmla="*/ 198 h 274"/>
              <a:gd name="T58" fmla="*/ 114 w 142"/>
              <a:gd name="T59" fmla="*/ 192 h 274"/>
              <a:gd name="T60" fmla="*/ 118 w 142"/>
              <a:gd name="T61" fmla="*/ 186 h 274"/>
              <a:gd name="T62" fmla="*/ 112 w 142"/>
              <a:gd name="T63" fmla="*/ 182 h 274"/>
              <a:gd name="T64" fmla="*/ 106 w 142"/>
              <a:gd name="T65" fmla="*/ 184 h 274"/>
              <a:gd name="T66" fmla="*/ 106 w 142"/>
              <a:gd name="T67" fmla="*/ 178 h 274"/>
              <a:gd name="T68" fmla="*/ 110 w 142"/>
              <a:gd name="T69" fmla="*/ 174 h 274"/>
              <a:gd name="T70" fmla="*/ 112 w 142"/>
              <a:gd name="T71" fmla="*/ 168 h 274"/>
              <a:gd name="T72" fmla="*/ 116 w 142"/>
              <a:gd name="T73" fmla="*/ 160 h 274"/>
              <a:gd name="T74" fmla="*/ 118 w 142"/>
              <a:gd name="T75" fmla="*/ 152 h 274"/>
              <a:gd name="T76" fmla="*/ 122 w 142"/>
              <a:gd name="T77" fmla="*/ 146 h 274"/>
              <a:gd name="T78" fmla="*/ 122 w 142"/>
              <a:gd name="T79" fmla="*/ 140 h 274"/>
              <a:gd name="T80" fmla="*/ 126 w 142"/>
              <a:gd name="T81" fmla="*/ 134 h 274"/>
              <a:gd name="T82" fmla="*/ 132 w 142"/>
              <a:gd name="T83" fmla="*/ 132 h 274"/>
              <a:gd name="T84" fmla="*/ 142 w 142"/>
              <a:gd name="T85" fmla="*/ 132 h 274"/>
              <a:gd name="T86" fmla="*/ 12 w 142"/>
              <a:gd name="T87" fmla="*/ 10 h 274"/>
              <a:gd name="T88" fmla="*/ 24 w 142"/>
              <a:gd name="T89" fmla="*/ 50 h 274"/>
              <a:gd name="T90" fmla="*/ 26 w 142"/>
              <a:gd name="T91" fmla="*/ 58 h 274"/>
              <a:gd name="T92" fmla="*/ 22 w 142"/>
              <a:gd name="T93" fmla="*/ 72 h 274"/>
              <a:gd name="T94" fmla="*/ 0 w 142"/>
              <a:gd name="T95" fmla="*/ 146 h 274"/>
              <a:gd name="T96" fmla="*/ 2 w 142"/>
              <a:gd name="T97" fmla="*/ 160 h 274"/>
              <a:gd name="T98" fmla="*/ 6 w 142"/>
              <a:gd name="T99" fmla="*/ 160 h 274"/>
              <a:gd name="T100" fmla="*/ 14 w 142"/>
              <a:gd name="T101" fmla="*/ 168 h 274"/>
              <a:gd name="T102" fmla="*/ 24 w 142"/>
              <a:gd name="T103" fmla="*/ 168 h 274"/>
              <a:gd name="T104" fmla="*/ 24 w 142"/>
              <a:gd name="T105" fmla="*/ 174 h 274"/>
              <a:gd name="T106" fmla="*/ 20 w 142"/>
              <a:gd name="T107" fmla="*/ 172 h 274"/>
              <a:gd name="T108" fmla="*/ 10 w 142"/>
              <a:gd name="T109" fmla="*/ 174 h 274"/>
              <a:gd name="T110" fmla="*/ 2 w 142"/>
              <a:gd name="T111" fmla="*/ 1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274">
                <a:moveTo>
                  <a:pt x="8" y="174"/>
                </a:moveTo>
                <a:lnTo>
                  <a:pt x="8" y="174"/>
                </a:lnTo>
                <a:lnTo>
                  <a:pt x="18" y="182"/>
                </a:lnTo>
                <a:lnTo>
                  <a:pt x="18" y="182"/>
                </a:lnTo>
                <a:lnTo>
                  <a:pt x="18" y="186"/>
                </a:lnTo>
                <a:lnTo>
                  <a:pt x="18" y="188"/>
                </a:lnTo>
                <a:lnTo>
                  <a:pt x="18" y="190"/>
                </a:lnTo>
                <a:lnTo>
                  <a:pt x="18" y="190"/>
                </a:lnTo>
                <a:lnTo>
                  <a:pt x="22" y="194"/>
                </a:lnTo>
                <a:lnTo>
                  <a:pt x="22" y="198"/>
                </a:lnTo>
                <a:lnTo>
                  <a:pt x="22" y="198"/>
                </a:lnTo>
                <a:lnTo>
                  <a:pt x="22" y="202"/>
                </a:lnTo>
                <a:lnTo>
                  <a:pt x="22" y="202"/>
                </a:lnTo>
                <a:lnTo>
                  <a:pt x="20" y="204"/>
                </a:lnTo>
                <a:lnTo>
                  <a:pt x="18" y="208"/>
                </a:lnTo>
                <a:lnTo>
                  <a:pt x="18" y="208"/>
                </a:lnTo>
                <a:lnTo>
                  <a:pt x="20" y="214"/>
                </a:lnTo>
                <a:lnTo>
                  <a:pt x="22" y="218"/>
                </a:lnTo>
                <a:lnTo>
                  <a:pt x="22" y="218"/>
                </a:lnTo>
                <a:lnTo>
                  <a:pt x="22" y="222"/>
                </a:lnTo>
                <a:lnTo>
                  <a:pt x="24" y="226"/>
                </a:lnTo>
                <a:lnTo>
                  <a:pt x="24" y="226"/>
                </a:lnTo>
                <a:lnTo>
                  <a:pt x="24" y="230"/>
                </a:lnTo>
                <a:lnTo>
                  <a:pt x="24" y="232"/>
                </a:lnTo>
                <a:lnTo>
                  <a:pt x="24" y="232"/>
                </a:lnTo>
                <a:lnTo>
                  <a:pt x="18" y="232"/>
                </a:lnTo>
                <a:lnTo>
                  <a:pt x="12" y="232"/>
                </a:lnTo>
                <a:lnTo>
                  <a:pt x="8" y="234"/>
                </a:lnTo>
                <a:lnTo>
                  <a:pt x="8" y="234"/>
                </a:lnTo>
                <a:lnTo>
                  <a:pt x="6" y="238"/>
                </a:lnTo>
                <a:lnTo>
                  <a:pt x="6" y="240"/>
                </a:lnTo>
                <a:lnTo>
                  <a:pt x="6" y="242"/>
                </a:lnTo>
                <a:lnTo>
                  <a:pt x="6" y="242"/>
                </a:lnTo>
                <a:lnTo>
                  <a:pt x="16" y="254"/>
                </a:lnTo>
                <a:lnTo>
                  <a:pt x="16" y="254"/>
                </a:lnTo>
                <a:lnTo>
                  <a:pt x="18" y="260"/>
                </a:lnTo>
                <a:lnTo>
                  <a:pt x="20" y="266"/>
                </a:lnTo>
                <a:lnTo>
                  <a:pt x="16" y="274"/>
                </a:lnTo>
                <a:lnTo>
                  <a:pt x="22" y="274"/>
                </a:lnTo>
                <a:lnTo>
                  <a:pt x="28" y="274"/>
                </a:lnTo>
                <a:lnTo>
                  <a:pt x="32" y="268"/>
                </a:lnTo>
                <a:lnTo>
                  <a:pt x="32" y="268"/>
                </a:lnTo>
                <a:lnTo>
                  <a:pt x="34" y="270"/>
                </a:lnTo>
                <a:lnTo>
                  <a:pt x="38" y="270"/>
                </a:lnTo>
                <a:lnTo>
                  <a:pt x="38" y="270"/>
                </a:lnTo>
                <a:lnTo>
                  <a:pt x="54" y="268"/>
                </a:lnTo>
                <a:lnTo>
                  <a:pt x="54" y="268"/>
                </a:lnTo>
                <a:lnTo>
                  <a:pt x="60" y="266"/>
                </a:lnTo>
                <a:lnTo>
                  <a:pt x="64" y="260"/>
                </a:lnTo>
                <a:lnTo>
                  <a:pt x="64" y="260"/>
                </a:lnTo>
                <a:lnTo>
                  <a:pt x="70" y="256"/>
                </a:lnTo>
                <a:lnTo>
                  <a:pt x="74" y="254"/>
                </a:lnTo>
                <a:lnTo>
                  <a:pt x="74" y="254"/>
                </a:lnTo>
                <a:lnTo>
                  <a:pt x="74" y="254"/>
                </a:lnTo>
                <a:lnTo>
                  <a:pt x="72" y="252"/>
                </a:lnTo>
                <a:lnTo>
                  <a:pt x="70" y="250"/>
                </a:lnTo>
                <a:lnTo>
                  <a:pt x="72" y="246"/>
                </a:lnTo>
                <a:lnTo>
                  <a:pt x="72" y="246"/>
                </a:lnTo>
                <a:lnTo>
                  <a:pt x="74" y="244"/>
                </a:lnTo>
                <a:lnTo>
                  <a:pt x="78" y="242"/>
                </a:lnTo>
                <a:lnTo>
                  <a:pt x="84" y="242"/>
                </a:lnTo>
                <a:lnTo>
                  <a:pt x="86" y="240"/>
                </a:lnTo>
                <a:lnTo>
                  <a:pt x="86" y="240"/>
                </a:lnTo>
                <a:lnTo>
                  <a:pt x="90" y="238"/>
                </a:lnTo>
                <a:lnTo>
                  <a:pt x="94" y="236"/>
                </a:lnTo>
                <a:lnTo>
                  <a:pt x="94" y="236"/>
                </a:lnTo>
                <a:lnTo>
                  <a:pt x="96" y="236"/>
                </a:lnTo>
                <a:lnTo>
                  <a:pt x="98" y="234"/>
                </a:lnTo>
                <a:lnTo>
                  <a:pt x="100" y="230"/>
                </a:lnTo>
                <a:lnTo>
                  <a:pt x="100" y="230"/>
                </a:lnTo>
                <a:lnTo>
                  <a:pt x="108" y="226"/>
                </a:lnTo>
                <a:lnTo>
                  <a:pt x="108" y="226"/>
                </a:lnTo>
                <a:lnTo>
                  <a:pt x="110" y="224"/>
                </a:lnTo>
                <a:lnTo>
                  <a:pt x="112" y="220"/>
                </a:lnTo>
                <a:lnTo>
                  <a:pt x="112" y="220"/>
                </a:lnTo>
                <a:lnTo>
                  <a:pt x="114" y="218"/>
                </a:lnTo>
                <a:lnTo>
                  <a:pt x="116" y="216"/>
                </a:lnTo>
                <a:lnTo>
                  <a:pt x="118" y="216"/>
                </a:lnTo>
                <a:lnTo>
                  <a:pt x="118" y="216"/>
                </a:lnTo>
                <a:lnTo>
                  <a:pt x="118" y="214"/>
                </a:lnTo>
                <a:lnTo>
                  <a:pt x="118" y="210"/>
                </a:lnTo>
                <a:lnTo>
                  <a:pt x="118" y="210"/>
                </a:lnTo>
                <a:lnTo>
                  <a:pt x="114" y="206"/>
                </a:lnTo>
                <a:lnTo>
                  <a:pt x="116" y="204"/>
                </a:lnTo>
                <a:lnTo>
                  <a:pt x="116" y="204"/>
                </a:lnTo>
                <a:lnTo>
                  <a:pt x="116" y="198"/>
                </a:lnTo>
                <a:lnTo>
                  <a:pt x="116" y="198"/>
                </a:lnTo>
                <a:lnTo>
                  <a:pt x="114" y="194"/>
                </a:lnTo>
                <a:lnTo>
                  <a:pt x="114" y="194"/>
                </a:lnTo>
                <a:lnTo>
                  <a:pt x="114" y="192"/>
                </a:lnTo>
                <a:lnTo>
                  <a:pt x="116" y="190"/>
                </a:lnTo>
                <a:lnTo>
                  <a:pt x="118" y="188"/>
                </a:lnTo>
                <a:lnTo>
                  <a:pt x="118" y="186"/>
                </a:lnTo>
                <a:lnTo>
                  <a:pt x="118" y="186"/>
                </a:lnTo>
                <a:lnTo>
                  <a:pt x="114" y="184"/>
                </a:lnTo>
                <a:lnTo>
                  <a:pt x="112" y="182"/>
                </a:lnTo>
                <a:lnTo>
                  <a:pt x="112" y="182"/>
                </a:lnTo>
                <a:lnTo>
                  <a:pt x="108" y="184"/>
                </a:lnTo>
                <a:lnTo>
                  <a:pt x="106" y="184"/>
                </a:lnTo>
                <a:lnTo>
                  <a:pt x="106" y="182"/>
                </a:lnTo>
                <a:lnTo>
                  <a:pt x="106" y="182"/>
                </a:lnTo>
                <a:lnTo>
                  <a:pt x="106" y="178"/>
                </a:lnTo>
                <a:lnTo>
                  <a:pt x="106" y="176"/>
                </a:lnTo>
                <a:lnTo>
                  <a:pt x="106" y="176"/>
                </a:lnTo>
                <a:lnTo>
                  <a:pt x="110" y="174"/>
                </a:lnTo>
                <a:lnTo>
                  <a:pt x="110" y="170"/>
                </a:lnTo>
                <a:lnTo>
                  <a:pt x="110" y="170"/>
                </a:lnTo>
                <a:lnTo>
                  <a:pt x="112" y="168"/>
                </a:lnTo>
                <a:lnTo>
                  <a:pt x="114" y="166"/>
                </a:lnTo>
                <a:lnTo>
                  <a:pt x="114" y="166"/>
                </a:lnTo>
                <a:lnTo>
                  <a:pt x="116" y="160"/>
                </a:lnTo>
                <a:lnTo>
                  <a:pt x="118" y="156"/>
                </a:lnTo>
                <a:lnTo>
                  <a:pt x="118" y="156"/>
                </a:lnTo>
                <a:lnTo>
                  <a:pt x="118" y="152"/>
                </a:lnTo>
                <a:lnTo>
                  <a:pt x="120" y="150"/>
                </a:lnTo>
                <a:lnTo>
                  <a:pt x="120" y="150"/>
                </a:lnTo>
                <a:lnTo>
                  <a:pt x="122" y="146"/>
                </a:lnTo>
                <a:lnTo>
                  <a:pt x="122" y="142"/>
                </a:lnTo>
                <a:lnTo>
                  <a:pt x="122" y="142"/>
                </a:lnTo>
                <a:lnTo>
                  <a:pt x="122" y="140"/>
                </a:lnTo>
                <a:lnTo>
                  <a:pt x="122" y="138"/>
                </a:lnTo>
                <a:lnTo>
                  <a:pt x="126" y="134"/>
                </a:lnTo>
                <a:lnTo>
                  <a:pt x="126" y="134"/>
                </a:lnTo>
                <a:lnTo>
                  <a:pt x="126" y="132"/>
                </a:lnTo>
                <a:lnTo>
                  <a:pt x="128" y="132"/>
                </a:lnTo>
                <a:lnTo>
                  <a:pt x="132" y="132"/>
                </a:lnTo>
                <a:lnTo>
                  <a:pt x="132" y="132"/>
                </a:lnTo>
                <a:lnTo>
                  <a:pt x="138" y="134"/>
                </a:lnTo>
                <a:lnTo>
                  <a:pt x="142" y="132"/>
                </a:lnTo>
                <a:lnTo>
                  <a:pt x="142" y="70"/>
                </a:lnTo>
                <a:lnTo>
                  <a:pt x="26" y="0"/>
                </a:lnTo>
                <a:lnTo>
                  <a:pt x="12" y="10"/>
                </a:lnTo>
                <a:lnTo>
                  <a:pt x="20" y="44"/>
                </a:lnTo>
                <a:lnTo>
                  <a:pt x="20" y="44"/>
                </a:lnTo>
                <a:lnTo>
                  <a:pt x="24" y="50"/>
                </a:lnTo>
                <a:lnTo>
                  <a:pt x="26" y="54"/>
                </a:lnTo>
                <a:lnTo>
                  <a:pt x="26" y="58"/>
                </a:lnTo>
                <a:lnTo>
                  <a:pt x="26" y="58"/>
                </a:lnTo>
                <a:lnTo>
                  <a:pt x="22" y="64"/>
                </a:lnTo>
                <a:lnTo>
                  <a:pt x="22" y="72"/>
                </a:lnTo>
                <a:lnTo>
                  <a:pt x="22" y="72"/>
                </a:lnTo>
                <a:lnTo>
                  <a:pt x="20" y="102"/>
                </a:lnTo>
                <a:lnTo>
                  <a:pt x="22" y="128"/>
                </a:lnTo>
                <a:lnTo>
                  <a:pt x="0" y="146"/>
                </a:lnTo>
                <a:lnTo>
                  <a:pt x="0" y="160"/>
                </a:lnTo>
                <a:lnTo>
                  <a:pt x="8" y="174"/>
                </a:lnTo>
                <a:close/>
                <a:moveTo>
                  <a:pt x="2" y="160"/>
                </a:moveTo>
                <a:lnTo>
                  <a:pt x="2" y="160"/>
                </a:lnTo>
                <a:lnTo>
                  <a:pt x="6" y="160"/>
                </a:lnTo>
                <a:lnTo>
                  <a:pt x="6" y="160"/>
                </a:lnTo>
                <a:lnTo>
                  <a:pt x="6" y="164"/>
                </a:lnTo>
                <a:lnTo>
                  <a:pt x="6" y="164"/>
                </a:lnTo>
                <a:lnTo>
                  <a:pt x="14" y="168"/>
                </a:lnTo>
                <a:lnTo>
                  <a:pt x="14" y="168"/>
                </a:lnTo>
                <a:lnTo>
                  <a:pt x="24" y="168"/>
                </a:lnTo>
                <a:lnTo>
                  <a:pt x="24" y="168"/>
                </a:lnTo>
                <a:lnTo>
                  <a:pt x="24" y="174"/>
                </a:lnTo>
                <a:lnTo>
                  <a:pt x="24" y="174"/>
                </a:lnTo>
                <a:lnTo>
                  <a:pt x="24" y="174"/>
                </a:lnTo>
                <a:lnTo>
                  <a:pt x="22" y="174"/>
                </a:lnTo>
                <a:lnTo>
                  <a:pt x="22" y="174"/>
                </a:lnTo>
                <a:lnTo>
                  <a:pt x="20" y="172"/>
                </a:lnTo>
                <a:lnTo>
                  <a:pt x="20" y="172"/>
                </a:lnTo>
                <a:lnTo>
                  <a:pt x="14" y="172"/>
                </a:lnTo>
                <a:lnTo>
                  <a:pt x="10" y="174"/>
                </a:lnTo>
                <a:lnTo>
                  <a:pt x="10" y="174"/>
                </a:lnTo>
                <a:lnTo>
                  <a:pt x="2" y="160"/>
                </a:lnTo>
                <a:lnTo>
                  <a:pt x="2"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8" name="Freeform 217">
            <a:extLst>
              <a:ext uri="{FF2B5EF4-FFF2-40B4-BE49-F238E27FC236}">
                <a16:creationId xmlns:a16="http://schemas.microsoft.com/office/drawing/2014/main" id="{C986BCD4-8939-48E8-95BD-835A1896F0ED}"/>
              </a:ext>
            </a:extLst>
          </p:cNvPr>
          <p:cNvSpPr>
            <a:spLocks/>
          </p:cNvSpPr>
          <p:nvPr userDrawn="1"/>
        </p:nvSpPr>
        <p:spPr bwMode="auto">
          <a:xfrm>
            <a:off x="6164882" y="3371769"/>
            <a:ext cx="298743" cy="223078"/>
          </a:xfrm>
          <a:custGeom>
            <a:avLst/>
            <a:gdLst>
              <a:gd name="T0" fmla="*/ 64 w 178"/>
              <a:gd name="T1" fmla="*/ 106 h 130"/>
              <a:gd name="T2" fmla="*/ 70 w 178"/>
              <a:gd name="T3" fmla="*/ 98 h 130"/>
              <a:gd name="T4" fmla="*/ 76 w 178"/>
              <a:gd name="T5" fmla="*/ 90 h 130"/>
              <a:gd name="T6" fmla="*/ 86 w 178"/>
              <a:gd name="T7" fmla="*/ 92 h 130"/>
              <a:gd name="T8" fmla="*/ 94 w 178"/>
              <a:gd name="T9" fmla="*/ 98 h 130"/>
              <a:gd name="T10" fmla="*/ 106 w 178"/>
              <a:gd name="T11" fmla="*/ 100 h 130"/>
              <a:gd name="T12" fmla="*/ 114 w 178"/>
              <a:gd name="T13" fmla="*/ 102 h 130"/>
              <a:gd name="T14" fmla="*/ 122 w 178"/>
              <a:gd name="T15" fmla="*/ 100 h 130"/>
              <a:gd name="T16" fmla="*/ 126 w 178"/>
              <a:gd name="T17" fmla="*/ 96 h 130"/>
              <a:gd name="T18" fmla="*/ 132 w 178"/>
              <a:gd name="T19" fmla="*/ 100 h 130"/>
              <a:gd name="T20" fmla="*/ 142 w 178"/>
              <a:gd name="T21" fmla="*/ 98 h 130"/>
              <a:gd name="T22" fmla="*/ 142 w 178"/>
              <a:gd name="T23" fmla="*/ 94 h 130"/>
              <a:gd name="T24" fmla="*/ 146 w 178"/>
              <a:gd name="T25" fmla="*/ 94 h 130"/>
              <a:gd name="T26" fmla="*/ 150 w 178"/>
              <a:gd name="T27" fmla="*/ 94 h 130"/>
              <a:gd name="T28" fmla="*/ 156 w 178"/>
              <a:gd name="T29" fmla="*/ 88 h 130"/>
              <a:gd name="T30" fmla="*/ 166 w 178"/>
              <a:gd name="T31" fmla="*/ 88 h 130"/>
              <a:gd name="T32" fmla="*/ 170 w 178"/>
              <a:gd name="T33" fmla="*/ 90 h 130"/>
              <a:gd name="T34" fmla="*/ 178 w 178"/>
              <a:gd name="T35" fmla="*/ 88 h 130"/>
              <a:gd name="T36" fmla="*/ 174 w 178"/>
              <a:gd name="T37" fmla="*/ 84 h 130"/>
              <a:gd name="T38" fmla="*/ 174 w 178"/>
              <a:gd name="T39" fmla="*/ 76 h 130"/>
              <a:gd name="T40" fmla="*/ 166 w 178"/>
              <a:gd name="T41" fmla="*/ 68 h 130"/>
              <a:gd name="T42" fmla="*/ 160 w 178"/>
              <a:gd name="T43" fmla="*/ 58 h 130"/>
              <a:gd name="T44" fmla="*/ 154 w 178"/>
              <a:gd name="T45" fmla="*/ 56 h 130"/>
              <a:gd name="T46" fmla="*/ 148 w 178"/>
              <a:gd name="T47" fmla="*/ 52 h 130"/>
              <a:gd name="T48" fmla="*/ 140 w 178"/>
              <a:gd name="T49" fmla="*/ 50 h 130"/>
              <a:gd name="T50" fmla="*/ 138 w 178"/>
              <a:gd name="T51" fmla="*/ 48 h 130"/>
              <a:gd name="T52" fmla="*/ 130 w 178"/>
              <a:gd name="T53" fmla="*/ 38 h 130"/>
              <a:gd name="T54" fmla="*/ 130 w 178"/>
              <a:gd name="T55" fmla="*/ 32 h 130"/>
              <a:gd name="T56" fmla="*/ 126 w 178"/>
              <a:gd name="T57" fmla="*/ 22 h 130"/>
              <a:gd name="T58" fmla="*/ 124 w 178"/>
              <a:gd name="T59" fmla="*/ 16 h 130"/>
              <a:gd name="T60" fmla="*/ 116 w 178"/>
              <a:gd name="T61" fmla="*/ 0 h 130"/>
              <a:gd name="T62" fmla="*/ 112 w 178"/>
              <a:gd name="T63" fmla="*/ 2 h 130"/>
              <a:gd name="T64" fmla="*/ 108 w 178"/>
              <a:gd name="T65" fmla="*/ 8 h 130"/>
              <a:gd name="T66" fmla="*/ 98 w 178"/>
              <a:gd name="T67" fmla="*/ 14 h 130"/>
              <a:gd name="T68" fmla="*/ 94 w 178"/>
              <a:gd name="T69" fmla="*/ 20 h 130"/>
              <a:gd name="T70" fmla="*/ 88 w 178"/>
              <a:gd name="T71" fmla="*/ 22 h 130"/>
              <a:gd name="T72" fmla="*/ 82 w 178"/>
              <a:gd name="T73" fmla="*/ 26 h 130"/>
              <a:gd name="T74" fmla="*/ 70 w 178"/>
              <a:gd name="T75" fmla="*/ 30 h 130"/>
              <a:gd name="T76" fmla="*/ 70 w 178"/>
              <a:gd name="T77" fmla="*/ 36 h 130"/>
              <a:gd name="T78" fmla="*/ 72 w 178"/>
              <a:gd name="T79" fmla="*/ 38 h 130"/>
              <a:gd name="T80" fmla="*/ 62 w 178"/>
              <a:gd name="T81" fmla="*/ 44 h 130"/>
              <a:gd name="T82" fmla="*/ 52 w 178"/>
              <a:gd name="T83" fmla="*/ 52 h 130"/>
              <a:gd name="T84" fmla="*/ 32 w 178"/>
              <a:gd name="T85" fmla="*/ 54 h 130"/>
              <a:gd name="T86" fmla="*/ 20 w 178"/>
              <a:gd name="T87" fmla="*/ 58 h 130"/>
              <a:gd name="T88" fmla="*/ 10 w 178"/>
              <a:gd name="T89" fmla="*/ 66 h 130"/>
              <a:gd name="T90" fmla="*/ 4 w 178"/>
              <a:gd name="T91" fmla="*/ 76 h 130"/>
              <a:gd name="T92" fmla="*/ 2 w 178"/>
              <a:gd name="T93" fmla="*/ 82 h 130"/>
              <a:gd name="T94" fmla="*/ 6 w 178"/>
              <a:gd name="T95" fmla="*/ 88 h 130"/>
              <a:gd name="T96" fmla="*/ 12 w 178"/>
              <a:gd name="T97" fmla="*/ 102 h 130"/>
              <a:gd name="T98" fmla="*/ 18 w 178"/>
              <a:gd name="T99" fmla="*/ 112 h 130"/>
              <a:gd name="T100" fmla="*/ 26 w 178"/>
              <a:gd name="T101" fmla="*/ 120 h 130"/>
              <a:gd name="T102" fmla="*/ 36 w 178"/>
              <a:gd name="T103" fmla="*/ 130 h 130"/>
              <a:gd name="T104" fmla="*/ 42 w 178"/>
              <a:gd name="T105" fmla="*/ 126 h 130"/>
              <a:gd name="T106" fmla="*/ 46 w 178"/>
              <a:gd name="T107" fmla="*/ 120 h 130"/>
              <a:gd name="T108" fmla="*/ 52 w 178"/>
              <a:gd name="T109" fmla="*/ 122 h 130"/>
              <a:gd name="T110" fmla="*/ 62 w 178"/>
              <a:gd name="T111" fmla="*/ 11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8" h="130">
                <a:moveTo>
                  <a:pt x="62" y="118"/>
                </a:moveTo>
                <a:lnTo>
                  <a:pt x="64" y="106"/>
                </a:lnTo>
                <a:lnTo>
                  <a:pt x="64" y="106"/>
                </a:lnTo>
                <a:lnTo>
                  <a:pt x="66" y="104"/>
                </a:lnTo>
                <a:lnTo>
                  <a:pt x="70" y="102"/>
                </a:lnTo>
                <a:lnTo>
                  <a:pt x="70" y="98"/>
                </a:lnTo>
                <a:lnTo>
                  <a:pt x="70" y="98"/>
                </a:lnTo>
                <a:lnTo>
                  <a:pt x="72" y="94"/>
                </a:lnTo>
                <a:lnTo>
                  <a:pt x="76" y="90"/>
                </a:lnTo>
                <a:lnTo>
                  <a:pt x="76" y="90"/>
                </a:lnTo>
                <a:lnTo>
                  <a:pt x="80" y="90"/>
                </a:lnTo>
                <a:lnTo>
                  <a:pt x="86" y="92"/>
                </a:lnTo>
                <a:lnTo>
                  <a:pt x="86" y="92"/>
                </a:lnTo>
                <a:lnTo>
                  <a:pt x="90" y="96"/>
                </a:lnTo>
                <a:lnTo>
                  <a:pt x="94" y="98"/>
                </a:lnTo>
                <a:lnTo>
                  <a:pt x="94" y="98"/>
                </a:lnTo>
                <a:lnTo>
                  <a:pt x="100" y="100"/>
                </a:lnTo>
                <a:lnTo>
                  <a:pt x="106" y="100"/>
                </a:lnTo>
                <a:lnTo>
                  <a:pt x="106" y="100"/>
                </a:lnTo>
                <a:lnTo>
                  <a:pt x="114" y="102"/>
                </a:lnTo>
                <a:lnTo>
                  <a:pt x="114" y="102"/>
                </a:lnTo>
                <a:lnTo>
                  <a:pt x="122" y="104"/>
                </a:lnTo>
                <a:lnTo>
                  <a:pt x="122" y="104"/>
                </a:lnTo>
                <a:lnTo>
                  <a:pt x="122" y="100"/>
                </a:lnTo>
                <a:lnTo>
                  <a:pt x="124" y="96"/>
                </a:lnTo>
                <a:lnTo>
                  <a:pt x="126" y="96"/>
                </a:lnTo>
                <a:lnTo>
                  <a:pt x="126" y="96"/>
                </a:lnTo>
                <a:lnTo>
                  <a:pt x="128" y="96"/>
                </a:lnTo>
                <a:lnTo>
                  <a:pt x="130" y="98"/>
                </a:lnTo>
                <a:lnTo>
                  <a:pt x="132" y="100"/>
                </a:lnTo>
                <a:lnTo>
                  <a:pt x="134" y="98"/>
                </a:lnTo>
                <a:lnTo>
                  <a:pt x="134" y="98"/>
                </a:lnTo>
                <a:lnTo>
                  <a:pt x="142" y="98"/>
                </a:lnTo>
                <a:lnTo>
                  <a:pt x="142" y="98"/>
                </a:lnTo>
                <a:lnTo>
                  <a:pt x="142" y="96"/>
                </a:lnTo>
                <a:lnTo>
                  <a:pt x="142" y="94"/>
                </a:lnTo>
                <a:lnTo>
                  <a:pt x="144" y="92"/>
                </a:lnTo>
                <a:lnTo>
                  <a:pt x="144" y="92"/>
                </a:lnTo>
                <a:lnTo>
                  <a:pt x="146" y="94"/>
                </a:lnTo>
                <a:lnTo>
                  <a:pt x="146" y="94"/>
                </a:lnTo>
                <a:lnTo>
                  <a:pt x="148" y="96"/>
                </a:lnTo>
                <a:lnTo>
                  <a:pt x="150" y="94"/>
                </a:lnTo>
                <a:lnTo>
                  <a:pt x="150" y="94"/>
                </a:lnTo>
                <a:lnTo>
                  <a:pt x="152" y="90"/>
                </a:lnTo>
                <a:lnTo>
                  <a:pt x="156" y="88"/>
                </a:lnTo>
                <a:lnTo>
                  <a:pt x="156" y="88"/>
                </a:lnTo>
                <a:lnTo>
                  <a:pt x="166" y="88"/>
                </a:lnTo>
                <a:lnTo>
                  <a:pt x="166" y="88"/>
                </a:lnTo>
                <a:lnTo>
                  <a:pt x="170" y="90"/>
                </a:lnTo>
                <a:lnTo>
                  <a:pt x="170" y="90"/>
                </a:lnTo>
                <a:lnTo>
                  <a:pt x="170" y="90"/>
                </a:lnTo>
                <a:lnTo>
                  <a:pt x="178" y="90"/>
                </a:lnTo>
                <a:lnTo>
                  <a:pt x="178" y="90"/>
                </a:lnTo>
                <a:lnTo>
                  <a:pt x="178" y="88"/>
                </a:lnTo>
                <a:lnTo>
                  <a:pt x="176" y="84"/>
                </a:lnTo>
                <a:lnTo>
                  <a:pt x="176" y="84"/>
                </a:lnTo>
                <a:lnTo>
                  <a:pt x="174" y="84"/>
                </a:lnTo>
                <a:lnTo>
                  <a:pt x="174" y="82"/>
                </a:lnTo>
                <a:lnTo>
                  <a:pt x="174" y="76"/>
                </a:lnTo>
                <a:lnTo>
                  <a:pt x="174" y="76"/>
                </a:lnTo>
                <a:lnTo>
                  <a:pt x="170" y="70"/>
                </a:lnTo>
                <a:lnTo>
                  <a:pt x="166" y="68"/>
                </a:lnTo>
                <a:lnTo>
                  <a:pt x="166" y="68"/>
                </a:lnTo>
                <a:lnTo>
                  <a:pt x="162" y="66"/>
                </a:lnTo>
                <a:lnTo>
                  <a:pt x="160" y="64"/>
                </a:lnTo>
                <a:lnTo>
                  <a:pt x="160" y="58"/>
                </a:lnTo>
                <a:lnTo>
                  <a:pt x="160" y="58"/>
                </a:lnTo>
                <a:lnTo>
                  <a:pt x="156" y="56"/>
                </a:lnTo>
                <a:lnTo>
                  <a:pt x="154" y="56"/>
                </a:lnTo>
                <a:lnTo>
                  <a:pt x="154" y="56"/>
                </a:lnTo>
                <a:lnTo>
                  <a:pt x="150" y="54"/>
                </a:lnTo>
                <a:lnTo>
                  <a:pt x="148" y="52"/>
                </a:lnTo>
                <a:lnTo>
                  <a:pt x="148" y="52"/>
                </a:lnTo>
                <a:lnTo>
                  <a:pt x="144" y="50"/>
                </a:lnTo>
                <a:lnTo>
                  <a:pt x="140" y="50"/>
                </a:lnTo>
                <a:lnTo>
                  <a:pt x="140" y="50"/>
                </a:lnTo>
                <a:lnTo>
                  <a:pt x="140" y="48"/>
                </a:lnTo>
                <a:lnTo>
                  <a:pt x="138" y="48"/>
                </a:lnTo>
                <a:lnTo>
                  <a:pt x="136" y="44"/>
                </a:lnTo>
                <a:lnTo>
                  <a:pt x="136" y="44"/>
                </a:lnTo>
                <a:lnTo>
                  <a:pt x="130" y="38"/>
                </a:lnTo>
                <a:lnTo>
                  <a:pt x="130" y="36"/>
                </a:lnTo>
                <a:lnTo>
                  <a:pt x="130" y="32"/>
                </a:lnTo>
                <a:lnTo>
                  <a:pt x="130" y="32"/>
                </a:lnTo>
                <a:lnTo>
                  <a:pt x="130" y="26"/>
                </a:lnTo>
                <a:lnTo>
                  <a:pt x="126" y="22"/>
                </a:lnTo>
                <a:lnTo>
                  <a:pt x="126" y="22"/>
                </a:lnTo>
                <a:lnTo>
                  <a:pt x="124" y="20"/>
                </a:lnTo>
                <a:lnTo>
                  <a:pt x="124" y="16"/>
                </a:lnTo>
                <a:lnTo>
                  <a:pt x="124" y="16"/>
                </a:lnTo>
                <a:lnTo>
                  <a:pt x="124" y="10"/>
                </a:lnTo>
                <a:lnTo>
                  <a:pt x="124" y="8"/>
                </a:lnTo>
                <a:lnTo>
                  <a:pt x="116" y="0"/>
                </a:lnTo>
                <a:lnTo>
                  <a:pt x="116" y="0"/>
                </a:lnTo>
                <a:lnTo>
                  <a:pt x="114" y="0"/>
                </a:lnTo>
                <a:lnTo>
                  <a:pt x="112" y="2"/>
                </a:lnTo>
                <a:lnTo>
                  <a:pt x="110" y="4"/>
                </a:lnTo>
                <a:lnTo>
                  <a:pt x="110" y="4"/>
                </a:lnTo>
                <a:lnTo>
                  <a:pt x="108" y="8"/>
                </a:lnTo>
                <a:lnTo>
                  <a:pt x="106" y="10"/>
                </a:lnTo>
                <a:lnTo>
                  <a:pt x="106" y="10"/>
                </a:lnTo>
                <a:lnTo>
                  <a:pt x="98" y="14"/>
                </a:lnTo>
                <a:lnTo>
                  <a:pt x="98" y="14"/>
                </a:lnTo>
                <a:lnTo>
                  <a:pt x="96" y="18"/>
                </a:lnTo>
                <a:lnTo>
                  <a:pt x="94" y="20"/>
                </a:lnTo>
                <a:lnTo>
                  <a:pt x="92" y="20"/>
                </a:lnTo>
                <a:lnTo>
                  <a:pt x="92" y="20"/>
                </a:lnTo>
                <a:lnTo>
                  <a:pt x="88" y="22"/>
                </a:lnTo>
                <a:lnTo>
                  <a:pt x="84" y="24"/>
                </a:lnTo>
                <a:lnTo>
                  <a:pt x="84" y="24"/>
                </a:lnTo>
                <a:lnTo>
                  <a:pt x="82" y="26"/>
                </a:lnTo>
                <a:lnTo>
                  <a:pt x="76" y="26"/>
                </a:lnTo>
                <a:lnTo>
                  <a:pt x="72" y="28"/>
                </a:lnTo>
                <a:lnTo>
                  <a:pt x="70" y="30"/>
                </a:lnTo>
                <a:lnTo>
                  <a:pt x="70" y="30"/>
                </a:lnTo>
                <a:lnTo>
                  <a:pt x="68" y="34"/>
                </a:lnTo>
                <a:lnTo>
                  <a:pt x="70" y="36"/>
                </a:lnTo>
                <a:lnTo>
                  <a:pt x="72" y="38"/>
                </a:lnTo>
                <a:lnTo>
                  <a:pt x="72" y="38"/>
                </a:lnTo>
                <a:lnTo>
                  <a:pt x="72" y="38"/>
                </a:lnTo>
                <a:lnTo>
                  <a:pt x="68" y="40"/>
                </a:lnTo>
                <a:lnTo>
                  <a:pt x="62" y="44"/>
                </a:lnTo>
                <a:lnTo>
                  <a:pt x="62" y="44"/>
                </a:lnTo>
                <a:lnTo>
                  <a:pt x="58" y="50"/>
                </a:lnTo>
                <a:lnTo>
                  <a:pt x="52" y="52"/>
                </a:lnTo>
                <a:lnTo>
                  <a:pt x="52" y="52"/>
                </a:lnTo>
                <a:lnTo>
                  <a:pt x="36" y="54"/>
                </a:lnTo>
                <a:lnTo>
                  <a:pt x="36" y="54"/>
                </a:lnTo>
                <a:lnTo>
                  <a:pt x="32" y="54"/>
                </a:lnTo>
                <a:lnTo>
                  <a:pt x="30" y="52"/>
                </a:lnTo>
                <a:lnTo>
                  <a:pt x="26" y="58"/>
                </a:lnTo>
                <a:lnTo>
                  <a:pt x="20" y="58"/>
                </a:lnTo>
                <a:lnTo>
                  <a:pt x="14" y="58"/>
                </a:lnTo>
                <a:lnTo>
                  <a:pt x="14" y="58"/>
                </a:lnTo>
                <a:lnTo>
                  <a:pt x="10" y="66"/>
                </a:lnTo>
                <a:lnTo>
                  <a:pt x="8" y="72"/>
                </a:lnTo>
                <a:lnTo>
                  <a:pt x="4" y="76"/>
                </a:lnTo>
                <a:lnTo>
                  <a:pt x="4" y="76"/>
                </a:lnTo>
                <a:lnTo>
                  <a:pt x="0" y="80"/>
                </a:lnTo>
                <a:lnTo>
                  <a:pt x="0" y="80"/>
                </a:lnTo>
                <a:lnTo>
                  <a:pt x="2" y="82"/>
                </a:lnTo>
                <a:lnTo>
                  <a:pt x="2" y="82"/>
                </a:lnTo>
                <a:lnTo>
                  <a:pt x="4" y="84"/>
                </a:lnTo>
                <a:lnTo>
                  <a:pt x="6" y="88"/>
                </a:lnTo>
                <a:lnTo>
                  <a:pt x="6" y="88"/>
                </a:lnTo>
                <a:lnTo>
                  <a:pt x="12" y="102"/>
                </a:lnTo>
                <a:lnTo>
                  <a:pt x="12" y="102"/>
                </a:lnTo>
                <a:lnTo>
                  <a:pt x="16" y="106"/>
                </a:lnTo>
                <a:lnTo>
                  <a:pt x="18" y="112"/>
                </a:lnTo>
                <a:lnTo>
                  <a:pt x="18" y="112"/>
                </a:lnTo>
                <a:lnTo>
                  <a:pt x="24" y="116"/>
                </a:lnTo>
                <a:lnTo>
                  <a:pt x="26" y="120"/>
                </a:lnTo>
                <a:lnTo>
                  <a:pt x="26" y="120"/>
                </a:lnTo>
                <a:lnTo>
                  <a:pt x="32" y="126"/>
                </a:lnTo>
                <a:lnTo>
                  <a:pt x="36" y="130"/>
                </a:lnTo>
                <a:lnTo>
                  <a:pt x="36" y="130"/>
                </a:lnTo>
                <a:lnTo>
                  <a:pt x="38" y="130"/>
                </a:lnTo>
                <a:lnTo>
                  <a:pt x="40" y="128"/>
                </a:lnTo>
                <a:lnTo>
                  <a:pt x="42" y="126"/>
                </a:lnTo>
                <a:lnTo>
                  <a:pt x="42" y="126"/>
                </a:lnTo>
                <a:lnTo>
                  <a:pt x="42" y="122"/>
                </a:lnTo>
                <a:lnTo>
                  <a:pt x="46" y="120"/>
                </a:lnTo>
                <a:lnTo>
                  <a:pt x="46" y="120"/>
                </a:lnTo>
                <a:lnTo>
                  <a:pt x="50" y="122"/>
                </a:lnTo>
                <a:lnTo>
                  <a:pt x="52" y="122"/>
                </a:lnTo>
                <a:lnTo>
                  <a:pt x="52" y="122"/>
                </a:lnTo>
                <a:lnTo>
                  <a:pt x="62" y="118"/>
                </a:lnTo>
                <a:lnTo>
                  <a:pt x="62" y="1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9" name="Freeform 218">
            <a:extLst>
              <a:ext uri="{FF2B5EF4-FFF2-40B4-BE49-F238E27FC236}">
                <a16:creationId xmlns:a16="http://schemas.microsoft.com/office/drawing/2014/main" id="{9BC406B1-9E40-48D7-A1FC-831B5CB09D50}"/>
              </a:ext>
            </a:extLst>
          </p:cNvPr>
          <p:cNvSpPr>
            <a:spLocks/>
          </p:cNvSpPr>
          <p:nvPr userDrawn="1"/>
        </p:nvSpPr>
        <p:spPr bwMode="auto">
          <a:xfrm>
            <a:off x="4053559" y="1405250"/>
            <a:ext cx="4643" cy="3432"/>
          </a:xfrm>
          <a:custGeom>
            <a:avLst/>
            <a:gdLst>
              <a:gd name="T0" fmla="*/ 0 w 2"/>
              <a:gd name="T1" fmla="*/ 0 h 2"/>
              <a:gd name="T2" fmla="*/ 2 w 2"/>
              <a:gd name="T3" fmla="*/ 2 h 2"/>
              <a:gd name="T4" fmla="*/ 2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0" name="Freeform 219">
            <a:extLst>
              <a:ext uri="{FF2B5EF4-FFF2-40B4-BE49-F238E27FC236}">
                <a16:creationId xmlns:a16="http://schemas.microsoft.com/office/drawing/2014/main" id="{FB2AF2C8-DBAE-4A10-9D67-C511EF77F7DE}"/>
              </a:ext>
            </a:extLst>
          </p:cNvPr>
          <p:cNvSpPr>
            <a:spLocks/>
          </p:cNvSpPr>
          <p:nvPr userDrawn="1"/>
        </p:nvSpPr>
        <p:spPr bwMode="auto">
          <a:xfrm>
            <a:off x="4090708" y="1295426"/>
            <a:ext cx="3096" cy="3432"/>
          </a:xfrm>
          <a:custGeom>
            <a:avLst/>
            <a:gdLst>
              <a:gd name="T0" fmla="*/ 2 w 2"/>
              <a:gd name="T1" fmla="*/ 0 h 2"/>
              <a:gd name="T2" fmla="*/ 2 w 2"/>
              <a:gd name="T3" fmla="*/ 0 h 2"/>
              <a:gd name="T4" fmla="*/ 2 w 2"/>
              <a:gd name="T5" fmla="*/ 2 h 2"/>
              <a:gd name="T6" fmla="*/ 0 w 2"/>
              <a:gd name="T7" fmla="*/ 2 h 2"/>
              <a:gd name="T8" fmla="*/ 0 w 2"/>
              <a:gd name="T9" fmla="*/ 2 h 2"/>
              <a:gd name="T10" fmla="*/ 0 w 2"/>
              <a:gd name="T11" fmla="*/ 0 h 2"/>
              <a:gd name="T12" fmla="*/ 2 w 2"/>
              <a:gd name="T13" fmla="*/ 0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lnTo>
                  <a:pt x="2" y="0"/>
                </a:lnTo>
                <a:lnTo>
                  <a:pt x="2" y="2"/>
                </a:lnTo>
                <a:lnTo>
                  <a:pt x="0"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1" name="Freeform 220">
            <a:extLst>
              <a:ext uri="{FF2B5EF4-FFF2-40B4-BE49-F238E27FC236}">
                <a16:creationId xmlns:a16="http://schemas.microsoft.com/office/drawing/2014/main" id="{BD017BDE-F326-4DF7-8E27-F645ACDC571B}"/>
              </a:ext>
            </a:extLst>
          </p:cNvPr>
          <p:cNvSpPr>
            <a:spLocks/>
          </p:cNvSpPr>
          <p:nvPr userDrawn="1"/>
        </p:nvSpPr>
        <p:spPr bwMode="auto">
          <a:xfrm>
            <a:off x="4093804" y="1302290"/>
            <a:ext cx="3096"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2" name="Freeform 221">
            <a:extLst>
              <a:ext uri="{FF2B5EF4-FFF2-40B4-BE49-F238E27FC236}">
                <a16:creationId xmlns:a16="http://schemas.microsoft.com/office/drawing/2014/main" id="{D8681C28-A63B-4C3C-8024-65A9E8CE9431}"/>
              </a:ext>
            </a:extLst>
          </p:cNvPr>
          <p:cNvSpPr>
            <a:spLocks/>
          </p:cNvSpPr>
          <p:nvPr userDrawn="1"/>
        </p:nvSpPr>
        <p:spPr bwMode="auto">
          <a:xfrm>
            <a:off x="4291934" y="1391521"/>
            <a:ext cx="20123" cy="6864"/>
          </a:xfrm>
          <a:custGeom>
            <a:avLst/>
            <a:gdLst>
              <a:gd name="T0" fmla="*/ 2 w 12"/>
              <a:gd name="T1" fmla="*/ 0 h 4"/>
              <a:gd name="T2" fmla="*/ 2 w 12"/>
              <a:gd name="T3" fmla="*/ 0 h 4"/>
              <a:gd name="T4" fmla="*/ 10 w 12"/>
              <a:gd name="T5" fmla="*/ 2 h 4"/>
              <a:gd name="T6" fmla="*/ 12 w 12"/>
              <a:gd name="T7" fmla="*/ 4 h 4"/>
              <a:gd name="T8" fmla="*/ 12 w 12"/>
              <a:gd name="T9" fmla="*/ 4 h 4"/>
              <a:gd name="T10" fmla="*/ 4 w 12"/>
              <a:gd name="T11" fmla="*/ 2 h 4"/>
              <a:gd name="T12" fmla="*/ 0 w 12"/>
              <a:gd name="T13" fmla="*/ 2 h 4"/>
              <a:gd name="T14" fmla="*/ 2 w 12"/>
              <a:gd name="T15" fmla="*/ 0 h 4"/>
              <a:gd name="T16" fmla="*/ 2 w 1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2" y="0"/>
                </a:moveTo>
                <a:lnTo>
                  <a:pt x="2" y="0"/>
                </a:lnTo>
                <a:lnTo>
                  <a:pt x="10" y="2"/>
                </a:lnTo>
                <a:lnTo>
                  <a:pt x="12" y="4"/>
                </a:lnTo>
                <a:lnTo>
                  <a:pt x="12" y="4"/>
                </a:lnTo>
                <a:lnTo>
                  <a:pt x="4" y="2"/>
                </a:lnTo>
                <a:lnTo>
                  <a:pt x="0" y="2"/>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3" name="Freeform 222">
            <a:extLst>
              <a:ext uri="{FF2B5EF4-FFF2-40B4-BE49-F238E27FC236}">
                <a16:creationId xmlns:a16="http://schemas.microsoft.com/office/drawing/2014/main" id="{E549AADD-4A94-460C-A28E-FD049C0AD642}"/>
              </a:ext>
            </a:extLst>
          </p:cNvPr>
          <p:cNvSpPr>
            <a:spLocks/>
          </p:cNvSpPr>
          <p:nvPr userDrawn="1"/>
        </p:nvSpPr>
        <p:spPr bwMode="auto">
          <a:xfrm>
            <a:off x="4271812" y="1360633"/>
            <a:ext cx="7740" cy="10296"/>
          </a:xfrm>
          <a:custGeom>
            <a:avLst/>
            <a:gdLst>
              <a:gd name="T0" fmla="*/ 2 w 4"/>
              <a:gd name="T1" fmla="*/ 0 h 6"/>
              <a:gd name="T2" fmla="*/ 2 w 4"/>
              <a:gd name="T3" fmla="*/ 0 h 6"/>
              <a:gd name="T4" fmla="*/ 4 w 4"/>
              <a:gd name="T5" fmla="*/ 0 h 6"/>
              <a:gd name="T6" fmla="*/ 4 w 4"/>
              <a:gd name="T7" fmla="*/ 2 h 6"/>
              <a:gd name="T8" fmla="*/ 4 w 4"/>
              <a:gd name="T9" fmla="*/ 6 h 6"/>
              <a:gd name="T10" fmla="*/ 4 w 4"/>
              <a:gd name="T11" fmla="*/ 6 h 6"/>
              <a:gd name="T12" fmla="*/ 0 w 4"/>
              <a:gd name="T13" fmla="*/ 6 h 6"/>
              <a:gd name="T14" fmla="*/ 0 w 4"/>
              <a:gd name="T15" fmla="*/ 6 h 6"/>
              <a:gd name="T16" fmla="*/ 0 w 4"/>
              <a:gd name="T17" fmla="*/ 2 h 6"/>
              <a:gd name="T18" fmla="*/ 0 w 4"/>
              <a:gd name="T19" fmla="*/ 0 h 6"/>
              <a:gd name="T20" fmla="*/ 2 w 4"/>
              <a:gd name="T21" fmla="*/ 0 h 6"/>
              <a:gd name="T22" fmla="*/ 2 w 4"/>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2" y="0"/>
                </a:moveTo>
                <a:lnTo>
                  <a:pt x="2" y="0"/>
                </a:lnTo>
                <a:lnTo>
                  <a:pt x="4" y="0"/>
                </a:lnTo>
                <a:lnTo>
                  <a:pt x="4" y="2"/>
                </a:lnTo>
                <a:lnTo>
                  <a:pt x="4" y="6"/>
                </a:lnTo>
                <a:lnTo>
                  <a:pt x="4" y="6"/>
                </a:lnTo>
                <a:lnTo>
                  <a:pt x="0" y="6"/>
                </a:lnTo>
                <a:lnTo>
                  <a:pt x="0" y="6"/>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4" name="Freeform 223">
            <a:extLst>
              <a:ext uri="{FF2B5EF4-FFF2-40B4-BE49-F238E27FC236}">
                <a16:creationId xmlns:a16="http://schemas.microsoft.com/office/drawing/2014/main" id="{DD0FD03C-89AC-4540-8927-F951FE405203}"/>
              </a:ext>
            </a:extLst>
          </p:cNvPr>
          <p:cNvSpPr>
            <a:spLocks/>
          </p:cNvSpPr>
          <p:nvPr userDrawn="1"/>
        </p:nvSpPr>
        <p:spPr bwMode="auto">
          <a:xfrm>
            <a:off x="4383259" y="1628327"/>
            <a:ext cx="3096" cy="6864"/>
          </a:xfrm>
          <a:custGeom>
            <a:avLst/>
            <a:gdLst>
              <a:gd name="T0" fmla="*/ 0 w 2"/>
              <a:gd name="T1" fmla="*/ 0 h 4"/>
              <a:gd name="T2" fmla="*/ 0 w 2"/>
              <a:gd name="T3" fmla="*/ 0 h 4"/>
              <a:gd name="T4" fmla="*/ 2 w 2"/>
              <a:gd name="T5" fmla="*/ 2 h 4"/>
              <a:gd name="T6" fmla="*/ 2 w 2"/>
              <a:gd name="T7" fmla="*/ 4 h 4"/>
              <a:gd name="T8" fmla="*/ 2 w 2"/>
              <a:gd name="T9" fmla="*/ 2 h 4"/>
              <a:gd name="T10" fmla="*/ 2 w 2"/>
              <a:gd name="T11" fmla="*/ 2 h 4"/>
              <a:gd name="T12" fmla="*/ 0 w 2"/>
              <a:gd name="T13" fmla="*/ 0 h 4"/>
              <a:gd name="T14" fmla="*/ 0 w 2"/>
              <a:gd name="T15" fmla="*/ 0 h 4"/>
              <a:gd name="T16" fmla="*/ 0 w 2"/>
              <a:gd name="T17" fmla="*/ 0 h 4"/>
              <a:gd name="T18" fmla="*/ 0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0"/>
                </a:moveTo>
                <a:lnTo>
                  <a:pt x="0" y="0"/>
                </a:lnTo>
                <a:lnTo>
                  <a:pt x="2" y="2"/>
                </a:lnTo>
                <a:lnTo>
                  <a:pt x="2" y="4"/>
                </a:lnTo>
                <a:lnTo>
                  <a:pt x="2" y="2"/>
                </a:lnTo>
                <a:lnTo>
                  <a:pt x="2" y="2"/>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5" name="Freeform 224">
            <a:extLst>
              <a:ext uri="{FF2B5EF4-FFF2-40B4-BE49-F238E27FC236}">
                <a16:creationId xmlns:a16="http://schemas.microsoft.com/office/drawing/2014/main" id="{89F0F987-330F-4AFF-BF99-976211B956BA}"/>
              </a:ext>
            </a:extLst>
          </p:cNvPr>
          <p:cNvSpPr>
            <a:spLocks/>
          </p:cNvSpPr>
          <p:nvPr userDrawn="1"/>
        </p:nvSpPr>
        <p:spPr bwMode="auto">
          <a:xfrm>
            <a:off x="3877100" y="2174011"/>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6" name="Freeform 225">
            <a:extLst>
              <a:ext uri="{FF2B5EF4-FFF2-40B4-BE49-F238E27FC236}">
                <a16:creationId xmlns:a16="http://schemas.microsoft.com/office/drawing/2014/main" id="{03853216-0C41-4BC5-8266-E5C0A04572AD}"/>
              </a:ext>
            </a:extLst>
          </p:cNvPr>
          <p:cNvSpPr>
            <a:spLocks/>
          </p:cNvSpPr>
          <p:nvPr userDrawn="1"/>
        </p:nvSpPr>
        <p:spPr bwMode="auto">
          <a:xfrm>
            <a:off x="3852334" y="2218627"/>
            <a:ext cx="4643"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7" name="Freeform 226">
            <a:extLst>
              <a:ext uri="{FF2B5EF4-FFF2-40B4-BE49-F238E27FC236}">
                <a16:creationId xmlns:a16="http://schemas.microsoft.com/office/drawing/2014/main" id="{477BFE35-A701-47FC-A3DF-4788D7306EC4}"/>
              </a:ext>
            </a:extLst>
          </p:cNvPr>
          <p:cNvSpPr>
            <a:spLocks/>
          </p:cNvSpPr>
          <p:nvPr userDrawn="1"/>
        </p:nvSpPr>
        <p:spPr bwMode="auto">
          <a:xfrm>
            <a:off x="3880195" y="2201467"/>
            <a:ext cx="6192" cy="3432"/>
          </a:xfrm>
          <a:custGeom>
            <a:avLst/>
            <a:gdLst>
              <a:gd name="T0" fmla="*/ 2 w 4"/>
              <a:gd name="T1" fmla="*/ 0 h 2"/>
              <a:gd name="T2" fmla="*/ 2 w 4"/>
              <a:gd name="T3" fmla="*/ 0 h 2"/>
              <a:gd name="T4" fmla="*/ 0 w 4"/>
              <a:gd name="T5" fmla="*/ 2 h 2"/>
              <a:gd name="T6" fmla="*/ 0 w 4"/>
              <a:gd name="T7" fmla="*/ 2 h 2"/>
              <a:gd name="T8" fmla="*/ 4 w 4"/>
              <a:gd name="T9" fmla="*/ 0 h 2"/>
              <a:gd name="T10" fmla="*/ 2 w 4"/>
              <a:gd name="T11" fmla="*/ 0 h 2"/>
              <a:gd name="T12" fmla="*/ 2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0"/>
                </a:moveTo>
                <a:lnTo>
                  <a:pt x="2" y="0"/>
                </a:lnTo>
                <a:lnTo>
                  <a:pt x="0" y="2"/>
                </a:lnTo>
                <a:lnTo>
                  <a:pt x="0" y="2"/>
                </a:lnTo>
                <a:lnTo>
                  <a:pt x="4"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8" name="Freeform 227">
            <a:extLst>
              <a:ext uri="{FF2B5EF4-FFF2-40B4-BE49-F238E27FC236}">
                <a16:creationId xmlns:a16="http://schemas.microsoft.com/office/drawing/2014/main" id="{A59AEBA6-D5A8-41F8-A3D9-8A51EB87C967}"/>
              </a:ext>
            </a:extLst>
          </p:cNvPr>
          <p:cNvSpPr>
            <a:spLocks/>
          </p:cNvSpPr>
          <p:nvPr userDrawn="1"/>
        </p:nvSpPr>
        <p:spPr bwMode="auto">
          <a:xfrm>
            <a:off x="3990095" y="2421113"/>
            <a:ext cx="1548" cy="6864"/>
          </a:xfrm>
          <a:custGeom>
            <a:avLst/>
            <a:gdLst>
              <a:gd name="T0" fmla="*/ 4 h 4"/>
              <a:gd name="T1" fmla="*/ 2 h 4"/>
              <a:gd name="T2" fmla="*/ 2 h 4"/>
              <a:gd name="T3" fmla="*/ 0 h 4"/>
              <a:gd name="T4" fmla="*/ 0 h 4"/>
              <a:gd name="T5" fmla="*/ 4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2"/>
                </a:lnTo>
                <a:lnTo>
                  <a:pt x="0" y="2"/>
                </a:lnTo>
                <a:lnTo>
                  <a:pt x="0" y="0"/>
                </a:lnTo>
                <a:lnTo>
                  <a:pt x="0" y="0"/>
                </a:lnTo>
                <a:lnTo>
                  <a:pt x="0" y="4"/>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9" name="Freeform 228">
            <a:extLst>
              <a:ext uri="{FF2B5EF4-FFF2-40B4-BE49-F238E27FC236}">
                <a16:creationId xmlns:a16="http://schemas.microsoft.com/office/drawing/2014/main" id="{A0EE2FBE-8072-4188-92B6-9195AB632E9F}"/>
              </a:ext>
            </a:extLst>
          </p:cNvPr>
          <p:cNvSpPr>
            <a:spLocks/>
          </p:cNvSpPr>
          <p:nvPr userDrawn="1"/>
        </p:nvSpPr>
        <p:spPr bwMode="auto">
          <a:xfrm>
            <a:off x="2920503" y="1415545"/>
            <a:ext cx="1548"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0" name="Freeform 229">
            <a:extLst>
              <a:ext uri="{FF2B5EF4-FFF2-40B4-BE49-F238E27FC236}">
                <a16:creationId xmlns:a16="http://schemas.microsoft.com/office/drawing/2014/main" id="{E9B07CE7-8D88-49AE-8E64-F64B759CAFD5}"/>
              </a:ext>
            </a:extLst>
          </p:cNvPr>
          <p:cNvSpPr>
            <a:spLocks/>
          </p:cNvSpPr>
          <p:nvPr userDrawn="1"/>
        </p:nvSpPr>
        <p:spPr bwMode="auto">
          <a:xfrm>
            <a:off x="2963844" y="2029868"/>
            <a:ext cx="1548" cy="3432"/>
          </a:xfrm>
          <a:custGeom>
            <a:avLst/>
            <a:gdLst>
              <a:gd name="T0" fmla="*/ 2 h 2"/>
              <a:gd name="T1" fmla="*/ 2 h 2"/>
              <a:gd name="T2" fmla="*/ 2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2"/>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1" name="Freeform 230">
            <a:extLst>
              <a:ext uri="{FF2B5EF4-FFF2-40B4-BE49-F238E27FC236}">
                <a16:creationId xmlns:a16="http://schemas.microsoft.com/office/drawing/2014/main" id="{963EE22A-492F-4231-84F4-19B9999F5AB7}"/>
              </a:ext>
            </a:extLst>
          </p:cNvPr>
          <p:cNvSpPr>
            <a:spLocks/>
          </p:cNvSpPr>
          <p:nvPr userDrawn="1"/>
        </p:nvSpPr>
        <p:spPr bwMode="auto">
          <a:xfrm>
            <a:off x="3678969" y="1480752"/>
            <a:ext cx="1548" cy="3432"/>
          </a:xfrm>
          <a:custGeom>
            <a:avLst/>
            <a:gdLst>
              <a:gd name="T0" fmla="*/ 0 h 2"/>
              <a:gd name="T1" fmla="*/ 2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2"/>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2" name="Freeform 231">
            <a:extLst>
              <a:ext uri="{FF2B5EF4-FFF2-40B4-BE49-F238E27FC236}">
                <a16:creationId xmlns:a16="http://schemas.microsoft.com/office/drawing/2014/main" id="{BAD97446-24D7-4E53-8CBA-E7449A45DF4F}"/>
              </a:ext>
            </a:extLst>
          </p:cNvPr>
          <p:cNvSpPr>
            <a:spLocks/>
          </p:cNvSpPr>
          <p:nvPr userDrawn="1"/>
        </p:nvSpPr>
        <p:spPr bwMode="auto">
          <a:xfrm>
            <a:off x="4262524" y="2263242"/>
            <a:ext cx="12383" cy="10296"/>
          </a:xfrm>
          <a:custGeom>
            <a:avLst/>
            <a:gdLst>
              <a:gd name="T0" fmla="*/ 2 w 8"/>
              <a:gd name="T1" fmla="*/ 4 h 6"/>
              <a:gd name="T2" fmla="*/ 2 w 8"/>
              <a:gd name="T3" fmla="*/ 4 h 6"/>
              <a:gd name="T4" fmla="*/ 0 w 8"/>
              <a:gd name="T5" fmla="*/ 6 h 6"/>
              <a:gd name="T6" fmla="*/ 0 w 8"/>
              <a:gd name="T7" fmla="*/ 4 h 6"/>
              <a:gd name="T8" fmla="*/ 6 w 8"/>
              <a:gd name="T9" fmla="*/ 0 h 6"/>
              <a:gd name="T10" fmla="*/ 6 w 8"/>
              <a:gd name="T11" fmla="*/ 0 h 6"/>
              <a:gd name="T12" fmla="*/ 8 w 8"/>
              <a:gd name="T13" fmla="*/ 0 h 6"/>
              <a:gd name="T14" fmla="*/ 6 w 8"/>
              <a:gd name="T15" fmla="*/ 2 h 6"/>
              <a:gd name="T16" fmla="*/ 2 w 8"/>
              <a:gd name="T17" fmla="*/ 4 h 6"/>
              <a:gd name="T18" fmla="*/ 2 w 8"/>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2" y="4"/>
                </a:moveTo>
                <a:lnTo>
                  <a:pt x="2" y="4"/>
                </a:lnTo>
                <a:lnTo>
                  <a:pt x="0" y="6"/>
                </a:lnTo>
                <a:lnTo>
                  <a:pt x="0" y="4"/>
                </a:lnTo>
                <a:lnTo>
                  <a:pt x="6" y="0"/>
                </a:lnTo>
                <a:lnTo>
                  <a:pt x="6" y="0"/>
                </a:lnTo>
                <a:lnTo>
                  <a:pt x="8" y="0"/>
                </a:lnTo>
                <a:lnTo>
                  <a:pt x="6" y="2"/>
                </a:lnTo>
                <a:lnTo>
                  <a:pt x="2" y="4"/>
                </a:lnTo>
                <a:lnTo>
                  <a:pt x="2"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3" name="Freeform 232">
            <a:extLst>
              <a:ext uri="{FF2B5EF4-FFF2-40B4-BE49-F238E27FC236}">
                <a16:creationId xmlns:a16="http://schemas.microsoft.com/office/drawing/2014/main" id="{7F2AF905-C987-4FB7-BD7D-02AD61C311BC}"/>
              </a:ext>
            </a:extLst>
          </p:cNvPr>
          <p:cNvSpPr>
            <a:spLocks/>
          </p:cNvSpPr>
          <p:nvPr userDrawn="1"/>
        </p:nvSpPr>
        <p:spPr bwMode="auto">
          <a:xfrm>
            <a:off x="4332180" y="2300994"/>
            <a:ext cx="3096" cy="3432"/>
          </a:xfrm>
          <a:custGeom>
            <a:avLst/>
            <a:gdLst>
              <a:gd name="T0" fmla="*/ 0 w 2"/>
              <a:gd name="T1" fmla="*/ 2 h 2"/>
              <a:gd name="T2" fmla="*/ 0 w 2"/>
              <a:gd name="T3" fmla="*/ 2 h 2"/>
              <a:gd name="T4" fmla="*/ 0 w 2"/>
              <a:gd name="T5" fmla="*/ 0 h 2"/>
              <a:gd name="T6" fmla="*/ 2 w 2"/>
              <a:gd name="T7" fmla="*/ 0 h 2"/>
              <a:gd name="T8" fmla="*/ 2 w 2"/>
              <a:gd name="T9" fmla="*/ 0 h 2"/>
              <a:gd name="T10" fmla="*/ 2 w 2"/>
              <a:gd name="T11" fmla="*/ 0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0" y="2"/>
                </a:lnTo>
                <a:lnTo>
                  <a:pt x="0" y="0"/>
                </a:lnTo>
                <a:lnTo>
                  <a:pt x="2" y="0"/>
                </a:lnTo>
                <a:lnTo>
                  <a:pt x="2" y="0"/>
                </a:lnTo>
                <a:lnTo>
                  <a:pt x="2" y="0"/>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4" name="Freeform 233">
            <a:extLst>
              <a:ext uri="{FF2B5EF4-FFF2-40B4-BE49-F238E27FC236}">
                <a16:creationId xmlns:a16="http://schemas.microsoft.com/office/drawing/2014/main" id="{8AA281EA-150B-4166-9FD8-795E3FF35DE7}"/>
              </a:ext>
            </a:extLst>
          </p:cNvPr>
          <p:cNvSpPr>
            <a:spLocks/>
          </p:cNvSpPr>
          <p:nvPr userDrawn="1"/>
        </p:nvSpPr>
        <p:spPr bwMode="auto">
          <a:xfrm>
            <a:off x="3960686" y="1545960"/>
            <a:ext cx="3096" cy="3432"/>
          </a:xfrm>
          <a:custGeom>
            <a:avLst/>
            <a:gdLst>
              <a:gd name="T0" fmla="*/ 0 w 2"/>
              <a:gd name="T1" fmla="*/ 0 h 2"/>
              <a:gd name="T2" fmla="*/ 0 w 2"/>
              <a:gd name="T3" fmla="*/ 2 h 2"/>
              <a:gd name="T4" fmla="*/ 0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2"/>
                </a:lnTo>
                <a:lnTo>
                  <a:pt x="0"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5" name="Freeform 234">
            <a:extLst>
              <a:ext uri="{FF2B5EF4-FFF2-40B4-BE49-F238E27FC236}">
                <a16:creationId xmlns:a16="http://schemas.microsoft.com/office/drawing/2014/main" id="{90D3E7F2-86B2-4445-9086-C5A1CCABC71F}"/>
              </a:ext>
            </a:extLst>
          </p:cNvPr>
          <p:cNvSpPr>
            <a:spLocks/>
          </p:cNvSpPr>
          <p:nvPr userDrawn="1"/>
        </p:nvSpPr>
        <p:spPr bwMode="auto">
          <a:xfrm>
            <a:off x="2940626" y="1978388"/>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6" name="Rectangle 235">
            <a:extLst>
              <a:ext uri="{FF2B5EF4-FFF2-40B4-BE49-F238E27FC236}">
                <a16:creationId xmlns:a16="http://schemas.microsoft.com/office/drawing/2014/main" id="{91CF376B-4F8D-4FE7-891B-F5B67CB857D6}"/>
              </a:ext>
            </a:extLst>
          </p:cNvPr>
          <p:cNvSpPr>
            <a:spLocks noChangeArrowheads="1"/>
          </p:cNvSpPr>
          <p:nvPr userDrawn="1"/>
        </p:nvSpPr>
        <p:spPr bwMode="auto">
          <a:xfrm>
            <a:off x="2940626" y="1978388"/>
            <a:ext cx="1548" cy="3432"/>
          </a:xfrm>
          <a:prstGeom prst="rect">
            <a:avLst/>
          </a:prstGeom>
          <a:solidFill>
            <a:srgbClr val="00095B"/>
          </a:solidFill>
          <a:ln w="3175">
            <a:solidFill>
              <a:srgbClr val="00095B"/>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7" name="Freeform 236">
            <a:extLst>
              <a:ext uri="{FF2B5EF4-FFF2-40B4-BE49-F238E27FC236}">
                <a16:creationId xmlns:a16="http://schemas.microsoft.com/office/drawing/2014/main" id="{BE112C98-1CDE-4D5E-8278-0AC11AD582CC}"/>
              </a:ext>
            </a:extLst>
          </p:cNvPr>
          <p:cNvSpPr>
            <a:spLocks/>
          </p:cNvSpPr>
          <p:nvPr userDrawn="1"/>
        </p:nvSpPr>
        <p:spPr bwMode="auto">
          <a:xfrm>
            <a:off x="3839950" y="1127259"/>
            <a:ext cx="1548" cy="3432"/>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8" name="Freeform 237">
            <a:extLst>
              <a:ext uri="{FF2B5EF4-FFF2-40B4-BE49-F238E27FC236}">
                <a16:creationId xmlns:a16="http://schemas.microsoft.com/office/drawing/2014/main" id="{8D918D1A-8C76-4EEF-8D5C-6C834F1A1DB4}"/>
              </a:ext>
            </a:extLst>
          </p:cNvPr>
          <p:cNvSpPr>
            <a:spLocks noEditPoints="1"/>
          </p:cNvSpPr>
          <p:nvPr userDrawn="1"/>
        </p:nvSpPr>
        <p:spPr bwMode="auto">
          <a:xfrm>
            <a:off x="2675936" y="1068915"/>
            <a:ext cx="2026190" cy="1359061"/>
          </a:xfrm>
          <a:custGeom>
            <a:avLst/>
            <a:gdLst>
              <a:gd name="T0" fmla="*/ 860 w 1208"/>
              <a:gd name="T1" fmla="*/ 106 h 792"/>
              <a:gd name="T2" fmla="*/ 540 w 1208"/>
              <a:gd name="T3" fmla="*/ 46 h 792"/>
              <a:gd name="T4" fmla="*/ 528 w 1208"/>
              <a:gd name="T5" fmla="*/ 30 h 792"/>
              <a:gd name="T6" fmla="*/ 668 w 1208"/>
              <a:gd name="T7" fmla="*/ 36 h 792"/>
              <a:gd name="T8" fmla="*/ 744 w 1208"/>
              <a:gd name="T9" fmla="*/ 42 h 792"/>
              <a:gd name="T10" fmla="*/ 716 w 1208"/>
              <a:gd name="T11" fmla="*/ 74 h 792"/>
              <a:gd name="T12" fmla="*/ 406 w 1208"/>
              <a:gd name="T13" fmla="*/ 56 h 792"/>
              <a:gd name="T14" fmla="*/ 456 w 1208"/>
              <a:gd name="T15" fmla="*/ 22 h 792"/>
              <a:gd name="T16" fmla="*/ 762 w 1208"/>
              <a:gd name="T17" fmla="*/ 308 h 792"/>
              <a:gd name="T18" fmla="*/ 1078 w 1208"/>
              <a:gd name="T19" fmla="*/ 276 h 792"/>
              <a:gd name="T20" fmla="*/ 1016 w 1208"/>
              <a:gd name="T21" fmla="*/ 288 h 792"/>
              <a:gd name="T22" fmla="*/ 1024 w 1208"/>
              <a:gd name="T23" fmla="*/ 332 h 792"/>
              <a:gd name="T24" fmla="*/ 962 w 1208"/>
              <a:gd name="T25" fmla="*/ 374 h 792"/>
              <a:gd name="T26" fmla="*/ 862 w 1208"/>
              <a:gd name="T27" fmla="*/ 348 h 792"/>
              <a:gd name="T28" fmla="*/ 920 w 1208"/>
              <a:gd name="T29" fmla="*/ 226 h 792"/>
              <a:gd name="T30" fmla="*/ 842 w 1208"/>
              <a:gd name="T31" fmla="*/ 172 h 792"/>
              <a:gd name="T32" fmla="*/ 742 w 1208"/>
              <a:gd name="T33" fmla="*/ 172 h 792"/>
              <a:gd name="T34" fmla="*/ 762 w 1208"/>
              <a:gd name="T35" fmla="*/ 154 h 792"/>
              <a:gd name="T36" fmla="*/ 818 w 1208"/>
              <a:gd name="T37" fmla="*/ 136 h 792"/>
              <a:gd name="T38" fmla="*/ 906 w 1208"/>
              <a:gd name="T39" fmla="*/ 146 h 792"/>
              <a:gd name="T40" fmla="*/ 982 w 1208"/>
              <a:gd name="T41" fmla="*/ 170 h 792"/>
              <a:gd name="T42" fmla="*/ 1008 w 1208"/>
              <a:gd name="T43" fmla="*/ 238 h 792"/>
              <a:gd name="T44" fmla="*/ 1078 w 1208"/>
              <a:gd name="T45" fmla="*/ 256 h 792"/>
              <a:gd name="T46" fmla="*/ 1030 w 1208"/>
              <a:gd name="T47" fmla="*/ 722 h 792"/>
              <a:gd name="T48" fmla="*/ 904 w 1208"/>
              <a:gd name="T49" fmla="*/ 732 h 792"/>
              <a:gd name="T50" fmla="*/ 822 w 1208"/>
              <a:gd name="T51" fmla="*/ 750 h 792"/>
              <a:gd name="T52" fmla="*/ 702 w 1208"/>
              <a:gd name="T53" fmla="*/ 666 h 792"/>
              <a:gd name="T54" fmla="*/ 198 w 1208"/>
              <a:gd name="T55" fmla="*/ 626 h 792"/>
              <a:gd name="T56" fmla="*/ 182 w 1208"/>
              <a:gd name="T57" fmla="*/ 592 h 792"/>
              <a:gd name="T58" fmla="*/ 132 w 1208"/>
              <a:gd name="T59" fmla="*/ 478 h 792"/>
              <a:gd name="T60" fmla="*/ 82 w 1208"/>
              <a:gd name="T61" fmla="*/ 206 h 792"/>
              <a:gd name="T62" fmla="*/ 148 w 1208"/>
              <a:gd name="T63" fmla="*/ 200 h 792"/>
              <a:gd name="T64" fmla="*/ 344 w 1208"/>
              <a:gd name="T65" fmla="*/ 220 h 792"/>
              <a:gd name="T66" fmla="*/ 468 w 1208"/>
              <a:gd name="T67" fmla="*/ 232 h 792"/>
              <a:gd name="T68" fmla="*/ 532 w 1208"/>
              <a:gd name="T69" fmla="*/ 250 h 792"/>
              <a:gd name="T70" fmla="*/ 634 w 1208"/>
              <a:gd name="T71" fmla="*/ 232 h 792"/>
              <a:gd name="T72" fmla="*/ 622 w 1208"/>
              <a:gd name="T73" fmla="*/ 154 h 792"/>
              <a:gd name="T74" fmla="*/ 634 w 1208"/>
              <a:gd name="T75" fmla="*/ 138 h 792"/>
              <a:gd name="T76" fmla="*/ 716 w 1208"/>
              <a:gd name="T77" fmla="*/ 204 h 792"/>
              <a:gd name="T78" fmla="*/ 810 w 1208"/>
              <a:gd name="T79" fmla="*/ 206 h 792"/>
              <a:gd name="T80" fmla="*/ 738 w 1208"/>
              <a:gd name="T81" fmla="*/ 302 h 792"/>
              <a:gd name="T82" fmla="*/ 666 w 1208"/>
              <a:gd name="T83" fmla="*/ 374 h 792"/>
              <a:gd name="T84" fmla="*/ 748 w 1208"/>
              <a:gd name="T85" fmla="*/ 518 h 792"/>
              <a:gd name="T86" fmla="*/ 858 w 1208"/>
              <a:gd name="T87" fmla="*/ 524 h 792"/>
              <a:gd name="T88" fmla="*/ 870 w 1208"/>
              <a:gd name="T89" fmla="*/ 372 h 792"/>
              <a:gd name="T90" fmla="*/ 1004 w 1208"/>
              <a:gd name="T91" fmla="*/ 458 h 792"/>
              <a:gd name="T92" fmla="*/ 1076 w 1208"/>
              <a:gd name="T93" fmla="*/ 496 h 792"/>
              <a:gd name="T94" fmla="*/ 1098 w 1208"/>
              <a:gd name="T95" fmla="*/ 570 h 792"/>
              <a:gd name="T96" fmla="*/ 1072 w 1208"/>
              <a:gd name="T97" fmla="*/ 632 h 792"/>
              <a:gd name="T98" fmla="*/ 998 w 1208"/>
              <a:gd name="T99" fmla="*/ 656 h 792"/>
              <a:gd name="T100" fmla="*/ 1052 w 1208"/>
              <a:gd name="T101" fmla="*/ 724 h 792"/>
              <a:gd name="T102" fmla="*/ 1160 w 1208"/>
              <a:gd name="T103" fmla="*/ 646 h 792"/>
              <a:gd name="T104" fmla="*/ 1112 w 1208"/>
              <a:gd name="T105" fmla="*/ 656 h 792"/>
              <a:gd name="T106" fmla="*/ 1204 w 1208"/>
              <a:gd name="T107" fmla="*/ 688 h 792"/>
              <a:gd name="T108" fmla="*/ 122 w 1208"/>
              <a:gd name="T109" fmla="*/ 556 h 792"/>
              <a:gd name="T110" fmla="*/ 440 w 1208"/>
              <a:gd name="T111" fmla="*/ 108 h 792"/>
              <a:gd name="T112" fmla="*/ 318 w 1208"/>
              <a:gd name="T113" fmla="*/ 148 h 792"/>
              <a:gd name="T114" fmla="*/ 352 w 1208"/>
              <a:gd name="T115" fmla="*/ 184 h 792"/>
              <a:gd name="T116" fmla="*/ 518 w 1208"/>
              <a:gd name="T117" fmla="*/ 216 h 792"/>
              <a:gd name="T118" fmla="*/ 590 w 1208"/>
              <a:gd name="T119" fmla="*/ 86 h 792"/>
              <a:gd name="T120" fmla="*/ 578 w 1208"/>
              <a:gd name="T121" fmla="*/ 156 h 792"/>
              <a:gd name="T122" fmla="*/ 136 w 1208"/>
              <a:gd name="T123" fmla="*/ 576 h 792"/>
              <a:gd name="T124" fmla="*/ 308 w 1208"/>
              <a:gd name="T125" fmla="*/ 11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8" h="792">
                <a:moveTo>
                  <a:pt x="790" y="726"/>
                </a:moveTo>
                <a:lnTo>
                  <a:pt x="790" y="726"/>
                </a:lnTo>
                <a:lnTo>
                  <a:pt x="784" y="722"/>
                </a:lnTo>
                <a:lnTo>
                  <a:pt x="784" y="722"/>
                </a:lnTo>
                <a:lnTo>
                  <a:pt x="786" y="720"/>
                </a:lnTo>
                <a:lnTo>
                  <a:pt x="786" y="720"/>
                </a:lnTo>
                <a:lnTo>
                  <a:pt x="792" y="722"/>
                </a:lnTo>
                <a:lnTo>
                  <a:pt x="798" y="724"/>
                </a:lnTo>
                <a:lnTo>
                  <a:pt x="798" y="724"/>
                </a:lnTo>
                <a:lnTo>
                  <a:pt x="800" y="726"/>
                </a:lnTo>
                <a:lnTo>
                  <a:pt x="802" y="726"/>
                </a:lnTo>
                <a:lnTo>
                  <a:pt x="800" y="726"/>
                </a:lnTo>
                <a:lnTo>
                  <a:pt x="800" y="726"/>
                </a:lnTo>
                <a:lnTo>
                  <a:pt x="790" y="726"/>
                </a:lnTo>
                <a:lnTo>
                  <a:pt x="790" y="726"/>
                </a:lnTo>
                <a:close/>
                <a:moveTo>
                  <a:pt x="840" y="190"/>
                </a:moveTo>
                <a:lnTo>
                  <a:pt x="840" y="190"/>
                </a:lnTo>
                <a:lnTo>
                  <a:pt x="838" y="192"/>
                </a:lnTo>
                <a:lnTo>
                  <a:pt x="834" y="194"/>
                </a:lnTo>
                <a:lnTo>
                  <a:pt x="834" y="194"/>
                </a:lnTo>
                <a:lnTo>
                  <a:pt x="824" y="194"/>
                </a:lnTo>
                <a:lnTo>
                  <a:pt x="824" y="194"/>
                </a:lnTo>
                <a:lnTo>
                  <a:pt x="824" y="196"/>
                </a:lnTo>
                <a:lnTo>
                  <a:pt x="826" y="196"/>
                </a:lnTo>
                <a:lnTo>
                  <a:pt x="826" y="196"/>
                </a:lnTo>
                <a:lnTo>
                  <a:pt x="826" y="198"/>
                </a:lnTo>
                <a:lnTo>
                  <a:pt x="826" y="198"/>
                </a:lnTo>
                <a:lnTo>
                  <a:pt x="826" y="198"/>
                </a:lnTo>
                <a:lnTo>
                  <a:pt x="826" y="198"/>
                </a:lnTo>
                <a:lnTo>
                  <a:pt x="826" y="198"/>
                </a:lnTo>
                <a:lnTo>
                  <a:pt x="828" y="200"/>
                </a:lnTo>
                <a:lnTo>
                  <a:pt x="828" y="200"/>
                </a:lnTo>
                <a:lnTo>
                  <a:pt x="830" y="198"/>
                </a:lnTo>
                <a:lnTo>
                  <a:pt x="830" y="198"/>
                </a:lnTo>
                <a:lnTo>
                  <a:pt x="832" y="202"/>
                </a:lnTo>
                <a:lnTo>
                  <a:pt x="834" y="202"/>
                </a:lnTo>
                <a:lnTo>
                  <a:pt x="834" y="202"/>
                </a:lnTo>
                <a:lnTo>
                  <a:pt x="842" y="194"/>
                </a:lnTo>
                <a:lnTo>
                  <a:pt x="846" y="190"/>
                </a:lnTo>
                <a:lnTo>
                  <a:pt x="844" y="190"/>
                </a:lnTo>
                <a:lnTo>
                  <a:pt x="840" y="190"/>
                </a:lnTo>
                <a:lnTo>
                  <a:pt x="840" y="190"/>
                </a:lnTo>
                <a:close/>
                <a:moveTo>
                  <a:pt x="868" y="100"/>
                </a:moveTo>
                <a:lnTo>
                  <a:pt x="866" y="100"/>
                </a:lnTo>
                <a:lnTo>
                  <a:pt x="866" y="100"/>
                </a:lnTo>
                <a:lnTo>
                  <a:pt x="862" y="88"/>
                </a:lnTo>
                <a:lnTo>
                  <a:pt x="862" y="88"/>
                </a:lnTo>
                <a:lnTo>
                  <a:pt x="860" y="84"/>
                </a:lnTo>
                <a:lnTo>
                  <a:pt x="860" y="84"/>
                </a:lnTo>
                <a:lnTo>
                  <a:pt x="856" y="84"/>
                </a:lnTo>
                <a:lnTo>
                  <a:pt x="856" y="84"/>
                </a:lnTo>
                <a:lnTo>
                  <a:pt x="854" y="84"/>
                </a:lnTo>
                <a:lnTo>
                  <a:pt x="852" y="82"/>
                </a:lnTo>
                <a:lnTo>
                  <a:pt x="852" y="82"/>
                </a:lnTo>
                <a:lnTo>
                  <a:pt x="846" y="84"/>
                </a:lnTo>
                <a:lnTo>
                  <a:pt x="840" y="86"/>
                </a:lnTo>
                <a:lnTo>
                  <a:pt x="840" y="86"/>
                </a:lnTo>
                <a:lnTo>
                  <a:pt x="840" y="86"/>
                </a:lnTo>
                <a:lnTo>
                  <a:pt x="836" y="86"/>
                </a:lnTo>
                <a:lnTo>
                  <a:pt x="834" y="86"/>
                </a:lnTo>
                <a:lnTo>
                  <a:pt x="830" y="82"/>
                </a:lnTo>
                <a:lnTo>
                  <a:pt x="830" y="82"/>
                </a:lnTo>
                <a:lnTo>
                  <a:pt x="826" y="84"/>
                </a:lnTo>
                <a:lnTo>
                  <a:pt x="822" y="86"/>
                </a:lnTo>
                <a:lnTo>
                  <a:pt x="822" y="86"/>
                </a:lnTo>
                <a:lnTo>
                  <a:pt x="818" y="86"/>
                </a:lnTo>
                <a:lnTo>
                  <a:pt x="818" y="86"/>
                </a:lnTo>
                <a:lnTo>
                  <a:pt x="814" y="90"/>
                </a:lnTo>
                <a:lnTo>
                  <a:pt x="812" y="96"/>
                </a:lnTo>
                <a:lnTo>
                  <a:pt x="808" y="108"/>
                </a:lnTo>
                <a:lnTo>
                  <a:pt x="808" y="108"/>
                </a:lnTo>
                <a:lnTo>
                  <a:pt x="808" y="106"/>
                </a:lnTo>
                <a:lnTo>
                  <a:pt x="808" y="110"/>
                </a:lnTo>
                <a:lnTo>
                  <a:pt x="810" y="114"/>
                </a:lnTo>
                <a:lnTo>
                  <a:pt x="814" y="118"/>
                </a:lnTo>
                <a:lnTo>
                  <a:pt x="814" y="118"/>
                </a:lnTo>
                <a:lnTo>
                  <a:pt x="818" y="118"/>
                </a:lnTo>
                <a:lnTo>
                  <a:pt x="820" y="116"/>
                </a:lnTo>
                <a:lnTo>
                  <a:pt x="824" y="114"/>
                </a:lnTo>
                <a:lnTo>
                  <a:pt x="824" y="114"/>
                </a:lnTo>
                <a:lnTo>
                  <a:pt x="830" y="116"/>
                </a:lnTo>
                <a:lnTo>
                  <a:pt x="838" y="116"/>
                </a:lnTo>
                <a:lnTo>
                  <a:pt x="838" y="116"/>
                </a:lnTo>
                <a:lnTo>
                  <a:pt x="842" y="116"/>
                </a:lnTo>
                <a:lnTo>
                  <a:pt x="844" y="112"/>
                </a:lnTo>
                <a:lnTo>
                  <a:pt x="850" y="108"/>
                </a:lnTo>
                <a:lnTo>
                  <a:pt x="850" y="108"/>
                </a:lnTo>
                <a:lnTo>
                  <a:pt x="852" y="108"/>
                </a:lnTo>
                <a:lnTo>
                  <a:pt x="856" y="108"/>
                </a:lnTo>
                <a:lnTo>
                  <a:pt x="856" y="108"/>
                </a:lnTo>
                <a:lnTo>
                  <a:pt x="858" y="106"/>
                </a:lnTo>
                <a:lnTo>
                  <a:pt x="858" y="106"/>
                </a:lnTo>
                <a:lnTo>
                  <a:pt x="860" y="106"/>
                </a:lnTo>
                <a:lnTo>
                  <a:pt x="864" y="106"/>
                </a:lnTo>
                <a:lnTo>
                  <a:pt x="864" y="106"/>
                </a:lnTo>
                <a:lnTo>
                  <a:pt x="868" y="104"/>
                </a:lnTo>
                <a:lnTo>
                  <a:pt x="868" y="104"/>
                </a:lnTo>
                <a:lnTo>
                  <a:pt x="868" y="100"/>
                </a:lnTo>
                <a:lnTo>
                  <a:pt x="868" y="100"/>
                </a:lnTo>
                <a:close/>
                <a:moveTo>
                  <a:pt x="570" y="12"/>
                </a:moveTo>
                <a:lnTo>
                  <a:pt x="570" y="12"/>
                </a:lnTo>
                <a:lnTo>
                  <a:pt x="572" y="14"/>
                </a:lnTo>
                <a:lnTo>
                  <a:pt x="572" y="14"/>
                </a:lnTo>
                <a:lnTo>
                  <a:pt x="572" y="14"/>
                </a:lnTo>
                <a:lnTo>
                  <a:pt x="572" y="16"/>
                </a:lnTo>
                <a:lnTo>
                  <a:pt x="570" y="16"/>
                </a:lnTo>
                <a:lnTo>
                  <a:pt x="564" y="16"/>
                </a:lnTo>
                <a:lnTo>
                  <a:pt x="564" y="16"/>
                </a:lnTo>
                <a:lnTo>
                  <a:pt x="564" y="14"/>
                </a:lnTo>
                <a:lnTo>
                  <a:pt x="564" y="14"/>
                </a:lnTo>
                <a:lnTo>
                  <a:pt x="566" y="12"/>
                </a:lnTo>
                <a:lnTo>
                  <a:pt x="566" y="12"/>
                </a:lnTo>
                <a:lnTo>
                  <a:pt x="560" y="4"/>
                </a:lnTo>
                <a:lnTo>
                  <a:pt x="560" y="6"/>
                </a:lnTo>
                <a:lnTo>
                  <a:pt x="560" y="6"/>
                </a:lnTo>
                <a:lnTo>
                  <a:pt x="554" y="6"/>
                </a:lnTo>
                <a:lnTo>
                  <a:pt x="554" y="6"/>
                </a:lnTo>
                <a:lnTo>
                  <a:pt x="554" y="8"/>
                </a:lnTo>
                <a:lnTo>
                  <a:pt x="552" y="8"/>
                </a:lnTo>
                <a:lnTo>
                  <a:pt x="554" y="12"/>
                </a:lnTo>
                <a:lnTo>
                  <a:pt x="554" y="12"/>
                </a:lnTo>
                <a:lnTo>
                  <a:pt x="562" y="14"/>
                </a:lnTo>
                <a:lnTo>
                  <a:pt x="562" y="14"/>
                </a:lnTo>
                <a:lnTo>
                  <a:pt x="562" y="14"/>
                </a:lnTo>
                <a:lnTo>
                  <a:pt x="562" y="16"/>
                </a:lnTo>
                <a:lnTo>
                  <a:pt x="562" y="16"/>
                </a:lnTo>
                <a:lnTo>
                  <a:pt x="552" y="16"/>
                </a:lnTo>
                <a:lnTo>
                  <a:pt x="552" y="16"/>
                </a:lnTo>
                <a:lnTo>
                  <a:pt x="552" y="20"/>
                </a:lnTo>
                <a:lnTo>
                  <a:pt x="552" y="20"/>
                </a:lnTo>
                <a:lnTo>
                  <a:pt x="554" y="22"/>
                </a:lnTo>
                <a:lnTo>
                  <a:pt x="558" y="24"/>
                </a:lnTo>
                <a:lnTo>
                  <a:pt x="558" y="24"/>
                </a:lnTo>
                <a:lnTo>
                  <a:pt x="558" y="32"/>
                </a:lnTo>
                <a:lnTo>
                  <a:pt x="558" y="32"/>
                </a:lnTo>
                <a:lnTo>
                  <a:pt x="560" y="32"/>
                </a:lnTo>
                <a:lnTo>
                  <a:pt x="560" y="34"/>
                </a:lnTo>
                <a:lnTo>
                  <a:pt x="558" y="38"/>
                </a:lnTo>
                <a:lnTo>
                  <a:pt x="558" y="38"/>
                </a:lnTo>
                <a:lnTo>
                  <a:pt x="554" y="36"/>
                </a:lnTo>
                <a:lnTo>
                  <a:pt x="554" y="36"/>
                </a:lnTo>
                <a:lnTo>
                  <a:pt x="554" y="34"/>
                </a:lnTo>
                <a:lnTo>
                  <a:pt x="554" y="30"/>
                </a:lnTo>
                <a:lnTo>
                  <a:pt x="554" y="30"/>
                </a:lnTo>
                <a:lnTo>
                  <a:pt x="544" y="22"/>
                </a:lnTo>
                <a:lnTo>
                  <a:pt x="544" y="22"/>
                </a:lnTo>
                <a:lnTo>
                  <a:pt x="542" y="16"/>
                </a:lnTo>
                <a:lnTo>
                  <a:pt x="542" y="16"/>
                </a:lnTo>
                <a:lnTo>
                  <a:pt x="538" y="14"/>
                </a:lnTo>
                <a:lnTo>
                  <a:pt x="536" y="14"/>
                </a:lnTo>
                <a:lnTo>
                  <a:pt x="534" y="16"/>
                </a:lnTo>
                <a:lnTo>
                  <a:pt x="534" y="16"/>
                </a:lnTo>
                <a:lnTo>
                  <a:pt x="534" y="16"/>
                </a:lnTo>
                <a:lnTo>
                  <a:pt x="534" y="18"/>
                </a:lnTo>
                <a:lnTo>
                  <a:pt x="532" y="20"/>
                </a:lnTo>
                <a:lnTo>
                  <a:pt x="532" y="20"/>
                </a:lnTo>
                <a:lnTo>
                  <a:pt x="536" y="20"/>
                </a:lnTo>
                <a:lnTo>
                  <a:pt x="536" y="20"/>
                </a:lnTo>
                <a:lnTo>
                  <a:pt x="536" y="26"/>
                </a:lnTo>
                <a:lnTo>
                  <a:pt x="538" y="32"/>
                </a:lnTo>
                <a:lnTo>
                  <a:pt x="538" y="32"/>
                </a:lnTo>
                <a:lnTo>
                  <a:pt x="540" y="32"/>
                </a:lnTo>
                <a:lnTo>
                  <a:pt x="540" y="32"/>
                </a:lnTo>
                <a:lnTo>
                  <a:pt x="542" y="38"/>
                </a:lnTo>
                <a:lnTo>
                  <a:pt x="542" y="38"/>
                </a:lnTo>
                <a:lnTo>
                  <a:pt x="540" y="40"/>
                </a:lnTo>
                <a:lnTo>
                  <a:pt x="538" y="40"/>
                </a:lnTo>
                <a:lnTo>
                  <a:pt x="538" y="40"/>
                </a:lnTo>
                <a:lnTo>
                  <a:pt x="538" y="38"/>
                </a:lnTo>
                <a:lnTo>
                  <a:pt x="538" y="38"/>
                </a:lnTo>
                <a:lnTo>
                  <a:pt x="526" y="40"/>
                </a:lnTo>
                <a:lnTo>
                  <a:pt x="526" y="40"/>
                </a:lnTo>
                <a:lnTo>
                  <a:pt x="528" y="40"/>
                </a:lnTo>
                <a:lnTo>
                  <a:pt x="530" y="42"/>
                </a:lnTo>
                <a:lnTo>
                  <a:pt x="528" y="44"/>
                </a:lnTo>
                <a:lnTo>
                  <a:pt x="528" y="44"/>
                </a:lnTo>
                <a:lnTo>
                  <a:pt x="524" y="44"/>
                </a:lnTo>
                <a:lnTo>
                  <a:pt x="524" y="44"/>
                </a:lnTo>
                <a:lnTo>
                  <a:pt x="524" y="50"/>
                </a:lnTo>
                <a:lnTo>
                  <a:pt x="524" y="50"/>
                </a:lnTo>
                <a:lnTo>
                  <a:pt x="526" y="52"/>
                </a:lnTo>
                <a:lnTo>
                  <a:pt x="530" y="52"/>
                </a:lnTo>
                <a:lnTo>
                  <a:pt x="530" y="52"/>
                </a:lnTo>
                <a:lnTo>
                  <a:pt x="536" y="50"/>
                </a:lnTo>
                <a:lnTo>
                  <a:pt x="540" y="46"/>
                </a:lnTo>
                <a:lnTo>
                  <a:pt x="540" y="46"/>
                </a:lnTo>
                <a:lnTo>
                  <a:pt x="546" y="46"/>
                </a:lnTo>
                <a:lnTo>
                  <a:pt x="554" y="46"/>
                </a:lnTo>
                <a:lnTo>
                  <a:pt x="554" y="46"/>
                </a:lnTo>
                <a:lnTo>
                  <a:pt x="560" y="42"/>
                </a:lnTo>
                <a:lnTo>
                  <a:pt x="560" y="42"/>
                </a:lnTo>
                <a:lnTo>
                  <a:pt x="560" y="46"/>
                </a:lnTo>
                <a:lnTo>
                  <a:pt x="558" y="46"/>
                </a:lnTo>
                <a:lnTo>
                  <a:pt x="558" y="46"/>
                </a:lnTo>
                <a:lnTo>
                  <a:pt x="556" y="48"/>
                </a:lnTo>
                <a:lnTo>
                  <a:pt x="556" y="48"/>
                </a:lnTo>
                <a:lnTo>
                  <a:pt x="550" y="52"/>
                </a:lnTo>
                <a:lnTo>
                  <a:pt x="550" y="52"/>
                </a:lnTo>
                <a:lnTo>
                  <a:pt x="550" y="58"/>
                </a:lnTo>
                <a:lnTo>
                  <a:pt x="554" y="60"/>
                </a:lnTo>
                <a:lnTo>
                  <a:pt x="558" y="60"/>
                </a:lnTo>
                <a:lnTo>
                  <a:pt x="564" y="60"/>
                </a:lnTo>
                <a:lnTo>
                  <a:pt x="564" y="60"/>
                </a:lnTo>
                <a:lnTo>
                  <a:pt x="572" y="62"/>
                </a:lnTo>
                <a:lnTo>
                  <a:pt x="572" y="62"/>
                </a:lnTo>
                <a:lnTo>
                  <a:pt x="582" y="60"/>
                </a:lnTo>
                <a:lnTo>
                  <a:pt x="594" y="60"/>
                </a:lnTo>
                <a:lnTo>
                  <a:pt x="594" y="60"/>
                </a:lnTo>
                <a:lnTo>
                  <a:pt x="596" y="58"/>
                </a:lnTo>
                <a:lnTo>
                  <a:pt x="596" y="58"/>
                </a:lnTo>
                <a:lnTo>
                  <a:pt x="594" y="54"/>
                </a:lnTo>
                <a:lnTo>
                  <a:pt x="594" y="54"/>
                </a:lnTo>
                <a:lnTo>
                  <a:pt x="594" y="54"/>
                </a:lnTo>
                <a:lnTo>
                  <a:pt x="596" y="54"/>
                </a:lnTo>
                <a:lnTo>
                  <a:pt x="596" y="54"/>
                </a:lnTo>
                <a:lnTo>
                  <a:pt x="598" y="52"/>
                </a:lnTo>
                <a:lnTo>
                  <a:pt x="596" y="50"/>
                </a:lnTo>
                <a:lnTo>
                  <a:pt x="596" y="50"/>
                </a:lnTo>
                <a:lnTo>
                  <a:pt x="594" y="48"/>
                </a:lnTo>
                <a:lnTo>
                  <a:pt x="592" y="48"/>
                </a:lnTo>
                <a:lnTo>
                  <a:pt x="592" y="48"/>
                </a:lnTo>
                <a:lnTo>
                  <a:pt x="592" y="42"/>
                </a:lnTo>
                <a:lnTo>
                  <a:pt x="592" y="42"/>
                </a:lnTo>
                <a:lnTo>
                  <a:pt x="594" y="42"/>
                </a:lnTo>
                <a:lnTo>
                  <a:pt x="594" y="42"/>
                </a:lnTo>
                <a:lnTo>
                  <a:pt x="594" y="38"/>
                </a:lnTo>
                <a:lnTo>
                  <a:pt x="594" y="38"/>
                </a:lnTo>
                <a:lnTo>
                  <a:pt x="588" y="38"/>
                </a:lnTo>
                <a:lnTo>
                  <a:pt x="588" y="38"/>
                </a:lnTo>
                <a:lnTo>
                  <a:pt x="590" y="34"/>
                </a:lnTo>
                <a:lnTo>
                  <a:pt x="590" y="30"/>
                </a:lnTo>
                <a:lnTo>
                  <a:pt x="588" y="26"/>
                </a:lnTo>
                <a:lnTo>
                  <a:pt x="588" y="26"/>
                </a:lnTo>
                <a:lnTo>
                  <a:pt x="586" y="22"/>
                </a:lnTo>
                <a:lnTo>
                  <a:pt x="588" y="16"/>
                </a:lnTo>
                <a:lnTo>
                  <a:pt x="588" y="16"/>
                </a:lnTo>
                <a:lnTo>
                  <a:pt x="578" y="12"/>
                </a:lnTo>
                <a:lnTo>
                  <a:pt x="578" y="12"/>
                </a:lnTo>
                <a:lnTo>
                  <a:pt x="580" y="12"/>
                </a:lnTo>
                <a:lnTo>
                  <a:pt x="580" y="10"/>
                </a:lnTo>
                <a:lnTo>
                  <a:pt x="580" y="10"/>
                </a:lnTo>
                <a:lnTo>
                  <a:pt x="576" y="8"/>
                </a:lnTo>
                <a:lnTo>
                  <a:pt x="572" y="6"/>
                </a:lnTo>
                <a:lnTo>
                  <a:pt x="572" y="6"/>
                </a:lnTo>
                <a:lnTo>
                  <a:pt x="570" y="12"/>
                </a:lnTo>
                <a:lnTo>
                  <a:pt x="570" y="12"/>
                </a:lnTo>
                <a:close/>
                <a:moveTo>
                  <a:pt x="504" y="26"/>
                </a:moveTo>
                <a:lnTo>
                  <a:pt x="504" y="28"/>
                </a:lnTo>
                <a:lnTo>
                  <a:pt x="504" y="28"/>
                </a:lnTo>
                <a:lnTo>
                  <a:pt x="518" y="26"/>
                </a:lnTo>
                <a:lnTo>
                  <a:pt x="518" y="26"/>
                </a:lnTo>
                <a:lnTo>
                  <a:pt x="516" y="28"/>
                </a:lnTo>
                <a:lnTo>
                  <a:pt x="516" y="28"/>
                </a:lnTo>
                <a:lnTo>
                  <a:pt x="506" y="32"/>
                </a:lnTo>
                <a:lnTo>
                  <a:pt x="504" y="34"/>
                </a:lnTo>
                <a:lnTo>
                  <a:pt x="504" y="34"/>
                </a:lnTo>
                <a:lnTo>
                  <a:pt x="516" y="32"/>
                </a:lnTo>
                <a:lnTo>
                  <a:pt x="518" y="34"/>
                </a:lnTo>
                <a:lnTo>
                  <a:pt x="518" y="34"/>
                </a:lnTo>
                <a:lnTo>
                  <a:pt x="514" y="36"/>
                </a:lnTo>
                <a:lnTo>
                  <a:pt x="514" y="36"/>
                </a:lnTo>
                <a:lnTo>
                  <a:pt x="512" y="40"/>
                </a:lnTo>
                <a:lnTo>
                  <a:pt x="512" y="40"/>
                </a:lnTo>
                <a:lnTo>
                  <a:pt x="508" y="40"/>
                </a:lnTo>
                <a:lnTo>
                  <a:pt x="508" y="40"/>
                </a:lnTo>
                <a:lnTo>
                  <a:pt x="508" y="44"/>
                </a:lnTo>
                <a:lnTo>
                  <a:pt x="508" y="44"/>
                </a:lnTo>
                <a:lnTo>
                  <a:pt x="514" y="44"/>
                </a:lnTo>
                <a:lnTo>
                  <a:pt x="520" y="42"/>
                </a:lnTo>
                <a:lnTo>
                  <a:pt x="520" y="42"/>
                </a:lnTo>
                <a:lnTo>
                  <a:pt x="522" y="40"/>
                </a:lnTo>
                <a:lnTo>
                  <a:pt x="524" y="38"/>
                </a:lnTo>
                <a:lnTo>
                  <a:pt x="524" y="38"/>
                </a:lnTo>
                <a:lnTo>
                  <a:pt x="530" y="34"/>
                </a:lnTo>
                <a:lnTo>
                  <a:pt x="530" y="34"/>
                </a:lnTo>
                <a:lnTo>
                  <a:pt x="530" y="32"/>
                </a:lnTo>
                <a:lnTo>
                  <a:pt x="530" y="32"/>
                </a:lnTo>
                <a:lnTo>
                  <a:pt x="528" y="32"/>
                </a:lnTo>
                <a:lnTo>
                  <a:pt x="528" y="30"/>
                </a:lnTo>
                <a:lnTo>
                  <a:pt x="530" y="28"/>
                </a:lnTo>
                <a:lnTo>
                  <a:pt x="530" y="28"/>
                </a:lnTo>
                <a:lnTo>
                  <a:pt x="530" y="26"/>
                </a:lnTo>
                <a:lnTo>
                  <a:pt x="530" y="26"/>
                </a:lnTo>
                <a:lnTo>
                  <a:pt x="530" y="24"/>
                </a:lnTo>
                <a:lnTo>
                  <a:pt x="526" y="22"/>
                </a:lnTo>
                <a:lnTo>
                  <a:pt x="526" y="22"/>
                </a:lnTo>
                <a:lnTo>
                  <a:pt x="520" y="24"/>
                </a:lnTo>
                <a:lnTo>
                  <a:pt x="520" y="24"/>
                </a:lnTo>
                <a:lnTo>
                  <a:pt x="524" y="18"/>
                </a:lnTo>
                <a:lnTo>
                  <a:pt x="524" y="16"/>
                </a:lnTo>
                <a:lnTo>
                  <a:pt x="520" y="14"/>
                </a:lnTo>
                <a:lnTo>
                  <a:pt x="520" y="14"/>
                </a:lnTo>
                <a:lnTo>
                  <a:pt x="512" y="16"/>
                </a:lnTo>
                <a:lnTo>
                  <a:pt x="506" y="18"/>
                </a:lnTo>
                <a:lnTo>
                  <a:pt x="506" y="18"/>
                </a:lnTo>
                <a:lnTo>
                  <a:pt x="502" y="20"/>
                </a:lnTo>
                <a:lnTo>
                  <a:pt x="502" y="20"/>
                </a:lnTo>
                <a:lnTo>
                  <a:pt x="500" y="20"/>
                </a:lnTo>
                <a:lnTo>
                  <a:pt x="500" y="22"/>
                </a:lnTo>
                <a:lnTo>
                  <a:pt x="500" y="24"/>
                </a:lnTo>
                <a:lnTo>
                  <a:pt x="504" y="26"/>
                </a:lnTo>
                <a:lnTo>
                  <a:pt x="504" y="26"/>
                </a:lnTo>
                <a:close/>
                <a:moveTo>
                  <a:pt x="616" y="64"/>
                </a:moveTo>
                <a:lnTo>
                  <a:pt x="616" y="64"/>
                </a:lnTo>
                <a:lnTo>
                  <a:pt x="628" y="68"/>
                </a:lnTo>
                <a:lnTo>
                  <a:pt x="628" y="68"/>
                </a:lnTo>
                <a:lnTo>
                  <a:pt x="628" y="66"/>
                </a:lnTo>
                <a:lnTo>
                  <a:pt x="630" y="66"/>
                </a:lnTo>
                <a:lnTo>
                  <a:pt x="630" y="66"/>
                </a:lnTo>
                <a:lnTo>
                  <a:pt x="634" y="70"/>
                </a:lnTo>
                <a:lnTo>
                  <a:pt x="634" y="70"/>
                </a:lnTo>
                <a:lnTo>
                  <a:pt x="640" y="70"/>
                </a:lnTo>
                <a:lnTo>
                  <a:pt x="640" y="70"/>
                </a:lnTo>
                <a:lnTo>
                  <a:pt x="642" y="58"/>
                </a:lnTo>
                <a:lnTo>
                  <a:pt x="642" y="52"/>
                </a:lnTo>
                <a:lnTo>
                  <a:pt x="642" y="48"/>
                </a:lnTo>
                <a:lnTo>
                  <a:pt x="642" y="48"/>
                </a:lnTo>
                <a:lnTo>
                  <a:pt x="638" y="46"/>
                </a:lnTo>
                <a:lnTo>
                  <a:pt x="636" y="44"/>
                </a:lnTo>
                <a:lnTo>
                  <a:pt x="636" y="44"/>
                </a:lnTo>
                <a:lnTo>
                  <a:pt x="634" y="40"/>
                </a:lnTo>
                <a:lnTo>
                  <a:pt x="634" y="40"/>
                </a:lnTo>
                <a:lnTo>
                  <a:pt x="632" y="40"/>
                </a:lnTo>
                <a:lnTo>
                  <a:pt x="628" y="38"/>
                </a:lnTo>
                <a:lnTo>
                  <a:pt x="620" y="38"/>
                </a:lnTo>
                <a:lnTo>
                  <a:pt x="620" y="38"/>
                </a:lnTo>
                <a:lnTo>
                  <a:pt x="618" y="44"/>
                </a:lnTo>
                <a:lnTo>
                  <a:pt x="614" y="48"/>
                </a:lnTo>
                <a:lnTo>
                  <a:pt x="614" y="48"/>
                </a:lnTo>
                <a:lnTo>
                  <a:pt x="612" y="50"/>
                </a:lnTo>
                <a:lnTo>
                  <a:pt x="610" y="50"/>
                </a:lnTo>
                <a:lnTo>
                  <a:pt x="610" y="50"/>
                </a:lnTo>
                <a:lnTo>
                  <a:pt x="610" y="54"/>
                </a:lnTo>
                <a:lnTo>
                  <a:pt x="610" y="54"/>
                </a:lnTo>
                <a:lnTo>
                  <a:pt x="608" y="56"/>
                </a:lnTo>
                <a:lnTo>
                  <a:pt x="608" y="56"/>
                </a:lnTo>
                <a:lnTo>
                  <a:pt x="608" y="60"/>
                </a:lnTo>
                <a:lnTo>
                  <a:pt x="608" y="62"/>
                </a:lnTo>
                <a:lnTo>
                  <a:pt x="608" y="62"/>
                </a:lnTo>
                <a:lnTo>
                  <a:pt x="610" y="62"/>
                </a:lnTo>
                <a:lnTo>
                  <a:pt x="610" y="60"/>
                </a:lnTo>
                <a:lnTo>
                  <a:pt x="610" y="60"/>
                </a:lnTo>
                <a:lnTo>
                  <a:pt x="614" y="62"/>
                </a:lnTo>
                <a:lnTo>
                  <a:pt x="614" y="62"/>
                </a:lnTo>
                <a:lnTo>
                  <a:pt x="616" y="64"/>
                </a:lnTo>
                <a:lnTo>
                  <a:pt x="616" y="64"/>
                </a:lnTo>
                <a:close/>
                <a:moveTo>
                  <a:pt x="682" y="74"/>
                </a:moveTo>
                <a:lnTo>
                  <a:pt x="682" y="74"/>
                </a:lnTo>
                <a:lnTo>
                  <a:pt x="682" y="74"/>
                </a:lnTo>
                <a:lnTo>
                  <a:pt x="680" y="72"/>
                </a:lnTo>
                <a:lnTo>
                  <a:pt x="680" y="70"/>
                </a:lnTo>
                <a:lnTo>
                  <a:pt x="676" y="70"/>
                </a:lnTo>
                <a:lnTo>
                  <a:pt x="676" y="74"/>
                </a:lnTo>
                <a:lnTo>
                  <a:pt x="676" y="74"/>
                </a:lnTo>
                <a:lnTo>
                  <a:pt x="672" y="74"/>
                </a:lnTo>
                <a:lnTo>
                  <a:pt x="668" y="74"/>
                </a:lnTo>
                <a:lnTo>
                  <a:pt x="668" y="74"/>
                </a:lnTo>
                <a:lnTo>
                  <a:pt x="668" y="68"/>
                </a:lnTo>
                <a:lnTo>
                  <a:pt x="668" y="68"/>
                </a:lnTo>
                <a:lnTo>
                  <a:pt x="668" y="66"/>
                </a:lnTo>
                <a:lnTo>
                  <a:pt x="668" y="66"/>
                </a:lnTo>
                <a:lnTo>
                  <a:pt x="666" y="58"/>
                </a:lnTo>
                <a:lnTo>
                  <a:pt x="666" y="58"/>
                </a:lnTo>
                <a:lnTo>
                  <a:pt x="668" y="56"/>
                </a:lnTo>
                <a:lnTo>
                  <a:pt x="668" y="52"/>
                </a:lnTo>
                <a:lnTo>
                  <a:pt x="668" y="52"/>
                </a:lnTo>
                <a:lnTo>
                  <a:pt x="666" y="48"/>
                </a:lnTo>
                <a:lnTo>
                  <a:pt x="666" y="48"/>
                </a:lnTo>
                <a:lnTo>
                  <a:pt x="670" y="44"/>
                </a:lnTo>
                <a:lnTo>
                  <a:pt x="670" y="40"/>
                </a:lnTo>
                <a:lnTo>
                  <a:pt x="668" y="36"/>
                </a:lnTo>
                <a:lnTo>
                  <a:pt x="668" y="36"/>
                </a:lnTo>
                <a:lnTo>
                  <a:pt x="664" y="34"/>
                </a:lnTo>
                <a:lnTo>
                  <a:pt x="664" y="34"/>
                </a:lnTo>
                <a:lnTo>
                  <a:pt x="664" y="32"/>
                </a:lnTo>
                <a:lnTo>
                  <a:pt x="664" y="32"/>
                </a:lnTo>
                <a:lnTo>
                  <a:pt x="662" y="28"/>
                </a:lnTo>
                <a:lnTo>
                  <a:pt x="658" y="28"/>
                </a:lnTo>
                <a:lnTo>
                  <a:pt x="648" y="26"/>
                </a:lnTo>
                <a:lnTo>
                  <a:pt x="648" y="22"/>
                </a:lnTo>
                <a:lnTo>
                  <a:pt x="648" y="22"/>
                </a:lnTo>
                <a:lnTo>
                  <a:pt x="646" y="22"/>
                </a:lnTo>
                <a:lnTo>
                  <a:pt x="644" y="24"/>
                </a:lnTo>
                <a:lnTo>
                  <a:pt x="642" y="28"/>
                </a:lnTo>
                <a:lnTo>
                  <a:pt x="642" y="28"/>
                </a:lnTo>
                <a:lnTo>
                  <a:pt x="640" y="28"/>
                </a:lnTo>
                <a:lnTo>
                  <a:pt x="640" y="28"/>
                </a:lnTo>
                <a:lnTo>
                  <a:pt x="634" y="24"/>
                </a:lnTo>
                <a:lnTo>
                  <a:pt x="628" y="22"/>
                </a:lnTo>
                <a:lnTo>
                  <a:pt x="628" y="22"/>
                </a:lnTo>
                <a:lnTo>
                  <a:pt x="622" y="22"/>
                </a:lnTo>
                <a:lnTo>
                  <a:pt x="618" y="20"/>
                </a:lnTo>
                <a:lnTo>
                  <a:pt x="618" y="20"/>
                </a:lnTo>
                <a:lnTo>
                  <a:pt x="616" y="18"/>
                </a:lnTo>
                <a:lnTo>
                  <a:pt x="614" y="14"/>
                </a:lnTo>
                <a:lnTo>
                  <a:pt x="614" y="14"/>
                </a:lnTo>
                <a:lnTo>
                  <a:pt x="608" y="10"/>
                </a:lnTo>
                <a:lnTo>
                  <a:pt x="608" y="10"/>
                </a:lnTo>
                <a:lnTo>
                  <a:pt x="608" y="8"/>
                </a:lnTo>
                <a:lnTo>
                  <a:pt x="608" y="8"/>
                </a:lnTo>
                <a:lnTo>
                  <a:pt x="610" y="8"/>
                </a:lnTo>
                <a:lnTo>
                  <a:pt x="610" y="8"/>
                </a:lnTo>
                <a:lnTo>
                  <a:pt x="614" y="2"/>
                </a:lnTo>
                <a:lnTo>
                  <a:pt x="614" y="2"/>
                </a:lnTo>
                <a:lnTo>
                  <a:pt x="620" y="4"/>
                </a:lnTo>
                <a:lnTo>
                  <a:pt x="620" y="4"/>
                </a:lnTo>
                <a:lnTo>
                  <a:pt x="624" y="2"/>
                </a:lnTo>
                <a:lnTo>
                  <a:pt x="624" y="2"/>
                </a:lnTo>
                <a:lnTo>
                  <a:pt x="624" y="4"/>
                </a:lnTo>
                <a:lnTo>
                  <a:pt x="624" y="4"/>
                </a:lnTo>
                <a:lnTo>
                  <a:pt x="634" y="6"/>
                </a:lnTo>
                <a:lnTo>
                  <a:pt x="634" y="6"/>
                </a:lnTo>
                <a:lnTo>
                  <a:pt x="640" y="6"/>
                </a:lnTo>
                <a:lnTo>
                  <a:pt x="644" y="6"/>
                </a:lnTo>
                <a:lnTo>
                  <a:pt x="644" y="6"/>
                </a:lnTo>
                <a:lnTo>
                  <a:pt x="650" y="10"/>
                </a:lnTo>
                <a:lnTo>
                  <a:pt x="650" y="10"/>
                </a:lnTo>
                <a:lnTo>
                  <a:pt x="650" y="14"/>
                </a:lnTo>
                <a:lnTo>
                  <a:pt x="650" y="14"/>
                </a:lnTo>
                <a:lnTo>
                  <a:pt x="660" y="14"/>
                </a:lnTo>
                <a:lnTo>
                  <a:pt x="674" y="10"/>
                </a:lnTo>
                <a:lnTo>
                  <a:pt x="674" y="10"/>
                </a:lnTo>
                <a:lnTo>
                  <a:pt x="676" y="16"/>
                </a:lnTo>
                <a:lnTo>
                  <a:pt x="676" y="16"/>
                </a:lnTo>
                <a:lnTo>
                  <a:pt x="680" y="16"/>
                </a:lnTo>
                <a:lnTo>
                  <a:pt x="684" y="16"/>
                </a:lnTo>
                <a:lnTo>
                  <a:pt x="684" y="16"/>
                </a:lnTo>
                <a:lnTo>
                  <a:pt x="686" y="20"/>
                </a:lnTo>
                <a:lnTo>
                  <a:pt x="686" y="20"/>
                </a:lnTo>
                <a:lnTo>
                  <a:pt x="696" y="22"/>
                </a:lnTo>
                <a:lnTo>
                  <a:pt x="696" y="22"/>
                </a:lnTo>
                <a:lnTo>
                  <a:pt x="696" y="26"/>
                </a:lnTo>
                <a:lnTo>
                  <a:pt x="696" y="26"/>
                </a:lnTo>
                <a:lnTo>
                  <a:pt x="690" y="28"/>
                </a:lnTo>
                <a:lnTo>
                  <a:pt x="682" y="28"/>
                </a:lnTo>
                <a:lnTo>
                  <a:pt x="682" y="30"/>
                </a:lnTo>
                <a:lnTo>
                  <a:pt x="682" y="30"/>
                </a:lnTo>
                <a:lnTo>
                  <a:pt x="686" y="32"/>
                </a:lnTo>
                <a:lnTo>
                  <a:pt x="686" y="32"/>
                </a:lnTo>
                <a:lnTo>
                  <a:pt x="684" y="36"/>
                </a:lnTo>
                <a:lnTo>
                  <a:pt x="684" y="36"/>
                </a:lnTo>
                <a:lnTo>
                  <a:pt x="686" y="36"/>
                </a:lnTo>
                <a:lnTo>
                  <a:pt x="686" y="36"/>
                </a:lnTo>
                <a:lnTo>
                  <a:pt x="688" y="32"/>
                </a:lnTo>
                <a:lnTo>
                  <a:pt x="688" y="32"/>
                </a:lnTo>
                <a:lnTo>
                  <a:pt x="694" y="32"/>
                </a:lnTo>
                <a:lnTo>
                  <a:pt x="700" y="34"/>
                </a:lnTo>
                <a:lnTo>
                  <a:pt x="700" y="34"/>
                </a:lnTo>
                <a:lnTo>
                  <a:pt x="700" y="40"/>
                </a:lnTo>
                <a:lnTo>
                  <a:pt x="700" y="40"/>
                </a:lnTo>
                <a:lnTo>
                  <a:pt x="702" y="38"/>
                </a:lnTo>
                <a:lnTo>
                  <a:pt x="702" y="36"/>
                </a:lnTo>
                <a:lnTo>
                  <a:pt x="702" y="36"/>
                </a:lnTo>
                <a:lnTo>
                  <a:pt x="716" y="40"/>
                </a:lnTo>
                <a:lnTo>
                  <a:pt x="716" y="42"/>
                </a:lnTo>
                <a:lnTo>
                  <a:pt x="716" y="42"/>
                </a:lnTo>
                <a:lnTo>
                  <a:pt x="718" y="42"/>
                </a:lnTo>
                <a:lnTo>
                  <a:pt x="718" y="40"/>
                </a:lnTo>
                <a:lnTo>
                  <a:pt x="718" y="40"/>
                </a:lnTo>
                <a:lnTo>
                  <a:pt x="722" y="42"/>
                </a:lnTo>
                <a:lnTo>
                  <a:pt x="726" y="44"/>
                </a:lnTo>
                <a:lnTo>
                  <a:pt x="726" y="38"/>
                </a:lnTo>
                <a:lnTo>
                  <a:pt x="726" y="38"/>
                </a:lnTo>
                <a:lnTo>
                  <a:pt x="734" y="42"/>
                </a:lnTo>
                <a:lnTo>
                  <a:pt x="744" y="42"/>
                </a:lnTo>
                <a:lnTo>
                  <a:pt x="744" y="42"/>
                </a:lnTo>
                <a:lnTo>
                  <a:pt x="744" y="40"/>
                </a:lnTo>
                <a:lnTo>
                  <a:pt x="744" y="40"/>
                </a:lnTo>
                <a:lnTo>
                  <a:pt x="748" y="38"/>
                </a:lnTo>
                <a:lnTo>
                  <a:pt x="748" y="38"/>
                </a:lnTo>
                <a:lnTo>
                  <a:pt x="756" y="38"/>
                </a:lnTo>
                <a:lnTo>
                  <a:pt x="762" y="38"/>
                </a:lnTo>
                <a:lnTo>
                  <a:pt x="762" y="34"/>
                </a:lnTo>
                <a:lnTo>
                  <a:pt x="762" y="34"/>
                </a:lnTo>
                <a:lnTo>
                  <a:pt x="768" y="34"/>
                </a:lnTo>
                <a:lnTo>
                  <a:pt x="770" y="32"/>
                </a:lnTo>
                <a:lnTo>
                  <a:pt x="770" y="32"/>
                </a:lnTo>
                <a:lnTo>
                  <a:pt x="774" y="32"/>
                </a:lnTo>
                <a:lnTo>
                  <a:pt x="776" y="34"/>
                </a:lnTo>
                <a:lnTo>
                  <a:pt x="780" y="36"/>
                </a:lnTo>
                <a:lnTo>
                  <a:pt x="780" y="36"/>
                </a:lnTo>
                <a:lnTo>
                  <a:pt x="784" y="34"/>
                </a:lnTo>
                <a:lnTo>
                  <a:pt x="786" y="34"/>
                </a:lnTo>
                <a:lnTo>
                  <a:pt x="786" y="34"/>
                </a:lnTo>
                <a:lnTo>
                  <a:pt x="802" y="34"/>
                </a:lnTo>
                <a:lnTo>
                  <a:pt x="802" y="34"/>
                </a:lnTo>
                <a:lnTo>
                  <a:pt x="802" y="38"/>
                </a:lnTo>
                <a:lnTo>
                  <a:pt x="806" y="40"/>
                </a:lnTo>
                <a:lnTo>
                  <a:pt x="806" y="40"/>
                </a:lnTo>
                <a:lnTo>
                  <a:pt x="810" y="40"/>
                </a:lnTo>
                <a:lnTo>
                  <a:pt x="812" y="38"/>
                </a:lnTo>
                <a:lnTo>
                  <a:pt x="812" y="38"/>
                </a:lnTo>
                <a:lnTo>
                  <a:pt x="816" y="38"/>
                </a:lnTo>
                <a:lnTo>
                  <a:pt x="820" y="40"/>
                </a:lnTo>
                <a:lnTo>
                  <a:pt x="826" y="44"/>
                </a:lnTo>
                <a:lnTo>
                  <a:pt x="826" y="44"/>
                </a:lnTo>
                <a:lnTo>
                  <a:pt x="830" y="44"/>
                </a:lnTo>
                <a:lnTo>
                  <a:pt x="830" y="44"/>
                </a:lnTo>
                <a:lnTo>
                  <a:pt x="832" y="50"/>
                </a:lnTo>
                <a:lnTo>
                  <a:pt x="832" y="52"/>
                </a:lnTo>
                <a:lnTo>
                  <a:pt x="830" y="54"/>
                </a:lnTo>
                <a:lnTo>
                  <a:pt x="830" y="54"/>
                </a:lnTo>
                <a:lnTo>
                  <a:pt x="822" y="60"/>
                </a:lnTo>
                <a:lnTo>
                  <a:pt x="822" y="60"/>
                </a:lnTo>
                <a:lnTo>
                  <a:pt x="822" y="58"/>
                </a:lnTo>
                <a:lnTo>
                  <a:pt x="822" y="60"/>
                </a:lnTo>
                <a:lnTo>
                  <a:pt x="822" y="60"/>
                </a:lnTo>
                <a:lnTo>
                  <a:pt x="822" y="64"/>
                </a:lnTo>
                <a:lnTo>
                  <a:pt x="822" y="66"/>
                </a:lnTo>
                <a:lnTo>
                  <a:pt x="822" y="64"/>
                </a:lnTo>
                <a:lnTo>
                  <a:pt x="822" y="64"/>
                </a:lnTo>
                <a:lnTo>
                  <a:pt x="820" y="68"/>
                </a:lnTo>
                <a:lnTo>
                  <a:pt x="820" y="68"/>
                </a:lnTo>
                <a:lnTo>
                  <a:pt x="806" y="70"/>
                </a:lnTo>
                <a:lnTo>
                  <a:pt x="794" y="70"/>
                </a:lnTo>
                <a:lnTo>
                  <a:pt x="794" y="70"/>
                </a:lnTo>
                <a:lnTo>
                  <a:pt x="792" y="68"/>
                </a:lnTo>
                <a:lnTo>
                  <a:pt x="792" y="68"/>
                </a:lnTo>
                <a:lnTo>
                  <a:pt x="792" y="68"/>
                </a:lnTo>
                <a:lnTo>
                  <a:pt x="792" y="70"/>
                </a:lnTo>
                <a:lnTo>
                  <a:pt x="792" y="70"/>
                </a:lnTo>
                <a:lnTo>
                  <a:pt x="790" y="70"/>
                </a:lnTo>
                <a:lnTo>
                  <a:pt x="788" y="70"/>
                </a:lnTo>
                <a:lnTo>
                  <a:pt x="788" y="70"/>
                </a:lnTo>
                <a:lnTo>
                  <a:pt x="784" y="68"/>
                </a:lnTo>
                <a:lnTo>
                  <a:pt x="784" y="68"/>
                </a:lnTo>
                <a:lnTo>
                  <a:pt x="782" y="64"/>
                </a:lnTo>
                <a:lnTo>
                  <a:pt x="782" y="64"/>
                </a:lnTo>
                <a:lnTo>
                  <a:pt x="780" y="64"/>
                </a:lnTo>
                <a:lnTo>
                  <a:pt x="780" y="64"/>
                </a:lnTo>
                <a:lnTo>
                  <a:pt x="780" y="70"/>
                </a:lnTo>
                <a:lnTo>
                  <a:pt x="780" y="70"/>
                </a:lnTo>
                <a:lnTo>
                  <a:pt x="778" y="70"/>
                </a:lnTo>
                <a:lnTo>
                  <a:pt x="778" y="70"/>
                </a:lnTo>
                <a:lnTo>
                  <a:pt x="778" y="70"/>
                </a:lnTo>
                <a:lnTo>
                  <a:pt x="762" y="72"/>
                </a:lnTo>
                <a:lnTo>
                  <a:pt x="762" y="72"/>
                </a:lnTo>
                <a:lnTo>
                  <a:pt x="754" y="70"/>
                </a:lnTo>
                <a:lnTo>
                  <a:pt x="754" y="70"/>
                </a:lnTo>
                <a:lnTo>
                  <a:pt x="750" y="72"/>
                </a:lnTo>
                <a:lnTo>
                  <a:pt x="750" y="72"/>
                </a:lnTo>
                <a:lnTo>
                  <a:pt x="750" y="70"/>
                </a:lnTo>
                <a:lnTo>
                  <a:pt x="748" y="68"/>
                </a:lnTo>
                <a:lnTo>
                  <a:pt x="748" y="72"/>
                </a:lnTo>
                <a:lnTo>
                  <a:pt x="748" y="72"/>
                </a:lnTo>
                <a:lnTo>
                  <a:pt x="736" y="72"/>
                </a:lnTo>
                <a:lnTo>
                  <a:pt x="736" y="72"/>
                </a:lnTo>
                <a:lnTo>
                  <a:pt x="736" y="70"/>
                </a:lnTo>
                <a:lnTo>
                  <a:pt x="736" y="68"/>
                </a:lnTo>
                <a:lnTo>
                  <a:pt x="736" y="68"/>
                </a:lnTo>
                <a:lnTo>
                  <a:pt x="730" y="68"/>
                </a:lnTo>
                <a:lnTo>
                  <a:pt x="730" y="72"/>
                </a:lnTo>
                <a:lnTo>
                  <a:pt x="730" y="72"/>
                </a:lnTo>
                <a:lnTo>
                  <a:pt x="724" y="72"/>
                </a:lnTo>
                <a:lnTo>
                  <a:pt x="722" y="70"/>
                </a:lnTo>
                <a:lnTo>
                  <a:pt x="722" y="70"/>
                </a:lnTo>
                <a:lnTo>
                  <a:pt x="716" y="74"/>
                </a:lnTo>
                <a:lnTo>
                  <a:pt x="716" y="74"/>
                </a:lnTo>
                <a:lnTo>
                  <a:pt x="712" y="74"/>
                </a:lnTo>
                <a:lnTo>
                  <a:pt x="710" y="72"/>
                </a:lnTo>
                <a:lnTo>
                  <a:pt x="710" y="72"/>
                </a:lnTo>
                <a:lnTo>
                  <a:pt x="706" y="62"/>
                </a:lnTo>
                <a:lnTo>
                  <a:pt x="700" y="66"/>
                </a:lnTo>
                <a:lnTo>
                  <a:pt x="700" y="66"/>
                </a:lnTo>
                <a:lnTo>
                  <a:pt x="700" y="68"/>
                </a:lnTo>
                <a:lnTo>
                  <a:pt x="700" y="70"/>
                </a:lnTo>
                <a:lnTo>
                  <a:pt x="700" y="70"/>
                </a:lnTo>
                <a:lnTo>
                  <a:pt x="682" y="74"/>
                </a:lnTo>
                <a:lnTo>
                  <a:pt x="682" y="74"/>
                </a:lnTo>
                <a:close/>
                <a:moveTo>
                  <a:pt x="348" y="36"/>
                </a:moveTo>
                <a:lnTo>
                  <a:pt x="348" y="36"/>
                </a:lnTo>
                <a:lnTo>
                  <a:pt x="342" y="38"/>
                </a:lnTo>
                <a:lnTo>
                  <a:pt x="342" y="38"/>
                </a:lnTo>
                <a:lnTo>
                  <a:pt x="336" y="38"/>
                </a:lnTo>
                <a:lnTo>
                  <a:pt x="336" y="38"/>
                </a:lnTo>
                <a:lnTo>
                  <a:pt x="336" y="38"/>
                </a:lnTo>
                <a:lnTo>
                  <a:pt x="334" y="40"/>
                </a:lnTo>
                <a:lnTo>
                  <a:pt x="336" y="44"/>
                </a:lnTo>
                <a:lnTo>
                  <a:pt x="336" y="44"/>
                </a:lnTo>
                <a:lnTo>
                  <a:pt x="344" y="42"/>
                </a:lnTo>
                <a:lnTo>
                  <a:pt x="346" y="44"/>
                </a:lnTo>
                <a:lnTo>
                  <a:pt x="344" y="44"/>
                </a:lnTo>
                <a:lnTo>
                  <a:pt x="342" y="46"/>
                </a:lnTo>
                <a:lnTo>
                  <a:pt x="342" y="46"/>
                </a:lnTo>
                <a:lnTo>
                  <a:pt x="334" y="48"/>
                </a:lnTo>
                <a:lnTo>
                  <a:pt x="334" y="48"/>
                </a:lnTo>
                <a:lnTo>
                  <a:pt x="332" y="50"/>
                </a:lnTo>
                <a:lnTo>
                  <a:pt x="332" y="50"/>
                </a:lnTo>
                <a:lnTo>
                  <a:pt x="332" y="52"/>
                </a:lnTo>
                <a:lnTo>
                  <a:pt x="332" y="52"/>
                </a:lnTo>
                <a:lnTo>
                  <a:pt x="336" y="54"/>
                </a:lnTo>
                <a:lnTo>
                  <a:pt x="340" y="54"/>
                </a:lnTo>
                <a:lnTo>
                  <a:pt x="348" y="52"/>
                </a:lnTo>
                <a:lnTo>
                  <a:pt x="348" y="52"/>
                </a:lnTo>
                <a:lnTo>
                  <a:pt x="348" y="52"/>
                </a:lnTo>
                <a:lnTo>
                  <a:pt x="350" y="52"/>
                </a:lnTo>
                <a:lnTo>
                  <a:pt x="350" y="52"/>
                </a:lnTo>
                <a:lnTo>
                  <a:pt x="350" y="56"/>
                </a:lnTo>
                <a:lnTo>
                  <a:pt x="350" y="56"/>
                </a:lnTo>
                <a:lnTo>
                  <a:pt x="352" y="56"/>
                </a:lnTo>
                <a:lnTo>
                  <a:pt x="352" y="56"/>
                </a:lnTo>
                <a:lnTo>
                  <a:pt x="352" y="50"/>
                </a:lnTo>
                <a:lnTo>
                  <a:pt x="352" y="50"/>
                </a:lnTo>
                <a:lnTo>
                  <a:pt x="356" y="50"/>
                </a:lnTo>
                <a:lnTo>
                  <a:pt x="356" y="50"/>
                </a:lnTo>
                <a:lnTo>
                  <a:pt x="356" y="54"/>
                </a:lnTo>
                <a:lnTo>
                  <a:pt x="356" y="58"/>
                </a:lnTo>
                <a:lnTo>
                  <a:pt x="356" y="58"/>
                </a:lnTo>
                <a:lnTo>
                  <a:pt x="360" y="58"/>
                </a:lnTo>
                <a:lnTo>
                  <a:pt x="360" y="58"/>
                </a:lnTo>
                <a:lnTo>
                  <a:pt x="362" y="54"/>
                </a:lnTo>
                <a:lnTo>
                  <a:pt x="364" y="54"/>
                </a:lnTo>
                <a:lnTo>
                  <a:pt x="364" y="54"/>
                </a:lnTo>
                <a:lnTo>
                  <a:pt x="364" y="52"/>
                </a:lnTo>
                <a:lnTo>
                  <a:pt x="364" y="48"/>
                </a:lnTo>
                <a:lnTo>
                  <a:pt x="364" y="46"/>
                </a:lnTo>
                <a:lnTo>
                  <a:pt x="366" y="46"/>
                </a:lnTo>
                <a:lnTo>
                  <a:pt x="366" y="46"/>
                </a:lnTo>
                <a:lnTo>
                  <a:pt x="364" y="44"/>
                </a:lnTo>
                <a:lnTo>
                  <a:pt x="364" y="42"/>
                </a:lnTo>
                <a:lnTo>
                  <a:pt x="364" y="42"/>
                </a:lnTo>
                <a:lnTo>
                  <a:pt x="364" y="38"/>
                </a:lnTo>
                <a:lnTo>
                  <a:pt x="364" y="38"/>
                </a:lnTo>
                <a:lnTo>
                  <a:pt x="368" y="38"/>
                </a:lnTo>
                <a:lnTo>
                  <a:pt x="368" y="38"/>
                </a:lnTo>
                <a:lnTo>
                  <a:pt x="368" y="52"/>
                </a:lnTo>
                <a:lnTo>
                  <a:pt x="368" y="52"/>
                </a:lnTo>
                <a:lnTo>
                  <a:pt x="378" y="52"/>
                </a:lnTo>
                <a:lnTo>
                  <a:pt x="382" y="52"/>
                </a:lnTo>
                <a:lnTo>
                  <a:pt x="388" y="50"/>
                </a:lnTo>
                <a:lnTo>
                  <a:pt x="388" y="50"/>
                </a:lnTo>
                <a:lnTo>
                  <a:pt x="390" y="46"/>
                </a:lnTo>
                <a:lnTo>
                  <a:pt x="390" y="46"/>
                </a:lnTo>
                <a:lnTo>
                  <a:pt x="394" y="46"/>
                </a:lnTo>
                <a:lnTo>
                  <a:pt x="394" y="46"/>
                </a:lnTo>
                <a:lnTo>
                  <a:pt x="396" y="50"/>
                </a:lnTo>
                <a:lnTo>
                  <a:pt x="396" y="50"/>
                </a:lnTo>
                <a:lnTo>
                  <a:pt x="400" y="50"/>
                </a:lnTo>
                <a:lnTo>
                  <a:pt x="400" y="48"/>
                </a:lnTo>
                <a:lnTo>
                  <a:pt x="400" y="48"/>
                </a:lnTo>
                <a:lnTo>
                  <a:pt x="406" y="50"/>
                </a:lnTo>
                <a:lnTo>
                  <a:pt x="412" y="48"/>
                </a:lnTo>
                <a:lnTo>
                  <a:pt x="412" y="48"/>
                </a:lnTo>
                <a:lnTo>
                  <a:pt x="412" y="44"/>
                </a:lnTo>
                <a:lnTo>
                  <a:pt x="412" y="44"/>
                </a:lnTo>
                <a:lnTo>
                  <a:pt x="414" y="44"/>
                </a:lnTo>
                <a:lnTo>
                  <a:pt x="414" y="44"/>
                </a:lnTo>
                <a:lnTo>
                  <a:pt x="414" y="48"/>
                </a:lnTo>
                <a:lnTo>
                  <a:pt x="414" y="48"/>
                </a:lnTo>
                <a:lnTo>
                  <a:pt x="410" y="52"/>
                </a:lnTo>
                <a:lnTo>
                  <a:pt x="406" y="56"/>
                </a:lnTo>
                <a:lnTo>
                  <a:pt x="406" y="56"/>
                </a:lnTo>
                <a:lnTo>
                  <a:pt x="402" y="58"/>
                </a:lnTo>
                <a:lnTo>
                  <a:pt x="398" y="58"/>
                </a:lnTo>
                <a:lnTo>
                  <a:pt x="388" y="58"/>
                </a:lnTo>
                <a:lnTo>
                  <a:pt x="388" y="58"/>
                </a:lnTo>
                <a:lnTo>
                  <a:pt x="382" y="60"/>
                </a:lnTo>
                <a:lnTo>
                  <a:pt x="382" y="60"/>
                </a:lnTo>
                <a:lnTo>
                  <a:pt x="380" y="64"/>
                </a:lnTo>
                <a:lnTo>
                  <a:pt x="380" y="64"/>
                </a:lnTo>
                <a:lnTo>
                  <a:pt x="376" y="64"/>
                </a:lnTo>
                <a:lnTo>
                  <a:pt x="376" y="64"/>
                </a:lnTo>
                <a:lnTo>
                  <a:pt x="372" y="64"/>
                </a:lnTo>
                <a:lnTo>
                  <a:pt x="370" y="68"/>
                </a:lnTo>
                <a:lnTo>
                  <a:pt x="370" y="70"/>
                </a:lnTo>
                <a:lnTo>
                  <a:pt x="372" y="74"/>
                </a:lnTo>
                <a:lnTo>
                  <a:pt x="372" y="74"/>
                </a:lnTo>
                <a:lnTo>
                  <a:pt x="376" y="76"/>
                </a:lnTo>
                <a:lnTo>
                  <a:pt x="376" y="76"/>
                </a:lnTo>
                <a:lnTo>
                  <a:pt x="386" y="76"/>
                </a:lnTo>
                <a:lnTo>
                  <a:pt x="392" y="74"/>
                </a:lnTo>
                <a:lnTo>
                  <a:pt x="392" y="74"/>
                </a:lnTo>
                <a:lnTo>
                  <a:pt x="396" y="70"/>
                </a:lnTo>
                <a:lnTo>
                  <a:pt x="396" y="70"/>
                </a:lnTo>
                <a:lnTo>
                  <a:pt x="400" y="70"/>
                </a:lnTo>
                <a:lnTo>
                  <a:pt x="404" y="68"/>
                </a:lnTo>
                <a:lnTo>
                  <a:pt x="404" y="68"/>
                </a:lnTo>
                <a:lnTo>
                  <a:pt x="406" y="64"/>
                </a:lnTo>
                <a:lnTo>
                  <a:pt x="410" y="60"/>
                </a:lnTo>
                <a:lnTo>
                  <a:pt x="410" y="60"/>
                </a:lnTo>
                <a:lnTo>
                  <a:pt x="414" y="60"/>
                </a:lnTo>
                <a:lnTo>
                  <a:pt x="418" y="62"/>
                </a:lnTo>
                <a:lnTo>
                  <a:pt x="418" y="62"/>
                </a:lnTo>
                <a:lnTo>
                  <a:pt x="422" y="58"/>
                </a:lnTo>
                <a:lnTo>
                  <a:pt x="422" y="58"/>
                </a:lnTo>
                <a:lnTo>
                  <a:pt x="428" y="58"/>
                </a:lnTo>
                <a:lnTo>
                  <a:pt x="434" y="56"/>
                </a:lnTo>
                <a:lnTo>
                  <a:pt x="434" y="56"/>
                </a:lnTo>
                <a:lnTo>
                  <a:pt x="436" y="54"/>
                </a:lnTo>
                <a:lnTo>
                  <a:pt x="436" y="54"/>
                </a:lnTo>
                <a:lnTo>
                  <a:pt x="440" y="54"/>
                </a:lnTo>
                <a:lnTo>
                  <a:pt x="440" y="54"/>
                </a:lnTo>
                <a:lnTo>
                  <a:pt x="440" y="56"/>
                </a:lnTo>
                <a:lnTo>
                  <a:pt x="440" y="58"/>
                </a:lnTo>
                <a:lnTo>
                  <a:pt x="442" y="60"/>
                </a:lnTo>
                <a:lnTo>
                  <a:pt x="448" y="60"/>
                </a:lnTo>
                <a:lnTo>
                  <a:pt x="448" y="60"/>
                </a:lnTo>
                <a:lnTo>
                  <a:pt x="452" y="56"/>
                </a:lnTo>
                <a:lnTo>
                  <a:pt x="454" y="52"/>
                </a:lnTo>
                <a:lnTo>
                  <a:pt x="454" y="52"/>
                </a:lnTo>
                <a:lnTo>
                  <a:pt x="456" y="54"/>
                </a:lnTo>
                <a:lnTo>
                  <a:pt x="458" y="54"/>
                </a:lnTo>
                <a:lnTo>
                  <a:pt x="458" y="54"/>
                </a:lnTo>
                <a:lnTo>
                  <a:pt x="468" y="54"/>
                </a:lnTo>
                <a:lnTo>
                  <a:pt x="470" y="54"/>
                </a:lnTo>
                <a:lnTo>
                  <a:pt x="474" y="54"/>
                </a:lnTo>
                <a:lnTo>
                  <a:pt x="474" y="54"/>
                </a:lnTo>
                <a:lnTo>
                  <a:pt x="474" y="54"/>
                </a:lnTo>
                <a:lnTo>
                  <a:pt x="478" y="50"/>
                </a:lnTo>
                <a:lnTo>
                  <a:pt x="478" y="50"/>
                </a:lnTo>
                <a:lnTo>
                  <a:pt x="480" y="50"/>
                </a:lnTo>
                <a:lnTo>
                  <a:pt x="480" y="50"/>
                </a:lnTo>
                <a:lnTo>
                  <a:pt x="478" y="36"/>
                </a:lnTo>
                <a:lnTo>
                  <a:pt x="478" y="30"/>
                </a:lnTo>
                <a:lnTo>
                  <a:pt x="476" y="26"/>
                </a:lnTo>
                <a:lnTo>
                  <a:pt x="476" y="26"/>
                </a:lnTo>
                <a:lnTo>
                  <a:pt x="470" y="22"/>
                </a:lnTo>
                <a:lnTo>
                  <a:pt x="470" y="22"/>
                </a:lnTo>
                <a:lnTo>
                  <a:pt x="470" y="20"/>
                </a:lnTo>
                <a:lnTo>
                  <a:pt x="468" y="22"/>
                </a:lnTo>
                <a:lnTo>
                  <a:pt x="468" y="22"/>
                </a:lnTo>
                <a:lnTo>
                  <a:pt x="468" y="22"/>
                </a:lnTo>
                <a:lnTo>
                  <a:pt x="468" y="28"/>
                </a:lnTo>
                <a:lnTo>
                  <a:pt x="470" y="30"/>
                </a:lnTo>
                <a:lnTo>
                  <a:pt x="470" y="30"/>
                </a:lnTo>
                <a:lnTo>
                  <a:pt x="468" y="32"/>
                </a:lnTo>
                <a:lnTo>
                  <a:pt x="466" y="34"/>
                </a:lnTo>
                <a:lnTo>
                  <a:pt x="466" y="34"/>
                </a:lnTo>
                <a:lnTo>
                  <a:pt x="466" y="38"/>
                </a:lnTo>
                <a:lnTo>
                  <a:pt x="466" y="38"/>
                </a:lnTo>
                <a:lnTo>
                  <a:pt x="464" y="40"/>
                </a:lnTo>
                <a:lnTo>
                  <a:pt x="464" y="40"/>
                </a:lnTo>
                <a:lnTo>
                  <a:pt x="462" y="30"/>
                </a:lnTo>
                <a:lnTo>
                  <a:pt x="462" y="30"/>
                </a:lnTo>
                <a:lnTo>
                  <a:pt x="456" y="32"/>
                </a:lnTo>
                <a:lnTo>
                  <a:pt x="456" y="32"/>
                </a:lnTo>
                <a:lnTo>
                  <a:pt x="456" y="36"/>
                </a:lnTo>
                <a:lnTo>
                  <a:pt x="456" y="36"/>
                </a:lnTo>
                <a:lnTo>
                  <a:pt x="454" y="36"/>
                </a:lnTo>
                <a:lnTo>
                  <a:pt x="454" y="34"/>
                </a:lnTo>
                <a:lnTo>
                  <a:pt x="456" y="32"/>
                </a:lnTo>
                <a:lnTo>
                  <a:pt x="456" y="32"/>
                </a:lnTo>
                <a:lnTo>
                  <a:pt x="456" y="28"/>
                </a:lnTo>
                <a:lnTo>
                  <a:pt x="456" y="22"/>
                </a:lnTo>
                <a:lnTo>
                  <a:pt x="456" y="20"/>
                </a:lnTo>
                <a:lnTo>
                  <a:pt x="456" y="20"/>
                </a:lnTo>
                <a:lnTo>
                  <a:pt x="452" y="20"/>
                </a:lnTo>
                <a:lnTo>
                  <a:pt x="452" y="20"/>
                </a:lnTo>
                <a:lnTo>
                  <a:pt x="450" y="22"/>
                </a:lnTo>
                <a:lnTo>
                  <a:pt x="450" y="22"/>
                </a:lnTo>
                <a:lnTo>
                  <a:pt x="446" y="24"/>
                </a:lnTo>
                <a:lnTo>
                  <a:pt x="446" y="24"/>
                </a:lnTo>
                <a:lnTo>
                  <a:pt x="440" y="16"/>
                </a:lnTo>
                <a:lnTo>
                  <a:pt x="440" y="16"/>
                </a:lnTo>
                <a:lnTo>
                  <a:pt x="436" y="16"/>
                </a:lnTo>
                <a:lnTo>
                  <a:pt x="434" y="14"/>
                </a:lnTo>
                <a:lnTo>
                  <a:pt x="434" y="14"/>
                </a:lnTo>
                <a:lnTo>
                  <a:pt x="434" y="10"/>
                </a:lnTo>
                <a:lnTo>
                  <a:pt x="432" y="6"/>
                </a:lnTo>
                <a:lnTo>
                  <a:pt x="432" y="2"/>
                </a:lnTo>
                <a:lnTo>
                  <a:pt x="428" y="0"/>
                </a:lnTo>
                <a:lnTo>
                  <a:pt x="428" y="4"/>
                </a:lnTo>
                <a:lnTo>
                  <a:pt x="426" y="4"/>
                </a:lnTo>
                <a:lnTo>
                  <a:pt x="426" y="4"/>
                </a:lnTo>
                <a:lnTo>
                  <a:pt x="422" y="2"/>
                </a:lnTo>
                <a:lnTo>
                  <a:pt x="422" y="2"/>
                </a:lnTo>
                <a:lnTo>
                  <a:pt x="426" y="12"/>
                </a:lnTo>
                <a:lnTo>
                  <a:pt x="426" y="12"/>
                </a:lnTo>
                <a:lnTo>
                  <a:pt x="424" y="12"/>
                </a:lnTo>
                <a:lnTo>
                  <a:pt x="422" y="14"/>
                </a:lnTo>
                <a:lnTo>
                  <a:pt x="422" y="14"/>
                </a:lnTo>
                <a:lnTo>
                  <a:pt x="424" y="14"/>
                </a:lnTo>
                <a:lnTo>
                  <a:pt x="424" y="18"/>
                </a:lnTo>
                <a:lnTo>
                  <a:pt x="422" y="24"/>
                </a:lnTo>
                <a:lnTo>
                  <a:pt x="422" y="24"/>
                </a:lnTo>
                <a:lnTo>
                  <a:pt x="432" y="28"/>
                </a:lnTo>
                <a:lnTo>
                  <a:pt x="432" y="28"/>
                </a:lnTo>
                <a:lnTo>
                  <a:pt x="428" y="36"/>
                </a:lnTo>
                <a:lnTo>
                  <a:pt x="428" y="36"/>
                </a:lnTo>
                <a:lnTo>
                  <a:pt x="434" y="36"/>
                </a:lnTo>
                <a:lnTo>
                  <a:pt x="434" y="36"/>
                </a:lnTo>
                <a:lnTo>
                  <a:pt x="436" y="38"/>
                </a:lnTo>
                <a:lnTo>
                  <a:pt x="436" y="38"/>
                </a:lnTo>
                <a:lnTo>
                  <a:pt x="436" y="42"/>
                </a:lnTo>
                <a:lnTo>
                  <a:pt x="436" y="42"/>
                </a:lnTo>
                <a:lnTo>
                  <a:pt x="416" y="40"/>
                </a:lnTo>
                <a:lnTo>
                  <a:pt x="416" y="40"/>
                </a:lnTo>
                <a:lnTo>
                  <a:pt x="410" y="40"/>
                </a:lnTo>
                <a:lnTo>
                  <a:pt x="404" y="40"/>
                </a:lnTo>
                <a:lnTo>
                  <a:pt x="404" y="40"/>
                </a:lnTo>
                <a:lnTo>
                  <a:pt x="404" y="36"/>
                </a:lnTo>
                <a:lnTo>
                  <a:pt x="404" y="36"/>
                </a:lnTo>
                <a:lnTo>
                  <a:pt x="398" y="36"/>
                </a:lnTo>
                <a:lnTo>
                  <a:pt x="398" y="36"/>
                </a:lnTo>
                <a:lnTo>
                  <a:pt x="394" y="32"/>
                </a:lnTo>
                <a:lnTo>
                  <a:pt x="394" y="32"/>
                </a:lnTo>
                <a:lnTo>
                  <a:pt x="394" y="32"/>
                </a:lnTo>
                <a:lnTo>
                  <a:pt x="390" y="30"/>
                </a:lnTo>
                <a:lnTo>
                  <a:pt x="384" y="30"/>
                </a:lnTo>
                <a:lnTo>
                  <a:pt x="384" y="30"/>
                </a:lnTo>
                <a:lnTo>
                  <a:pt x="380" y="28"/>
                </a:lnTo>
                <a:lnTo>
                  <a:pt x="378" y="26"/>
                </a:lnTo>
                <a:lnTo>
                  <a:pt x="378" y="26"/>
                </a:lnTo>
                <a:lnTo>
                  <a:pt x="370" y="24"/>
                </a:lnTo>
                <a:lnTo>
                  <a:pt x="364" y="26"/>
                </a:lnTo>
                <a:lnTo>
                  <a:pt x="364" y="26"/>
                </a:lnTo>
                <a:lnTo>
                  <a:pt x="360" y="22"/>
                </a:lnTo>
                <a:lnTo>
                  <a:pt x="360" y="22"/>
                </a:lnTo>
                <a:lnTo>
                  <a:pt x="352" y="22"/>
                </a:lnTo>
                <a:lnTo>
                  <a:pt x="352" y="26"/>
                </a:lnTo>
                <a:lnTo>
                  <a:pt x="352" y="26"/>
                </a:lnTo>
                <a:lnTo>
                  <a:pt x="342" y="24"/>
                </a:lnTo>
                <a:lnTo>
                  <a:pt x="342" y="24"/>
                </a:lnTo>
                <a:lnTo>
                  <a:pt x="342" y="32"/>
                </a:lnTo>
                <a:lnTo>
                  <a:pt x="344" y="34"/>
                </a:lnTo>
                <a:lnTo>
                  <a:pt x="348" y="36"/>
                </a:lnTo>
                <a:lnTo>
                  <a:pt x="348" y="36"/>
                </a:lnTo>
                <a:close/>
                <a:moveTo>
                  <a:pt x="798" y="334"/>
                </a:moveTo>
                <a:lnTo>
                  <a:pt x="798" y="334"/>
                </a:lnTo>
                <a:lnTo>
                  <a:pt x="792" y="334"/>
                </a:lnTo>
                <a:lnTo>
                  <a:pt x="792" y="334"/>
                </a:lnTo>
                <a:lnTo>
                  <a:pt x="790" y="338"/>
                </a:lnTo>
                <a:lnTo>
                  <a:pt x="790" y="338"/>
                </a:lnTo>
                <a:lnTo>
                  <a:pt x="788" y="332"/>
                </a:lnTo>
                <a:lnTo>
                  <a:pt x="786" y="324"/>
                </a:lnTo>
                <a:lnTo>
                  <a:pt x="784" y="324"/>
                </a:lnTo>
                <a:lnTo>
                  <a:pt x="784" y="322"/>
                </a:lnTo>
                <a:lnTo>
                  <a:pt x="776" y="316"/>
                </a:lnTo>
                <a:lnTo>
                  <a:pt x="776" y="314"/>
                </a:lnTo>
                <a:lnTo>
                  <a:pt x="774" y="314"/>
                </a:lnTo>
                <a:lnTo>
                  <a:pt x="774" y="314"/>
                </a:lnTo>
                <a:lnTo>
                  <a:pt x="774" y="312"/>
                </a:lnTo>
                <a:lnTo>
                  <a:pt x="772" y="310"/>
                </a:lnTo>
                <a:lnTo>
                  <a:pt x="772" y="310"/>
                </a:lnTo>
                <a:lnTo>
                  <a:pt x="768" y="310"/>
                </a:lnTo>
                <a:lnTo>
                  <a:pt x="762" y="310"/>
                </a:lnTo>
                <a:lnTo>
                  <a:pt x="762" y="308"/>
                </a:lnTo>
                <a:lnTo>
                  <a:pt x="762" y="308"/>
                </a:lnTo>
                <a:lnTo>
                  <a:pt x="760" y="308"/>
                </a:lnTo>
                <a:lnTo>
                  <a:pt x="758" y="308"/>
                </a:lnTo>
                <a:lnTo>
                  <a:pt x="758" y="312"/>
                </a:lnTo>
                <a:lnTo>
                  <a:pt x="758" y="312"/>
                </a:lnTo>
                <a:lnTo>
                  <a:pt x="756" y="310"/>
                </a:lnTo>
                <a:lnTo>
                  <a:pt x="754" y="310"/>
                </a:lnTo>
                <a:lnTo>
                  <a:pt x="752" y="306"/>
                </a:lnTo>
                <a:lnTo>
                  <a:pt x="752" y="306"/>
                </a:lnTo>
                <a:lnTo>
                  <a:pt x="756" y="302"/>
                </a:lnTo>
                <a:lnTo>
                  <a:pt x="756" y="302"/>
                </a:lnTo>
                <a:lnTo>
                  <a:pt x="754" y="300"/>
                </a:lnTo>
                <a:lnTo>
                  <a:pt x="750" y="300"/>
                </a:lnTo>
                <a:lnTo>
                  <a:pt x="750" y="300"/>
                </a:lnTo>
                <a:lnTo>
                  <a:pt x="748" y="314"/>
                </a:lnTo>
                <a:lnTo>
                  <a:pt x="750" y="330"/>
                </a:lnTo>
                <a:lnTo>
                  <a:pt x="750" y="330"/>
                </a:lnTo>
                <a:lnTo>
                  <a:pt x="736" y="340"/>
                </a:lnTo>
                <a:lnTo>
                  <a:pt x="736" y="340"/>
                </a:lnTo>
                <a:lnTo>
                  <a:pt x="736" y="342"/>
                </a:lnTo>
                <a:lnTo>
                  <a:pt x="736" y="344"/>
                </a:lnTo>
                <a:lnTo>
                  <a:pt x="736" y="346"/>
                </a:lnTo>
                <a:lnTo>
                  <a:pt x="736" y="346"/>
                </a:lnTo>
                <a:lnTo>
                  <a:pt x="740" y="348"/>
                </a:lnTo>
                <a:lnTo>
                  <a:pt x="742" y="346"/>
                </a:lnTo>
                <a:lnTo>
                  <a:pt x="748" y="344"/>
                </a:lnTo>
                <a:lnTo>
                  <a:pt x="748" y="344"/>
                </a:lnTo>
                <a:lnTo>
                  <a:pt x="750" y="346"/>
                </a:lnTo>
                <a:lnTo>
                  <a:pt x="748" y="346"/>
                </a:lnTo>
                <a:lnTo>
                  <a:pt x="748" y="346"/>
                </a:lnTo>
                <a:lnTo>
                  <a:pt x="750" y="354"/>
                </a:lnTo>
                <a:lnTo>
                  <a:pt x="750" y="354"/>
                </a:lnTo>
                <a:lnTo>
                  <a:pt x="756" y="354"/>
                </a:lnTo>
                <a:lnTo>
                  <a:pt x="762" y="352"/>
                </a:lnTo>
                <a:lnTo>
                  <a:pt x="762" y="352"/>
                </a:lnTo>
                <a:lnTo>
                  <a:pt x="762" y="350"/>
                </a:lnTo>
                <a:lnTo>
                  <a:pt x="762" y="350"/>
                </a:lnTo>
                <a:lnTo>
                  <a:pt x="764" y="346"/>
                </a:lnTo>
                <a:lnTo>
                  <a:pt x="764" y="346"/>
                </a:lnTo>
                <a:lnTo>
                  <a:pt x="764" y="340"/>
                </a:lnTo>
                <a:lnTo>
                  <a:pt x="764" y="334"/>
                </a:lnTo>
                <a:lnTo>
                  <a:pt x="764" y="334"/>
                </a:lnTo>
                <a:lnTo>
                  <a:pt x="770" y="328"/>
                </a:lnTo>
                <a:lnTo>
                  <a:pt x="770" y="328"/>
                </a:lnTo>
                <a:lnTo>
                  <a:pt x="774" y="328"/>
                </a:lnTo>
                <a:lnTo>
                  <a:pt x="774" y="328"/>
                </a:lnTo>
                <a:lnTo>
                  <a:pt x="774" y="328"/>
                </a:lnTo>
                <a:lnTo>
                  <a:pt x="774" y="326"/>
                </a:lnTo>
                <a:lnTo>
                  <a:pt x="778" y="326"/>
                </a:lnTo>
                <a:lnTo>
                  <a:pt x="778" y="326"/>
                </a:lnTo>
                <a:lnTo>
                  <a:pt x="780" y="332"/>
                </a:lnTo>
                <a:lnTo>
                  <a:pt x="780" y="332"/>
                </a:lnTo>
                <a:lnTo>
                  <a:pt x="780" y="336"/>
                </a:lnTo>
                <a:lnTo>
                  <a:pt x="780" y="336"/>
                </a:lnTo>
                <a:lnTo>
                  <a:pt x="776" y="338"/>
                </a:lnTo>
                <a:lnTo>
                  <a:pt x="776" y="338"/>
                </a:lnTo>
                <a:lnTo>
                  <a:pt x="776" y="340"/>
                </a:lnTo>
                <a:lnTo>
                  <a:pt x="776" y="340"/>
                </a:lnTo>
                <a:lnTo>
                  <a:pt x="780" y="340"/>
                </a:lnTo>
                <a:lnTo>
                  <a:pt x="780" y="340"/>
                </a:lnTo>
                <a:lnTo>
                  <a:pt x="782" y="344"/>
                </a:lnTo>
                <a:lnTo>
                  <a:pt x="782" y="344"/>
                </a:lnTo>
                <a:lnTo>
                  <a:pt x="790" y="344"/>
                </a:lnTo>
                <a:lnTo>
                  <a:pt x="798" y="348"/>
                </a:lnTo>
                <a:lnTo>
                  <a:pt x="798" y="348"/>
                </a:lnTo>
                <a:lnTo>
                  <a:pt x="802" y="344"/>
                </a:lnTo>
                <a:lnTo>
                  <a:pt x="802" y="344"/>
                </a:lnTo>
                <a:lnTo>
                  <a:pt x="802" y="338"/>
                </a:lnTo>
                <a:lnTo>
                  <a:pt x="802" y="338"/>
                </a:lnTo>
                <a:lnTo>
                  <a:pt x="804" y="338"/>
                </a:lnTo>
                <a:lnTo>
                  <a:pt x="804" y="338"/>
                </a:lnTo>
                <a:lnTo>
                  <a:pt x="804" y="334"/>
                </a:lnTo>
                <a:lnTo>
                  <a:pt x="804" y="334"/>
                </a:lnTo>
                <a:lnTo>
                  <a:pt x="798" y="334"/>
                </a:lnTo>
                <a:lnTo>
                  <a:pt x="798" y="334"/>
                </a:lnTo>
                <a:close/>
                <a:moveTo>
                  <a:pt x="1082" y="270"/>
                </a:moveTo>
                <a:lnTo>
                  <a:pt x="1082" y="270"/>
                </a:lnTo>
                <a:lnTo>
                  <a:pt x="1080" y="270"/>
                </a:lnTo>
                <a:lnTo>
                  <a:pt x="1080" y="268"/>
                </a:lnTo>
                <a:lnTo>
                  <a:pt x="1080" y="268"/>
                </a:lnTo>
                <a:lnTo>
                  <a:pt x="1080" y="268"/>
                </a:lnTo>
                <a:lnTo>
                  <a:pt x="1076" y="268"/>
                </a:lnTo>
                <a:lnTo>
                  <a:pt x="1076" y="268"/>
                </a:lnTo>
                <a:lnTo>
                  <a:pt x="1078" y="270"/>
                </a:lnTo>
                <a:lnTo>
                  <a:pt x="1078" y="270"/>
                </a:lnTo>
                <a:lnTo>
                  <a:pt x="1078" y="272"/>
                </a:lnTo>
                <a:lnTo>
                  <a:pt x="1078" y="274"/>
                </a:lnTo>
                <a:lnTo>
                  <a:pt x="1078" y="274"/>
                </a:lnTo>
                <a:lnTo>
                  <a:pt x="1078" y="276"/>
                </a:lnTo>
                <a:lnTo>
                  <a:pt x="1078" y="276"/>
                </a:lnTo>
                <a:lnTo>
                  <a:pt x="1078" y="276"/>
                </a:lnTo>
                <a:lnTo>
                  <a:pt x="1078" y="278"/>
                </a:lnTo>
                <a:lnTo>
                  <a:pt x="1078" y="276"/>
                </a:lnTo>
                <a:lnTo>
                  <a:pt x="1078" y="276"/>
                </a:lnTo>
                <a:lnTo>
                  <a:pt x="1076" y="276"/>
                </a:lnTo>
                <a:lnTo>
                  <a:pt x="1072" y="276"/>
                </a:lnTo>
                <a:lnTo>
                  <a:pt x="1072" y="272"/>
                </a:lnTo>
                <a:lnTo>
                  <a:pt x="1072" y="272"/>
                </a:lnTo>
                <a:lnTo>
                  <a:pt x="1068" y="272"/>
                </a:lnTo>
                <a:lnTo>
                  <a:pt x="1068" y="272"/>
                </a:lnTo>
                <a:lnTo>
                  <a:pt x="1066" y="276"/>
                </a:lnTo>
                <a:lnTo>
                  <a:pt x="1066" y="276"/>
                </a:lnTo>
                <a:lnTo>
                  <a:pt x="1068" y="276"/>
                </a:lnTo>
                <a:lnTo>
                  <a:pt x="1068" y="276"/>
                </a:lnTo>
                <a:lnTo>
                  <a:pt x="1068" y="280"/>
                </a:lnTo>
                <a:lnTo>
                  <a:pt x="1068" y="280"/>
                </a:lnTo>
                <a:lnTo>
                  <a:pt x="1062" y="280"/>
                </a:lnTo>
                <a:lnTo>
                  <a:pt x="1062" y="280"/>
                </a:lnTo>
                <a:lnTo>
                  <a:pt x="1062" y="284"/>
                </a:lnTo>
                <a:lnTo>
                  <a:pt x="1062" y="284"/>
                </a:lnTo>
                <a:lnTo>
                  <a:pt x="1064" y="286"/>
                </a:lnTo>
                <a:lnTo>
                  <a:pt x="1064" y="288"/>
                </a:lnTo>
                <a:lnTo>
                  <a:pt x="1064" y="288"/>
                </a:lnTo>
                <a:lnTo>
                  <a:pt x="1060" y="288"/>
                </a:lnTo>
                <a:lnTo>
                  <a:pt x="1060" y="288"/>
                </a:lnTo>
                <a:lnTo>
                  <a:pt x="1060" y="288"/>
                </a:lnTo>
                <a:lnTo>
                  <a:pt x="1060" y="290"/>
                </a:lnTo>
                <a:lnTo>
                  <a:pt x="1060" y="290"/>
                </a:lnTo>
                <a:lnTo>
                  <a:pt x="1062" y="292"/>
                </a:lnTo>
                <a:lnTo>
                  <a:pt x="1064" y="292"/>
                </a:lnTo>
                <a:lnTo>
                  <a:pt x="1064" y="292"/>
                </a:lnTo>
                <a:lnTo>
                  <a:pt x="1064" y="294"/>
                </a:lnTo>
                <a:lnTo>
                  <a:pt x="1064" y="294"/>
                </a:lnTo>
                <a:lnTo>
                  <a:pt x="1058" y="294"/>
                </a:lnTo>
                <a:lnTo>
                  <a:pt x="1058" y="294"/>
                </a:lnTo>
                <a:lnTo>
                  <a:pt x="1058" y="294"/>
                </a:lnTo>
                <a:lnTo>
                  <a:pt x="1058" y="296"/>
                </a:lnTo>
                <a:lnTo>
                  <a:pt x="1054" y="296"/>
                </a:lnTo>
                <a:lnTo>
                  <a:pt x="1054" y="296"/>
                </a:lnTo>
                <a:lnTo>
                  <a:pt x="1054" y="294"/>
                </a:lnTo>
                <a:lnTo>
                  <a:pt x="1052" y="292"/>
                </a:lnTo>
                <a:lnTo>
                  <a:pt x="1052" y="292"/>
                </a:lnTo>
                <a:lnTo>
                  <a:pt x="1052" y="292"/>
                </a:lnTo>
                <a:lnTo>
                  <a:pt x="1052" y="294"/>
                </a:lnTo>
                <a:lnTo>
                  <a:pt x="1050" y="296"/>
                </a:lnTo>
                <a:lnTo>
                  <a:pt x="1050" y="296"/>
                </a:lnTo>
                <a:lnTo>
                  <a:pt x="1054" y="298"/>
                </a:lnTo>
                <a:lnTo>
                  <a:pt x="1054" y="298"/>
                </a:lnTo>
                <a:lnTo>
                  <a:pt x="1054" y="302"/>
                </a:lnTo>
                <a:lnTo>
                  <a:pt x="1054" y="302"/>
                </a:lnTo>
                <a:lnTo>
                  <a:pt x="1056" y="306"/>
                </a:lnTo>
                <a:lnTo>
                  <a:pt x="1056" y="308"/>
                </a:lnTo>
                <a:lnTo>
                  <a:pt x="1054" y="310"/>
                </a:lnTo>
                <a:lnTo>
                  <a:pt x="1054" y="310"/>
                </a:lnTo>
                <a:lnTo>
                  <a:pt x="1052" y="310"/>
                </a:lnTo>
                <a:lnTo>
                  <a:pt x="1052" y="310"/>
                </a:lnTo>
                <a:lnTo>
                  <a:pt x="1048" y="312"/>
                </a:lnTo>
                <a:lnTo>
                  <a:pt x="1048" y="310"/>
                </a:lnTo>
                <a:lnTo>
                  <a:pt x="1048" y="310"/>
                </a:lnTo>
                <a:lnTo>
                  <a:pt x="1046" y="310"/>
                </a:lnTo>
                <a:lnTo>
                  <a:pt x="1044" y="310"/>
                </a:lnTo>
                <a:lnTo>
                  <a:pt x="1044" y="310"/>
                </a:lnTo>
                <a:lnTo>
                  <a:pt x="1042" y="308"/>
                </a:lnTo>
                <a:lnTo>
                  <a:pt x="1042" y="308"/>
                </a:lnTo>
                <a:lnTo>
                  <a:pt x="1042" y="304"/>
                </a:lnTo>
                <a:lnTo>
                  <a:pt x="1042" y="304"/>
                </a:lnTo>
                <a:lnTo>
                  <a:pt x="1038" y="308"/>
                </a:lnTo>
                <a:lnTo>
                  <a:pt x="1038" y="308"/>
                </a:lnTo>
                <a:lnTo>
                  <a:pt x="1036" y="306"/>
                </a:lnTo>
                <a:lnTo>
                  <a:pt x="1038" y="304"/>
                </a:lnTo>
                <a:lnTo>
                  <a:pt x="1038" y="304"/>
                </a:lnTo>
                <a:lnTo>
                  <a:pt x="1040" y="300"/>
                </a:lnTo>
                <a:lnTo>
                  <a:pt x="1038" y="300"/>
                </a:lnTo>
                <a:lnTo>
                  <a:pt x="1030" y="302"/>
                </a:lnTo>
                <a:lnTo>
                  <a:pt x="1030" y="302"/>
                </a:lnTo>
                <a:lnTo>
                  <a:pt x="1030" y="300"/>
                </a:lnTo>
                <a:lnTo>
                  <a:pt x="1032" y="300"/>
                </a:lnTo>
                <a:lnTo>
                  <a:pt x="1032" y="300"/>
                </a:lnTo>
                <a:lnTo>
                  <a:pt x="1032" y="298"/>
                </a:lnTo>
                <a:lnTo>
                  <a:pt x="1034" y="294"/>
                </a:lnTo>
                <a:lnTo>
                  <a:pt x="1034" y="294"/>
                </a:lnTo>
                <a:lnTo>
                  <a:pt x="1032" y="294"/>
                </a:lnTo>
                <a:lnTo>
                  <a:pt x="1030" y="296"/>
                </a:lnTo>
                <a:lnTo>
                  <a:pt x="1030" y="296"/>
                </a:lnTo>
                <a:lnTo>
                  <a:pt x="1028" y="296"/>
                </a:lnTo>
                <a:lnTo>
                  <a:pt x="1028" y="292"/>
                </a:lnTo>
                <a:lnTo>
                  <a:pt x="1028" y="292"/>
                </a:lnTo>
                <a:lnTo>
                  <a:pt x="1022" y="292"/>
                </a:lnTo>
                <a:lnTo>
                  <a:pt x="1022" y="290"/>
                </a:lnTo>
                <a:lnTo>
                  <a:pt x="1022" y="290"/>
                </a:lnTo>
                <a:lnTo>
                  <a:pt x="1026" y="290"/>
                </a:lnTo>
                <a:lnTo>
                  <a:pt x="1026" y="290"/>
                </a:lnTo>
                <a:lnTo>
                  <a:pt x="1028" y="286"/>
                </a:lnTo>
                <a:lnTo>
                  <a:pt x="1028" y="286"/>
                </a:lnTo>
                <a:lnTo>
                  <a:pt x="1022" y="288"/>
                </a:lnTo>
                <a:lnTo>
                  <a:pt x="1016" y="288"/>
                </a:lnTo>
                <a:lnTo>
                  <a:pt x="1016" y="288"/>
                </a:lnTo>
                <a:lnTo>
                  <a:pt x="1012" y="286"/>
                </a:lnTo>
                <a:lnTo>
                  <a:pt x="1012" y="286"/>
                </a:lnTo>
                <a:lnTo>
                  <a:pt x="1010" y="286"/>
                </a:lnTo>
                <a:lnTo>
                  <a:pt x="1008" y="284"/>
                </a:lnTo>
                <a:lnTo>
                  <a:pt x="1008" y="284"/>
                </a:lnTo>
                <a:lnTo>
                  <a:pt x="1006" y="282"/>
                </a:lnTo>
                <a:lnTo>
                  <a:pt x="1006" y="278"/>
                </a:lnTo>
                <a:lnTo>
                  <a:pt x="1006" y="278"/>
                </a:lnTo>
                <a:lnTo>
                  <a:pt x="1002" y="276"/>
                </a:lnTo>
                <a:lnTo>
                  <a:pt x="1002" y="276"/>
                </a:lnTo>
                <a:lnTo>
                  <a:pt x="1004" y="274"/>
                </a:lnTo>
                <a:lnTo>
                  <a:pt x="1004" y="272"/>
                </a:lnTo>
                <a:lnTo>
                  <a:pt x="1004" y="272"/>
                </a:lnTo>
                <a:lnTo>
                  <a:pt x="1002" y="272"/>
                </a:lnTo>
                <a:lnTo>
                  <a:pt x="1000" y="272"/>
                </a:lnTo>
                <a:lnTo>
                  <a:pt x="998" y="270"/>
                </a:lnTo>
                <a:lnTo>
                  <a:pt x="998" y="270"/>
                </a:lnTo>
                <a:lnTo>
                  <a:pt x="996" y="270"/>
                </a:lnTo>
                <a:lnTo>
                  <a:pt x="996" y="270"/>
                </a:lnTo>
                <a:lnTo>
                  <a:pt x="998" y="272"/>
                </a:lnTo>
                <a:lnTo>
                  <a:pt x="998" y="272"/>
                </a:lnTo>
                <a:lnTo>
                  <a:pt x="998" y="278"/>
                </a:lnTo>
                <a:lnTo>
                  <a:pt x="998" y="280"/>
                </a:lnTo>
                <a:lnTo>
                  <a:pt x="996" y="280"/>
                </a:lnTo>
                <a:lnTo>
                  <a:pt x="996" y="280"/>
                </a:lnTo>
                <a:lnTo>
                  <a:pt x="994" y="274"/>
                </a:lnTo>
                <a:lnTo>
                  <a:pt x="994" y="274"/>
                </a:lnTo>
                <a:lnTo>
                  <a:pt x="990" y="274"/>
                </a:lnTo>
                <a:lnTo>
                  <a:pt x="990" y="274"/>
                </a:lnTo>
                <a:lnTo>
                  <a:pt x="992" y="278"/>
                </a:lnTo>
                <a:lnTo>
                  <a:pt x="994" y="284"/>
                </a:lnTo>
                <a:lnTo>
                  <a:pt x="996" y="284"/>
                </a:lnTo>
                <a:lnTo>
                  <a:pt x="996" y="284"/>
                </a:lnTo>
                <a:lnTo>
                  <a:pt x="996" y="284"/>
                </a:lnTo>
                <a:lnTo>
                  <a:pt x="996" y="286"/>
                </a:lnTo>
                <a:lnTo>
                  <a:pt x="996" y="286"/>
                </a:lnTo>
                <a:lnTo>
                  <a:pt x="996" y="288"/>
                </a:lnTo>
                <a:lnTo>
                  <a:pt x="996" y="288"/>
                </a:lnTo>
                <a:lnTo>
                  <a:pt x="992" y="288"/>
                </a:lnTo>
                <a:lnTo>
                  <a:pt x="990" y="286"/>
                </a:lnTo>
                <a:lnTo>
                  <a:pt x="990" y="286"/>
                </a:lnTo>
                <a:lnTo>
                  <a:pt x="988" y="286"/>
                </a:lnTo>
                <a:lnTo>
                  <a:pt x="986" y="286"/>
                </a:lnTo>
                <a:lnTo>
                  <a:pt x="986" y="286"/>
                </a:lnTo>
                <a:lnTo>
                  <a:pt x="990" y="294"/>
                </a:lnTo>
                <a:lnTo>
                  <a:pt x="992" y="296"/>
                </a:lnTo>
                <a:lnTo>
                  <a:pt x="998" y="296"/>
                </a:lnTo>
                <a:lnTo>
                  <a:pt x="998" y="296"/>
                </a:lnTo>
                <a:lnTo>
                  <a:pt x="998" y="302"/>
                </a:lnTo>
                <a:lnTo>
                  <a:pt x="1000" y="306"/>
                </a:lnTo>
                <a:lnTo>
                  <a:pt x="1000" y="306"/>
                </a:lnTo>
                <a:lnTo>
                  <a:pt x="1004" y="308"/>
                </a:lnTo>
                <a:lnTo>
                  <a:pt x="1004" y="308"/>
                </a:lnTo>
                <a:lnTo>
                  <a:pt x="1004" y="310"/>
                </a:lnTo>
                <a:lnTo>
                  <a:pt x="1006" y="312"/>
                </a:lnTo>
                <a:lnTo>
                  <a:pt x="1006" y="312"/>
                </a:lnTo>
                <a:lnTo>
                  <a:pt x="1008" y="312"/>
                </a:lnTo>
                <a:lnTo>
                  <a:pt x="1010" y="312"/>
                </a:lnTo>
                <a:lnTo>
                  <a:pt x="1010" y="312"/>
                </a:lnTo>
                <a:lnTo>
                  <a:pt x="1014" y="316"/>
                </a:lnTo>
                <a:lnTo>
                  <a:pt x="1014" y="316"/>
                </a:lnTo>
                <a:lnTo>
                  <a:pt x="1014" y="320"/>
                </a:lnTo>
                <a:lnTo>
                  <a:pt x="1014" y="320"/>
                </a:lnTo>
                <a:lnTo>
                  <a:pt x="1016" y="318"/>
                </a:lnTo>
                <a:lnTo>
                  <a:pt x="1020" y="318"/>
                </a:lnTo>
                <a:lnTo>
                  <a:pt x="1020" y="318"/>
                </a:lnTo>
                <a:lnTo>
                  <a:pt x="1020" y="320"/>
                </a:lnTo>
                <a:lnTo>
                  <a:pt x="1022" y="322"/>
                </a:lnTo>
                <a:lnTo>
                  <a:pt x="1022" y="322"/>
                </a:lnTo>
                <a:lnTo>
                  <a:pt x="1022" y="322"/>
                </a:lnTo>
                <a:lnTo>
                  <a:pt x="1024" y="322"/>
                </a:lnTo>
                <a:lnTo>
                  <a:pt x="1024" y="322"/>
                </a:lnTo>
                <a:lnTo>
                  <a:pt x="1022" y="320"/>
                </a:lnTo>
                <a:lnTo>
                  <a:pt x="1022" y="318"/>
                </a:lnTo>
                <a:lnTo>
                  <a:pt x="1022" y="318"/>
                </a:lnTo>
                <a:lnTo>
                  <a:pt x="1020" y="318"/>
                </a:lnTo>
                <a:lnTo>
                  <a:pt x="1022" y="318"/>
                </a:lnTo>
                <a:lnTo>
                  <a:pt x="1022" y="316"/>
                </a:lnTo>
                <a:lnTo>
                  <a:pt x="1022" y="316"/>
                </a:lnTo>
                <a:lnTo>
                  <a:pt x="1024" y="318"/>
                </a:lnTo>
                <a:lnTo>
                  <a:pt x="1026" y="318"/>
                </a:lnTo>
                <a:lnTo>
                  <a:pt x="1026" y="318"/>
                </a:lnTo>
                <a:lnTo>
                  <a:pt x="1030" y="328"/>
                </a:lnTo>
                <a:lnTo>
                  <a:pt x="1030" y="328"/>
                </a:lnTo>
                <a:lnTo>
                  <a:pt x="1030" y="330"/>
                </a:lnTo>
                <a:lnTo>
                  <a:pt x="1028" y="332"/>
                </a:lnTo>
                <a:lnTo>
                  <a:pt x="1028" y="332"/>
                </a:lnTo>
                <a:lnTo>
                  <a:pt x="1024" y="330"/>
                </a:lnTo>
                <a:lnTo>
                  <a:pt x="1024" y="330"/>
                </a:lnTo>
                <a:lnTo>
                  <a:pt x="1024" y="330"/>
                </a:lnTo>
                <a:lnTo>
                  <a:pt x="1024" y="332"/>
                </a:lnTo>
                <a:lnTo>
                  <a:pt x="1024" y="332"/>
                </a:lnTo>
                <a:lnTo>
                  <a:pt x="1026" y="338"/>
                </a:lnTo>
                <a:lnTo>
                  <a:pt x="1020" y="338"/>
                </a:lnTo>
                <a:lnTo>
                  <a:pt x="1020" y="338"/>
                </a:lnTo>
                <a:lnTo>
                  <a:pt x="1020" y="342"/>
                </a:lnTo>
                <a:lnTo>
                  <a:pt x="1020" y="342"/>
                </a:lnTo>
                <a:lnTo>
                  <a:pt x="1024" y="342"/>
                </a:lnTo>
                <a:lnTo>
                  <a:pt x="1024" y="342"/>
                </a:lnTo>
                <a:lnTo>
                  <a:pt x="1026" y="350"/>
                </a:lnTo>
                <a:lnTo>
                  <a:pt x="1026" y="350"/>
                </a:lnTo>
                <a:lnTo>
                  <a:pt x="1030" y="348"/>
                </a:lnTo>
                <a:lnTo>
                  <a:pt x="1030" y="350"/>
                </a:lnTo>
                <a:lnTo>
                  <a:pt x="1030" y="350"/>
                </a:lnTo>
                <a:lnTo>
                  <a:pt x="1026" y="352"/>
                </a:lnTo>
                <a:lnTo>
                  <a:pt x="1026" y="352"/>
                </a:lnTo>
                <a:lnTo>
                  <a:pt x="1022" y="346"/>
                </a:lnTo>
                <a:lnTo>
                  <a:pt x="1018" y="344"/>
                </a:lnTo>
                <a:lnTo>
                  <a:pt x="1018" y="344"/>
                </a:lnTo>
                <a:lnTo>
                  <a:pt x="1018" y="344"/>
                </a:lnTo>
                <a:lnTo>
                  <a:pt x="1016" y="346"/>
                </a:lnTo>
                <a:lnTo>
                  <a:pt x="1016" y="346"/>
                </a:lnTo>
                <a:lnTo>
                  <a:pt x="1016" y="342"/>
                </a:lnTo>
                <a:lnTo>
                  <a:pt x="1014" y="342"/>
                </a:lnTo>
                <a:lnTo>
                  <a:pt x="1014" y="342"/>
                </a:lnTo>
                <a:lnTo>
                  <a:pt x="1010" y="340"/>
                </a:lnTo>
                <a:lnTo>
                  <a:pt x="1004" y="342"/>
                </a:lnTo>
                <a:lnTo>
                  <a:pt x="1004" y="342"/>
                </a:lnTo>
                <a:lnTo>
                  <a:pt x="1002" y="342"/>
                </a:lnTo>
                <a:lnTo>
                  <a:pt x="1002" y="344"/>
                </a:lnTo>
                <a:lnTo>
                  <a:pt x="1002" y="344"/>
                </a:lnTo>
                <a:lnTo>
                  <a:pt x="998" y="340"/>
                </a:lnTo>
                <a:lnTo>
                  <a:pt x="994" y="338"/>
                </a:lnTo>
                <a:lnTo>
                  <a:pt x="992" y="338"/>
                </a:lnTo>
                <a:lnTo>
                  <a:pt x="992" y="338"/>
                </a:lnTo>
                <a:lnTo>
                  <a:pt x="992" y="342"/>
                </a:lnTo>
                <a:lnTo>
                  <a:pt x="992" y="342"/>
                </a:lnTo>
                <a:lnTo>
                  <a:pt x="988" y="342"/>
                </a:lnTo>
                <a:lnTo>
                  <a:pt x="984" y="338"/>
                </a:lnTo>
                <a:lnTo>
                  <a:pt x="980" y="336"/>
                </a:lnTo>
                <a:lnTo>
                  <a:pt x="974" y="336"/>
                </a:lnTo>
                <a:lnTo>
                  <a:pt x="974" y="336"/>
                </a:lnTo>
                <a:lnTo>
                  <a:pt x="972" y="340"/>
                </a:lnTo>
                <a:lnTo>
                  <a:pt x="972" y="340"/>
                </a:lnTo>
                <a:lnTo>
                  <a:pt x="972" y="338"/>
                </a:lnTo>
                <a:lnTo>
                  <a:pt x="972" y="340"/>
                </a:lnTo>
                <a:lnTo>
                  <a:pt x="972" y="342"/>
                </a:lnTo>
                <a:lnTo>
                  <a:pt x="972" y="342"/>
                </a:lnTo>
                <a:lnTo>
                  <a:pt x="980" y="348"/>
                </a:lnTo>
                <a:lnTo>
                  <a:pt x="990" y="354"/>
                </a:lnTo>
                <a:lnTo>
                  <a:pt x="992" y="354"/>
                </a:lnTo>
                <a:lnTo>
                  <a:pt x="992" y="354"/>
                </a:lnTo>
                <a:lnTo>
                  <a:pt x="992" y="356"/>
                </a:lnTo>
                <a:lnTo>
                  <a:pt x="992" y="356"/>
                </a:lnTo>
                <a:lnTo>
                  <a:pt x="994" y="356"/>
                </a:lnTo>
                <a:lnTo>
                  <a:pt x="1000" y="356"/>
                </a:lnTo>
                <a:lnTo>
                  <a:pt x="1000" y="356"/>
                </a:lnTo>
                <a:lnTo>
                  <a:pt x="1004" y="360"/>
                </a:lnTo>
                <a:lnTo>
                  <a:pt x="1006" y="360"/>
                </a:lnTo>
                <a:lnTo>
                  <a:pt x="1006" y="360"/>
                </a:lnTo>
                <a:lnTo>
                  <a:pt x="1006" y="366"/>
                </a:lnTo>
                <a:lnTo>
                  <a:pt x="1006" y="366"/>
                </a:lnTo>
                <a:lnTo>
                  <a:pt x="1012" y="366"/>
                </a:lnTo>
                <a:lnTo>
                  <a:pt x="1018" y="368"/>
                </a:lnTo>
                <a:lnTo>
                  <a:pt x="1018" y="368"/>
                </a:lnTo>
                <a:lnTo>
                  <a:pt x="1020" y="368"/>
                </a:lnTo>
                <a:lnTo>
                  <a:pt x="1020" y="370"/>
                </a:lnTo>
                <a:lnTo>
                  <a:pt x="1018" y="370"/>
                </a:lnTo>
                <a:lnTo>
                  <a:pt x="1018" y="372"/>
                </a:lnTo>
                <a:lnTo>
                  <a:pt x="1018" y="372"/>
                </a:lnTo>
                <a:lnTo>
                  <a:pt x="1018" y="376"/>
                </a:lnTo>
                <a:lnTo>
                  <a:pt x="1016" y="378"/>
                </a:lnTo>
                <a:lnTo>
                  <a:pt x="1016" y="378"/>
                </a:lnTo>
                <a:lnTo>
                  <a:pt x="1008" y="376"/>
                </a:lnTo>
                <a:lnTo>
                  <a:pt x="1008" y="376"/>
                </a:lnTo>
                <a:lnTo>
                  <a:pt x="1006" y="376"/>
                </a:lnTo>
                <a:lnTo>
                  <a:pt x="1006" y="376"/>
                </a:lnTo>
                <a:lnTo>
                  <a:pt x="1006" y="376"/>
                </a:lnTo>
                <a:lnTo>
                  <a:pt x="998" y="372"/>
                </a:lnTo>
                <a:lnTo>
                  <a:pt x="998" y="372"/>
                </a:lnTo>
                <a:lnTo>
                  <a:pt x="994" y="372"/>
                </a:lnTo>
                <a:lnTo>
                  <a:pt x="988" y="374"/>
                </a:lnTo>
                <a:lnTo>
                  <a:pt x="988" y="374"/>
                </a:lnTo>
                <a:lnTo>
                  <a:pt x="984" y="370"/>
                </a:lnTo>
                <a:lnTo>
                  <a:pt x="984" y="370"/>
                </a:lnTo>
                <a:lnTo>
                  <a:pt x="982" y="372"/>
                </a:lnTo>
                <a:lnTo>
                  <a:pt x="982" y="374"/>
                </a:lnTo>
                <a:lnTo>
                  <a:pt x="982" y="374"/>
                </a:lnTo>
                <a:lnTo>
                  <a:pt x="970" y="370"/>
                </a:lnTo>
                <a:lnTo>
                  <a:pt x="970" y="370"/>
                </a:lnTo>
                <a:lnTo>
                  <a:pt x="968" y="372"/>
                </a:lnTo>
                <a:lnTo>
                  <a:pt x="968" y="372"/>
                </a:lnTo>
                <a:lnTo>
                  <a:pt x="964" y="368"/>
                </a:lnTo>
                <a:lnTo>
                  <a:pt x="964" y="368"/>
                </a:lnTo>
                <a:lnTo>
                  <a:pt x="962" y="374"/>
                </a:lnTo>
                <a:lnTo>
                  <a:pt x="962" y="374"/>
                </a:lnTo>
                <a:lnTo>
                  <a:pt x="954" y="374"/>
                </a:lnTo>
                <a:lnTo>
                  <a:pt x="954" y="374"/>
                </a:lnTo>
                <a:lnTo>
                  <a:pt x="952" y="372"/>
                </a:lnTo>
                <a:lnTo>
                  <a:pt x="952" y="370"/>
                </a:lnTo>
                <a:lnTo>
                  <a:pt x="952" y="370"/>
                </a:lnTo>
                <a:lnTo>
                  <a:pt x="948" y="372"/>
                </a:lnTo>
                <a:lnTo>
                  <a:pt x="946" y="374"/>
                </a:lnTo>
                <a:lnTo>
                  <a:pt x="946" y="374"/>
                </a:lnTo>
                <a:lnTo>
                  <a:pt x="940" y="370"/>
                </a:lnTo>
                <a:lnTo>
                  <a:pt x="940" y="370"/>
                </a:lnTo>
                <a:lnTo>
                  <a:pt x="936" y="370"/>
                </a:lnTo>
                <a:lnTo>
                  <a:pt x="936" y="368"/>
                </a:lnTo>
                <a:lnTo>
                  <a:pt x="936" y="368"/>
                </a:lnTo>
                <a:lnTo>
                  <a:pt x="946" y="364"/>
                </a:lnTo>
                <a:lnTo>
                  <a:pt x="946" y="364"/>
                </a:lnTo>
                <a:lnTo>
                  <a:pt x="946" y="362"/>
                </a:lnTo>
                <a:lnTo>
                  <a:pt x="948" y="362"/>
                </a:lnTo>
                <a:lnTo>
                  <a:pt x="948" y="362"/>
                </a:lnTo>
                <a:lnTo>
                  <a:pt x="946" y="360"/>
                </a:lnTo>
                <a:lnTo>
                  <a:pt x="946" y="360"/>
                </a:lnTo>
                <a:lnTo>
                  <a:pt x="942" y="360"/>
                </a:lnTo>
                <a:lnTo>
                  <a:pt x="942" y="360"/>
                </a:lnTo>
                <a:lnTo>
                  <a:pt x="942" y="358"/>
                </a:lnTo>
                <a:lnTo>
                  <a:pt x="940" y="358"/>
                </a:lnTo>
                <a:lnTo>
                  <a:pt x="940" y="358"/>
                </a:lnTo>
                <a:lnTo>
                  <a:pt x="940" y="362"/>
                </a:lnTo>
                <a:lnTo>
                  <a:pt x="940" y="362"/>
                </a:lnTo>
                <a:lnTo>
                  <a:pt x="938" y="362"/>
                </a:lnTo>
                <a:lnTo>
                  <a:pt x="938" y="362"/>
                </a:lnTo>
                <a:lnTo>
                  <a:pt x="934" y="360"/>
                </a:lnTo>
                <a:lnTo>
                  <a:pt x="934" y="358"/>
                </a:lnTo>
                <a:lnTo>
                  <a:pt x="934" y="358"/>
                </a:lnTo>
                <a:lnTo>
                  <a:pt x="932" y="360"/>
                </a:lnTo>
                <a:lnTo>
                  <a:pt x="930" y="360"/>
                </a:lnTo>
                <a:lnTo>
                  <a:pt x="930" y="360"/>
                </a:lnTo>
                <a:lnTo>
                  <a:pt x="928" y="348"/>
                </a:lnTo>
                <a:lnTo>
                  <a:pt x="928" y="348"/>
                </a:lnTo>
                <a:lnTo>
                  <a:pt x="924" y="348"/>
                </a:lnTo>
                <a:lnTo>
                  <a:pt x="924" y="348"/>
                </a:lnTo>
                <a:lnTo>
                  <a:pt x="920" y="336"/>
                </a:lnTo>
                <a:lnTo>
                  <a:pt x="920" y="336"/>
                </a:lnTo>
                <a:lnTo>
                  <a:pt x="916" y="336"/>
                </a:lnTo>
                <a:lnTo>
                  <a:pt x="916" y="336"/>
                </a:lnTo>
                <a:lnTo>
                  <a:pt x="914" y="340"/>
                </a:lnTo>
                <a:lnTo>
                  <a:pt x="914" y="340"/>
                </a:lnTo>
                <a:lnTo>
                  <a:pt x="914" y="336"/>
                </a:lnTo>
                <a:lnTo>
                  <a:pt x="914" y="336"/>
                </a:lnTo>
                <a:lnTo>
                  <a:pt x="908" y="334"/>
                </a:lnTo>
                <a:lnTo>
                  <a:pt x="908" y="334"/>
                </a:lnTo>
                <a:lnTo>
                  <a:pt x="908" y="330"/>
                </a:lnTo>
                <a:lnTo>
                  <a:pt x="908" y="330"/>
                </a:lnTo>
                <a:lnTo>
                  <a:pt x="906" y="330"/>
                </a:lnTo>
                <a:lnTo>
                  <a:pt x="906" y="330"/>
                </a:lnTo>
                <a:lnTo>
                  <a:pt x="906" y="332"/>
                </a:lnTo>
                <a:lnTo>
                  <a:pt x="906" y="334"/>
                </a:lnTo>
                <a:lnTo>
                  <a:pt x="906" y="334"/>
                </a:lnTo>
                <a:lnTo>
                  <a:pt x="902" y="336"/>
                </a:lnTo>
                <a:lnTo>
                  <a:pt x="902" y="336"/>
                </a:lnTo>
                <a:lnTo>
                  <a:pt x="898" y="330"/>
                </a:lnTo>
                <a:lnTo>
                  <a:pt x="898" y="330"/>
                </a:lnTo>
                <a:lnTo>
                  <a:pt x="898" y="326"/>
                </a:lnTo>
                <a:lnTo>
                  <a:pt x="896" y="326"/>
                </a:lnTo>
                <a:lnTo>
                  <a:pt x="896" y="326"/>
                </a:lnTo>
                <a:lnTo>
                  <a:pt x="896" y="328"/>
                </a:lnTo>
                <a:lnTo>
                  <a:pt x="894" y="330"/>
                </a:lnTo>
                <a:lnTo>
                  <a:pt x="894" y="332"/>
                </a:lnTo>
                <a:lnTo>
                  <a:pt x="894" y="332"/>
                </a:lnTo>
                <a:lnTo>
                  <a:pt x="900" y="336"/>
                </a:lnTo>
                <a:lnTo>
                  <a:pt x="900" y="336"/>
                </a:lnTo>
                <a:lnTo>
                  <a:pt x="900" y="340"/>
                </a:lnTo>
                <a:lnTo>
                  <a:pt x="900" y="340"/>
                </a:lnTo>
                <a:lnTo>
                  <a:pt x="898" y="340"/>
                </a:lnTo>
                <a:lnTo>
                  <a:pt x="898" y="342"/>
                </a:lnTo>
                <a:lnTo>
                  <a:pt x="898" y="342"/>
                </a:lnTo>
                <a:lnTo>
                  <a:pt x="890" y="340"/>
                </a:lnTo>
                <a:lnTo>
                  <a:pt x="888" y="336"/>
                </a:lnTo>
                <a:lnTo>
                  <a:pt x="888" y="336"/>
                </a:lnTo>
                <a:lnTo>
                  <a:pt x="886" y="340"/>
                </a:lnTo>
                <a:lnTo>
                  <a:pt x="886" y="340"/>
                </a:lnTo>
                <a:lnTo>
                  <a:pt x="884" y="340"/>
                </a:lnTo>
                <a:lnTo>
                  <a:pt x="884" y="340"/>
                </a:lnTo>
                <a:lnTo>
                  <a:pt x="884" y="344"/>
                </a:lnTo>
                <a:lnTo>
                  <a:pt x="884" y="344"/>
                </a:lnTo>
                <a:lnTo>
                  <a:pt x="880" y="344"/>
                </a:lnTo>
                <a:lnTo>
                  <a:pt x="878" y="344"/>
                </a:lnTo>
                <a:lnTo>
                  <a:pt x="876" y="348"/>
                </a:lnTo>
                <a:lnTo>
                  <a:pt x="876" y="348"/>
                </a:lnTo>
                <a:lnTo>
                  <a:pt x="868" y="348"/>
                </a:lnTo>
                <a:lnTo>
                  <a:pt x="866" y="346"/>
                </a:lnTo>
                <a:lnTo>
                  <a:pt x="866" y="346"/>
                </a:lnTo>
                <a:lnTo>
                  <a:pt x="864" y="346"/>
                </a:lnTo>
                <a:lnTo>
                  <a:pt x="862" y="348"/>
                </a:lnTo>
                <a:lnTo>
                  <a:pt x="862" y="346"/>
                </a:lnTo>
                <a:lnTo>
                  <a:pt x="862" y="346"/>
                </a:lnTo>
                <a:lnTo>
                  <a:pt x="858" y="344"/>
                </a:lnTo>
                <a:lnTo>
                  <a:pt x="856" y="344"/>
                </a:lnTo>
                <a:lnTo>
                  <a:pt x="856" y="344"/>
                </a:lnTo>
                <a:lnTo>
                  <a:pt x="854" y="338"/>
                </a:lnTo>
                <a:lnTo>
                  <a:pt x="854" y="338"/>
                </a:lnTo>
                <a:lnTo>
                  <a:pt x="856" y="334"/>
                </a:lnTo>
                <a:lnTo>
                  <a:pt x="858" y="330"/>
                </a:lnTo>
                <a:lnTo>
                  <a:pt x="858" y="330"/>
                </a:lnTo>
                <a:lnTo>
                  <a:pt x="856" y="330"/>
                </a:lnTo>
                <a:lnTo>
                  <a:pt x="856" y="326"/>
                </a:lnTo>
                <a:lnTo>
                  <a:pt x="856" y="326"/>
                </a:lnTo>
                <a:lnTo>
                  <a:pt x="860" y="316"/>
                </a:lnTo>
                <a:lnTo>
                  <a:pt x="860" y="316"/>
                </a:lnTo>
                <a:lnTo>
                  <a:pt x="872" y="316"/>
                </a:lnTo>
                <a:lnTo>
                  <a:pt x="872" y="316"/>
                </a:lnTo>
                <a:lnTo>
                  <a:pt x="876" y="318"/>
                </a:lnTo>
                <a:lnTo>
                  <a:pt x="880" y="318"/>
                </a:lnTo>
                <a:lnTo>
                  <a:pt x="880" y="316"/>
                </a:lnTo>
                <a:lnTo>
                  <a:pt x="880" y="316"/>
                </a:lnTo>
                <a:lnTo>
                  <a:pt x="886" y="316"/>
                </a:lnTo>
                <a:lnTo>
                  <a:pt x="886" y="316"/>
                </a:lnTo>
                <a:lnTo>
                  <a:pt x="886" y="316"/>
                </a:lnTo>
                <a:lnTo>
                  <a:pt x="888" y="314"/>
                </a:lnTo>
                <a:lnTo>
                  <a:pt x="888" y="314"/>
                </a:lnTo>
                <a:lnTo>
                  <a:pt x="888" y="314"/>
                </a:lnTo>
                <a:lnTo>
                  <a:pt x="890" y="314"/>
                </a:lnTo>
                <a:lnTo>
                  <a:pt x="892" y="316"/>
                </a:lnTo>
                <a:lnTo>
                  <a:pt x="892" y="314"/>
                </a:lnTo>
                <a:lnTo>
                  <a:pt x="892" y="314"/>
                </a:lnTo>
                <a:lnTo>
                  <a:pt x="896" y="312"/>
                </a:lnTo>
                <a:lnTo>
                  <a:pt x="896" y="312"/>
                </a:lnTo>
                <a:lnTo>
                  <a:pt x="898" y="314"/>
                </a:lnTo>
                <a:lnTo>
                  <a:pt x="902" y="314"/>
                </a:lnTo>
                <a:lnTo>
                  <a:pt x="902" y="314"/>
                </a:lnTo>
                <a:lnTo>
                  <a:pt x="906" y="312"/>
                </a:lnTo>
                <a:lnTo>
                  <a:pt x="906" y="312"/>
                </a:lnTo>
                <a:lnTo>
                  <a:pt x="916" y="310"/>
                </a:lnTo>
                <a:lnTo>
                  <a:pt x="924" y="310"/>
                </a:lnTo>
                <a:lnTo>
                  <a:pt x="924" y="310"/>
                </a:lnTo>
                <a:lnTo>
                  <a:pt x="922" y="304"/>
                </a:lnTo>
                <a:lnTo>
                  <a:pt x="922" y="304"/>
                </a:lnTo>
                <a:lnTo>
                  <a:pt x="918" y="302"/>
                </a:lnTo>
                <a:lnTo>
                  <a:pt x="916" y="300"/>
                </a:lnTo>
                <a:lnTo>
                  <a:pt x="916" y="300"/>
                </a:lnTo>
                <a:lnTo>
                  <a:pt x="914" y="294"/>
                </a:lnTo>
                <a:lnTo>
                  <a:pt x="914" y="294"/>
                </a:lnTo>
                <a:lnTo>
                  <a:pt x="910" y="294"/>
                </a:lnTo>
                <a:lnTo>
                  <a:pt x="910" y="294"/>
                </a:lnTo>
                <a:lnTo>
                  <a:pt x="906" y="288"/>
                </a:lnTo>
                <a:lnTo>
                  <a:pt x="906" y="288"/>
                </a:lnTo>
                <a:lnTo>
                  <a:pt x="906" y="284"/>
                </a:lnTo>
                <a:lnTo>
                  <a:pt x="906" y="284"/>
                </a:lnTo>
                <a:lnTo>
                  <a:pt x="914" y="282"/>
                </a:lnTo>
                <a:lnTo>
                  <a:pt x="914" y="282"/>
                </a:lnTo>
                <a:lnTo>
                  <a:pt x="914" y="278"/>
                </a:lnTo>
                <a:lnTo>
                  <a:pt x="916" y="276"/>
                </a:lnTo>
                <a:lnTo>
                  <a:pt x="916" y="276"/>
                </a:lnTo>
                <a:lnTo>
                  <a:pt x="922" y="270"/>
                </a:lnTo>
                <a:lnTo>
                  <a:pt x="930" y="268"/>
                </a:lnTo>
                <a:lnTo>
                  <a:pt x="930" y="268"/>
                </a:lnTo>
                <a:lnTo>
                  <a:pt x="924" y="264"/>
                </a:lnTo>
                <a:lnTo>
                  <a:pt x="922" y="260"/>
                </a:lnTo>
                <a:lnTo>
                  <a:pt x="924" y="256"/>
                </a:lnTo>
                <a:lnTo>
                  <a:pt x="924" y="256"/>
                </a:lnTo>
                <a:lnTo>
                  <a:pt x="924" y="254"/>
                </a:lnTo>
                <a:lnTo>
                  <a:pt x="926" y="254"/>
                </a:lnTo>
                <a:lnTo>
                  <a:pt x="926" y="254"/>
                </a:lnTo>
                <a:lnTo>
                  <a:pt x="928" y="254"/>
                </a:lnTo>
                <a:lnTo>
                  <a:pt x="930" y="254"/>
                </a:lnTo>
                <a:lnTo>
                  <a:pt x="930" y="254"/>
                </a:lnTo>
                <a:lnTo>
                  <a:pt x="930" y="254"/>
                </a:lnTo>
                <a:lnTo>
                  <a:pt x="932" y="252"/>
                </a:lnTo>
                <a:lnTo>
                  <a:pt x="932" y="252"/>
                </a:lnTo>
                <a:lnTo>
                  <a:pt x="932" y="250"/>
                </a:lnTo>
                <a:lnTo>
                  <a:pt x="932" y="250"/>
                </a:lnTo>
                <a:lnTo>
                  <a:pt x="928" y="248"/>
                </a:lnTo>
                <a:lnTo>
                  <a:pt x="928" y="248"/>
                </a:lnTo>
                <a:lnTo>
                  <a:pt x="928" y="244"/>
                </a:lnTo>
                <a:lnTo>
                  <a:pt x="926" y="244"/>
                </a:lnTo>
                <a:lnTo>
                  <a:pt x="926" y="244"/>
                </a:lnTo>
                <a:lnTo>
                  <a:pt x="926" y="238"/>
                </a:lnTo>
                <a:lnTo>
                  <a:pt x="926" y="232"/>
                </a:lnTo>
                <a:lnTo>
                  <a:pt x="926" y="232"/>
                </a:lnTo>
                <a:lnTo>
                  <a:pt x="924" y="232"/>
                </a:lnTo>
                <a:lnTo>
                  <a:pt x="922" y="232"/>
                </a:lnTo>
                <a:lnTo>
                  <a:pt x="922" y="232"/>
                </a:lnTo>
                <a:lnTo>
                  <a:pt x="920" y="228"/>
                </a:lnTo>
                <a:lnTo>
                  <a:pt x="920" y="228"/>
                </a:lnTo>
                <a:lnTo>
                  <a:pt x="922" y="228"/>
                </a:lnTo>
                <a:lnTo>
                  <a:pt x="922" y="228"/>
                </a:lnTo>
                <a:lnTo>
                  <a:pt x="920" y="226"/>
                </a:lnTo>
                <a:lnTo>
                  <a:pt x="920" y="226"/>
                </a:lnTo>
                <a:lnTo>
                  <a:pt x="914" y="226"/>
                </a:lnTo>
                <a:lnTo>
                  <a:pt x="914" y="224"/>
                </a:lnTo>
                <a:lnTo>
                  <a:pt x="914" y="224"/>
                </a:lnTo>
                <a:lnTo>
                  <a:pt x="914" y="222"/>
                </a:lnTo>
                <a:lnTo>
                  <a:pt x="914" y="220"/>
                </a:lnTo>
                <a:lnTo>
                  <a:pt x="914" y="220"/>
                </a:lnTo>
                <a:lnTo>
                  <a:pt x="912" y="220"/>
                </a:lnTo>
                <a:lnTo>
                  <a:pt x="912" y="220"/>
                </a:lnTo>
                <a:lnTo>
                  <a:pt x="912" y="218"/>
                </a:lnTo>
                <a:lnTo>
                  <a:pt x="912" y="218"/>
                </a:lnTo>
                <a:lnTo>
                  <a:pt x="916" y="216"/>
                </a:lnTo>
                <a:lnTo>
                  <a:pt x="916" y="216"/>
                </a:lnTo>
                <a:lnTo>
                  <a:pt x="916" y="212"/>
                </a:lnTo>
                <a:lnTo>
                  <a:pt x="916" y="210"/>
                </a:lnTo>
                <a:lnTo>
                  <a:pt x="916" y="210"/>
                </a:lnTo>
                <a:lnTo>
                  <a:pt x="914" y="210"/>
                </a:lnTo>
                <a:lnTo>
                  <a:pt x="914" y="212"/>
                </a:lnTo>
                <a:lnTo>
                  <a:pt x="912" y="214"/>
                </a:lnTo>
                <a:lnTo>
                  <a:pt x="912" y="214"/>
                </a:lnTo>
                <a:lnTo>
                  <a:pt x="910" y="214"/>
                </a:lnTo>
                <a:lnTo>
                  <a:pt x="908" y="212"/>
                </a:lnTo>
                <a:lnTo>
                  <a:pt x="908" y="212"/>
                </a:lnTo>
                <a:lnTo>
                  <a:pt x="902" y="218"/>
                </a:lnTo>
                <a:lnTo>
                  <a:pt x="896" y="224"/>
                </a:lnTo>
                <a:lnTo>
                  <a:pt x="896" y="224"/>
                </a:lnTo>
                <a:lnTo>
                  <a:pt x="894" y="224"/>
                </a:lnTo>
                <a:lnTo>
                  <a:pt x="894" y="224"/>
                </a:lnTo>
                <a:lnTo>
                  <a:pt x="894" y="220"/>
                </a:lnTo>
                <a:lnTo>
                  <a:pt x="894" y="218"/>
                </a:lnTo>
                <a:lnTo>
                  <a:pt x="894" y="218"/>
                </a:lnTo>
                <a:lnTo>
                  <a:pt x="890" y="218"/>
                </a:lnTo>
                <a:lnTo>
                  <a:pt x="890" y="218"/>
                </a:lnTo>
                <a:lnTo>
                  <a:pt x="888" y="214"/>
                </a:lnTo>
                <a:lnTo>
                  <a:pt x="890" y="212"/>
                </a:lnTo>
                <a:lnTo>
                  <a:pt x="890" y="212"/>
                </a:lnTo>
                <a:lnTo>
                  <a:pt x="890" y="212"/>
                </a:lnTo>
                <a:lnTo>
                  <a:pt x="892" y="208"/>
                </a:lnTo>
                <a:lnTo>
                  <a:pt x="892" y="208"/>
                </a:lnTo>
                <a:lnTo>
                  <a:pt x="892" y="206"/>
                </a:lnTo>
                <a:lnTo>
                  <a:pt x="892" y="206"/>
                </a:lnTo>
                <a:lnTo>
                  <a:pt x="896" y="206"/>
                </a:lnTo>
                <a:lnTo>
                  <a:pt x="896" y="206"/>
                </a:lnTo>
                <a:lnTo>
                  <a:pt x="896" y="208"/>
                </a:lnTo>
                <a:lnTo>
                  <a:pt x="896" y="208"/>
                </a:lnTo>
                <a:lnTo>
                  <a:pt x="898" y="206"/>
                </a:lnTo>
                <a:lnTo>
                  <a:pt x="896" y="204"/>
                </a:lnTo>
                <a:lnTo>
                  <a:pt x="896" y="204"/>
                </a:lnTo>
                <a:lnTo>
                  <a:pt x="890" y="202"/>
                </a:lnTo>
                <a:lnTo>
                  <a:pt x="890" y="202"/>
                </a:lnTo>
                <a:lnTo>
                  <a:pt x="888" y="200"/>
                </a:lnTo>
                <a:lnTo>
                  <a:pt x="888" y="200"/>
                </a:lnTo>
                <a:lnTo>
                  <a:pt x="888" y="200"/>
                </a:lnTo>
                <a:lnTo>
                  <a:pt x="888" y="194"/>
                </a:lnTo>
                <a:lnTo>
                  <a:pt x="888" y="194"/>
                </a:lnTo>
                <a:lnTo>
                  <a:pt x="888" y="194"/>
                </a:lnTo>
                <a:lnTo>
                  <a:pt x="888" y="192"/>
                </a:lnTo>
                <a:lnTo>
                  <a:pt x="888" y="192"/>
                </a:lnTo>
                <a:lnTo>
                  <a:pt x="894" y="192"/>
                </a:lnTo>
                <a:lnTo>
                  <a:pt x="892" y="188"/>
                </a:lnTo>
                <a:lnTo>
                  <a:pt x="892" y="188"/>
                </a:lnTo>
                <a:lnTo>
                  <a:pt x="886" y="188"/>
                </a:lnTo>
                <a:lnTo>
                  <a:pt x="884" y="194"/>
                </a:lnTo>
                <a:lnTo>
                  <a:pt x="884" y="194"/>
                </a:lnTo>
                <a:lnTo>
                  <a:pt x="880" y="194"/>
                </a:lnTo>
                <a:lnTo>
                  <a:pt x="880" y="194"/>
                </a:lnTo>
                <a:lnTo>
                  <a:pt x="882" y="188"/>
                </a:lnTo>
                <a:lnTo>
                  <a:pt x="882" y="188"/>
                </a:lnTo>
                <a:lnTo>
                  <a:pt x="878" y="188"/>
                </a:lnTo>
                <a:lnTo>
                  <a:pt x="878" y="188"/>
                </a:lnTo>
                <a:lnTo>
                  <a:pt x="878" y="186"/>
                </a:lnTo>
                <a:lnTo>
                  <a:pt x="876" y="184"/>
                </a:lnTo>
                <a:lnTo>
                  <a:pt x="876" y="184"/>
                </a:lnTo>
                <a:lnTo>
                  <a:pt x="874" y="184"/>
                </a:lnTo>
                <a:lnTo>
                  <a:pt x="872" y="182"/>
                </a:lnTo>
                <a:lnTo>
                  <a:pt x="872" y="182"/>
                </a:lnTo>
                <a:lnTo>
                  <a:pt x="872" y="184"/>
                </a:lnTo>
                <a:lnTo>
                  <a:pt x="872" y="184"/>
                </a:lnTo>
                <a:lnTo>
                  <a:pt x="868" y="184"/>
                </a:lnTo>
                <a:lnTo>
                  <a:pt x="868" y="184"/>
                </a:lnTo>
                <a:lnTo>
                  <a:pt x="868" y="190"/>
                </a:lnTo>
                <a:lnTo>
                  <a:pt x="866" y="190"/>
                </a:lnTo>
                <a:lnTo>
                  <a:pt x="866" y="190"/>
                </a:lnTo>
                <a:lnTo>
                  <a:pt x="862" y="174"/>
                </a:lnTo>
                <a:lnTo>
                  <a:pt x="862" y="174"/>
                </a:lnTo>
                <a:lnTo>
                  <a:pt x="858" y="174"/>
                </a:lnTo>
                <a:lnTo>
                  <a:pt x="858" y="178"/>
                </a:lnTo>
                <a:lnTo>
                  <a:pt x="858" y="178"/>
                </a:lnTo>
                <a:lnTo>
                  <a:pt x="854" y="176"/>
                </a:lnTo>
                <a:lnTo>
                  <a:pt x="854" y="176"/>
                </a:lnTo>
                <a:lnTo>
                  <a:pt x="850" y="168"/>
                </a:lnTo>
                <a:lnTo>
                  <a:pt x="850" y="168"/>
                </a:lnTo>
                <a:lnTo>
                  <a:pt x="842" y="172"/>
                </a:lnTo>
                <a:lnTo>
                  <a:pt x="842" y="172"/>
                </a:lnTo>
                <a:lnTo>
                  <a:pt x="842" y="176"/>
                </a:lnTo>
                <a:lnTo>
                  <a:pt x="842" y="176"/>
                </a:lnTo>
                <a:lnTo>
                  <a:pt x="846" y="176"/>
                </a:lnTo>
                <a:lnTo>
                  <a:pt x="846" y="176"/>
                </a:lnTo>
                <a:lnTo>
                  <a:pt x="848" y="172"/>
                </a:lnTo>
                <a:lnTo>
                  <a:pt x="850" y="172"/>
                </a:lnTo>
                <a:lnTo>
                  <a:pt x="850" y="172"/>
                </a:lnTo>
                <a:lnTo>
                  <a:pt x="852" y="180"/>
                </a:lnTo>
                <a:lnTo>
                  <a:pt x="852" y="180"/>
                </a:lnTo>
                <a:lnTo>
                  <a:pt x="850" y="182"/>
                </a:lnTo>
                <a:lnTo>
                  <a:pt x="850" y="182"/>
                </a:lnTo>
                <a:lnTo>
                  <a:pt x="846" y="182"/>
                </a:lnTo>
                <a:lnTo>
                  <a:pt x="846" y="182"/>
                </a:lnTo>
                <a:lnTo>
                  <a:pt x="846" y="182"/>
                </a:lnTo>
                <a:lnTo>
                  <a:pt x="840" y="184"/>
                </a:lnTo>
                <a:lnTo>
                  <a:pt x="838" y="182"/>
                </a:lnTo>
                <a:lnTo>
                  <a:pt x="834" y="180"/>
                </a:lnTo>
                <a:lnTo>
                  <a:pt x="834" y="180"/>
                </a:lnTo>
                <a:lnTo>
                  <a:pt x="832" y="178"/>
                </a:lnTo>
                <a:lnTo>
                  <a:pt x="830" y="176"/>
                </a:lnTo>
                <a:lnTo>
                  <a:pt x="830" y="176"/>
                </a:lnTo>
                <a:lnTo>
                  <a:pt x="828" y="176"/>
                </a:lnTo>
                <a:lnTo>
                  <a:pt x="828" y="176"/>
                </a:lnTo>
                <a:lnTo>
                  <a:pt x="824" y="174"/>
                </a:lnTo>
                <a:lnTo>
                  <a:pt x="824" y="176"/>
                </a:lnTo>
                <a:lnTo>
                  <a:pt x="824" y="176"/>
                </a:lnTo>
                <a:lnTo>
                  <a:pt x="816" y="176"/>
                </a:lnTo>
                <a:lnTo>
                  <a:pt x="816" y="176"/>
                </a:lnTo>
                <a:lnTo>
                  <a:pt x="814" y="178"/>
                </a:lnTo>
                <a:lnTo>
                  <a:pt x="814" y="180"/>
                </a:lnTo>
                <a:lnTo>
                  <a:pt x="814" y="180"/>
                </a:lnTo>
                <a:lnTo>
                  <a:pt x="818" y="182"/>
                </a:lnTo>
                <a:lnTo>
                  <a:pt x="818" y="182"/>
                </a:lnTo>
                <a:lnTo>
                  <a:pt x="818" y="184"/>
                </a:lnTo>
                <a:lnTo>
                  <a:pt x="818" y="184"/>
                </a:lnTo>
                <a:lnTo>
                  <a:pt x="822" y="186"/>
                </a:lnTo>
                <a:lnTo>
                  <a:pt x="822" y="186"/>
                </a:lnTo>
                <a:lnTo>
                  <a:pt x="822" y="190"/>
                </a:lnTo>
                <a:lnTo>
                  <a:pt x="822" y="194"/>
                </a:lnTo>
                <a:lnTo>
                  <a:pt x="822" y="194"/>
                </a:lnTo>
                <a:lnTo>
                  <a:pt x="818" y="194"/>
                </a:lnTo>
                <a:lnTo>
                  <a:pt x="818" y="194"/>
                </a:lnTo>
                <a:lnTo>
                  <a:pt x="816" y="188"/>
                </a:lnTo>
                <a:lnTo>
                  <a:pt x="812" y="184"/>
                </a:lnTo>
                <a:lnTo>
                  <a:pt x="812" y="184"/>
                </a:lnTo>
                <a:lnTo>
                  <a:pt x="808" y="184"/>
                </a:lnTo>
                <a:lnTo>
                  <a:pt x="808" y="184"/>
                </a:lnTo>
                <a:lnTo>
                  <a:pt x="804" y="180"/>
                </a:lnTo>
                <a:lnTo>
                  <a:pt x="800" y="174"/>
                </a:lnTo>
                <a:lnTo>
                  <a:pt x="800" y="174"/>
                </a:lnTo>
                <a:lnTo>
                  <a:pt x="796" y="174"/>
                </a:lnTo>
                <a:lnTo>
                  <a:pt x="796" y="176"/>
                </a:lnTo>
                <a:lnTo>
                  <a:pt x="796" y="176"/>
                </a:lnTo>
                <a:lnTo>
                  <a:pt x="796" y="176"/>
                </a:lnTo>
                <a:lnTo>
                  <a:pt x="802" y="182"/>
                </a:lnTo>
                <a:lnTo>
                  <a:pt x="802" y="182"/>
                </a:lnTo>
                <a:lnTo>
                  <a:pt x="804" y="184"/>
                </a:lnTo>
                <a:lnTo>
                  <a:pt x="804" y="184"/>
                </a:lnTo>
                <a:lnTo>
                  <a:pt x="808" y="188"/>
                </a:lnTo>
                <a:lnTo>
                  <a:pt x="808" y="190"/>
                </a:lnTo>
                <a:lnTo>
                  <a:pt x="802" y="190"/>
                </a:lnTo>
                <a:lnTo>
                  <a:pt x="802" y="190"/>
                </a:lnTo>
                <a:lnTo>
                  <a:pt x="794" y="188"/>
                </a:lnTo>
                <a:lnTo>
                  <a:pt x="794" y="188"/>
                </a:lnTo>
                <a:lnTo>
                  <a:pt x="792" y="184"/>
                </a:lnTo>
                <a:lnTo>
                  <a:pt x="792" y="184"/>
                </a:lnTo>
                <a:lnTo>
                  <a:pt x="786" y="186"/>
                </a:lnTo>
                <a:lnTo>
                  <a:pt x="782" y="186"/>
                </a:lnTo>
                <a:lnTo>
                  <a:pt x="782" y="186"/>
                </a:lnTo>
                <a:lnTo>
                  <a:pt x="776" y="186"/>
                </a:lnTo>
                <a:lnTo>
                  <a:pt x="774" y="184"/>
                </a:lnTo>
                <a:lnTo>
                  <a:pt x="774" y="184"/>
                </a:lnTo>
                <a:lnTo>
                  <a:pt x="770" y="184"/>
                </a:lnTo>
                <a:lnTo>
                  <a:pt x="764" y="184"/>
                </a:lnTo>
                <a:lnTo>
                  <a:pt x="764" y="184"/>
                </a:lnTo>
                <a:lnTo>
                  <a:pt x="760" y="180"/>
                </a:lnTo>
                <a:lnTo>
                  <a:pt x="758" y="180"/>
                </a:lnTo>
                <a:lnTo>
                  <a:pt x="758" y="180"/>
                </a:lnTo>
                <a:lnTo>
                  <a:pt x="758" y="182"/>
                </a:lnTo>
                <a:lnTo>
                  <a:pt x="760" y="184"/>
                </a:lnTo>
                <a:lnTo>
                  <a:pt x="760" y="184"/>
                </a:lnTo>
                <a:lnTo>
                  <a:pt x="750" y="184"/>
                </a:lnTo>
                <a:lnTo>
                  <a:pt x="750" y="184"/>
                </a:lnTo>
                <a:lnTo>
                  <a:pt x="750" y="184"/>
                </a:lnTo>
                <a:lnTo>
                  <a:pt x="750" y="184"/>
                </a:lnTo>
                <a:lnTo>
                  <a:pt x="750" y="182"/>
                </a:lnTo>
                <a:lnTo>
                  <a:pt x="750" y="180"/>
                </a:lnTo>
                <a:lnTo>
                  <a:pt x="750" y="180"/>
                </a:lnTo>
                <a:lnTo>
                  <a:pt x="742" y="174"/>
                </a:lnTo>
                <a:lnTo>
                  <a:pt x="742" y="174"/>
                </a:lnTo>
                <a:lnTo>
                  <a:pt x="742" y="172"/>
                </a:lnTo>
                <a:lnTo>
                  <a:pt x="742" y="172"/>
                </a:lnTo>
                <a:lnTo>
                  <a:pt x="738" y="170"/>
                </a:lnTo>
                <a:lnTo>
                  <a:pt x="736" y="172"/>
                </a:lnTo>
                <a:lnTo>
                  <a:pt x="732" y="176"/>
                </a:lnTo>
                <a:lnTo>
                  <a:pt x="732" y="176"/>
                </a:lnTo>
                <a:lnTo>
                  <a:pt x="726" y="174"/>
                </a:lnTo>
                <a:lnTo>
                  <a:pt x="726" y="172"/>
                </a:lnTo>
                <a:lnTo>
                  <a:pt x="726" y="172"/>
                </a:lnTo>
                <a:lnTo>
                  <a:pt x="728" y="172"/>
                </a:lnTo>
                <a:lnTo>
                  <a:pt x="728" y="172"/>
                </a:lnTo>
                <a:lnTo>
                  <a:pt x="722" y="168"/>
                </a:lnTo>
                <a:lnTo>
                  <a:pt x="722" y="168"/>
                </a:lnTo>
                <a:lnTo>
                  <a:pt x="720" y="168"/>
                </a:lnTo>
                <a:lnTo>
                  <a:pt x="720" y="168"/>
                </a:lnTo>
                <a:lnTo>
                  <a:pt x="720" y="168"/>
                </a:lnTo>
                <a:lnTo>
                  <a:pt x="720" y="168"/>
                </a:lnTo>
                <a:lnTo>
                  <a:pt x="716" y="162"/>
                </a:lnTo>
                <a:lnTo>
                  <a:pt x="716" y="162"/>
                </a:lnTo>
                <a:lnTo>
                  <a:pt x="716" y="158"/>
                </a:lnTo>
                <a:lnTo>
                  <a:pt x="716" y="158"/>
                </a:lnTo>
                <a:lnTo>
                  <a:pt x="724" y="158"/>
                </a:lnTo>
                <a:lnTo>
                  <a:pt x="724" y="154"/>
                </a:lnTo>
                <a:lnTo>
                  <a:pt x="724" y="154"/>
                </a:lnTo>
                <a:lnTo>
                  <a:pt x="714" y="156"/>
                </a:lnTo>
                <a:lnTo>
                  <a:pt x="704" y="154"/>
                </a:lnTo>
                <a:lnTo>
                  <a:pt x="704" y="154"/>
                </a:lnTo>
                <a:lnTo>
                  <a:pt x="704" y="154"/>
                </a:lnTo>
                <a:lnTo>
                  <a:pt x="702" y="150"/>
                </a:lnTo>
                <a:lnTo>
                  <a:pt x="700" y="148"/>
                </a:lnTo>
                <a:lnTo>
                  <a:pt x="700" y="148"/>
                </a:lnTo>
                <a:lnTo>
                  <a:pt x="702" y="148"/>
                </a:lnTo>
                <a:lnTo>
                  <a:pt x="702" y="146"/>
                </a:lnTo>
                <a:lnTo>
                  <a:pt x="702" y="146"/>
                </a:lnTo>
                <a:lnTo>
                  <a:pt x="692" y="140"/>
                </a:lnTo>
                <a:lnTo>
                  <a:pt x="692" y="140"/>
                </a:lnTo>
                <a:lnTo>
                  <a:pt x="692" y="136"/>
                </a:lnTo>
                <a:lnTo>
                  <a:pt x="692" y="136"/>
                </a:lnTo>
                <a:lnTo>
                  <a:pt x="698" y="130"/>
                </a:lnTo>
                <a:lnTo>
                  <a:pt x="698" y="130"/>
                </a:lnTo>
                <a:lnTo>
                  <a:pt x="696" y="126"/>
                </a:lnTo>
                <a:lnTo>
                  <a:pt x="696" y="124"/>
                </a:lnTo>
                <a:lnTo>
                  <a:pt x="696" y="124"/>
                </a:lnTo>
                <a:lnTo>
                  <a:pt x="702" y="118"/>
                </a:lnTo>
                <a:lnTo>
                  <a:pt x="708" y="110"/>
                </a:lnTo>
                <a:lnTo>
                  <a:pt x="708" y="106"/>
                </a:lnTo>
                <a:lnTo>
                  <a:pt x="708" y="106"/>
                </a:lnTo>
                <a:lnTo>
                  <a:pt x="714" y="102"/>
                </a:lnTo>
                <a:lnTo>
                  <a:pt x="714" y="102"/>
                </a:lnTo>
                <a:lnTo>
                  <a:pt x="714" y="96"/>
                </a:lnTo>
                <a:lnTo>
                  <a:pt x="714" y="96"/>
                </a:lnTo>
                <a:lnTo>
                  <a:pt x="720" y="90"/>
                </a:lnTo>
                <a:lnTo>
                  <a:pt x="720" y="88"/>
                </a:lnTo>
                <a:lnTo>
                  <a:pt x="720" y="88"/>
                </a:lnTo>
                <a:lnTo>
                  <a:pt x="724" y="90"/>
                </a:lnTo>
                <a:lnTo>
                  <a:pt x="728" y="90"/>
                </a:lnTo>
                <a:lnTo>
                  <a:pt x="728" y="90"/>
                </a:lnTo>
                <a:lnTo>
                  <a:pt x="736" y="86"/>
                </a:lnTo>
                <a:lnTo>
                  <a:pt x="736" y="86"/>
                </a:lnTo>
                <a:lnTo>
                  <a:pt x="740" y="88"/>
                </a:lnTo>
                <a:lnTo>
                  <a:pt x="744" y="88"/>
                </a:lnTo>
                <a:lnTo>
                  <a:pt x="748" y="86"/>
                </a:lnTo>
                <a:lnTo>
                  <a:pt x="748" y="86"/>
                </a:lnTo>
                <a:lnTo>
                  <a:pt x="758" y="86"/>
                </a:lnTo>
                <a:lnTo>
                  <a:pt x="768" y="86"/>
                </a:lnTo>
                <a:lnTo>
                  <a:pt x="768" y="86"/>
                </a:lnTo>
                <a:lnTo>
                  <a:pt x="778" y="88"/>
                </a:lnTo>
                <a:lnTo>
                  <a:pt x="778" y="88"/>
                </a:lnTo>
                <a:lnTo>
                  <a:pt x="778" y="90"/>
                </a:lnTo>
                <a:lnTo>
                  <a:pt x="778" y="90"/>
                </a:lnTo>
                <a:lnTo>
                  <a:pt x="776" y="90"/>
                </a:lnTo>
                <a:lnTo>
                  <a:pt x="776" y="92"/>
                </a:lnTo>
                <a:lnTo>
                  <a:pt x="776" y="92"/>
                </a:lnTo>
                <a:lnTo>
                  <a:pt x="766" y="94"/>
                </a:lnTo>
                <a:lnTo>
                  <a:pt x="756" y="96"/>
                </a:lnTo>
                <a:lnTo>
                  <a:pt x="748" y="100"/>
                </a:lnTo>
                <a:lnTo>
                  <a:pt x="746" y="104"/>
                </a:lnTo>
                <a:lnTo>
                  <a:pt x="744" y="108"/>
                </a:lnTo>
                <a:lnTo>
                  <a:pt x="744" y="108"/>
                </a:lnTo>
                <a:lnTo>
                  <a:pt x="742" y="124"/>
                </a:lnTo>
                <a:lnTo>
                  <a:pt x="744" y="132"/>
                </a:lnTo>
                <a:lnTo>
                  <a:pt x="746" y="138"/>
                </a:lnTo>
                <a:lnTo>
                  <a:pt x="746" y="138"/>
                </a:lnTo>
                <a:lnTo>
                  <a:pt x="748" y="140"/>
                </a:lnTo>
                <a:lnTo>
                  <a:pt x="752" y="142"/>
                </a:lnTo>
                <a:lnTo>
                  <a:pt x="752" y="142"/>
                </a:lnTo>
                <a:lnTo>
                  <a:pt x="754" y="148"/>
                </a:lnTo>
                <a:lnTo>
                  <a:pt x="754" y="148"/>
                </a:lnTo>
                <a:lnTo>
                  <a:pt x="750" y="148"/>
                </a:lnTo>
                <a:lnTo>
                  <a:pt x="750" y="148"/>
                </a:lnTo>
                <a:lnTo>
                  <a:pt x="746" y="150"/>
                </a:lnTo>
                <a:lnTo>
                  <a:pt x="742" y="154"/>
                </a:lnTo>
                <a:lnTo>
                  <a:pt x="742" y="154"/>
                </a:lnTo>
                <a:lnTo>
                  <a:pt x="752" y="152"/>
                </a:lnTo>
                <a:lnTo>
                  <a:pt x="762" y="154"/>
                </a:lnTo>
                <a:lnTo>
                  <a:pt x="762" y="154"/>
                </a:lnTo>
                <a:lnTo>
                  <a:pt x="760" y="144"/>
                </a:lnTo>
                <a:lnTo>
                  <a:pt x="760" y="144"/>
                </a:lnTo>
                <a:lnTo>
                  <a:pt x="764" y="140"/>
                </a:lnTo>
                <a:lnTo>
                  <a:pt x="762" y="138"/>
                </a:lnTo>
                <a:lnTo>
                  <a:pt x="760" y="136"/>
                </a:lnTo>
                <a:lnTo>
                  <a:pt x="754" y="134"/>
                </a:lnTo>
                <a:lnTo>
                  <a:pt x="754" y="134"/>
                </a:lnTo>
                <a:lnTo>
                  <a:pt x="754" y="128"/>
                </a:lnTo>
                <a:lnTo>
                  <a:pt x="754" y="128"/>
                </a:lnTo>
                <a:lnTo>
                  <a:pt x="762" y="128"/>
                </a:lnTo>
                <a:lnTo>
                  <a:pt x="768" y="132"/>
                </a:lnTo>
                <a:lnTo>
                  <a:pt x="768" y="132"/>
                </a:lnTo>
                <a:lnTo>
                  <a:pt x="768" y="126"/>
                </a:lnTo>
                <a:lnTo>
                  <a:pt x="768" y="122"/>
                </a:lnTo>
                <a:lnTo>
                  <a:pt x="768" y="122"/>
                </a:lnTo>
                <a:lnTo>
                  <a:pt x="766" y="122"/>
                </a:lnTo>
                <a:lnTo>
                  <a:pt x="764" y="122"/>
                </a:lnTo>
                <a:lnTo>
                  <a:pt x="758" y="122"/>
                </a:lnTo>
                <a:lnTo>
                  <a:pt x="758" y="122"/>
                </a:lnTo>
                <a:lnTo>
                  <a:pt x="756" y="120"/>
                </a:lnTo>
                <a:lnTo>
                  <a:pt x="756" y="120"/>
                </a:lnTo>
                <a:lnTo>
                  <a:pt x="756" y="110"/>
                </a:lnTo>
                <a:lnTo>
                  <a:pt x="756" y="110"/>
                </a:lnTo>
                <a:lnTo>
                  <a:pt x="756" y="108"/>
                </a:lnTo>
                <a:lnTo>
                  <a:pt x="760" y="106"/>
                </a:lnTo>
                <a:lnTo>
                  <a:pt x="760" y="106"/>
                </a:lnTo>
                <a:lnTo>
                  <a:pt x="762" y="108"/>
                </a:lnTo>
                <a:lnTo>
                  <a:pt x="766" y="108"/>
                </a:lnTo>
                <a:lnTo>
                  <a:pt x="766" y="108"/>
                </a:lnTo>
                <a:lnTo>
                  <a:pt x="766" y="106"/>
                </a:lnTo>
                <a:lnTo>
                  <a:pt x="766" y="106"/>
                </a:lnTo>
                <a:lnTo>
                  <a:pt x="764" y="106"/>
                </a:lnTo>
                <a:lnTo>
                  <a:pt x="764" y="106"/>
                </a:lnTo>
                <a:lnTo>
                  <a:pt x="766" y="102"/>
                </a:lnTo>
                <a:lnTo>
                  <a:pt x="766" y="102"/>
                </a:lnTo>
                <a:lnTo>
                  <a:pt x="766" y="100"/>
                </a:lnTo>
                <a:lnTo>
                  <a:pt x="766" y="100"/>
                </a:lnTo>
                <a:lnTo>
                  <a:pt x="764" y="100"/>
                </a:lnTo>
                <a:lnTo>
                  <a:pt x="764" y="100"/>
                </a:lnTo>
                <a:lnTo>
                  <a:pt x="764" y="100"/>
                </a:lnTo>
                <a:lnTo>
                  <a:pt x="770" y="98"/>
                </a:lnTo>
                <a:lnTo>
                  <a:pt x="772" y="98"/>
                </a:lnTo>
                <a:lnTo>
                  <a:pt x="772" y="98"/>
                </a:lnTo>
                <a:lnTo>
                  <a:pt x="772" y="96"/>
                </a:lnTo>
                <a:lnTo>
                  <a:pt x="782" y="94"/>
                </a:lnTo>
                <a:lnTo>
                  <a:pt x="782" y="94"/>
                </a:lnTo>
                <a:lnTo>
                  <a:pt x="782" y="92"/>
                </a:lnTo>
                <a:lnTo>
                  <a:pt x="782" y="90"/>
                </a:lnTo>
                <a:lnTo>
                  <a:pt x="782" y="90"/>
                </a:lnTo>
                <a:lnTo>
                  <a:pt x="788" y="90"/>
                </a:lnTo>
                <a:lnTo>
                  <a:pt x="788" y="90"/>
                </a:lnTo>
                <a:lnTo>
                  <a:pt x="792" y="86"/>
                </a:lnTo>
                <a:lnTo>
                  <a:pt x="792" y="86"/>
                </a:lnTo>
                <a:lnTo>
                  <a:pt x="792" y="86"/>
                </a:lnTo>
                <a:lnTo>
                  <a:pt x="798" y="86"/>
                </a:lnTo>
                <a:lnTo>
                  <a:pt x="804" y="88"/>
                </a:lnTo>
                <a:lnTo>
                  <a:pt x="804" y="88"/>
                </a:lnTo>
                <a:lnTo>
                  <a:pt x="808" y="90"/>
                </a:lnTo>
                <a:lnTo>
                  <a:pt x="810" y="92"/>
                </a:lnTo>
                <a:lnTo>
                  <a:pt x="806" y="100"/>
                </a:lnTo>
                <a:lnTo>
                  <a:pt x="806" y="100"/>
                </a:lnTo>
                <a:lnTo>
                  <a:pt x="806" y="102"/>
                </a:lnTo>
                <a:lnTo>
                  <a:pt x="808" y="102"/>
                </a:lnTo>
                <a:lnTo>
                  <a:pt x="808" y="102"/>
                </a:lnTo>
                <a:lnTo>
                  <a:pt x="808" y="104"/>
                </a:lnTo>
                <a:lnTo>
                  <a:pt x="808" y="104"/>
                </a:lnTo>
                <a:lnTo>
                  <a:pt x="804" y="106"/>
                </a:lnTo>
                <a:lnTo>
                  <a:pt x="804" y="110"/>
                </a:lnTo>
                <a:lnTo>
                  <a:pt x="804" y="114"/>
                </a:lnTo>
                <a:lnTo>
                  <a:pt x="806" y="114"/>
                </a:lnTo>
                <a:lnTo>
                  <a:pt x="806" y="114"/>
                </a:lnTo>
                <a:lnTo>
                  <a:pt x="808" y="116"/>
                </a:lnTo>
                <a:lnTo>
                  <a:pt x="808" y="118"/>
                </a:lnTo>
                <a:lnTo>
                  <a:pt x="810" y="118"/>
                </a:lnTo>
                <a:lnTo>
                  <a:pt x="810" y="118"/>
                </a:lnTo>
                <a:lnTo>
                  <a:pt x="808" y="124"/>
                </a:lnTo>
                <a:lnTo>
                  <a:pt x="808" y="126"/>
                </a:lnTo>
                <a:lnTo>
                  <a:pt x="808" y="126"/>
                </a:lnTo>
                <a:lnTo>
                  <a:pt x="812" y="126"/>
                </a:lnTo>
                <a:lnTo>
                  <a:pt x="812" y="128"/>
                </a:lnTo>
                <a:lnTo>
                  <a:pt x="812" y="130"/>
                </a:lnTo>
                <a:lnTo>
                  <a:pt x="812" y="130"/>
                </a:lnTo>
                <a:lnTo>
                  <a:pt x="810" y="132"/>
                </a:lnTo>
                <a:lnTo>
                  <a:pt x="810" y="136"/>
                </a:lnTo>
                <a:lnTo>
                  <a:pt x="810" y="136"/>
                </a:lnTo>
                <a:lnTo>
                  <a:pt x="804" y="136"/>
                </a:lnTo>
                <a:lnTo>
                  <a:pt x="804" y="138"/>
                </a:lnTo>
                <a:lnTo>
                  <a:pt x="804" y="138"/>
                </a:lnTo>
                <a:lnTo>
                  <a:pt x="810" y="140"/>
                </a:lnTo>
                <a:lnTo>
                  <a:pt x="816" y="140"/>
                </a:lnTo>
                <a:lnTo>
                  <a:pt x="816" y="140"/>
                </a:lnTo>
                <a:lnTo>
                  <a:pt x="818" y="136"/>
                </a:lnTo>
                <a:lnTo>
                  <a:pt x="818" y="136"/>
                </a:lnTo>
                <a:lnTo>
                  <a:pt x="814" y="132"/>
                </a:lnTo>
                <a:lnTo>
                  <a:pt x="814" y="132"/>
                </a:lnTo>
                <a:lnTo>
                  <a:pt x="818" y="128"/>
                </a:lnTo>
                <a:lnTo>
                  <a:pt x="822" y="124"/>
                </a:lnTo>
                <a:lnTo>
                  <a:pt x="824" y="122"/>
                </a:lnTo>
                <a:lnTo>
                  <a:pt x="824" y="122"/>
                </a:lnTo>
                <a:lnTo>
                  <a:pt x="826" y="124"/>
                </a:lnTo>
                <a:lnTo>
                  <a:pt x="828" y="124"/>
                </a:lnTo>
                <a:lnTo>
                  <a:pt x="828" y="126"/>
                </a:lnTo>
                <a:lnTo>
                  <a:pt x="826" y="126"/>
                </a:lnTo>
                <a:lnTo>
                  <a:pt x="828" y="130"/>
                </a:lnTo>
                <a:lnTo>
                  <a:pt x="828" y="130"/>
                </a:lnTo>
                <a:lnTo>
                  <a:pt x="836" y="126"/>
                </a:lnTo>
                <a:lnTo>
                  <a:pt x="838" y="128"/>
                </a:lnTo>
                <a:lnTo>
                  <a:pt x="836" y="136"/>
                </a:lnTo>
                <a:lnTo>
                  <a:pt x="836" y="136"/>
                </a:lnTo>
                <a:lnTo>
                  <a:pt x="836" y="138"/>
                </a:lnTo>
                <a:lnTo>
                  <a:pt x="836" y="138"/>
                </a:lnTo>
                <a:lnTo>
                  <a:pt x="836" y="140"/>
                </a:lnTo>
                <a:lnTo>
                  <a:pt x="836" y="140"/>
                </a:lnTo>
                <a:lnTo>
                  <a:pt x="836" y="140"/>
                </a:lnTo>
                <a:lnTo>
                  <a:pt x="836" y="140"/>
                </a:lnTo>
                <a:lnTo>
                  <a:pt x="838" y="140"/>
                </a:lnTo>
                <a:lnTo>
                  <a:pt x="838" y="140"/>
                </a:lnTo>
                <a:lnTo>
                  <a:pt x="840" y="140"/>
                </a:lnTo>
                <a:lnTo>
                  <a:pt x="840" y="140"/>
                </a:lnTo>
                <a:lnTo>
                  <a:pt x="840" y="138"/>
                </a:lnTo>
                <a:lnTo>
                  <a:pt x="838" y="138"/>
                </a:lnTo>
                <a:lnTo>
                  <a:pt x="838" y="138"/>
                </a:lnTo>
                <a:lnTo>
                  <a:pt x="838" y="136"/>
                </a:lnTo>
                <a:lnTo>
                  <a:pt x="838" y="134"/>
                </a:lnTo>
                <a:lnTo>
                  <a:pt x="838" y="136"/>
                </a:lnTo>
                <a:lnTo>
                  <a:pt x="838" y="136"/>
                </a:lnTo>
                <a:lnTo>
                  <a:pt x="840" y="132"/>
                </a:lnTo>
                <a:lnTo>
                  <a:pt x="840" y="132"/>
                </a:lnTo>
                <a:lnTo>
                  <a:pt x="844" y="132"/>
                </a:lnTo>
                <a:lnTo>
                  <a:pt x="844" y="132"/>
                </a:lnTo>
                <a:lnTo>
                  <a:pt x="844" y="130"/>
                </a:lnTo>
                <a:lnTo>
                  <a:pt x="842" y="128"/>
                </a:lnTo>
                <a:lnTo>
                  <a:pt x="842" y="124"/>
                </a:lnTo>
                <a:lnTo>
                  <a:pt x="842" y="124"/>
                </a:lnTo>
                <a:lnTo>
                  <a:pt x="848" y="124"/>
                </a:lnTo>
                <a:lnTo>
                  <a:pt x="848" y="124"/>
                </a:lnTo>
                <a:lnTo>
                  <a:pt x="850" y="126"/>
                </a:lnTo>
                <a:lnTo>
                  <a:pt x="854" y="128"/>
                </a:lnTo>
                <a:lnTo>
                  <a:pt x="854" y="128"/>
                </a:lnTo>
                <a:lnTo>
                  <a:pt x="858" y="128"/>
                </a:lnTo>
                <a:lnTo>
                  <a:pt x="858" y="128"/>
                </a:lnTo>
                <a:lnTo>
                  <a:pt x="860" y="128"/>
                </a:lnTo>
                <a:lnTo>
                  <a:pt x="860" y="130"/>
                </a:lnTo>
                <a:lnTo>
                  <a:pt x="860" y="130"/>
                </a:lnTo>
                <a:lnTo>
                  <a:pt x="862" y="128"/>
                </a:lnTo>
                <a:lnTo>
                  <a:pt x="862" y="128"/>
                </a:lnTo>
                <a:lnTo>
                  <a:pt x="858" y="126"/>
                </a:lnTo>
                <a:lnTo>
                  <a:pt x="850" y="122"/>
                </a:lnTo>
                <a:lnTo>
                  <a:pt x="850" y="122"/>
                </a:lnTo>
                <a:lnTo>
                  <a:pt x="846" y="120"/>
                </a:lnTo>
                <a:lnTo>
                  <a:pt x="844" y="116"/>
                </a:lnTo>
                <a:lnTo>
                  <a:pt x="846" y="114"/>
                </a:lnTo>
                <a:lnTo>
                  <a:pt x="852" y="112"/>
                </a:lnTo>
                <a:lnTo>
                  <a:pt x="852" y="112"/>
                </a:lnTo>
                <a:lnTo>
                  <a:pt x="858" y="112"/>
                </a:lnTo>
                <a:lnTo>
                  <a:pt x="864" y="112"/>
                </a:lnTo>
                <a:lnTo>
                  <a:pt x="864" y="112"/>
                </a:lnTo>
                <a:lnTo>
                  <a:pt x="866" y="116"/>
                </a:lnTo>
                <a:lnTo>
                  <a:pt x="866" y="116"/>
                </a:lnTo>
                <a:lnTo>
                  <a:pt x="876" y="118"/>
                </a:lnTo>
                <a:lnTo>
                  <a:pt x="876" y="118"/>
                </a:lnTo>
                <a:lnTo>
                  <a:pt x="880" y="120"/>
                </a:lnTo>
                <a:lnTo>
                  <a:pt x="884" y="122"/>
                </a:lnTo>
                <a:lnTo>
                  <a:pt x="884" y="122"/>
                </a:lnTo>
                <a:lnTo>
                  <a:pt x="888" y="120"/>
                </a:lnTo>
                <a:lnTo>
                  <a:pt x="892" y="118"/>
                </a:lnTo>
                <a:lnTo>
                  <a:pt x="892" y="118"/>
                </a:lnTo>
                <a:lnTo>
                  <a:pt x="896" y="120"/>
                </a:lnTo>
                <a:lnTo>
                  <a:pt x="896" y="120"/>
                </a:lnTo>
                <a:lnTo>
                  <a:pt x="904" y="118"/>
                </a:lnTo>
                <a:lnTo>
                  <a:pt x="904" y="118"/>
                </a:lnTo>
                <a:lnTo>
                  <a:pt x="908" y="124"/>
                </a:lnTo>
                <a:lnTo>
                  <a:pt x="908" y="124"/>
                </a:lnTo>
                <a:lnTo>
                  <a:pt x="908" y="124"/>
                </a:lnTo>
                <a:lnTo>
                  <a:pt x="908" y="130"/>
                </a:lnTo>
                <a:lnTo>
                  <a:pt x="908" y="130"/>
                </a:lnTo>
                <a:lnTo>
                  <a:pt x="904" y="130"/>
                </a:lnTo>
                <a:lnTo>
                  <a:pt x="904" y="130"/>
                </a:lnTo>
                <a:lnTo>
                  <a:pt x="910" y="130"/>
                </a:lnTo>
                <a:lnTo>
                  <a:pt x="912" y="132"/>
                </a:lnTo>
                <a:lnTo>
                  <a:pt x="914" y="142"/>
                </a:lnTo>
                <a:lnTo>
                  <a:pt x="914" y="142"/>
                </a:lnTo>
                <a:lnTo>
                  <a:pt x="906" y="144"/>
                </a:lnTo>
                <a:lnTo>
                  <a:pt x="906" y="144"/>
                </a:lnTo>
                <a:lnTo>
                  <a:pt x="906" y="146"/>
                </a:lnTo>
                <a:lnTo>
                  <a:pt x="906" y="148"/>
                </a:lnTo>
                <a:lnTo>
                  <a:pt x="906" y="148"/>
                </a:lnTo>
                <a:lnTo>
                  <a:pt x="910" y="148"/>
                </a:lnTo>
                <a:lnTo>
                  <a:pt x="910" y="148"/>
                </a:lnTo>
                <a:lnTo>
                  <a:pt x="910" y="150"/>
                </a:lnTo>
                <a:lnTo>
                  <a:pt x="910" y="150"/>
                </a:lnTo>
                <a:lnTo>
                  <a:pt x="910" y="150"/>
                </a:lnTo>
                <a:lnTo>
                  <a:pt x="910" y="150"/>
                </a:lnTo>
                <a:lnTo>
                  <a:pt x="908" y="152"/>
                </a:lnTo>
                <a:lnTo>
                  <a:pt x="908" y="152"/>
                </a:lnTo>
                <a:lnTo>
                  <a:pt x="910" y="154"/>
                </a:lnTo>
                <a:lnTo>
                  <a:pt x="910" y="154"/>
                </a:lnTo>
                <a:lnTo>
                  <a:pt x="914" y="154"/>
                </a:lnTo>
                <a:lnTo>
                  <a:pt x="914" y="154"/>
                </a:lnTo>
                <a:lnTo>
                  <a:pt x="916" y="148"/>
                </a:lnTo>
                <a:lnTo>
                  <a:pt x="916" y="148"/>
                </a:lnTo>
                <a:lnTo>
                  <a:pt x="918" y="144"/>
                </a:lnTo>
                <a:lnTo>
                  <a:pt x="920" y="146"/>
                </a:lnTo>
                <a:lnTo>
                  <a:pt x="922" y="156"/>
                </a:lnTo>
                <a:lnTo>
                  <a:pt x="922" y="156"/>
                </a:lnTo>
                <a:lnTo>
                  <a:pt x="924" y="152"/>
                </a:lnTo>
                <a:lnTo>
                  <a:pt x="924" y="152"/>
                </a:lnTo>
                <a:lnTo>
                  <a:pt x="926" y="154"/>
                </a:lnTo>
                <a:lnTo>
                  <a:pt x="928" y="154"/>
                </a:lnTo>
                <a:lnTo>
                  <a:pt x="928" y="154"/>
                </a:lnTo>
                <a:lnTo>
                  <a:pt x="928" y="156"/>
                </a:lnTo>
                <a:lnTo>
                  <a:pt x="928" y="156"/>
                </a:lnTo>
                <a:lnTo>
                  <a:pt x="930" y="156"/>
                </a:lnTo>
                <a:lnTo>
                  <a:pt x="930" y="156"/>
                </a:lnTo>
                <a:lnTo>
                  <a:pt x="930" y="150"/>
                </a:lnTo>
                <a:lnTo>
                  <a:pt x="930" y="146"/>
                </a:lnTo>
                <a:lnTo>
                  <a:pt x="934" y="146"/>
                </a:lnTo>
                <a:lnTo>
                  <a:pt x="934" y="146"/>
                </a:lnTo>
                <a:lnTo>
                  <a:pt x="936" y="146"/>
                </a:lnTo>
                <a:lnTo>
                  <a:pt x="936" y="146"/>
                </a:lnTo>
                <a:lnTo>
                  <a:pt x="936" y="146"/>
                </a:lnTo>
                <a:lnTo>
                  <a:pt x="938" y="150"/>
                </a:lnTo>
                <a:lnTo>
                  <a:pt x="940" y="152"/>
                </a:lnTo>
                <a:lnTo>
                  <a:pt x="940" y="152"/>
                </a:lnTo>
                <a:lnTo>
                  <a:pt x="946" y="154"/>
                </a:lnTo>
                <a:lnTo>
                  <a:pt x="946" y="154"/>
                </a:lnTo>
                <a:lnTo>
                  <a:pt x="946" y="154"/>
                </a:lnTo>
                <a:lnTo>
                  <a:pt x="948" y="154"/>
                </a:lnTo>
                <a:lnTo>
                  <a:pt x="948" y="156"/>
                </a:lnTo>
                <a:lnTo>
                  <a:pt x="948" y="156"/>
                </a:lnTo>
                <a:lnTo>
                  <a:pt x="942" y="158"/>
                </a:lnTo>
                <a:lnTo>
                  <a:pt x="942" y="158"/>
                </a:lnTo>
                <a:lnTo>
                  <a:pt x="940" y="162"/>
                </a:lnTo>
                <a:lnTo>
                  <a:pt x="946" y="162"/>
                </a:lnTo>
                <a:lnTo>
                  <a:pt x="946" y="162"/>
                </a:lnTo>
                <a:lnTo>
                  <a:pt x="948" y="160"/>
                </a:lnTo>
                <a:lnTo>
                  <a:pt x="950" y="160"/>
                </a:lnTo>
                <a:lnTo>
                  <a:pt x="950" y="160"/>
                </a:lnTo>
                <a:lnTo>
                  <a:pt x="948" y="156"/>
                </a:lnTo>
                <a:lnTo>
                  <a:pt x="950" y="156"/>
                </a:lnTo>
                <a:lnTo>
                  <a:pt x="950" y="156"/>
                </a:lnTo>
                <a:lnTo>
                  <a:pt x="950" y="156"/>
                </a:lnTo>
                <a:lnTo>
                  <a:pt x="952" y="156"/>
                </a:lnTo>
                <a:lnTo>
                  <a:pt x="952" y="156"/>
                </a:lnTo>
                <a:lnTo>
                  <a:pt x="950" y="158"/>
                </a:lnTo>
                <a:lnTo>
                  <a:pt x="950" y="158"/>
                </a:lnTo>
                <a:lnTo>
                  <a:pt x="954" y="158"/>
                </a:lnTo>
                <a:lnTo>
                  <a:pt x="954" y="158"/>
                </a:lnTo>
                <a:lnTo>
                  <a:pt x="956" y="156"/>
                </a:lnTo>
                <a:lnTo>
                  <a:pt x="958" y="162"/>
                </a:lnTo>
                <a:lnTo>
                  <a:pt x="958" y="162"/>
                </a:lnTo>
                <a:lnTo>
                  <a:pt x="954" y="164"/>
                </a:lnTo>
                <a:lnTo>
                  <a:pt x="954" y="164"/>
                </a:lnTo>
                <a:lnTo>
                  <a:pt x="952" y="164"/>
                </a:lnTo>
                <a:lnTo>
                  <a:pt x="952" y="164"/>
                </a:lnTo>
                <a:lnTo>
                  <a:pt x="952" y="170"/>
                </a:lnTo>
                <a:lnTo>
                  <a:pt x="954" y="170"/>
                </a:lnTo>
                <a:lnTo>
                  <a:pt x="954" y="168"/>
                </a:lnTo>
                <a:lnTo>
                  <a:pt x="954" y="168"/>
                </a:lnTo>
                <a:lnTo>
                  <a:pt x="954" y="164"/>
                </a:lnTo>
                <a:lnTo>
                  <a:pt x="958" y="164"/>
                </a:lnTo>
                <a:lnTo>
                  <a:pt x="964" y="164"/>
                </a:lnTo>
                <a:lnTo>
                  <a:pt x="964" y="164"/>
                </a:lnTo>
                <a:lnTo>
                  <a:pt x="962" y="168"/>
                </a:lnTo>
                <a:lnTo>
                  <a:pt x="962" y="168"/>
                </a:lnTo>
                <a:lnTo>
                  <a:pt x="960" y="168"/>
                </a:lnTo>
                <a:lnTo>
                  <a:pt x="960" y="168"/>
                </a:lnTo>
                <a:lnTo>
                  <a:pt x="962" y="168"/>
                </a:lnTo>
                <a:lnTo>
                  <a:pt x="962" y="168"/>
                </a:lnTo>
                <a:lnTo>
                  <a:pt x="966" y="164"/>
                </a:lnTo>
                <a:lnTo>
                  <a:pt x="966" y="164"/>
                </a:lnTo>
                <a:lnTo>
                  <a:pt x="972" y="164"/>
                </a:lnTo>
                <a:lnTo>
                  <a:pt x="972" y="164"/>
                </a:lnTo>
                <a:lnTo>
                  <a:pt x="974" y="170"/>
                </a:lnTo>
                <a:lnTo>
                  <a:pt x="974" y="170"/>
                </a:lnTo>
                <a:lnTo>
                  <a:pt x="978" y="170"/>
                </a:lnTo>
                <a:lnTo>
                  <a:pt x="982" y="170"/>
                </a:lnTo>
                <a:lnTo>
                  <a:pt x="982" y="170"/>
                </a:lnTo>
                <a:lnTo>
                  <a:pt x="982" y="174"/>
                </a:lnTo>
                <a:lnTo>
                  <a:pt x="982" y="174"/>
                </a:lnTo>
                <a:lnTo>
                  <a:pt x="976" y="172"/>
                </a:lnTo>
                <a:lnTo>
                  <a:pt x="976" y="172"/>
                </a:lnTo>
                <a:lnTo>
                  <a:pt x="976" y="176"/>
                </a:lnTo>
                <a:lnTo>
                  <a:pt x="976" y="176"/>
                </a:lnTo>
                <a:lnTo>
                  <a:pt x="972" y="176"/>
                </a:lnTo>
                <a:lnTo>
                  <a:pt x="972" y="176"/>
                </a:lnTo>
                <a:lnTo>
                  <a:pt x="970" y="178"/>
                </a:lnTo>
                <a:lnTo>
                  <a:pt x="970" y="178"/>
                </a:lnTo>
                <a:lnTo>
                  <a:pt x="976" y="178"/>
                </a:lnTo>
                <a:lnTo>
                  <a:pt x="976" y="178"/>
                </a:lnTo>
                <a:lnTo>
                  <a:pt x="978" y="180"/>
                </a:lnTo>
                <a:lnTo>
                  <a:pt x="978" y="182"/>
                </a:lnTo>
                <a:lnTo>
                  <a:pt x="978" y="182"/>
                </a:lnTo>
                <a:lnTo>
                  <a:pt x="980" y="182"/>
                </a:lnTo>
                <a:lnTo>
                  <a:pt x="980" y="182"/>
                </a:lnTo>
                <a:lnTo>
                  <a:pt x="986" y="176"/>
                </a:lnTo>
                <a:lnTo>
                  <a:pt x="986" y="176"/>
                </a:lnTo>
                <a:lnTo>
                  <a:pt x="986" y="174"/>
                </a:lnTo>
                <a:lnTo>
                  <a:pt x="986" y="174"/>
                </a:lnTo>
                <a:lnTo>
                  <a:pt x="988" y="174"/>
                </a:lnTo>
                <a:lnTo>
                  <a:pt x="988" y="174"/>
                </a:lnTo>
                <a:lnTo>
                  <a:pt x="990" y="178"/>
                </a:lnTo>
                <a:lnTo>
                  <a:pt x="990" y="178"/>
                </a:lnTo>
                <a:lnTo>
                  <a:pt x="994" y="180"/>
                </a:lnTo>
                <a:lnTo>
                  <a:pt x="994" y="180"/>
                </a:lnTo>
                <a:lnTo>
                  <a:pt x="994" y="184"/>
                </a:lnTo>
                <a:lnTo>
                  <a:pt x="994" y="188"/>
                </a:lnTo>
                <a:lnTo>
                  <a:pt x="994" y="188"/>
                </a:lnTo>
                <a:lnTo>
                  <a:pt x="988" y="188"/>
                </a:lnTo>
                <a:lnTo>
                  <a:pt x="988" y="188"/>
                </a:lnTo>
                <a:lnTo>
                  <a:pt x="986" y="192"/>
                </a:lnTo>
                <a:lnTo>
                  <a:pt x="986" y="192"/>
                </a:lnTo>
                <a:lnTo>
                  <a:pt x="982" y="192"/>
                </a:lnTo>
                <a:lnTo>
                  <a:pt x="978" y="192"/>
                </a:lnTo>
                <a:lnTo>
                  <a:pt x="978" y="192"/>
                </a:lnTo>
                <a:lnTo>
                  <a:pt x="984" y="196"/>
                </a:lnTo>
                <a:lnTo>
                  <a:pt x="984" y="198"/>
                </a:lnTo>
                <a:lnTo>
                  <a:pt x="984" y="198"/>
                </a:lnTo>
                <a:lnTo>
                  <a:pt x="990" y="198"/>
                </a:lnTo>
                <a:lnTo>
                  <a:pt x="990" y="198"/>
                </a:lnTo>
                <a:lnTo>
                  <a:pt x="998" y="202"/>
                </a:lnTo>
                <a:lnTo>
                  <a:pt x="1000" y="204"/>
                </a:lnTo>
                <a:lnTo>
                  <a:pt x="1000" y="204"/>
                </a:lnTo>
                <a:lnTo>
                  <a:pt x="998" y="206"/>
                </a:lnTo>
                <a:lnTo>
                  <a:pt x="998" y="206"/>
                </a:lnTo>
                <a:lnTo>
                  <a:pt x="988" y="206"/>
                </a:lnTo>
                <a:lnTo>
                  <a:pt x="986" y="204"/>
                </a:lnTo>
                <a:lnTo>
                  <a:pt x="986" y="204"/>
                </a:lnTo>
                <a:lnTo>
                  <a:pt x="984" y="204"/>
                </a:lnTo>
                <a:lnTo>
                  <a:pt x="986" y="204"/>
                </a:lnTo>
                <a:lnTo>
                  <a:pt x="986" y="208"/>
                </a:lnTo>
                <a:lnTo>
                  <a:pt x="986" y="208"/>
                </a:lnTo>
                <a:lnTo>
                  <a:pt x="992" y="212"/>
                </a:lnTo>
                <a:lnTo>
                  <a:pt x="992" y="214"/>
                </a:lnTo>
                <a:lnTo>
                  <a:pt x="992" y="214"/>
                </a:lnTo>
                <a:lnTo>
                  <a:pt x="988" y="214"/>
                </a:lnTo>
                <a:lnTo>
                  <a:pt x="988" y="214"/>
                </a:lnTo>
                <a:lnTo>
                  <a:pt x="988" y="218"/>
                </a:lnTo>
                <a:lnTo>
                  <a:pt x="988" y="218"/>
                </a:lnTo>
                <a:lnTo>
                  <a:pt x="978" y="218"/>
                </a:lnTo>
                <a:lnTo>
                  <a:pt x="978" y="220"/>
                </a:lnTo>
                <a:lnTo>
                  <a:pt x="978" y="220"/>
                </a:lnTo>
                <a:lnTo>
                  <a:pt x="980" y="220"/>
                </a:lnTo>
                <a:lnTo>
                  <a:pt x="984" y="222"/>
                </a:lnTo>
                <a:lnTo>
                  <a:pt x="984" y="222"/>
                </a:lnTo>
                <a:lnTo>
                  <a:pt x="982" y="224"/>
                </a:lnTo>
                <a:lnTo>
                  <a:pt x="982" y="224"/>
                </a:lnTo>
                <a:lnTo>
                  <a:pt x="984" y="224"/>
                </a:lnTo>
                <a:lnTo>
                  <a:pt x="984" y="224"/>
                </a:lnTo>
                <a:lnTo>
                  <a:pt x="990" y="226"/>
                </a:lnTo>
                <a:lnTo>
                  <a:pt x="994" y="226"/>
                </a:lnTo>
                <a:lnTo>
                  <a:pt x="994" y="226"/>
                </a:lnTo>
                <a:lnTo>
                  <a:pt x="994" y="232"/>
                </a:lnTo>
                <a:lnTo>
                  <a:pt x="994" y="232"/>
                </a:lnTo>
                <a:lnTo>
                  <a:pt x="996" y="230"/>
                </a:lnTo>
                <a:lnTo>
                  <a:pt x="996" y="228"/>
                </a:lnTo>
                <a:lnTo>
                  <a:pt x="996" y="228"/>
                </a:lnTo>
                <a:lnTo>
                  <a:pt x="1002" y="230"/>
                </a:lnTo>
                <a:lnTo>
                  <a:pt x="998" y="236"/>
                </a:lnTo>
                <a:lnTo>
                  <a:pt x="998" y="236"/>
                </a:lnTo>
                <a:lnTo>
                  <a:pt x="1004" y="234"/>
                </a:lnTo>
                <a:lnTo>
                  <a:pt x="1004" y="234"/>
                </a:lnTo>
                <a:lnTo>
                  <a:pt x="1004" y="238"/>
                </a:lnTo>
                <a:lnTo>
                  <a:pt x="1004" y="238"/>
                </a:lnTo>
                <a:lnTo>
                  <a:pt x="1006" y="238"/>
                </a:lnTo>
                <a:lnTo>
                  <a:pt x="1006" y="238"/>
                </a:lnTo>
                <a:lnTo>
                  <a:pt x="1006" y="240"/>
                </a:lnTo>
                <a:lnTo>
                  <a:pt x="1006" y="240"/>
                </a:lnTo>
                <a:lnTo>
                  <a:pt x="1008" y="240"/>
                </a:lnTo>
                <a:lnTo>
                  <a:pt x="1008" y="238"/>
                </a:lnTo>
                <a:lnTo>
                  <a:pt x="1008" y="238"/>
                </a:lnTo>
                <a:lnTo>
                  <a:pt x="1010" y="238"/>
                </a:lnTo>
                <a:lnTo>
                  <a:pt x="1010" y="238"/>
                </a:lnTo>
                <a:lnTo>
                  <a:pt x="1010" y="240"/>
                </a:lnTo>
                <a:lnTo>
                  <a:pt x="1010" y="240"/>
                </a:lnTo>
                <a:lnTo>
                  <a:pt x="1008" y="248"/>
                </a:lnTo>
                <a:lnTo>
                  <a:pt x="1008" y="248"/>
                </a:lnTo>
                <a:lnTo>
                  <a:pt x="1010" y="248"/>
                </a:lnTo>
                <a:lnTo>
                  <a:pt x="1010" y="248"/>
                </a:lnTo>
                <a:lnTo>
                  <a:pt x="1012" y="242"/>
                </a:lnTo>
                <a:lnTo>
                  <a:pt x="1014" y="242"/>
                </a:lnTo>
                <a:lnTo>
                  <a:pt x="1014" y="242"/>
                </a:lnTo>
                <a:lnTo>
                  <a:pt x="1016" y="246"/>
                </a:lnTo>
                <a:lnTo>
                  <a:pt x="1016" y="246"/>
                </a:lnTo>
                <a:lnTo>
                  <a:pt x="1018" y="244"/>
                </a:lnTo>
                <a:lnTo>
                  <a:pt x="1018" y="242"/>
                </a:lnTo>
                <a:lnTo>
                  <a:pt x="1018" y="242"/>
                </a:lnTo>
                <a:lnTo>
                  <a:pt x="1018" y="242"/>
                </a:lnTo>
                <a:lnTo>
                  <a:pt x="1020" y="240"/>
                </a:lnTo>
                <a:lnTo>
                  <a:pt x="1020" y="240"/>
                </a:lnTo>
                <a:lnTo>
                  <a:pt x="1022" y="240"/>
                </a:lnTo>
                <a:lnTo>
                  <a:pt x="1022" y="240"/>
                </a:lnTo>
                <a:lnTo>
                  <a:pt x="1022" y="246"/>
                </a:lnTo>
                <a:lnTo>
                  <a:pt x="1022" y="246"/>
                </a:lnTo>
                <a:lnTo>
                  <a:pt x="1024" y="244"/>
                </a:lnTo>
                <a:lnTo>
                  <a:pt x="1024" y="244"/>
                </a:lnTo>
                <a:lnTo>
                  <a:pt x="1024" y="240"/>
                </a:lnTo>
                <a:lnTo>
                  <a:pt x="1024" y="240"/>
                </a:lnTo>
                <a:lnTo>
                  <a:pt x="1028" y="236"/>
                </a:lnTo>
                <a:lnTo>
                  <a:pt x="1028" y="236"/>
                </a:lnTo>
                <a:lnTo>
                  <a:pt x="1030" y="236"/>
                </a:lnTo>
                <a:lnTo>
                  <a:pt x="1030" y="238"/>
                </a:lnTo>
                <a:lnTo>
                  <a:pt x="1030" y="238"/>
                </a:lnTo>
                <a:lnTo>
                  <a:pt x="1028" y="248"/>
                </a:lnTo>
                <a:lnTo>
                  <a:pt x="1028" y="248"/>
                </a:lnTo>
                <a:lnTo>
                  <a:pt x="1032" y="248"/>
                </a:lnTo>
                <a:lnTo>
                  <a:pt x="1032" y="248"/>
                </a:lnTo>
                <a:lnTo>
                  <a:pt x="1032" y="242"/>
                </a:lnTo>
                <a:lnTo>
                  <a:pt x="1032" y="242"/>
                </a:lnTo>
                <a:lnTo>
                  <a:pt x="1036" y="244"/>
                </a:lnTo>
                <a:lnTo>
                  <a:pt x="1040" y="246"/>
                </a:lnTo>
                <a:lnTo>
                  <a:pt x="1040" y="246"/>
                </a:lnTo>
                <a:lnTo>
                  <a:pt x="1040" y="250"/>
                </a:lnTo>
                <a:lnTo>
                  <a:pt x="1040" y="250"/>
                </a:lnTo>
                <a:lnTo>
                  <a:pt x="1042" y="252"/>
                </a:lnTo>
                <a:lnTo>
                  <a:pt x="1042" y="252"/>
                </a:lnTo>
                <a:lnTo>
                  <a:pt x="1036" y="254"/>
                </a:lnTo>
                <a:lnTo>
                  <a:pt x="1038" y="256"/>
                </a:lnTo>
                <a:lnTo>
                  <a:pt x="1038" y="256"/>
                </a:lnTo>
                <a:lnTo>
                  <a:pt x="1042" y="256"/>
                </a:lnTo>
                <a:lnTo>
                  <a:pt x="1042" y="258"/>
                </a:lnTo>
                <a:lnTo>
                  <a:pt x="1042" y="258"/>
                </a:lnTo>
                <a:lnTo>
                  <a:pt x="1048" y="258"/>
                </a:lnTo>
                <a:lnTo>
                  <a:pt x="1054" y="260"/>
                </a:lnTo>
                <a:lnTo>
                  <a:pt x="1054" y="260"/>
                </a:lnTo>
                <a:lnTo>
                  <a:pt x="1054" y="254"/>
                </a:lnTo>
                <a:lnTo>
                  <a:pt x="1054" y="254"/>
                </a:lnTo>
                <a:lnTo>
                  <a:pt x="1054" y="252"/>
                </a:lnTo>
                <a:lnTo>
                  <a:pt x="1054" y="252"/>
                </a:lnTo>
                <a:lnTo>
                  <a:pt x="1058" y="254"/>
                </a:lnTo>
                <a:lnTo>
                  <a:pt x="1058" y="254"/>
                </a:lnTo>
                <a:lnTo>
                  <a:pt x="1058" y="254"/>
                </a:lnTo>
                <a:lnTo>
                  <a:pt x="1060" y="254"/>
                </a:lnTo>
                <a:lnTo>
                  <a:pt x="1060" y="254"/>
                </a:lnTo>
                <a:lnTo>
                  <a:pt x="1060" y="254"/>
                </a:lnTo>
                <a:lnTo>
                  <a:pt x="1056" y="258"/>
                </a:lnTo>
                <a:lnTo>
                  <a:pt x="1056" y="258"/>
                </a:lnTo>
                <a:lnTo>
                  <a:pt x="1056" y="266"/>
                </a:lnTo>
                <a:lnTo>
                  <a:pt x="1056" y="266"/>
                </a:lnTo>
                <a:lnTo>
                  <a:pt x="1060" y="266"/>
                </a:lnTo>
                <a:lnTo>
                  <a:pt x="1060" y="266"/>
                </a:lnTo>
                <a:lnTo>
                  <a:pt x="1060" y="260"/>
                </a:lnTo>
                <a:lnTo>
                  <a:pt x="1060" y="260"/>
                </a:lnTo>
                <a:lnTo>
                  <a:pt x="1060" y="260"/>
                </a:lnTo>
                <a:lnTo>
                  <a:pt x="1062" y="258"/>
                </a:lnTo>
                <a:lnTo>
                  <a:pt x="1062" y="258"/>
                </a:lnTo>
                <a:lnTo>
                  <a:pt x="1062" y="258"/>
                </a:lnTo>
                <a:lnTo>
                  <a:pt x="1064" y="258"/>
                </a:lnTo>
                <a:lnTo>
                  <a:pt x="1064" y="260"/>
                </a:lnTo>
                <a:lnTo>
                  <a:pt x="1064" y="260"/>
                </a:lnTo>
                <a:lnTo>
                  <a:pt x="1068" y="258"/>
                </a:lnTo>
                <a:lnTo>
                  <a:pt x="1068" y="258"/>
                </a:lnTo>
                <a:lnTo>
                  <a:pt x="1070" y="260"/>
                </a:lnTo>
                <a:lnTo>
                  <a:pt x="1070" y="260"/>
                </a:lnTo>
                <a:lnTo>
                  <a:pt x="1070" y="260"/>
                </a:lnTo>
                <a:lnTo>
                  <a:pt x="1070" y="256"/>
                </a:lnTo>
                <a:lnTo>
                  <a:pt x="1070" y="252"/>
                </a:lnTo>
                <a:lnTo>
                  <a:pt x="1070" y="252"/>
                </a:lnTo>
                <a:lnTo>
                  <a:pt x="1070" y="252"/>
                </a:lnTo>
                <a:lnTo>
                  <a:pt x="1072" y="254"/>
                </a:lnTo>
                <a:lnTo>
                  <a:pt x="1072" y="254"/>
                </a:lnTo>
                <a:lnTo>
                  <a:pt x="1072" y="254"/>
                </a:lnTo>
                <a:lnTo>
                  <a:pt x="1078" y="256"/>
                </a:lnTo>
                <a:lnTo>
                  <a:pt x="1078" y="256"/>
                </a:lnTo>
                <a:lnTo>
                  <a:pt x="1080" y="262"/>
                </a:lnTo>
                <a:lnTo>
                  <a:pt x="1082" y="264"/>
                </a:lnTo>
                <a:lnTo>
                  <a:pt x="1082" y="266"/>
                </a:lnTo>
                <a:lnTo>
                  <a:pt x="1082" y="266"/>
                </a:lnTo>
                <a:lnTo>
                  <a:pt x="1082" y="268"/>
                </a:lnTo>
                <a:lnTo>
                  <a:pt x="1082" y="270"/>
                </a:lnTo>
                <a:lnTo>
                  <a:pt x="1082" y="270"/>
                </a:lnTo>
                <a:close/>
                <a:moveTo>
                  <a:pt x="1074" y="730"/>
                </a:moveTo>
                <a:lnTo>
                  <a:pt x="1074" y="730"/>
                </a:lnTo>
                <a:lnTo>
                  <a:pt x="1072" y="730"/>
                </a:lnTo>
                <a:lnTo>
                  <a:pt x="1072" y="730"/>
                </a:lnTo>
                <a:lnTo>
                  <a:pt x="1068" y="738"/>
                </a:lnTo>
                <a:lnTo>
                  <a:pt x="1064" y="742"/>
                </a:lnTo>
                <a:lnTo>
                  <a:pt x="1056" y="744"/>
                </a:lnTo>
                <a:lnTo>
                  <a:pt x="1048" y="746"/>
                </a:lnTo>
                <a:lnTo>
                  <a:pt x="1048" y="746"/>
                </a:lnTo>
                <a:lnTo>
                  <a:pt x="1046" y="748"/>
                </a:lnTo>
                <a:lnTo>
                  <a:pt x="1046" y="748"/>
                </a:lnTo>
                <a:lnTo>
                  <a:pt x="1046" y="750"/>
                </a:lnTo>
                <a:lnTo>
                  <a:pt x="1046" y="754"/>
                </a:lnTo>
                <a:lnTo>
                  <a:pt x="1046" y="754"/>
                </a:lnTo>
                <a:lnTo>
                  <a:pt x="1040" y="748"/>
                </a:lnTo>
                <a:lnTo>
                  <a:pt x="1040" y="748"/>
                </a:lnTo>
                <a:lnTo>
                  <a:pt x="1040" y="750"/>
                </a:lnTo>
                <a:lnTo>
                  <a:pt x="1040" y="752"/>
                </a:lnTo>
                <a:lnTo>
                  <a:pt x="1040" y="752"/>
                </a:lnTo>
                <a:lnTo>
                  <a:pt x="1038" y="752"/>
                </a:lnTo>
                <a:lnTo>
                  <a:pt x="1036" y="750"/>
                </a:lnTo>
                <a:lnTo>
                  <a:pt x="1036" y="750"/>
                </a:lnTo>
                <a:lnTo>
                  <a:pt x="1036" y="754"/>
                </a:lnTo>
                <a:lnTo>
                  <a:pt x="1036" y="760"/>
                </a:lnTo>
                <a:lnTo>
                  <a:pt x="1036" y="760"/>
                </a:lnTo>
                <a:lnTo>
                  <a:pt x="1036" y="760"/>
                </a:lnTo>
                <a:lnTo>
                  <a:pt x="1036" y="762"/>
                </a:lnTo>
                <a:lnTo>
                  <a:pt x="1034" y="762"/>
                </a:lnTo>
                <a:lnTo>
                  <a:pt x="1034" y="762"/>
                </a:lnTo>
                <a:lnTo>
                  <a:pt x="1036" y="760"/>
                </a:lnTo>
                <a:lnTo>
                  <a:pt x="1034" y="760"/>
                </a:lnTo>
                <a:lnTo>
                  <a:pt x="1032" y="760"/>
                </a:lnTo>
                <a:lnTo>
                  <a:pt x="1032" y="760"/>
                </a:lnTo>
                <a:lnTo>
                  <a:pt x="1030" y="764"/>
                </a:lnTo>
                <a:lnTo>
                  <a:pt x="1030" y="764"/>
                </a:lnTo>
                <a:lnTo>
                  <a:pt x="1026" y="768"/>
                </a:lnTo>
                <a:lnTo>
                  <a:pt x="1026" y="768"/>
                </a:lnTo>
                <a:lnTo>
                  <a:pt x="1024" y="766"/>
                </a:lnTo>
                <a:lnTo>
                  <a:pt x="1026" y="764"/>
                </a:lnTo>
                <a:lnTo>
                  <a:pt x="1024" y="764"/>
                </a:lnTo>
                <a:lnTo>
                  <a:pt x="1024" y="764"/>
                </a:lnTo>
                <a:lnTo>
                  <a:pt x="1022" y="768"/>
                </a:lnTo>
                <a:lnTo>
                  <a:pt x="1022" y="768"/>
                </a:lnTo>
                <a:lnTo>
                  <a:pt x="1020" y="766"/>
                </a:lnTo>
                <a:lnTo>
                  <a:pt x="1020" y="766"/>
                </a:lnTo>
                <a:lnTo>
                  <a:pt x="1018" y="764"/>
                </a:lnTo>
                <a:lnTo>
                  <a:pt x="1018" y="764"/>
                </a:lnTo>
                <a:lnTo>
                  <a:pt x="1014" y="762"/>
                </a:lnTo>
                <a:lnTo>
                  <a:pt x="1014" y="762"/>
                </a:lnTo>
                <a:lnTo>
                  <a:pt x="1010" y="762"/>
                </a:lnTo>
                <a:lnTo>
                  <a:pt x="1010" y="762"/>
                </a:lnTo>
                <a:lnTo>
                  <a:pt x="1008" y="754"/>
                </a:lnTo>
                <a:lnTo>
                  <a:pt x="1012" y="750"/>
                </a:lnTo>
                <a:lnTo>
                  <a:pt x="1012" y="750"/>
                </a:lnTo>
                <a:lnTo>
                  <a:pt x="1014" y="746"/>
                </a:lnTo>
                <a:lnTo>
                  <a:pt x="1014" y="746"/>
                </a:lnTo>
                <a:lnTo>
                  <a:pt x="1018" y="744"/>
                </a:lnTo>
                <a:lnTo>
                  <a:pt x="1020" y="744"/>
                </a:lnTo>
                <a:lnTo>
                  <a:pt x="1020" y="744"/>
                </a:lnTo>
                <a:lnTo>
                  <a:pt x="1020" y="742"/>
                </a:lnTo>
                <a:lnTo>
                  <a:pt x="1022" y="738"/>
                </a:lnTo>
                <a:lnTo>
                  <a:pt x="1022" y="738"/>
                </a:lnTo>
                <a:lnTo>
                  <a:pt x="1026" y="736"/>
                </a:lnTo>
                <a:lnTo>
                  <a:pt x="1032" y="734"/>
                </a:lnTo>
                <a:lnTo>
                  <a:pt x="1034" y="734"/>
                </a:lnTo>
                <a:lnTo>
                  <a:pt x="1034" y="734"/>
                </a:lnTo>
                <a:lnTo>
                  <a:pt x="1034" y="736"/>
                </a:lnTo>
                <a:lnTo>
                  <a:pt x="1034" y="736"/>
                </a:lnTo>
                <a:lnTo>
                  <a:pt x="1038" y="738"/>
                </a:lnTo>
                <a:lnTo>
                  <a:pt x="1038" y="738"/>
                </a:lnTo>
                <a:lnTo>
                  <a:pt x="1044" y="730"/>
                </a:lnTo>
                <a:lnTo>
                  <a:pt x="1044" y="730"/>
                </a:lnTo>
                <a:lnTo>
                  <a:pt x="1048" y="730"/>
                </a:lnTo>
                <a:lnTo>
                  <a:pt x="1048" y="730"/>
                </a:lnTo>
                <a:lnTo>
                  <a:pt x="1038" y="728"/>
                </a:lnTo>
                <a:lnTo>
                  <a:pt x="1034" y="728"/>
                </a:lnTo>
                <a:lnTo>
                  <a:pt x="1028" y="730"/>
                </a:lnTo>
                <a:lnTo>
                  <a:pt x="1028" y="730"/>
                </a:lnTo>
                <a:lnTo>
                  <a:pt x="1028" y="732"/>
                </a:lnTo>
                <a:lnTo>
                  <a:pt x="1028" y="732"/>
                </a:lnTo>
                <a:lnTo>
                  <a:pt x="1028" y="728"/>
                </a:lnTo>
                <a:lnTo>
                  <a:pt x="1028" y="728"/>
                </a:lnTo>
                <a:lnTo>
                  <a:pt x="1030" y="724"/>
                </a:lnTo>
                <a:lnTo>
                  <a:pt x="1030" y="724"/>
                </a:lnTo>
                <a:lnTo>
                  <a:pt x="1030" y="724"/>
                </a:lnTo>
                <a:lnTo>
                  <a:pt x="1030" y="722"/>
                </a:lnTo>
                <a:lnTo>
                  <a:pt x="1030" y="722"/>
                </a:lnTo>
                <a:lnTo>
                  <a:pt x="1032" y="720"/>
                </a:lnTo>
                <a:lnTo>
                  <a:pt x="1032" y="720"/>
                </a:lnTo>
                <a:lnTo>
                  <a:pt x="1032" y="718"/>
                </a:lnTo>
                <a:lnTo>
                  <a:pt x="1032" y="718"/>
                </a:lnTo>
                <a:lnTo>
                  <a:pt x="1030" y="718"/>
                </a:lnTo>
                <a:lnTo>
                  <a:pt x="1028" y="718"/>
                </a:lnTo>
                <a:lnTo>
                  <a:pt x="1028" y="718"/>
                </a:lnTo>
                <a:lnTo>
                  <a:pt x="1026" y="716"/>
                </a:lnTo>
                <a:lnTo>
                  <a:pt x="1026" y="716"/>
                </a:lnTo>
                <a:lnTo>
                  <a:pt x="1026" y="722"/>
                </a:lnTo>
                <a:lnTo>
                  <a:pt x="1026" y="722"/>
                </a:lnTo>
                <a:lnTo>
                  <a:pt x="1026" y="722"/>
                </a:lnTo>
                <a:lnTo>
                  <a:pt x="1026" y="726"/>
                </a:lnTo>
                <a:lnTo>
                  <a:pt x="1024" y="726"/>
                </a:lnTo>
                <a:lnTo>
                  <a:pt x="1024" y="726"/>
                </a:lnTo>
                <a:lnTo>
                  <a:pt x="1022" y="728"/>
                </a:lnTo>
                <a:lnTo>
                  <a:pt x="1020" y="730"/>
                </a:lnTo>
                <a:lnTo>
                  <a:pt x="1018" y="734"/>
                </a:lnTo>
                <a:lnTo>
                  <a:pt x="1014" y="734"/>
                </a:lnTo>
                <a:lnTo>
                  <a:pt x="1014" y="734"/>
                </a:lnTo>
                <a:lnTo>
                  <a:pt x="1014" y="730"/>
                </a:lnTo>
                <a:lnTo>
                  <a:pt x="1014" y="730"/>
                </a:lnTo>
                <a:lnTo>
                  <a:pt x="1014" y="728"/>
                </a:lnTo>
                <a:lnTo>
                  <a:pt x="1014" y="726"/>
                </a:lnTo>
                <a:lnTo>
                  <a:pt x="1014" y="726"/>
                </a:lnTo>
                <a:lnTo>
                  <a:pt x="1012" y="726"/>
                </a:lnTo>
                <a:lnTo>
                  <a:pt x="1012" y="726"/>
                </a:lnTo>
                <a:lnTo>
                  <a:pt x="1012" y="730"/>
                </a:lnTo>
                <a:lnTo>
                  <a:pt x="1012" y="730"/>
                </a:lnTo>
                <a:lnTo>
                  <a:pt x="1008" y="730"/>
                </a:lnTo>
                <a:lnTo>
                  <a:pt x="1008" y="732"/>
                </a:lnTo>
                <a:lnTo>
                  <a:pt x="1008" y="732"/>
                </a:lnTo>
                <a:lnTo>
                  <a:pt x="1012" y="734"/>
                </a:lnTo>
                <a:lnTo>
                  <a:pt x="1012" y="734"/>
                </a:lnTo>
                <a:lnTo>
                  <a:pt x="1012" y="734"/>
                </a:lnTo>
                <a:lnTo>
                  <a:pt x="1012" y="736"/>
                </a:lnTo>
                <a:lnTo>
                  <a:pt x="1008" y="736"/>
                </a:lnTo>
                <a:lnTo>
                  <a:pt x="1008" y="736"/>
                </a:lnTo>
                <a:lnTo>
                  <a:pt x="1008" y="738"/>
                </a:lnTo>
                <a:lnTo>
                  <a:pt x="1006" y="738"/>
                </a:lnTo>
                <a:lnTo>
                  <a:pt x="1006" y="738"/>
                </a:lnTo>
                <a:lnTo>
                  <a:pt x="1002" y="736"/>
                </a:lnTo>
                <a:lnTo>
                  <a:pt x="1000" y="734"/>
                </a:lnTo>
                <a:lnTo>
                  <a:pt x="1000" y="734"/>
                </a:lnTo>
                <a:lnTo>
                  <a:pt x="996" y="734"/>
                </a:lnTo>
                <a:lnTo>
                  <a:pt x="996" y="734"/>
                </a:lnTo>
                <a:lnTo>
                  <a:pt x="994" y="734"/>
                </a:lnTo>
                <a:lnTo>
                  <a:pt x="994" y="734"/>
                </a:lnTo>
                <a:lnTo>
                  <a:pt x="994" y="732"/>
                </a:lnTo>
                <a:lnTo>
                  <a:pt x="992" y="730"/>
                </a:lnTo>
                <a:lnTo>
                  <a:pt x="994" y="726"/>
                </a:lnTo>
                <a:lnTo>
                  <a:pt x="994" y="726"/>
                </a:lnTo>
                <a:lnTo>
                  <a:pt x="992" y="724"/>
                </a:lnTo>
                <a:lnTo>
                  <a:pt x="990" y="724"/>
                </a:lnTo>
                <a:lnTo>
                  <a:pt x="988" y="724"/>
                </a:lnTo>
                <a:lnTo>
                  <a:pt x="988" y="724"/>
                </a:lnTo>
                <a:lnTo>
                  <a:pt x="988" y="718"/>
                </a:lnTo>
                <a:lnTo>
                  <a:pt x="988" y="704"/>
                </a:lnTo>
                <a:lnTo>
                  <a:pt x="988" y="704"/>
                </a:lnTo>
                <a:lnTo>
                  <a:pt x="988" y="700"/>
                </a:lnTo>
                <a:lnTo>
                  <a:pt x="986" y="698"/>
                </a:lnTo>
                <a:lnTo>
                  <a:pt x="980" y="694"/>
                </a:lnTo>
                <a:lnTo>
                  <a:pt x="980" y="694"/>
                </a:lnTo>
                <a:lnTo>
                  <a:pt x="976" y="694"/>
                </a:lnTo>
                <a:lnTo>
                  <a:pt x="974" y="698"/>
                </a:lnTo>
                <a:lnTo>
                  <a:pt x="972" y="700"/>
                </a:lnTo>
                <a:lnTo>
                  <a:pt x="972" y="698"/>
                </a:lnTo>
                <a:lnTo>
                  <a:pt x="972" y="698"/>
                </a:lnTo>
                <a:lnTo>
                  <a:pt x="970" y="694"/>
                </a:lnTo>
                <a:lnTo>
                  <a:pt x="968" y="694"/>
                </a:lnTo>
                <a:lnTo>
                  <a:pt x="966" y="696"/>
                </a:lnTo>
                <a:lnTo>
                  <a:pt x="964" y="704"/>
                </a:lnTo>
                <a:lnTo>
                  <a:pt x="964" y="704"/>
                </a:lnTo>
                <a:lnTo>
                  <a:pt x="960" y="708"/>
                </a:lnTo>
                <a:lnTo>
                  <a:pt x="960" y="714"/>
                </a:lnTo>
                <a:lnTo>
                  <a:pt x="960" y="714"/>
                </a:lnTo>
                <a:lnTo>
                  <a:pt x="958" y="716"/>
                </a:lnTo>
                <a:lnTo>
                  <a:pt x="954" y="720"/>
                </a:lnTo>
                <a:lnTo>
                  <a:pt x="948" y="726"/>
                </a:lnTo>
                <a:lnTo>
                  <a:pt x="948" y="726"/>
                </a:lnTo>
                <a:lnTo>
                  <a:pt x="944" y="728"/>
                </a:lnTo>
                <a:lnTo>
                  <a:pt x="944" y="730"/>
                </a:lnTo>
                <a:lnTo>
                  <a:pt x="944" y="730"/>
                </a:lnTo>
                <a:lnTo>
                  <a:pt x="926" y="734"/>
                </a:lnTo>
                <a:lnTo>
                  <a:pt x="904" y="736"/>
                </a:lnTo>
                <a:lnTo>
                  <a:pt x="904" y="736"/>
                </a:lnTo>
                <a:lnTo>
                  <a:pt x="902" y="734"/>
                </a:lnTo>
                <a:lnTo>
                  <a:pt x="902" y="734"/>
                </a:lnTo>
                <a:lnTo>
                  <a:pt x="904" y="732"/>
                </a:lnTo>
                <a:lnTo>
                  <a:pt x="904" y="732"/>
                </a:lnTo>
                <a:lnTo>
                  <a:pt x="904" y="732"/>
                </a:lnTo>
                <a:lnTo>
                  <a:pt x="904" y="732"/>
                </a:lnTo>
                <a:lnTo>
                  <a:pt x="900" y="734"/>
                </a:lnTo>
                <a:lnTo>
                  <a:pt x="900" y="734"/>
                </a:lnTo>
                <a:lnTo>
                  <a:pt x="890" y="740"/>
                </a:lnTo>
                <a:lnTo>
                  <a:pt x="890" y="740"/>
                </a:lnTo>
                <a:lnTo>
                  <a:pt x="880" y="746"/>
                </a:lnTo>
                <a:lnTo>
                  <a:pt x="878" y="748"/>
                </a:lnTo>
                <a:lnTo>
                  <a:pt x="878" y="748"/>
                </a:lnTo>
                <a:lnTo>
                  <a:pt x="878" y="750"/>
                </a:lnTo>
                <a:lnTo>
                  <a:pt x="878" y="750"/>
                </a:lnTo>
                <a:lnTo>
                  <a:pt x="872" y="754"/>
                </a:lnTo>
                <a:lnTo>
                  <a:pt x="872" y="754"/>
                </a:lnTo>
                <a:lnTo>
                  <a:pt x="866" y="752"/>
                </a:lnTo>
                <a:lnTo>
                  <a:pt x="862" y="752"/>
                </a:lnTo>
                <a:lnTo>
                  <a:pt x="862" y="752"/>
                </a:lnTo>
                <a:lnTo>
                  <a:pt x="854" y="752"/>
                </a:lnTo>
                <a:lnTo>
                  <a:pt x="854" y="752"/>
                </a:lnTo>
                <a:lnTo>
                  <a:pt x="854" y="754"/>
                </a:lnTo>
                <a:lnTo>
                  <a:pt x="854" y="754"/>
                </a:lnTo>
                <a:lnTo>
                  <a:pt x="856" y="754"/>
                </a:lnTo>
                <a:lnTo>
                  <a:pt x="860" y="756"/>
                </a:lnTo>
                <a:lnTo>
                  <a:pt x="860" y="756"/>
                </a:lnTo>
                <a:lnTo>
                  <a:pt x="860" y="758"/>
                </a:lnTo>
                <a:lnTo>
                  <a:pt x="860" y="758"/>
                </a:lnTo>
                <a:lnTo>
                  <a:pt x="860" y="758"/>
                </a:lnTo>
                <a:lnTo>
                  <a:pt x="864" y="758"/>
                </a:lnTo>
                <a:lnTo>
                  <a:pt x="864" y="758"/>
                </a:lnTo>
                <a:lnTo>
                  <a:pt x="866" y="758"/>
                </a:lnTo>
                <a:lnTo>
                  <a:pt x="866" y="758"/>
                </a:lnTo>
                <a:lnTo>
                  <a:pt x="866" y="758"/>
                </a:lnTo>
                <a:lnTo>
                  <a:pt x="864" y="760"/>
                </a:lnTo>
                <a:lnTo>
                  <a:pt x="862" y="762"/>
                </a:lnTo>
                <a:lnTo>
                  <a:pt x="862" y="762"/>
                </a:lnTo>
                <a:lnTo>
                  <a:pt x="858" y="762"/>
                </a:lnTo>
                <a:lnTo>
                  <a:pt x="858" y="762"/>
                </a:lnTo>
                <a:lnTo>
                  <a:pt x="856" y="760"/>
                </a:lnTo>
                <a:lnTo>
                  <a:pt x="856" y="760"/>
                </a:lnTo>
                <a:lnTo>
                  <a:pt x="848" y="758"/>
                </a:lnTo>
                <a:lnTo>
                  <a:pt x="840" y="760"/>
                </a:lnTo>
                <a:lnTo>
                  <a:pt x="834" y="764"/>
                </a:lnTo>
                <a:lnTo>
                  <a:pt x="828" y="766"/>
                </a:lnTo>
                <a:lnTo>
                  <a:pt x="828" y="768"/>
                </a:lnTo>
                <a:lnTo>
                  <a:pt x="828" y="768"/>
                </a:lnTo>
                <a:lnTo>
                  <a:pt x="832" y="768"/>
                </a:lnTo>
                <a:lnTo>
                  <a:pt x="832" y="768"/>
                </a:lnTo>
                <a:lnTo>
                  <a:pt x="834" y="770"/>
                </a:lnTo>
                <a:lnTo>
                  <a:pt x="834" y="772"/>
                </a:lnTo>
                <a:lnTo>
                  <a:pt x="832" y="774"/>
                </a:lnTo>
                <a:lnTo>
                  <a:pt x="832" y="774"/>
                </a:lnTo>
                <a:lnTo>
                  <a:pt x="826" y="774"/>
                </a:lnTo>
                <a:lnTo>
                  <a:pt x="822" y="774"/>
                </a:lnTo>
                <a:lnTo>
                  <a:pt x="820" y="776"/>
                </a:lnTo>
                <a:lnTo>
                  <a:pt x="820" y="776"/>
                </a:lnTo>
                <a:lnTo>
                  <a:pt x="818" y="780"/>
                </a:lnTo>
                <a:lnTo>
                  <a:pt x="818" y="780"/>
                </a:lnTo>
                <a:lnTo>
                  <a:pt x="812" y="780"/>
                </a:lnTo>
                <a:lnTo>
                  <a:pt x="808" y="780"/>
                </a:lnTo>
                <a:lnTo>
                  <a:pt x="808" y="780"/>
                </a:lnTo>
                <a:lnTo>
                  <a:pt x="804" y="784"/>
                </a:lnTo>
                <a:lnTo>
                  <a:pt x="804" y="784"/>
                </a:lnTo>
                <a:lnTo>
                  <a:pt x="800" y="786"/>
                </a:lnTo>
                <a:lnTo>
                  <a:pt x="800" y="786"/>
                </a:lnTo>
                <a:lnTo>
                  <a:pt x="796" y="790"/>
                </a:lnTo>
                <a:lnTo>
                  <a:pt x="796" y="790"/>
                </a:lnTo>
                <a:lnTo>
                  <a:pt x="792" y="792"/>
                </a:lnTo>
                <a:lnTo>
                  <a:pt x="786" y="792"/>
                </a:lnTo>
                <a:lnTo>
                  <a:pt x="786" y="792"/>
                </a:lnTo>
                <a:lnTo>
                  <a:pt x="786" y="788"/>
                </a:lnTo>
                <a:lnTo>
                  <a:pt x="786" y="788"/>
                </a:lnTo>
                <a:lnTo>
                  <a:pt x="788" y="786"/>
                </a:lnTo>
                <a:lnTo>
                  <a:pt x="790" y="782"/>
                </a:lnTo>
                <a:lnTo>
                  <a:pt x="790" y="782"/>
                </a:lnTo>
                <a:lnTo>
                  <a:pt x="792" y="772"/>
                </a:lnTo>
                <a:lnTo>
                  <a:pt x="792" y="772"/>
                </a:lnTo>
                <a:lnTo>
                  <a:pt x="798" y="770"/>
                </a:lnTo>
                <a:lnTo>
                  <a:pt x="798" y="770"/>
                </a:lnTo>
                <a:lnTo>
                  <a:pt x="800" y="766"/>
                </a:lnTo>
                <a:lnTo>
                  <a:pt x="800" y="766"/>
                </a:lnTo>
                <a:lnTo>
                  <a:pt x="800" y="758"/>
                </a:lnTo>
                <a:lnTo>
                  <a:pt x="800" y="754"/>
                </a:lnTo>
                <a:lnTo>
                  <a:pt x="800" y="750"/>
                </a:lnTo>
                <a:lnTo>
                  <a:pt x="800" y="750"/>
                </a:lnTo>
                <a:lnTo>
                  <a:pt x="808" y="740"/>
                </a:lnTo>
                <a:lnTo>
                  <a:pt x="808" y="740"/>
                </a:lnTo>
                <a:lnTo>
                  <a:pt x="812" y="742"/>
                </a:lnTo>
                <a:lnTo>
                  <a:pt x="812" y="742"/>
                </a:lnTo>
                <a:lnTo>
                  <a:pt x="812" y="746"/>
                </a:lnTo>
                <a:lnTo>
                  <a:pt x="812" y="746"/>
                </a:lnTo>
                <a:lnTo>
                  <a:pt x="816" y="746"/>
                </a:lnTo>
                <a:lnTo>
                  <a:pt x="820" y="746"/>
                </a:lnTo>
                <a:lnTo>
                  <a:pt x="820" y="746"/>
                </a:lnTo>
                <a:lnTo>
                  <a:pt x="820" y="748"/>
                </a:lnTo>
                <a:lnTo>
                  <a:pt x="822" y="750"/>
                </a:lnTo>
                <a:lnTo>
                  <a:pt x="822" y="750"/>
                </a:lnTo>
                <a:lnTo>
                  <a:pt x="826" y="750"/>
                </a:lnTo>
                <a:lnTo>
                  <a:pt x="826" y="750"/>
                </a:lnTo>
                <a:lnTo>
                  <a:pt x="826" y="748"/>
                </a:lnTo>
                <a:lnTo>
                  <a:pt x="826" y="746"/>
                </a:lnTo>
                <a:lnTo>
                  <a:pt x="826" y="746"/>
                </a:lnTo>
                <a:lnTo>
                  <a:pt x="826" y="746"/>
                </a:lnTo>
                <a:lnTo>
                  <a:pt x="826" y="744"/>
                </a:lnTo>
                <a:lnTo>
                  <a:pt x="826" y="744"/>
                </a:lnTo>
                <a:lnTo>
                  <a:pt x="824" y="744"/>
                </a:lnTo>
                <a:lnTo>
                  <a:pt x="824" y="744"/>
                </a:lnTo>
                <a:lnTo>
                  <a:pt x="830" y="744"/>
                </a:lnTo>
                <a:lnTo>
                  <a:pt x="830" y="744"/>
                </a:lnTo>
                <a:lnTo>
                  <a:pt x="832" y="740"/>
                </a:lnTo>
                <a:lnTo>
                  <a:pt x="832" y="740"/>
                </a:lnTo>
                <a:lnTo>
                  <a:pt x="830" y="738"/>
                </a:lnTo>
                <a:lnTo>
                  <a:pt x="830" y="738"/>
                </a:lnTo>
                <a:lnTo>
                  <a:pt x="826" y="734"/>
                </a:lnTo>
                <a:lnTo>
                  <a:pt x="826" y="724"/>
                </a:lnTo>
                <a:lnTo>
                  <a:pt x="826" y="724"/>
                </a:lnTo>
                <a:lnTo>
                  <a:pt x="820" y="724"/>
                </a:lnTo>
                <a:lnTo>
                  <a:pt x="820" y="722"/>
                </a:lnTo>
                <a:lnTo>
                  <a:pt x="820" y="722"/>
                </a:lnTo>
                <a:lnTo>
                  <a:pt x="818" y="720"/>
                </a:lnTo>
                <a:lnTo>
                  <a:pt x="814" y="718"/>
                </a:lnTo>
                <a:lnTo>
                  <a:pt x="814" y="716"/>
                </a:lnTo>
                <a:lnTo>
                  <a:pt x="814" y="716"/>
                </a:lnTo>
                <a:lnTo>
                  <a:pt x="812" y="716"/>
                </a:lnTo>
                <a:lnTo>
                  <a:pt x="808" y="718"/>
                </a:lnTo>
                <a:lnTo>
                  <a:pt x="806" y="718"/>
                </a:lnTo>
                <a:lnTo>
                  <a:pt x="802" y="718"/>
                </a:lnTo>
                <a:lnTo>
                  <a:pt x="802" y="718"/>
                </a:lnTo>
                <a:lnTo>
                  <a:pt x="800" y="716"/>
                </a:lnTo>
                <a:lnTo>
                  <a:pt x="800" y="716"/>
                </a:lnTo>
                <a:lnTo>
                  <a:pt x="796" y="716"/>
                </a:lnTo>
                <a:lnTo>
                  <a:pt x="792" y="716"/>
                </a:lnTo>
                <a:lnTo>
                  <a:pt x="790" y="714"/>
                </a:lnTo>
                <a:lnTo>
                  <a:pt x="790" y="714"/>
                </a:lnTo>
                <a:lnTo>
                  <a:pt x="780" y="712"/>
                </a:lnTo>
                <a:lnTo>
                  <a:pt x="780" y="712"/>
                </a:lnTo>
                <a:lnTo>
                  <a:pt x="780" y="712"/>
                </a:lnTo>
                <a:lnTo>
                  <a:pt x="778" y="714"/>
                </a:lnTo>
                <a:lnTo>
                  <a:pt x="778" y="714"/>
                </a:lnTo>
                <a:lnTo>
                  <a:pt x="774" y="710"/>
                </a:lnTo>
                <a:lnTo>
                  <a:pt x="770" y="706"/>
                </a:lnTo>
                <a:lnTo>
                  <a:pt x="770" y="706"/>
                </a:lnTo>
                <a:lnTo>
                  <a:pt x="764" y="706"/>
                </a:lnTo>
                <a:lnTo>
                  <a:pt x="764" y="706"/>
                </a:lnTo>
                <a:lnTo>
                  <a:pt x="762" y="692"/>
                </a:lnTo>
                <a:lnTo>
                  <a:pt x="762" y="692"/>
                </a:lnTo>
                <a:lnTo>
                  <a:pt x="764" y="690"/>
                </a:lnTo>
                <a:lnTo>
                  <a:pt x="764" y="690"/>
                </a:lnTo>
                <a:lnTo>
                  <a:pt x="758" y="686"/>
                </a:lnTo>
                <a:lnTo>
                  <a:pt x="758" y="680"/>
                </a:lnTo>
                <a:lnTo>
                  <a:pt x="758" y="680"/>
                </a:lnTo>
                <a:lnTo>
                  <a:pt x="756" y="678"/>
                </a:lnTo>
                <a:lnTo>
                  <a:pt x="756" y="678"/>
                </a:lnTo>
                <a:lnTo>
                  <a:pt x="754" y="678"/>
                </a:lnTo>
                <a:lnTo>
                  <a:pt x="750" y="678"/>
                </a:lnTo>
                <a:lnTo>
                  <a:pt x="750" y="678"/>
                </a:lnTo>
                <a:lnTo>
                  <a:pt x="744" y="676"/>
                </a:lnTo>
                <a:lnTo>
                  <a:pt x="740" y="670"/>
                </a:lnTo>
                <a:lnTo>
                  <a:pt x="736" y="658"/>
                </a:lnTo>
                <a:lnTo>
                  <a:pt x="736" y="658"/>
                </a:lnTo>
                <a:lnTo>
                  <a:pt x="734" y="658"/>
                </a:lnTo>
                <a:lnTo>
                  <a:pt x="732" y="660"/>
                </a:lnTo>
                <a:lnTo>
                  <a:pt x="732" y="660"/>
                </a:lnTo>
                <a:lnTo>
                  <a:pt x="732" y="660"/>
                </a:lnTo>
                <a:lnTo>
                  <a:pt x="730" y="658"/>
                </a:lnTo>
                <a:lnTo>
                  <a:pt x="728" y="656"/>
                </a:lnTo>
                <a:lnTo>
                  <a:pt x="728" y="656"/>
                </a:lnTo>
                <a:lnTo>
                  <a:pt x="726" y="658"/>
                </a:lnTo>
                <a:lnTo>
                  <a:pt x="724" y="658"/>
                </a:lnTo>
                <a:lnTo>
                  <a:pt x="724" y="658"/>
                </a:lnTo>
                <a:lnTo>
                  <a:pt x="720" y="658"/>
                </a:lnTo>
                <a:lnTo>
                  <a:pt x="718" y="656"/>
                </a:lnTo>
                <a:lnTo>
                  <a:pt x="716" y="658"/>
                </a:lnTo>
                <a:lnTo>
                  <a:pt x="716" y="658"/>
                </a:lnTo>
                <a:lnTo>
                  <a:pt x="716" y="662"/>
                </a:lnTo>
                <a:lnTo>
                  <a:pt x="716" y="664"/>
                </a:lnTo>
                <a:lnTo>
                  <a:pt x="716" y="664"/>
                </a:lnTo>
                <a:lnTo>
                  <a:pt x="714" y="664"/>
                </a:lnTo>
                <a:lnTo>
                  <a:pt x="714" y="664"/>
                </a:lnTo>
                <a:lnTo>
                  <a:pt x="714" y="662"/>
                </a:lnTo>
                <a:lnTo>
                  <a:pt x="714" y="660"/>
                </a:lnTo>
                <a:lnTo>
                  <a:pt x="712" y="660"/>
                </a:lnTo>
                <a:lnTo>
                  <a:pt x="712" y="660"/>
                </a:lnTo>
                <a:lnTo>
                  <a:pt x="712" y="662"/>
                </a:lnTo>
                <a:lnTo>
                  <a:pt x="712" y="664"/>
                </a:lnTo>
                <a:lnTo>
                  <a:pt x="710" y="664"/>
                </a:lnTo>
                <a:lnTo>
                  <a:pt x="710" y="664"/>
                </a:lnTo>
                <a:lnTo>
                  <a:pt x="708" y="668"/>
                </a:lnTo>
                <a:lnTo>
                  <a:pt x="708" y="668"/>
                </a:lnTo>
                <a:lnTo>
                  <a:pt x="702" y="666"/>
                </a:lnTo>
                <a:lnTo>
                  <a:pt x="702" y="666"/>
                </a:lnTo>
                <a:lnTo>
                  <a:pt x="700" y="674"/>
                </a:lnTo>
                <a:lnTo>
                  <a:pt x="696" y="676"/>
                </a:lnTo>
                <a:lnTo>
                  <a:pt x="696" y="676"/>
                </a:lnTo>
                <a:lnTo>
                  <a:pt x="694" y="676"/>
                </a:lnTo>
                <a:lnTo>
                  <a:pt x="690" y="674"/>
                </a:lnTo>
                <a:lnTo>
                  <a:pt x="690" y="674"/>
                </a:lnTo>
                <a:lnTo>
                  <a:pt x="688" y="672"/>
                </a:lnTo>
                <a:lnTo>
                  <a:pt x="686" y="672"/>
                </a:lnTo>
                <a:lnTo>
                  <a:pt x="682" y="672"/>
                </a:lnTo>
                <a:lnTo>
                  <a:pt x="682" y="672"/>
                </a:lnTo>
                <a:lnTo>
                  <a:pt x="674" y="672"/>
                </a:lnTo>
                <a:lnTo>
                  <a:pt x="674" y="672"/>
                </a:lnTo>
                <a:lnTo>
                  <a:pt x="670" y="672"/>
                </a:lnTo>
                <a:lnTo>
                  <a:pt x="666" y="672"/>
                </a:lnTo>
                <a:lnTo>
                  <a:pt x="666" y="672"/>
                </a:lnTo>
                <a:lnTo>
                  <a:pt x="662" y="668"/>
                </a:lnTo>
                <a:lnTo>
                  <a:pt x="656" y="666"/>
                </a:lnTo>
                <a:lnTo>
                  <a:pt x="656" y="666"/>
                </a:lnTo>
                <a:lnTo>
                  <a:pt x="652" y="666"/>
                </a:lnTo>
                <a:lnTo>
                  <a:pt x="650" y="666"/>
                </a:lnTo>
                <a:lnTo>
                  <a:pt x="650" y="668"/>
                </a:lnTo>
                <a:lnTo>
                  <a:pt x="650" y="668"/>
                </a:lnTo>
                <a:lnTo>
                  <a:pt x="648" y="670"/>
                </a:lnTo>
                <a:lnTo>
                  <a:pt x="646" y="670"/>
                </a:lnTo>
                <a:lnTo>
                  <a:pt x="640" y="666"/>
                </a:lnTo>
                <a:lnTo>
                  <a:pt x="640" y="666"/>
                </a:lnTo>
                <a:lnTo>
                  <a:pt x="636" y="666"/>
                </a:lnTo>
                <a:lnTo>
                  <a:pt x="634" y="666"/>
                </a:lnTo>
                <a:lnTo>
                  <a:pt x="634" y="666"/>
                </a:lnTo>
                <a:lnTo>
                  <a:pt x="632" y="660"/>
                </a:lnTo>
                <a:lnTo>
                  <a:pt x="630" y="654"/>
                </a:lnTo>
                <a:lnTo>
                  <a:pt x="628" y="652"/>
                </a:lnTo>
                <a:lnTo>
                  <a:pt x="628" y="652"/>
                </a:lnTo>
                <a:lnTo>
                  <a:pt x="626" y="654"/>
                </a:lnTo>
                <a:lnTo>
                  <a:pt x="626" y="656"/>
                </a:lnTo>
                <a:lnTo>
                  <a:pt x="624" y="660"/>
                </a:lnTo>
                <a:lnTo>
                  <a:pt x="256" y="654"/>
                </a:lnTo>
                <a:lnTo>
                  <a:pt x="256" y="654"/>
                </a:lnTo>
                <a:lnTo>
                  <a:pt x="254" y="652"/>
                </a:lnTo>
                <a:lnTo>
                  <a:pt x="252" y="650"/>
                </a:lnTo>
                <a:lnTo>
                  <a:pt x="252" y="650"/>
                </a:lnTo>
                <a:lnTo>
                  <a:pt x="252" y="646"/>
                </a:lnTo>
                <a:lnTo>
                  <a:pt x="252" y="646"/>
                </a:lnTo>
                <a:lnTo>
                  <a:pt x="248" y="646"/>
                </a:lnTo>
                <a:lnTo>
                  <a:pt x="248" y="644"/>
                </a:lnTo>
                <a:lnTo>
                  <a:pt x="248" y="644"/>
                </a:lnTo>
                <a:lnTo>
                  <a:pt x="244" y="642"/>
                </a:lnTo>
                <a:lnTo>
                  <a:pt x="244" y="642"/>
                </a:lnTo>
                <a:lnTo>
                  <a:pt x="244" y="640"/>
                </a:lnTo>
                <a:lnTo>
                  <a:pt x="244" y="638"/>
                </a:lnTo>
                <a:lnTo>
                  <a:pt x="246" y="638"/>
                </a:lnTo>
                <a:lnTo>
                  <a:pt x="246" y="638"/>
                </a:lnTo>
                <a:lnTo>
                  <a:pt x="244" y="636"/>
                </a:lnTo>
                <a:lnTo>
                  <a:pt x="244" y="636"/>
                </a:lnTo>
                <a:lnTo>
                  <a:pt x="242" y="636"/>
                </a:lnTo>
                <a:lnTo>
                  <a:pt x="242" y="636"/>
                </a:lnTo>
                <a:lnTo>
                  <a:pt x="240" y="638"/>
                </a:lnTo>
                <a:lnTo>
                  <a:pt x="238" y="640"/>
                </a:lnTo>
                <a:lnTo>
                  <a:pt x="238" y="640"/>
                </a:lnTo>
                <a:lnTo>
                  <a:pt x="236" y="640"/>
                </a:lnTo>
                <a:lnTo>
                  <a:pt x="236" y="638"/>
                </a:lnTo>
                <a:lnTo>
                  <a:pt x="236" y="636"/>
                </a:lnTo>
                <a:lnTo>
                  <a:pt x="236" y="632"/>
                </a:lnTo>
                <a:lnTo>
                  <a:pt x="236" y="630"/>
                </a:lnTo>
                <a:lnTo>
                  <a:pt x="236" y="630"/>
                </a:lnTo>
                <a:lnTo>
                  <a:pt x="230" y="630"/>
                </a:lnTo>
                <a:lnTo>
                  <a:pt x="224" y="628"/>
                </a:lnTo>
                <a:lnTo>
                  <a:pt x="224" y="628"/>
                </a:lnTo>
                <a:lnTo>
                  <a:pt x="224" y="628"/>
                </a:lnTo>
                <a:lnTo>
                  <a:pt x="224" y="626"/>
                </a:lnTo>
                <a:lnTo>
                  <a:pt x="224" y="626"/>
                </a:lnTo>
                <a:lnTo>
                  <a:pt x="220" y="624"/>
                </a:lnTo>
                <a:lnTo>
                  <a:pt x="220" y="624"/>
                </a:lnTo>
                <a:lnTo>
                  <a:pt x="220" y="620"/>
                </a:lnTo>
                <a:lnTo>
                  <a:pt x="220" y="620"/>
                </a:lnTo>
                <a:lnTo>
                  <a:pt x="216" y="622"/>
                </a:lnTo>
                <a:lnTo>
                  <a:pt x="216" y="622"/>
                </a:lnTo>
                <a:lnTo>
                  <a:pt x="210" y="624"/>
                </a:lnTo>
                <a:lnTo>
                  <a:pt x="202" y="624"/>
                </a:lnTo>
                <a:lnTo>
                  <a:pt x="202" y="624"/>
                </a:lnTo>
                <a:lnTo>
                  <a:pt x="200" y="624"/>
                </a:lnTo>
                <a:lnTo>
                  <a:pt x="200" y="622"/>
                </a:lnTo>
                <a:lnTo>
                  <a:pt x="200" y="622"/>
                </a:lnTo>
                <a:lnTo>
                  <a:pt x="202" y="618"/>
                </a:lnTo>
                <a:lnTo>
                  <a:pt x="200" y="618"/>
                </a:lnTo>
                <a:lnTo>
                  <a:pt x="198" y="616"/>
                </a:lnTo>
                <a:lnTo>
                  <a:pt x="198" y="616"/>
                </a:lnTo>
                <a:lnTo>
                  <a:pt x="190" y="618"/>
                </a:lnTo>
                <a:lnTo>
                  <a:pt x="184" y="620"/>
                </a:lnTo>
                <a:lnTo>
                  <a:pt x="184" y="620"/>
                </a:lnTo>
                <a:lnTo>
                  <a:pt x="198" y="626"/>
                </a:lnTo>
                <a:lnTo>
                  <a:pt x="198" y="626"/>
                </a:lnTo>
                <a:lnTo>
                  <a:pt x="204" y="626"/>
                </a:lnTo>
                <a:lnTo>
                  <a:pt x="210" y="626"/>
                </a:lnTo>
                <a:lnTo>
                  <a:pt x="210" y="626"/>
                </a:lnTo>
                <a:lnTo>
                  <a:pt x="214" y="628"/>
                </a:lnTo>
                <a:lnTo>
                  <a:pt x="214" y="628"/>
                </a:lnTo>
                <a:lnTo>
                  <a:pt x="216" y="628"/>
                </a:lnTo>
                <a:lnTo>
                  <a:pt x="218" y="628"/>
                </a:lnTo>
                <a:lnTo>
                  <a:pt x="216" y="630"/>
                </a:lnTo>
                <a:lnTo>
                  <a:pt x="216" y="630"/>
                </a:lnTo>
                <a:lnTo>
                  <a:pt x="216" y="630"/>
                </a:lnTo>
                <a:lnTo>
                  <a:pt x="216" y="630"/>
                </a:lnTo>
                <a:lnTo>
                  <a:pt x="218" y="634"/>
                </a:lnTo>
                <a:lnTo>
                  <a:pt x="218" y="634"/>
                </a:lnTo>
                <a:lnTo>
                  <a:pt x="222" y="634"/>
                </a:lnTo>
                <a:lnTo>
                  <a:pt x="222" y="634"/>
                </a:lnTo>
                <a:lnTo>
                  <a:pt x="222" y="640"/>
                </a:lnTo>
                <a:lnTo>
                  <a:pt x="222" y="640"/>
                </a:lnTo>
                <a:lnTo>
                  <a:pt x="226" y="642"/>
                </a:lnTo>
                <a:lnTo>
                  <a:pt x="232" y="644"/>
                </a:lnTo>
                <a:lnTo>
                  <a:pt x="232" y="644"/>
                </a:lnTo>
                <a:lnTo>
                  <a:pt x="238" y="646"/>
                </a:lnTo>
                <a:lnTo>
                  <a:pt x="244" y="652"/>
                </a:lnTo>
                <a:lnTo>
                  <a:pt x="244" y="652"/>
                </a:lnTo>
                <a:lnTo>
                  <a:pt x="244" y="654"/>
                </a:lnTo>
                <a:lnTo>
                  <a:pt x="244" y="654"/>
                </a:lnTo>
                <a:lnTo>
                  <a:pt x="248" y="658"/>
                </a:lnTo>
                <a:lnTo>
                  <a:pt x="248" y="658"/>
                </a:lnTo>
                <a:lnTo>
                  <a:pt x="252" y="660"/>
                </a:lnTo>
                <a:lnTo>
                  <a:pt x="252" y="660"/>
                </a:lnTo>
                <a:lnTo>
                  <a:pt x="252" y="666"/>
                </a:lnTo>
                <a:lnTo>
                  <a:pt x="252" y="666"/>
                </a:lnTo>
                <a:lnTo>
                  <a:pt x="244" y="664"/>
                </a:lnTo>
                <a:lnTo>
                  <a:pt x="232" y="664"/>
                </a:lnTo>
                <a:lnTo>
                  <a:pt x="232" y="664"/>
                </a:lnTo>
                <a:lnTo>
                  <a:pt x="232" y="662"/>
                </a:lnTo>
                <a:lnTo>
                  <a:pt x="232" y="662"/>
                </a:lnTo>
                <a:lnTo>
                  <a:pt x="228" y="662"/>
                </a:lnTo>
                <a:lnTo>
                  <a:pt x="228" y="662"/>
                </a:lnTo>
                <a:lnTo>
                  <a:pt x="224" y="660"/>
                </a:lnTo>
                <a:lnTo>
                  <a:pt x="222" y="658"/>
                </a:lnTo>
                <a:lnTo>
                  <a:pt x="222" y="652"/>
                </a:lnTo>
                <a:lnTo>
                  <a:pt x="222" y="652"/>
                </a:lnTo>
                <a:lnTo>
                  <a:pt x="212" y="650"/>
                </a:lnTo>
                <a:lnTo>
                  <a:pt x="212" y="650"/>
                </a:lnTo>
                <a:lnTo>
                  <a:pt x="214" y="646"/>
                </a:lnTo>
                <a:lnTo>
                  <a:pt x="214" y="646"/>
                </a:lnTo>
                <a:lnTo>
                  <a:pt x="210" y="646"/>
                </a:lnTo>
                <a:lnTo>
                  <a:pt x="210" y="646"/>
                </a:lnTo>
                <a:lnTo>
                  <a:pt x="210" y="644"/>
                </a:lnTo>
                <a:lnTo>
                  <a:pt x="210" y="644"/>
                </a:lnTo>
                <a:lnTo>
                  <a:pt x="200" y="644"/>
                </a:lnTo>
                <a:lnTo>
                  <a:pt x="200" y="644"/>
                </a:lnTo>
                <a:lnTo>
                  <a:pt x="202" y="636"/>
                </a:lnTo>
                <a:lnTo>
                  <a:pt x="202" y="636"/>
                </a:lnTo>
                <a:lnTo>
                  <a:pt x="188" y="636"/>
                </a:lnTo>
                <a:lnTo>
                  <a:pt x="188" y="632"/>
                </a:lnTo>
                <a:lnTo>
                  <a:pt x="188" y="632"/>
                </a:lnTo>
                <a:lnTo>
                  <a:pt x="184" y="636"/>
                </a:lnTo>
                <a:lnTo>
                  <a:pt x="184" y="636"/>
                </a:lnTo>
                <a:lnTo>
                  <a:pt x="182" y="636"/>
                </a:lnTo>
                <a:lnTo>
                  <a:pt x="180" y="634"/>
                </a:lnTo>
                <a:lnTo>
                  <a:pt x="180" y="634"/>
                </a:lnTo>
                <a:lnTo>
                  <a:pt x="180" y="626"/>
                </a:lnTo>
                <a:lnTo>
                  <a:pt x="176" y="624"/>
                </a:lnTo>
                <a:lnTo>
                  <a:pt x="176" y="624"/>
                </a:lnTo>
                <a:lnTo>
                  <a:pt x="178" y="618"/>
                </a:lnTo>
                <a:lnTo>
                  <a:pt x="178" y="618"/>
                </a:lnTo>
                <a:lnTo>
                  <a:pt x="184" y="620"/>
                </a:lnTo>
                <a:lnTo>
                  <a:pt x="184" y="620"/>
                </a:lnTo>
                <a:lnTo>
                  <a:pt x="184" y="614"/>
                </a:lnTo>
                <a:lnTo>
                  <a:pt x="184" y="612"/>
                </a:lnTo>
                <a:lnTo>
                  <a:pt x="184" y="610"/>
                </a:lnTo>
                <a:lnTo>
                  <a:pt x="184" y="610"/>
                </a:lnTo>
                <a:lnTo>
                  <a:pt x="188" y="610"/>
                </a:lnTo>
                <a:lnTo>
                  <a:pt x="188" y="610"/>
                </a:lnTo>
                <a:lnTo>
                  <a:pt x="188" y="608"/>
                </a:lnTo>
                <a:lnTo>
                  <a:pt x="186" y="608"/>
                </a:lnTo>
                <a:lnTo>
                  <a:pt x="186" y="608"/>
                </a:lnTo>
                <a:lnTo>
                  <a:pt x="186" y="608"/>
                </a:lnTo>
                <a:lnTo>
                  <a:pt x="186" y="608"/>
                </a:lnTo>
                <a:lnTo>
                  <a:pt x="190" y="606"/>
                </a:lnTo>
                <a:lnTo>
                  <a:pt x="190" y="606"/>
                </a:lnTo>
                <a:lnTo>
                  <a:pt x="186" y="604"/>
                </a:lnTo>
                <a:lnTo>
                  <a:pt x="186" y="604"/>
                </a:lnTo>
                <a:lnTo>
                  <a:pt x="186" y="598"/>
                </a:lnTo>
                <a:lnTo>
                  <a:pt x="186" y="598"/>
                </a:lnTo>
                <a:lnTo>
                  <a:pt x="188" y="598"/>
                </a:lnTo>
                <a:lnTo>
                  <a:pt x="188" y="596"/>
                </a:lnTo>
                <a:lnTo>
                  <a:pt x="188" y="596"/>
                </a:lnTo>
                <a:lnTo>
                  <a:pt x="184" y="596"/>
                </a:lnTo>
                <a:lnTo>
                  <a:pt x="186" y="592"/>
                </a:lnTo>
                <a:lnTo>
                  <a:pt x="186" y="592"/>
                </a:lnTo>
                <a:lnTo>
                  <a:pt x="182" y="592"/>
                </a:lnTo>
                <a:lnTo>
                  <a:pt x="180" y="590"/>
                </a:lnTo>
                <a:lnTo>
                  <a:pt x="180" y="590"/>
                </a:lnTo>
                <a:lnTo>
                  <a:pt x="178" y="586"/>
                </a:lnTo>
                <a:lnTo>
                  <a:pt x="178" y="582"/>
                </a:lnTo>
                <a:lnTo>
                  <a:pt x="178" y="582"/>
                </a:lnTo>
                <a:lnTo>
                  <a:pt x="176" y="584"/>
                </a:lnTo>
                <a:lnTo>
                  <a:pt x="176" y="584"/>
                </a:lnTo>
                <a:lnTo>
                  <a:pt x="176" y="584"/>
                </a:lnTo>
                <a:lnTo>
                  <a:pt x="172" y="584"/>
                </a:lnTo>
                <a:lnTo>
                  <a:pt x="172" y="584"/>
                </a:lnTo>
                <a:lnTo>
                  <a:pt x="172" y="584"/>
                </a:lnTo>
                <a:lnTo>
                  <a:pt x="172" y="586"/>
                </a:lnTo>
                <a:lnTo>
                  <a:pt x="170" y="588"/>
                </a:lnTo>
                <a:lnTo>
                  <a:pt x="170" y="582"/>
                </a:lnTo>
                <a:lnTo>
                  <a:pt x="170" y="582"/>
                </a:lnTo>
                <a:lnTo>
                  <a:pt x="166" y="580"/>
                </a:lnTo>
                <a:lnTo>
                  <a:pt x="166" y="580"/>
                </a:lnTo>
                <a:lnTo>
                  <a:pt x="168" y="576"/>
                </a:lnTo>
                <a:lnTo>
                  <a:pt x="168" y="576"/>
                </a:lnTo>
                <a:lnTo>
                  <a:pt x="170" y="576"/>
                </a:lnTo>
                <a:lnTo>
                  <a:pt x="170" y="576"/>
                </a:lnTo>
                <a:lnTo>
                  <a:pt x="170" y="568"/>
                </a:lnTo>
                <a:lnTo>
                  <a:pt x="170" y="568"/>
                </a:lnTo>
                <a:lnTo>
                  <a:pt x="172" y="566"/>
                </a:lnTo>
                <a:lnTo>
                  <a:pt x="172" y="566"/>
                </a:lnTo>
                <a:lnTo>
                  <a:pt x="170" y="566"/>
                </a:lnTo>
                <a:lnTo>
                  <a:pt x="168" y="566"/>
                </a:lnTo>
                <a:lnTo>
                  <a:pt x="164" y="570"/>
                </a:lnTo>
                <a:lnTo>
                  <a:pt x="164" y="570"/>
                </a:lnTo>
                <a:lnTo>
                  <a:pt x="166" y="570"/>
                </a:lnTo>
                <a:lnTo>
                  <a:pt x="166" y="572"/>
                </a:lnTo>
                <a:lnTo>
                  <a:pt x="166" y="572"/>
                </a:lnTo>
                <a:lnTo>
                  <a:pt x="164" y="572"/>
                </a:lnTo>
                <a:lnTo>
                  <a:pt x="162" y="574"/>
                </a:lnTo>
                <a:lnTo>
                  <a:pt x="158" y="568"/>
                </a:lnTo>
                <a:lnTo>
                  <a:pt x="158" y="568"/>
                </a:lnTo>
                <a:lnTo>
                  <a:pt x="154" y="562"/>
                </a:lnTo>
                <a:lnTo>
                  <a:pt x="154" y="560"/>
                </a:lnTo>
                <a:lnTo>
                  <a:pt x="158" y="560"/>
                </a:lnTo>
                <a:lnTo>
                  <a:pt x="158" y="558"/>
                </a:lnTo>
                <a:lnTo>
                  <a:pt x="158" y="558"/>
                </a:lnTo>
                <a:lnTo>
                  <a:pt x="154" y="556"/>
                </a:lnTo>
                <a:lnTo>
                  <a:pt x="154" y="556"/>
                </a:lnTo>
                <a:lnTo>
                  <a:pt x="154" y="554"/>
                </a:lnTo>
                <a:lnTo>
                  <a:pt x="154" y="554"/>
                </a:lnTo>
                <a:lnTo>
                  <a:pt x="154" y="552"/>
                </a:lnTo>
                <a:lnTo>
                  <a:pt x="154" y="552"/>
                </a:lnTo>
                <a:lnTo>
                  <a:pt x="154" y="552"/>
                </a:lnTo>
                <a:lnTo>
                  <a:pt x="152" y="550"/>
                </a:lnTo>
                <a:lnTo>
                  <a:pt x="150" y="548"/>
                </a:lnTo>
                <a:lnTo>
                  <a:pt x="150" y="548"/>
                </a:lnTo>
                <a:lnTo>
                  <a:pt x="154" y="540"/>
                </a:lnTo>
                <a:lnTo>
                  <a:pt x="156" y="538"/>
                </a:lnTo>
                <a:lnTo>
                  <a:pt x="158" y="534"/>
                </a:lnTo>
                <a:lnTo>
                  <a:pt x="158" y="534"/>
                </a:lnTo>
                <a:lnTo>
                  <a:pt x="162" y="534"/>
                </a:lnTo>
                <a:lnTo>
                  <a:pt x="162" y="534"/>
                </a:lnTo>
                <a:lnTo>
                  <a:pt x="162" y="530"/>
                </a:lnTo>
                <a:lnTo>
                  <a:pt x="162" y="530"/>
                </a:lnTo>
                <a:lnTo>
                  <a:pt x="160" y="530"/>
                </a:lnTo>
                <a:lnTo>
                  <a:pt x="158" y="530"/>
                </a:lnTo>
                <a:lnTo>
                  <a:pt x="158" y="530"/>
                </a:lnTo>
                <a:lnTo>
                  <a:pt x="162" y="526"/>
                </a:lnTo>
                <a:lnTo>
                  <a:pt x="162" y="526"/>
                </a:lnTo>
                <a:lnTo>
                  <a:pt x="162" y="522"/>
                </a:lnTo>
                <a:lnTo>
                  <a:pt x="162" y="520"/>
                </a:lnTo>
                <a:lnTo>
                  <a:pt x="162" y="520"/>
                </a:lnTo>
                <a:lnTo>
                  <a:pt x="162" y="518"/>
                </a:lnTo>
                <a:lnTo>
                  <a:pt x="162" y="516"/>
                </a:lnTo>
                <a:lnTo>
                  <a:pt x="164" y="514"/>
                </a:lnTo>
                <a:lnTo>
                  <a:pt x="164" y="512"/>
                </a:lnTo>
                <a:lnTo>
                  <a:pt x="164" y="512"/>
                </a:lnTo>
                <a:lnTo>
                  <a:pt x="162" y="512"/>
                </a:lnTo>
                <a:lnTo>
                  <a:pt x="162" y="510"/>
                </a:lnTo>
                <a:lnTo>
                  <a:pt x="160" y="506"/>
                </a:lnTo>
                <a:lnTo>
                  <a:pt x="160" y="504"/>
                </a:lnTo>
                <a:lnTo>
                  <a:pt x="160" y="504"/>
                </a:lnTo>
                <a:lnTo>
                  <a:pt x="156" y="504"/>
                </a:lnTo>
                <a:lnTo>
                  <a:pt x="154" y="500"/>
                </a:lnTo>
                <a:lnTo>
                  <a:pt x="154" y="500"/>
                </a:lnTo>
                <a:lnTo>
                  <a:pt x="152" y="494"/>
                </a:lnTo>
                <a:lnTo>
                  <a:pt x="150" y="488"/>
                </a:lnTo>
                <a:lnTo>
                  <a:pt x="150" y="488"/>
                </a:lnTo>
                <a:lnTo>
                  <a:pt x="150" y="486"/>
                </a:lnTo>
                <a:lnTo>
                  <a:pt x="148" y="488"/>
                </a:lnTo>
                <a:lnTo>
                  <a:pt x="146" y="488"/>
                </a:lnTo>
                <a:lnTo>
                  <a:pt x="142" y="488"/>
                </a:lnTo>
                <a:lnTo>
                  <a:pt x="142" y="488"/>
                </a:lnTo>
                <a:lnTo>
                  <a:pt x="138" y="486"/>
                </a:lnTo>
                <a:lnTo>
                  <a:pt x="136" y="482"/>
                </a:lnTo>
                <a:lnTo>
                  <a:pt x="134" y="480"/>
                </a:lnTo>
                <a:lnTo>
                  <a:pt x="132" y="478"/>
                </a:lnTo>
                <a:lnTo>
                  <a:pt x="132" y="478"/>
                </a:lnTo>
                <a:lnTo>
                  <a:pt x="128" y="474"/>
                </a:lnTo>
                <a:lnTo>
                  <a:pt x="126" y="472"/>
                </a:lnTo>
                <a:lnTo>
                  <a:pt x="124" y="464"/>
                </a:lnTo>
                <a:lnTo>
                  <a:pt x="124" y="464"/>
                </a:lnTo>
                <a:lnTo>
                  <a:pt x="108" y="446"/>
                </a:lnTo>
                <a:lnTo>
                  <a:pt x="108" y="446"/>
                </a:lnTo>
                <a:lnTo>
                  <a:pt x="102" y="438"/>
                </a:lnTo>
                <a:lnTo>
                  <a:pt x="100" y="436"/>
                </a:lnTo>
                <a:lnTo>
                  <a:pt x="96" y="434"/>
                </a:lnTo>
                <a:lnTo>
                  <a:pt x="96" y="434"/>
                </a:lnTo>
                <a:lnTo>
                  <a:pt x="92" y="434"/>
                </a:lnTo>
                <a:lnTo>
                  <a:pt x="90" y="432"/>
                </a:lnTo>
                <a:lnTo>
                  <a:pt x="90" y="426"/>
                </a:lnTo>
                <a:lnTo>
                  <a:pt x="90" y="426"/>
                </a:lnTo>
                <a:lnTo>
                  <a:pt x="88" y="424"/>
                </a:lnTo>
                <a:lnTo>
                  <a:pt x="86" y="424"/>
                </a:lnTo>
                <a:lnTo>
                  <a:pt x="84" y="422"/>
                </a:lnTo>
                <a:lnTo>
                  <a:pt x="80" y="420"/>
                </a:lnTo>
                <a:lnTo>
                  <a:pt x="80" y="420"/>
                </a:lnTo>
                <a:lnTo>
                  <a:pt x="78" y="418"/>
                </a:lnTo>
                <a:lnTo>
                  <a:pt x="76" y="418"/>
                </a:lnTo>
                <a:lnTo>
                  <a:pt x="70" y="420"/>
                </a:lnTo>
                <a:lnTo>
                  <a:pt x="70" y="420"/>
                </a:lnTo>
                <a:lnTo>
                  <a:pt x="68" y="420"/>
                </a:lnTo>
                <a:lnTo>
                  <a:pt x="68" y="422"/>
                </a:lnTo>
                <a:lnTo>
                  <a:pt x="70" y="424"/>
                </a:lnTo>
                <a:lnTo>
                  <a:pt x="70" y="428"/>
                </a:lnTo>
                <a:lnTo>
                  <a:pt x="70" y="428"/>
                </a:lnTo>
                <a:lnTo>
                  <a:pt x="68" y="430"/>
                </a:lnTo>
                <a:lnTo>
                  <a:pt x="64" y="430"/>
                </a:lnTo>
                <a:lnTo>
                  <a:pt x="58" y="434"/>
                </a:lnTo>
                <a:lnTo>
                  <a:pt x="58" y="434"/>
                </a:lnTo>
                <a:lnTo>
                  <a:pt x="54" y="438"/>
                </a:lnTo>
                <a:lnTo>
                  <a:pt x="52" y="436"/>
                </a:lnTo>
                <a:lnTo>
                  <a:pt x="52" y="434"/>
                </a:lnTo>
                <a:lnTo>
                  <a:pt x="52" y="430"/>
                </a:lnTo>
                <a:lnTo>
                  <a:pt x="52" y="430"/>
                </a:lnTo>
                <a:lnTo>
                  <a:pt x="48" y="426"/>
                </a:lnTo>
                <a:lnTo>
                  <a:pt x="44" y="424"/>
                </a:lnTo>
                <a:lnTo>
                  <a:pt x="40" y="420"/>
                </a:lnTo>
                <a:lnTo>
                  <a:pt x="36" y="416"/>
                </a:lnTo>
                <a:lnTo>
                  <a:pt x="36" y="416"/>
                </a:lnTo>
                <a:lnTo>
                  <a:pt x="32" y="408"/>
                </a:lnTo>
                <a:lnTo>
                  <a:pt x="32" y="408"/>
                </a:lnTo>
                <a:lnTo>
                  <a:pt x="32" y="400"/>
                </a:lnTo>
                <a:lnTo>
                  <a:pt x="32" y="398"/>
                </a:lnTo>
                <a:lnTo>
                  <a:pt x="30" y="398"/>
                </a:lnTo>
                <a:lnTo>
                  <a:pt x="26" y="402"/>
                </a:lnTo>
                <a:lnTo>
                  <a:pt x="26" y="402"/>
                </a:lnTo>
                <a:lnTo>
                  <a:pt x="24" y="404"/>
                </a:lnTo>
                <a:lnTo>
                  <a:pt x="22" y="402"/>
                </a:lnTo>
                <a:lnTo>
                  <a:pt x="18" y="400"/>
                </a:lnTo>
                <a:lnTo>
                  <a:pt x="18" y="400"/>
                </a:lnTo>
                <a:lnTo>
                  <a:pt x="14" y="400"/>
                </a:lnTo>
                <a:lnTo>
                  <a:pt x="10" y="400"/>
                </a:lnTo>
                <a:lnTo>
                  <a:pt x="6" y="402"/>
                </a:lnTo>
                <a:lnTo>
                  <a:pt x="0" y="186"/>
                </a:lnTo>
                <a:lnTo>
                  <a:pt x="0" y="186"/>
                </a:lnTo>
                <a:lnTo>
                  <a:pt x="10" y="188"/>
                </a:lnTo>
                <a:lnTo>
                  <a:pt x="12" y="190"/>
                </a:lnTo>
                <a:lnTo>
                  <a:pt x="12" y="190"/>
                </a:lnTo>
                <a:lnTo>
                  <a:pt x="20" y="190"/>
                </a:lnTo>
                <a:lnTo>
                  <a:pt x="28" y="188"/>
                </a:lnTo>
                <a:lnTo>
                  <a:pt x="28" y="188"/>
                </a:lnTo>
                <a:lnTo>
                  <a:pt x="32" y="192"/>
                </a:lnTo>
                <a:lnTo>
                  <a:pt x="36" y="196"/>
                </a:lnTo>
                <a:lnTo>
                  <a:pt x="36" y="196"/>
                </a:lnTo>
                <a:lnTo>
                  <a:pt x="40" y="196"/>
                </a:lnTo>
                <a:lnTo>
                  <a:pt x="40" y="196"/>
                </a:lnTo>
                <a:lnTo>
                  <a:pt x="44" y="200"/>
                </a:lnTo>
                <a:lnTo>
                  <a:pt x="44" y="200"/>
                </a:lnTo>
                <a:lnTo>
                  <a:pt x="50" y="200"/>
                </a:lnTo>
                <a:lnTo>
                  <a:pt x="50" y="200"/>
                </a:lnTo>
                <a:lnTo>
                  <a:pt x="52" y="202"/>
                </a:lnTo>
                <a:lnTo>
                  <a:pt x="56" y="206"/>
                </a:lnTo>
                <a:lnTo>
                  <a:pt x="56" y="206"/>
                </a:lnTo>
                <a:lnTo>
                  <a:pt x="60" y="206"/>
                </a:lnTo>
                <a:lnTo>
                  <a:pt x="60" y="206"/>
                </a:lnTo>
                <a:lnTo>
                  <a:pt x="74" y="212"/>
                </a:lnTo>
                <a:lnTo>
                  <a:pt x="74" y="212"/>
                </a:lnTo>
                <a:lnTo>
                  <a:pt x="78" y="216"/>
                </a:lnTo>
                <a:lnTo>
                  <a:pt x="80" y="222"/>
                </a:lnTo>
                <a:lnTo>
                  <a:pt x="82" y="222"/>
                </a:lnTo>
                <a:lnTo>
                  <a:pt x="82" y="222"/>
                </a:lnTo>
                <a:lnTo>
                  <a:pt x="82" y="216"/>
                </a:lnTo>
                <a:lnTo>
                  <a:pt x="82" y="214"/>
                </a:lnTo>
                <a:lnTo>
                  <a:pt x="78" y="212"/>
                </a:lnTo>
                <a:lnTo>
                  <a:pt x="74" y="210"/>
                </a:lnTo>
                <a:lnTo>
                  <a:pt x="74" y="210"/>
                </a:lnTo>
                <a:lnTo>
                  <a:pt x="74" y="204"/>
                </a:lnTo>
                <a:lnTo>
                  <a:pt x="82" y="204"/>
                </a:lnTo>
                <a:lnTo>
                  <a:pt x="82" y="204"/>
                </a:lnTo>
                <a:lnTo>
                  <a:pt x="82" y="206"/>
                </a:lnTo>
                <a:lnTo>
                  <a:pt x="82" y="208"/>
                </a:lnTo>
                <a:lnTo>
                  <a:pt x="82" y="208"/>
                </a:lnTo>
                <a:lnTo>
                  <a:pt x="86" y="208"/>
                </a:lnTo>
                <a:lnTo>
                  <a:pt x="86" y="208"/>
                </a:lnTo>
                <a:lnTo>
                  <a:pt x="86" y="202"/>
                </a:lnTo>
                <a:lnTo>
                  <a:pt x="86" y="202"/>
                </a:lnTo>
                <a:lnTo>
                  <a:pt x="88" y="202"/>
                </a:lnTo>
                <a:lnTo>
                  <a:pt x="92" y="202"/>
                </a:lnTo>
                <a:lnTo>
                  <a:pt x="92" y="202"/>
                </a:lnTo>
                <a:lnTo>
                  <a:pt x="92" y="200"/>
                </a:lnTo>
                <a:lnTo>
                  <a:pt x="92" y="200"/>
                </a:lnTo>
                <a:lnTo>
                  <a:pt x="94" y="198"/>
                </a:lnTo>
                <a:lnTo>
                  <a:pt x="94" y="198"/>
                </a:lnTo>
                <a:lnTo>
                  <a:pt x="94" y="190"/>
                </a:lnTo>
                <a:lnTo>
                  <a:pt x="94" y="190"/>
                </a:lnTo>
                <a:lnTo>
                  <a:pt x="94" y="192"/>
                </a:lnTo>
                <a:lnTo>
                  <a:pt x="96" y="192"/>
                </a:lnTo>
                <a:lnTo>
                  <a:pt x="96" y="192"/>
                </a:lnTo>
                <a:lnTo>
                  <a:pt x="102" y="196"/>
                </a:lnTo>
                <a:lnTo>
                  <a:pt x="102" y="196"/>
                </a:lnTo>
                <a:lnTo>
                  <a:pt x="102" y="200"/>
                </a:lnTo>
                <a:lnTo>
                  <a:pt x="102" y="200"/>
                </a:lnTo>
                <a:lnTo>
                  <a:pt x="112" y="198"/>
                </a:lnTo>
                <a:lnTo>
                  <a:pt x="112" y="198"/>
                </a:lnTo>
                <a:lnTo>
                  <a:pt x="112" y="194"/>
                </a:lnTo>
                <a:lnTo>
                  <a:pt x="114" y="190"/>
                </a:lnTo>
                <a:lnTo>
                  <a:pt x="114" y="190"/>
                </a:lnTo>
                <a:lnTo>
                  <a:pt x="116" y="190"/>
                </a:lnTo>
                <a:lnTo>
                  <a:pt x="118" y="190"/>
                </a:lnTo>
                <a:lnTo>
                  <a:pt x="120" y="188"/>
                </a:lnTo>
                <a:lnTo>
                  <a:pt x="120" y="188"/>
                </a:lnTo>
                <a:lnTo>
                  <a:pt x="126" y="188"/>
                </a:lnTo>
                <a:lnTo>
                  <a:pt x="126" y="188"/>
                </a:lnTo>
                <a:lnTo>
                  <a:pt x="128" y="186"/>
                </a:lnTo>
                <a:lnTo>
                  <a:pt x="128" y="186"/>
                </a:lnTo>
                <a:lnTo>
                  <a:pt x="132" y="186"/>
                </a:lnTo>
                <a:lnTo>
                  <a:pt x="138" y="188"/>
                </a:lnTo>
                <a:lnTo>
                  <a:pt x="138" y="188"/>
                </a:lnTo>
                <a:lnTo>
                  <a:pt x="142" y="176"/>
                </a:lnTo>
                <a:lnTo>
                  <a:pt x="142" y="176"/>
                </a:lnTo>
                <a:lnTo>
                  <a:pt x="158" y="176"/>
                </a:lnTo>
                <a:lnTo>
                  <a:pt x="158" y="176"/>
                </a:lnTo>
                <a:lnTo>
                  <a:pt x="158" y="182"/>
                </a:lnTo>
                <a:lnTo>
                  <a:pt x="152" y="184"/>
                </a:lnTo>
                <a:lnTo>
                  <a:pt x="152" y="184"/>
                </a:lnTo>
                <a:lnTo>
                  <a:pt x="148" y="192"/>
                </a:lnTo>
                <a:lnTo>
                  <a:pt x="148" y="192"/>
                </a:lnTo>
                <a:lnTo>
                  <a:pt x="144" y="192"/>
                </a:lnTo>
                <a:lnTo>
                  <a:pt x="142" y="192"/>
                </a:lnTo>
                <a:lnTo>
                  <a:pt x="142" y="192"/>
                </a:lnTo>
                <a:lnTo>
                  <a:pt x="124" y="196"/>
                </a:lnTo>
                <a:lnTo>
                  <a:pt x="124" y="196"/>
                </a:lnTo>
                <a:lnTo>
                  <a:pt x="124" y="204"/>
                </a:lnTo>
                <a:lnTo>
                  <a:pt x="124" y="204"/>
                </a:lnTo>
                <a:lnTo>
                  <a:pt x="120" y="204"/>
                </a:lnTo>
                <a:lnTo>
                  <a:pt x="116" y="206"/>
                </a:lnTo>
                <a:lnTo>
                  <a:pt x="116" y="206"/>
                </a:lnTo>
                <a:lnTo>
                  <a:pt x="118" y="212"/>
                </a:lnTo>
                <a:lnTo>
                  <a:pt x="118" y="212"/>
                </a:lnTo>
                <a:lnTo>
                  <a:pt x="114" y="216"/>
                </a:lnTo>
                <a:lnTo>
                  <a:pt x="112" y="222"/>
                </a:lnTo>
                <a:lnTo>
                  <a:pt x="112" y="222"/>
                </a:lnTo>
                <a:lnTo>
                  <a:pt x="120" y="220"/>
                </a:lnTo>
                <a:lnTo>
                  <a:pt x="120" y="220"/>
                </a:lnTo>
                <a:lnTo>
                  <a:pt x="120" y="218"/>
                </a:lnTo>
                <a:lnTo>
                  <a:pt x="120" y="214"/>
                </a:lnTo>
                <a:lnTo>
                  <a:pt x="120" y="214"/>
                </a:lnTo>
                <a:lnTo>
                  <a:pt x="124" y="212"/>
                </a:lnTo>
                <a:lnTo>
                  <a:pt x="124" y="212"/>
                </a:lnTo>
                <a:lnTo>
                  <a:pt x="124" y="208"/>
                </a:lnTo>
                <a:lnTo>
                  <a:pt x="126" y="208"/>
                </a:lnTo>
                <a:lnTo>
                  <a:pt x="126" y="208"/>
                </a:lnTo>
                <a:lnTo>
                  <a:pt x="126" y="208"/>
                </a:lnTo>
                <a:lnTo>
                  <a:pt x="126" y="208"/>
                </a:lnTo>
                <a:lnTo>
                  <a:pt x="128" y="208"/>
                </a:lnTo>
                <a:lnTo>
                  <a:pt x="128" y="208"/>
                </a:lnTo>
                <a:lnTo>
                  <a:pt x="128" y="206"/>
                </a:lnTo>
                <a:lnTo>
                  <a:pt x="128" y="206"/>
                </a:lnTo>
                <a:lnTo>
                  <a:pt x="132" y="206"/>
                </a:lnTo>
                <a:lnTo>
                  <a:pt x="132" y="206"/>
                </a:lnTo>
                <a:lnTo>
                  <a:pt x="132" y="204"/>
                </a:lnTo>
                <a:lnTo>
                  <a:pt x="132" y="204"/>
                </a:lnTo>
                <a:lnTo>
                  <a:pt x="132" y="204"/>
                </a:lnTo>
                <a:lnTo>
                  <a:pt x="132" y="202"/>
                </a:lnTo>
                <a:lnTo>
                  <a:pt x="132" y="202"/>
                </a:lnTo>
                <a:lnTo>
                  <a:pt x="132" y="202"/>
                </a:lnTo>
                <a:lnTo>
                  <a:pt x="134" y="200"/>
                </a:lnTo>
                <a:lnTo>
                  <a:pt x="134" y="200"/>
                </a:lnTo>
                <a:lnTo>
                  <a:pt x="136" y="200"/>
                </a:lnTo>
                <a:lnTo>
                  <a:pt x="136" y="200"/>
                </a:lnTo>
                <a:lnTo>
                  <a:pt x="138" y="204"/>
                </a:lnTo>
                <a:lnTo>
                  <a:pt x="138" y="204"/>
                </a:lnTo>
                <a:lnTo>
                  <a:pt x="148" y="200"/>
                </a:lnTo>
                <a:lnTo>
                  <a:pt x="148" y="200"/>
                </a:lnTo>
                <a:lnTo>
                  <a:pt x="148" y="198"/>
                </a:lnTo>
                <a:lnTo>
                  <a:pt x="148" y="196"/>
                </a:lnTo>
                <a:lnTo>
                  <a:pt x="150" y="192"/>
                </a:lnTo>
                <a:lnTo>
                  <a:pt x="150" y="192"/>
                </a:lnTo>
                <a:lnTo>
                  <a:pt x="154" y="190"/>
                </a:lnTo>
                <a:lnTo>
                  <a:pt x="158" y="188"/>
                </a:lnTo>
                <a:lnTo>
                  <a:pt x="168" y="186"/>
                </a:lnTo>
                <a:lnTo>
                  <a:pt x="168" y="186"/>
                </a:lnTo>
                <a:lnTo>
                  <a:pt x="174" y="180"/>
                </a:lnTo>
                <a:lnTo>
                  <a:pt x="176" y="172"/>
                </a:lnTo>
                <a:lnTo>
                  <a:pt x="176" y="172"/>
                </a:lnTo>
                <a:lnTo>
                  <a:pt x="176" y="170"/>
                </a:lnTo>
                <a:lnTo>
                  <a:pt x="174" y="170"/>
                </a:lnTo>
                <a:lnTo>
                  <a:pt x="174" y="170"/>
                </a:lnTo>
                <a:lnTo>
                  <a:pt x="174" y="166"/>
                </a:lnTo>
                <a:lnTo>
                  <a:pt x="174" y="162"/>
                </a:lnTo>
                <a:lnTo>
                  <a:pt x="178" y="158"/>
                </a:lnTo>
                <a:lnTo>
                  <a:pt x="178" y="158"/>
                </a:lnTo>
                <a:lnTo>
                  <a:pt x="182" y="162"/>
                </a:lnTo>
                <a:lnTo>
                  <a:pt x="186" y="166"/>
                </a:lnTo>
                <a:lnTo>
                  <a:pt x="186" y="166"/>
                </a:lnTo>
                <a:lnTo>
                  <a:pt x="190" y="172"/>
                </a:lnTo>
                <a:lnTo>
                  <a:pt x="200" y="180"/>
                </a:lnTo>
                <a:lnTo>
                  <a:pt x="200" y="180"/>
                </a:lnTo>
                <a:lnTo>
                  <a:pt x="204" y="180"/>
                </a:lnTo>
                <a:lnTo>
                  <a:pt x="206" y="182"/>
                </a:lnTo>
                <a:lnTo>
                  <a:pt x="206" y="182"/>
                </a:lnTo>
                <a:lnTo>
                  <a:pt x="208" y="184"/>
                </a:lnTo>
                <a:lnTo>
                  <a:pt x="208" y="188"/>
                </a:lnTo>
                <a:lnTo>
                  <a:pt x="208" y="188"/>
                </a:lnTo>
                <a:lnTo>
                  <a:pt x="210" y="186"/>
                </a:lnTo>
                <a:lnTo>
                  <a:pt x="210" y="186"/>
                </a:lnTo>
                <a:lnTo>
                  <a:pt x="212" y="190"/>
                </a:lnTo>
                <a:lnTo>
                  <a:pt x="212" y="190"/>
                </a:lnTo>
                <a:lnTo>
                  <a:pt x="222" y="198"/>
                </a:lnTo>
                <a:lnTo>
                  <a:pt x="230" y="206"/>
                </a:lnTo>
                <a:lnTo>
                  <a:pt x="230" y="206"/>
                </a:lnTo>
                <a:lnTo>
                  <a:pt x="234" y="206"/>
                </a:lnTo>
                <a:lnTo>
                  <a:pt x="234" y="206"/>
                </a:lnTo>
                <a:lnTo>
                  <a:pt x="232" y="204"/>
                </a:lnTo>
                <a:lnTo>
                  <a:pt x="232" y="202"/>
                </a:lnTo>
                <a:lnTo>
                  <a:pt x="232" y="202"/>
                </a:lnTo>
                <a:lnTo>
                  <a:pt x="236" y="200"/>
                </a:lnTo>
                <a:lnTo>
                  <a:pt x="236" y="200"/>
                </a:lnTo>
                <a:lnTo>
                  <a:pt x="234" y="194"/>
                </a:lnTo>
                <a:lnTo>
                  <a:pt x="234" y="192"/>
                </a:lnTo>
                <a:lnTo>
                  <a:pt x="236" y="192"/>
                </a:lnTo>
                <a:lnTo>
                  <a:pt x="236" y="192"/>
                </a:lnTo>
                <a:lnTo>
                  <a:pt x="234" y="190"/>
                </a:lnTo>
                <a:lnTo>
                  <a:pt x="234" y="188"/>
                </a:lnTo>
                <a:lnTo>
                  <a:pt x="238" y="184"/>
                </a:lnTo>
                <a:lnTo>
                  <a:pt x="238" y="184"/>
                </a:lnTo>
                <a:lnTo>
                  <a:pt x="242" y="184"/>
                </a:lnTo>
                <a:lnTo>
                  <a:pt x="242" y="184"/>
                </a:lnTo>
                <a:lnTo>
                  <a:pt x="240" y="186"/>
                </a:lnTo>
                <a:lnTo>
                  <a:pt x="238" y="188"/>
                </a:lnTo>
                <a:lnTo>
                  <a:pt x="238" y="188"/>
                </a:lnTo>
                <a:lnTo>
                  <a:pt x="244" y="204"/>
                </a:lnTo>
                <a:lnTo>
                  <a:pt x="244" y="204"/>
                </a:lnTo>
                <a:lnTo>
                  <a:pt x="254" y="198"/>
                </a:lnTo>
                <a:lnTo>
                  <a:pt x="254" y="198"/>
                </a:lnTo>
                <a:lnTo>
                  <a:pt x="254" y="192"/>
                </a:lnTo>
                <a:lnTo>
                  <a:pt x="254" y="192"/>
                </a:lnTo>
                <a:lnTo>
                  <a:pt x="260" y="192"/>
                </a:lnTo>
                <a:lnTo>
                  <a:pt x="268" y="192"/>
                </a:lnTo>
                <a:lnTo>
                  <a:pt x="268" y="192"/>
                </a:lnTo>
                <a:lnTo>
                  <a:pt x="274" y="196"/>
                </a:lnTo>
                <a:lnTo>
                  <a:pt x="280" y="198"/>
                </a:lnTo>
                <a:lnTo>
                  <a:pt x="280" y="198"/>
                </a:lnTo>
                <a:lnTo>
                  <a:pt x="284" y="198"/>
                </a:lnTo>
                <a:lnTo>
                  <a:pt x="284" y="198"/>
                </a:lnTo>
                <a:lnTo>
                  <a:pt x="286" y="202"/>
                </a:lnTo>
                <a:lnTo>
                  <a:pt x="286" y="202"/>
                </a:lnTo>
                <a:lnTo>
                  <a:pt x="298" y="208"/>
                </a:lnTo>
                <a:lnTo>
                  <a:pt x="310" y="210"/>
                </a:lnTo>
                <a:lnTo>
                  <a:pt x="310" y="214"/>
                </a:lnTo>
                <a:lnTo>
                  <a:pt x="310" y="214"/>
                </a:lnTo>
                <a:lnTo>
                  <a:pt x="316" y="214"/>
                </a:lnTo>
                <a:lnTo>
                  <a:pt x="322" y="214"/>
                </a:lnTo>
                <a:lnTo>
                  <a:pt x="322" y="214"/>
                </a:lnTo>
                <a:lnTo>
                  <a:pt x="328" y="220"/>
                </a:lnTo>
                <a:lnTo>
                  <a:pt x="328" y="220"/>
                </a:lnTo>
                <a:lnTo>
                  <a:pt x="332" y="220"/>
                </a:lnTo>
                <a:lnTo>
                  <a:pt x="336" y="220"/>
                </a:lnTo>
                <a:lnTo>
                  <a:pt x="338" y="222"/>
                </a:lnTo>
                <a:lnTo>
                  <a:pt x="338" y="222"/>
                </a:lnTo>
                <a:lnTo>
                  <a:pt x="344" y="224"/>
                </a:lnTo>
                <a:lnTo>
                  <a:pt x="344" y="224"/>
                </a:lnTo>
                <a:lnTo>
                  <a:pt x="346" y="224"/>
                </a:lnTo>
                <a:lnTo>
                  <a:pt x="346" y="222"/>
                </a:lnTo>
                <a:lnTo>
                  <a:pt x="344" y="220"/>
                </a:lnTo>
                <a:lnTo>
                  <a:pt x="344" y="220"/>
                </a:lnTo>
                <a:lnTo>
                  <a:pt x="342" y="220"/>
                </a:lnTo>
                <a:lnTo>
                  <a:pt x="342" y="218"/>
                </a:lnTo>
                <a:lnTo>
                  <a:pt x="342" y="218"/>
                </a:lnTo>
                <a:lnTo>
                  <a:pt x="348" y="218"/>
                </a:lnTo>
                <a:lnTo>
                  <a:pt x="348" y="218"/>
                </a:lnTo>
                <a:lnTo>
                  <a:pt x="350" y="216"/>
                </a:lnTo>
                <a:lnTo>
                  <a:pt x="352" y="216"/>
                </a:lnTo>
                <a:lnTo>
                  <a:pt x="352" y="216"/>
                </a:lnTo>
                <a:lnTo>
                  <a:pt x="354" y="220"/>
                </a:lnTo>
                <a:lnTo>
                  <a:pt x="354" y="220"/>
                </a:lnTo>
                <a:lnTo>
                  <a:pt x="356" y="220"/>
                </a:lnTo>
                <a:lnTo>
                  <a:pt x="358" y="220"/>
                </a:lnTo>
                <a:lnTo>
                  <a:pt x="366" y="224"/>
                </a:lnTo>
                <a:lnTo>
                  <a:pt x="366" y="224"/>
                </a:lnTo>
                <a:lnTo>
                  <a:pt x="366" y="228"/>
                </a:lnTo>
                <a:lnTo>
                  <a:pt x="368" y="230"/>
                </a:lnTo>
                <a:lnTo>
                  <a:pt x="370" y="232"/>
                </a:lnTo>
                <a:lnTo>
                  <a:pt x="368" y="234"/>
                </a:lnTo>
                <a:lnTo>
                  <a:pt x="368" y="234"/>
                </a:lnTo>
                <a:lnTo>
                  <a:pt x="358" y="234"/>
                </a:lnTo>
                <a:lnTo>
                  <a:pt x="358" y="234"/>
                </a:lnTo>
                <a:lnTo>
                  <a:pt x="358" y="238"/>
                </a:lnTo>
                <a:lnTo>
                  <a:pt x="358" y="238"/>
                </a:lnTo>
                <a:lnTo>
                  <a:pt x="356" y="240"/>
                </a:lnTo>
                <a:lnTo>
                  <a:pt x="354" y="248"/>
                </a:lnTo>
                <a:lnTo>
                  <a:pt x="354" y="248"/>
                </a:lnTo>
                <a:lnTo>
                  <a:pt x="368" y="250"/>
                </a:lnTo>
                <a:lnTo>
                  <a:pt x="384" y="248"/>
                </a:lnTo>
                <a:lnTo>
                  <a:pt x="386" y="246"/>
                </a:lnTo>
                <a:lnTo>
                  <a:pt x="386" y="246"/>
                </a:lnTo>
                <a:lnTo>
                  <a:pt x="388" y="248"/>
                </a:lnTo>
                <a:lnTo>
                  <a:pt x="390" y="248"/>
                </a:lnTo>
                <a:lnTo>
                  <a:pt x="390" y="248"/>
                </a:lnTo>
                <a:lnTo>
                  <a:pt x="396" y="244"/>
                </a:lnTo>
                <a:lnTo>
                  <a:pt x="396" y="244"/>
                </a:lnTo>
                <a:lnTo>
                  <a:pt x="404" y="244"/>
                </a:lnTo>
                <a:lnTo>
                  <a:pt x="404" y="244"/>
                </a:lnTo>
                <a:lnTo>
                  <a:pt x="408" y="240"/>
                </a:lnTo>
                <a:lnTo>
                  <a:pt x="408" y="240"/>
                </a:lnTo>
                <a:lnTo>
                  <a:pt x="414" y="238"/>
                </a:lnTo>
                <a:lnTo>
                  <a:pt x="414" y="238"/>
                </a:lnTo>
                <a:lnTo>
                  <a:pt x="416" y="244"/>
                </a:lnTo>
                <a:lnTo>
                  <a:pt x="422" y="246"/>
                </a:lnTo>
                <a:lnTo>
                  <a:pt x="422" y="246"/>
                </a:lnTo>
                <a:lnTo>
                  <a:pt x="426" y="246"/>
                </a:lnTo>
                <a:lnTo>
                  <a:pt x="426" y="246"/>
                </a:lnTo>
                <a:lnTo>
                  <a:pt x="428" y="252"/>
                </a:lnTo>
                <a:lnTo>
                  <a:pt x="428" y="252"/>
                </a:lnTo>
                <a:lnTo>
                  <a:pt x="428" y="254"/>
                </a:lnTo>
                <a:lnTo>
                  <a:pt x="428" y="254"/>
                </a:lnTo>
                <a:lnTo>
                  <a:pt x="426" y="254"/>
                </a:lnTo>
                <a:lnTo>
                  <a:pt x="426" y="254"/>
                </a:lnTo>
                <a:lnTo>
                  <a:pt x="428" y="260"/>
                </a:lnTo>
                <a:lnTo>
                  <a:pt x="430" y="260"/>
                </a:lnTo>
                <a:lnTo>
                  <a:pt x="430" y="260"/>
                </a:lnTo>
                <a:lnTo>
                  <a:pt x="434" y="250"/>
                </a:lnTo>
                <a:lnTo>
                  <a:pt x="434" y="250"/>
                </a:lnTo>
                <a:lnTo>
                  <a:pt x="436" y="264"/>
                </a:lnTo>
                <a:lnTo>
                  <a:pt x="438" y="270"/>
                </a:lnTo>
                <a:lnTo>
                  <a:pt x="442" y="274"/>
                </a:lnTo>
                <a:lnTo>
                  <a:pt x="442" y="274"/>
                </a:lnTo>
                <a:lnTo>
                  <a:pt x="444" y="268"/>
                </a:lnTo>
                <a:lnTo>
                  <a:pt x="444" y="268"/>
                </a:lnTo>
                <a:lnTo>
                  <a:pt x="448" y="268"/>
                </a:lnTo>
                <a:lnTo>
                  <a:pt x="448" y="268"/>
                </a:lnTo>
                <a:lnTo>
                  <a:pt x="448" y="266"/>
                </a:lnTo>
                <a:lnTo>
                  <a:pt x="448" y="266"/>
                </a:lnTo>
                <a:lnTo>
                  <a:pt x="446" y="264"/>
                </a:lnTo>
                <a:lnTo>
                  <a:pt x="442" y="262"/>
                </a:lnTo>
                <a:lnTo>
                  <a:pt x="442" y="262"/>
                </a:lnTo>
                <a:lnTo>
                  <a:pt x="444" y="260"/>
                </a:lnTo>
                <a:lnTo>
                  <a:pt x="444" y="256"/>
                </a:lnTo>
                <a:lnTo>
                  <a:pt x="444" y="256"/>
                </a:lnTo>
                <a:lnTo>
                  <a:pt x="444" y="256"/>
                </a:lnTo>
                <a:lnTo>
                  <a:pt x="440" y="248"/>
                </a:lnTo>
                <a:lnTo>
                  <a:pt x="440" y="248"/>
                </a:lnTo>
                <a:lnTo>
                  <a:pt x="444" y="246"/>
                </a:lnTo>
                <a:lnTo>
                  <a:pt x="444" y="246"/>
                </a:lnTo>
                <a:lnTo>
                  <a:pt x="444" y="242"/>
                </a:lnTo>
                <a:lnTo>
                  <a:pt x="444" y="242"/>
                </a:lnTo>
                <a:lnTo>
                  <a:pt x="448" y="242"/>
                </a:lnTo>
                <a:lnTo>
                  <a:pt x="448" y="242"/>
                </a:lnTo>
                <a:lnTo>
                  <a:pt x="450" y="240"/>
                </a:lnTo>
                <a:lnTo>
                  <a:pt x="452" y="238"/>
                </a:lnTo>
                <a:lnTo>
                  <a:pt x="452" y="238"/>
                </a:lnTo>
                <a:lnTo>
                  <a:pt x="454" y="238"/>
                </a:lnTo>
                <a:lnTo>
                  <a:pt x="458" y="238"/>
                </a:lnTo>
                <a:lnTo>
                  <a:pt x="458" y="236"/>
                </a:lnTo>
                <a:lnTo>
                  <a:pt x="458" y="236"/>
                </a:lnTo>
                <a:lnTo>
                  <a:pt x="462" y="232"/>
                </a:lnTo>
                <a:lnTo>
                  <a:pt x="462" y="232"/>
                </a:lnTo>
                <a:lnTo>
                  <a:pt x="468" y="232"/>
                </a:lnTo>
                <a:lnTo>
                  <a:pt x="468" y="232"/>
                </a:lnTo>
                <a:lnTo>
                  <a:pt x="468" y="230"/>
                </a:lnTo>
                <a:lnTo>
                  <a:pt x="470" y="228"/>
                </a:lnTo>
                <a:lnTo>
                  <a:pt x="470" y="228"/>
                </a:lnTo>
                <a:lnTo>
                  <a:pt x="474" y="228"/>
                </a:lnTo>
                <a:lnTo>
                  <a:pt x="476" y="226"/>
                </a:lnTo>
                <a:lnTo>
                  <a:pt x="474" y="224"/>
                </a:lnTo>
                <a:lnTo>
                  <a:pt x="474" y="224"/>
                </a:lnTo>
                <a:lnTo>
                  <a:pt x="470" y="222"/>
                </a:lnTo>
                <a:lnTo>
                  <a:pt x="470" y="222"/>
                </a:lnTo>
                <a:lnTo>
                  <a:pt x="468" y="222"/>
                </a:lnTo>
                <a:lnTo>
                  <a:pt x="466" y="222"/>
                </a:lnTo>
                <a:lnTo>
                  <a:pt x="466" y="224"/>
                </a:lnTo>
                <a:lnTo>
                  <a:pt x="468" y="224"/>
                </a:lnTo>
                <a:lnTo>
                  <a:pt x="468" y="224"/>
                </a:lnTo>
                <a:lnTo>
                  <a:pt x="468" y="228"/>
                </a:lnTo>
                <a:lnTo>
                  <a:pt x="468" y="228"/>
                </a:lnTo>
                <a:lnTo>
                  <a:pt x="458" y="228"/>
                </a:lnTo>
                <a:lnTo>
                  <a:pt x="452" y="234"/>
                </a:lnTo>
                <a:lnTo>
                  <a:pt x="452" y="234"/>
                </a:lnTo>
                <a:lnTo>
                  <a:pt x="446" y="232"/>
                </a:lnTo>
                <a:lnTo>
                  <a:pt x="446" y="232"/>
                </a:lnTo>
                <a:lnTo>
                  <a:pt x="444" y="232"/>
                </a:lnTo>
                <a:lnTo>
                  <a:pt x="444" y="232"/>
                </a:lnTo>
                <a:lnTo>
                  <a:pt x="444" y="234"/>
                </a:lnTo>
                <a:lnTo>
                  <a:pt x="444" y="234"/>
                </a:lnTo>
                <a:lnTo>
                  <a:pt x="446" y="234"/>
                </a:lnTo>
                <a:lnTo>
                  <a:pt x="446" y="234"/>
                </a:lnTo>
                <a:lnTo>
                  <a:pt x="444" y="238"/>
                </a:lnTo>
                <a:lnTo>
                  <a:pt x="444" y="238"/>
                </a:lnTo>
                <a:lnTo>
                  <a:pt x="442" y="236"/>
                </a:lnTo>
                <a:lnTo>
                  <a:pt x="442" y="236"/>
                </a:lnTo>
                <a:lnTo>
                  <a:pt x="440" y="236"/>
                </a:lnTo>
                <a:lnTo>
                  <a:pt x="438" y="238"/>
                </a:lnTo>
                <a:lnTo>
                  <a:pt x="438" y="238"/>
                </a:lnTo>
                <a:lnTo>
                  <a:pt x="436" y="236"/>
                </a:lnTo>
                <a:lnTo>
                  <a:pt x="436" y="236"/>
                </a:lnTo>
                <a:lnTo>
                  <a:pt x="436" y="236"/>
                </a:lnTo>
                <a:lnTo>
                  <a:pt x="436" y="232"/>
                </a:lnTo>
                <a:lnTo>
                  <a:pt x="436" y="232"/>
                </a:lnTo>
                <a:lnTo>
                  <a:pt x="440" y="232"/>
                </a:lnTo>
                <a:lnTo>
                  <a:pt x="440" y="232"/>
                </a:lnTo>
                <a:lnTo>
                  <a:pt x="442" y="224"/>
                </a:lnTo>
                <a:lnTo>
                  <a:pt x="442" y="218"/>
                </a:lnTo>
                <a:lnTo>
                  <a:pt x="442" y="218"/>
                </a:lnTo>
                <a:lnTo>
                  <a:pt x="454" y="220"/>
                </a:lnTo>
                <a:lnTo>
                  <a:pt x="454" y="220"/>
                </a:lnTo>
                <a:lnTo>
                  <a:pt x="458" y="216"/>
                </a:lnTo>
                <a:lnTo>
                  <a:pt x="458" y="216"/>
                </a:lnTo>
                <a:lnTo>
                  <a:pt x="462" y="218"/>
                </a:lnTo>
                <a:lnTo>
                  <a:pt x="462" y="218"/>
                </a:lnTo>
                <a:lnTo>
                  <a:pt x="470" y="216"/>
                </a:lnTo>
                <a:lnTo>
                  <a:pt x="474" y="216"/>
                </a:lnTo>
                <a:lnTo>
                  <a:pt x="478" y="218"/>
                </a:lnTo>
                <a:lnTo>
                  <a:pt x="478" y="218"/>
                </a:lnTo>
                <a:lnTo>
                  <a:pt x="482" y="222"/>
                </a:lnTo>
                <a:lnTo>
                  <a:pt x="482" y="226"/>
                </a:lnTo>
                <a:lnTo>
                  <a:pt x="484" y="234"/>
                </a:lnTo>
                <a:lnTo>
                  <a:pt x="484" y="234"/>
                </a:lnTo>
                <a:lnTo>
                  <a:pt x="486" y="236"/>
                </a:lnTo>
                <a:lnTo>
                  <a:pt x="490" y="236"/>
                </a:lnTo>
                <a:lnTo>
                  <a:pt x="494" y="232"/>
                </a:lnTo>
                <a:lnTo>
                  <a:pt x="494" y="232"/>
                </a:lnTo>
                <a:lnTo>
                  <a:pt x="498" y="236"/>
                </a:lnTo>
                <a:lnTo>
                  <a:pt x="494" y="240"/>
                </a:lnTo>
                <a:lnTo>
                  <a:pt x="494" y="240"/>
                </a:lnTo>
                <a:lnTo>
                  <a:pt x="500" y="240"/>
                </a:lnTo>
                <a:lnTo>
                  <a:pt x="506" y="240"/>
                </a:lnTo>
                <a:lnTo>
                  <a:pt x="506" y="240"/>
                </a:lnTo>
                <a:lnTo>
                  <a:pt x="506" y="238"/>
                </a:lnTo>
                <a:lnTo>
                  <a:pt x="508" y="236"/>
                </a:lnTo>
                <a:lnTo>
                  <a:pt x="508" y="238"/>
                </a:lnTo>
                <a:lnTo>
                  <a:pt x="508" y="238"/>
                </a:lnTo>
                <a:lnTo>
                  <a:pt x="510" y="238"/>
                </a:lnTo>
                <a:lnTo>
                  <a:pt x="512" y="238"/>
                </a:lnTo>
                <a:lnTo>
                  <a:pt x="512" y="238"/>
                </a:lnTo>
                <a:lnTo>
                  <a:pt x="512" y="240"/>
                </a:lnTo>
                <a:lnTo>
                  <a:pt x="512" y="242"/>
                </a:lnTo>
                <a:lnTo>
                  <a:pt x="512" y="242"/>
                </a:lnTo>
                <a:lnTo>
                  <a:pt x="516" y="242"/>
                </a:lnTo>
                <a:lnTo>
                  <a:pt x="516" y="242"/>
                </a:lnTo>
                <a:lnTo>
                  <a:pt x="516" y="242"/>
                </a:lnTo>
                <a:lnTo>
                  <a:pt x="516" y="244"/>
                </a:lnTo>
                <a:lnTo>
                  <a:pt x="516" y="244"/>
                </a:lnTo>
                <a:lnTo>
                  <a:pt x="520" y="244"/>
                </a:lnTo>
                <a:lnTo>
                  <a:pt x="524" y="244"/>
                </a:lnTo>
                <a:lnTo>
                  <a:pt x="524" y="248"/>
                </a:lnTo>
                <a:lnTo>
                  <a:pt x="524" y="248"/>
                </a:lnTo>
                <a:lnTo>
                  <a:pt x="528" y="248"/>
                </a:lnTo>
                <a:lnTo>
                  <a:pt x="528" y="248"/>
                </a:lnTo>
                <a:lnTo>
                  <a:pt x="528" y="246"/>
                </a:lnTo>
                <a:lnTo>
                  <a:pt x="530" y="246"/>
                </a:lnTo>
                <a:lnTo>
                  <a:pt x="530" y="246"/>
                </a:lnTo>
                <a:lnTo>
                  <a:pt x="532" y="250"/>
                </a:lnTo>
                <a:lnTo>
                  <a:pt x="534" y="250"/>
                </a:lnTo>
                <a:lnTo>
                  <a:pt x="534" y="250"/>
                </a:lnTo>
                <a:lnTo>
                  <a:pt x="542" y="246"/>
                </a:lnTo>
                <a:lnTo>
                  <a:pt x="546" y="244"/>
                </a:lnTo>
                <a:lnTo>
                  <a:pt x="562" y="246"/>
                </a:lnTo>
                <a:lnTo>
                  <a:pt x="562" y="246"/>
                </a:lnTo>
                <a:lnTo>
                  <a:pt x="566" y="248"/>
                </a:lnTo>
                <a:lnTo>
                  <a:pt x="570" y="248"/>
                </a:lnTo>
                <a:lnTo>
                  <a:pt x="570" y="248"/>
                </a:lnTo>
                <a:lnTo>
                  <a:pt x="572" y="246"/>
                </a:lnTo>
                <a:lnTo>
                  <a:pt x="574" y="244"/>
                </a:lnTo>
                <a:lnTo>
                  <a:pt x="574" y="244"/>
                </a:lnTo>
                <a:lnTo>
                  <a:pt x="576" y="244"/>
                </a:lnTo>
                <a:lnTo>
                  <a:pt x="578" y="246"/>
                </a:lnTo>
                <a:lnTo>
                  <a:pt x="578" y="246"/>
                </a:lnTo>
                <a:lnTo>
                  <a:pt x="578" y="244"/>
                </a:lnTo>
                <a:lnTo>
                  <a:pt x="578" y="244"/>
                </a:lnTo>
                <a:lnTo>
                  <a:pt x="578" y="244"/>
                </a:lnTo>
                <a:lnTo>
                  <a:pt x="576" y="242"/>
                </a:lnTo>
                <a:lnTo>
                  <a:pt x="576" y="238"/>
                </a:lnTo>
                <a:lnTo>
                  <a:pt x="576" y="230"/>
                </a:lnTo>
                <a:lnTo>
                  <a:pt x="576" y="230"/>
                </a:lnTo>
                <a:lnTo>
                  <a:pt x="578" y="232"/>
                </a:lnTo>
                <a:lnTo>
                  <a:pt x="578" y="232"/>
                </a:lnTo>
                <a:lnTo>
                  <a:pt x="578" y="228"/>
                </a:lnTo>
                <a:lnTo>
                  <a:pt x="578" y="226"/>
                </a:lnTo>
                <a:lnTo>
                  <a:pt x="578" y="226"/>
                </a:lnTo>
                <a:lnTo>
                  <a:pt x="582" y="228"/>
                </a:lnTo>
                <a:lnTo>
                  <a:pt x="586" y="232"/>
                </a:lnTo>
                <a:lnTo>
                  <a:pt x="586" y="232"/>
                </a:lnTo>
                <a:lnTo>
                  <a:pt x="588" y="232"/>
                </a:lnTo>
                <a:lnTo>
                  <a:pt x="588" y="234"/>
                </a:lnTo>
                <a:lnTo>
                  <a:pt x="588" y="234"/>
                </a:lnTo>
                <a:lnTo>
                  <a:pt x="592" y="236"/>
                </a:lnTo>
                <a:lnTo>
                  <a:pt x="592" y="236"/>
                </a:lnTo>
                <a:lnTo>
                  <a:pt x="592" y="236"/>
                </a:lnTo>
                <a:lnTo>
                  <a:pt x="592" y="236"/>
                </a:lnTo>
                <a:lnTo>
                  <a:pt x="596" y="238"/>
                </a:lnTo>
                <a:lnTo>
                  <a:pt x="596" y="236"/>
                </a:lnTo>
                <a:lnTo>
                  <a:pt x="596" y="236"/>
                </a:lnTo>
                <a:lnTo>
                  <a:pt x="598" y="232"/>
                </a:lnTo>
                <a:lnTo>
                  <a:pt x="600" y="238"/>
                </a:lnTo>
                <a:lnTo>
                  <a:pt x="600" y="238"/>
                </a:lnTo>
                <a:lnTo>
                  <a:pt x="598" y="238"/>
                </a:lnTo>
                <a:lnTo>
                  <a:pt x="600" y="240"/>
                </a:lnTo>
                <a:lnTo>
                  <a:pt x="600" y="240"/>
                </a:lnTo>
                <a:lnTo>
                  <a:pt x="600" y="238"/>
                </a:lnTo>
                <a:lnTo>
                  <a:pt x="602" y="238"/>
                </a:lnTo>
                <a:lnTo>
                  <a:pt x="602" y="238"/>
                </a:lnTo>
                <a:lnTo>
                  <a:pt x="600" y="246"/>
                </a:lnTo>
                <a:lnTo>
                  <a:pt x="598" y="254"/>
                </a:lnTo>
                <a:lnTo>
                  <a:pt x="598" y="254"/>
                </a:lnTo>
                <a:lnTo>
                  <a:pt x="600" y="258"/>
                </a:lnTo>
                <a:lnTo>
                  <a:pt x="604" y="260"/>
                </a:lnTo>
                <a:lnTo>
                  <a:pt x="604" y="260"/>
                </a:lnTo>
                <a:lnTo>
                  <a:pt x="608" y="260"/>
                </a:lnTo>
                <a:lnTo>
                  <a:pt x="608" y="260"/>
                </a:lnTo>
                <a:lnTo>
                  <a:pt x="608" y="262"/>
                </a:lnTo>
                <a:lnTo>
                  <a:pt x="608" y="262"/>
                </a:lnTo>
                <a:lnTo>
                  <a:pt x="608" y="262"/>
                </a:lnTo>
                <a:lnTo>
                  <a:pt x="612" y="266"/>
                </a:lnTo>
                <a:lnTo>
                  <a:pt x="618" y="268"/>
                </a:lnTo>
                <a:lnTo>
                  <a:pt x="618" y="266"/>
                </a:lnTo>
                <a:lnTo>
                  <a:pt x="620" y="266"/>
                </a:lnTo>
                <a:lnTo>
                  <a:pt x="620" y="264"/>
                </a:lnTo>
                <a:lnTo>
                  <a:pt x="620" y="264"/>
                </a:lnTo>
                <a:lnTo>
                  <a:pt x="614" y="262"/>
                </a:lnTo>
                <a:lnTo>
                  <a:pt x="614" y="262"/>
                </a:lnTo>
                <a:lnTo>
                  <a:pt x="616" y="256"/>
                </a:lnTo>
                <a:lnTo>
                  <a:pt x="616" y="256"/>
                </a:lnTo>
                <a:lnTo>
                  <a:pt x="614" y="256"/>
                </a:lnTo>
                <a:lnTo>
                  <a:pt x="610" y="254"/>
                </a:lnTo>
                <a:lnTo>
                  <a:pt x="610" y="252"/>
                </a:lnTo>
                <a:lnTo>
                  <a:pt x="610" y="252"/>
                </a:lnTo>
                <a:lnTo>
                  <a:pt x="614" y="250"/>
                </a:lnTo>
                <a:lnTo>
                  <a:pt x="614" y="250"/>
                </a:lnTo>
                <a:lnTo>
                  <a:pt x="614" y="246"/>
                </a:lnTo>
                <a:lnTo>
                  <a:pt x="614" y="246"/>
                </a:lnTo>
                <a:lnTo>
                  <a:pt x="618" y="244"/>
                </a:lnTo>
                <a:lnTo>
                  <a:pt x="618" y="244"/>
                </a:lnTo>
                <a:lnTo>
                  <a:pt x="618" y="244"/>
                </a:lnTo>
                <a:lnTo>
                  <a:pt x="616" y="244"/>
                </a:lnTo>
                <a:lnTo>
                  <a:pt x="616" y="242"/>
                </a:lnTo>
                <a:lnTo>
                  <a:pt x="616" y="242"/>
                </a:lnTo>
                <a:lnTo>
                  <a:pt x="622" y="242"/>
                </a:lnTo>
                <a:lnTo>
                  <a:pt x="622" y="242"/>
                </a:lnTo>
                <a:lnTo>
                  <a:pt x="624" y="240"/>
                </a:lnTo>
                <a:lnTo>
                  <a:pt x="626" y="236"/>
                </a:lnTo>
                <a:lnTo>
                  <a:pt x="628" y="234"/>
                </a:lnTo>
                <a:lnTo>
                  <a:pt x="630" y="232"/>
                </a:lnTo>
                <a:lnTo>
                  <a:pt x="630" y="232"/>
                </a:lnTo>
                <a:lnTo>
                  <a:pt x="634" y="232"/>
                </a:lnTo>
                <a:lnTo>
                  <a:pt x="634" y="232"/>
                </a:lnTo>
                <a:lnTo>
                  <a:pt x="644" y="226"/>
                </a:lnTo>
                <a:lnTo>
                  <a:pt x="644" y="226"/>
                </a:lnTo>
                <a:lnTo>
                  <a:pt x="644" y="224"/>
                </a:lnTo>
                <a:lnTo>
                  <a:pt x="644" y="224"/>
                </a:lnTo>
                <a:lnTo>
                  <a:pt x="644" y="220"/>
                </a:lnTo>
                <a:lnTo>
                  <a:pt x="644" y="220"/>
                </a:lnTo>
                <a:lnTo>
                  <a:pt x="638" y="224"/>
                </a:lnTo>
                <a:lnTo>
                  <a:pt x="638" y="224"/>
                </a:lnTo>
                <a:lnTo>
                  <a:pt x="634" y="224"/>
                </a:lnTo>
                <a:lnTo>
                  <a:pt x="632" y="222"/>
                </a:lnTo>
                <a:lnTo>
                  <a:pt x="632" y="218"/>
                </a:lnTo>
                <a:lnTo>
                  <a:pt x="634" y="216"/>
                </a:lnTo>
                <a:lnTo>
                  <a:pt x="634" y="216"/>
                </a:lnTo>
                <a:lnTo>
                  <a:pt x="632" y="212"/>
                </a:lnTo>
                <a:lnTo>
                  <a:pt x="632" y="212"/>
                </a:lnTo>
                <a:lnTo>
                  <a:pt x="632" y="210"/>
                </a:lnTo>
                <a:lnTo>
                  <a:pt x="632" y="210"/>
                </a:lnTo>
                <a:lnTo>
                  <a:pt x="636" y="206"/>
                </a:lnTo>
                <a:lnTo>
                  <a:pt x="636" y="206"/>
                </a:lnTo>
                <a:lnTo>
                  <a:pt x="648" y="208"/>
                </a:lnTo>
                <a:lnTo>
                  <a:pt x="648" y="208"/>
                </a:lnTo>
                <a:lnTo>
                  <a:pt x="646" y="204"/>
                </a:lnTo>
                <a:lnTo>
                  <a:pt x="646" y="200"/>
                </a:lnTo>
                <a:lnTo>
                  <a:pt x="646" y="200"/>
                </a:lnTo>
                <a:lnTo>
                  <a:pt x="650" y="196"/>
                </a:lnTo>
                <a:lnTo>
                  <a:pt x="650" y="196"/>
                </a:lnTo>
                <a:lnTo>
                  <a:pt x="656" y="196"/>
                </a:lnTo>
                <a:lnTo>
                  <a:pt x="656" y="196"/>
                </a:lnTo>
                <a:lnTo>
                  <a:pt x="656" y="194"/>
                </a:lnTo>
                <a:lnTo>
                  <a:pt x="656" y="194"/>
                </a:lnTo>
                <a:lnTo>
                  <a:pt x="654" y="194"/>
                </a:lnTo>
                <a:lnTo>
                  <a:pt x="652" y="192"/>
                </a:lnTo>
                <a:lnTo>
                  <a:pt x="652" y="192"/>
                </a:lnTo>
                <a:lnTo>
                  <a:pt x="646" y="196"/>
                </a:lnTo>
                <a:lnTo>
                  <a:pt x="642" y="200"/>
                </a:lnTo>
                <a:lnTo>
                  <a:pt x="642" y="200"/>
                </a:lnTo>
                <a:lnTo>
                  <a:pt x="634" y="202"/>
                </a:lnTo>
                <a:lnTo>
                  <a:pt x="634" y="202"/>
                </a:lnTo>
                <a:lnTo>
                  <a:pt x="630" y="194"/>
                </a:lnTo>
                <a:lnTo>
                  <a:pt x="626" y="190"/>
                </a:lnTo>
                <a:lnTo>
                  <a:pt x="620" y="188"/>
                </a:lnTo>
                <a:lnTo>
                  <a:pt x="618" y="188"/>
                </a:lnTo>
                <a:lnTo>
                  <a:pt x="618" y="188"/>
                </a:lnTo>
                <a:lnTo>
                  <a:pt x="618" y="194"/>
                </a:lnTo>
                <a:lnTo>
                  <a:pt x="618" y="194"/>
                </a:lnTo>
                <a:lnTo>
                  <a:pt x="620" y="194"/>
                </a:lnTo>
                <a:lnTo>
                  <a:pt x="618" y="196"/>
                </a:lnTo>
                <a:lnTo>
                  <a:pt x="616" y="198"/>
                </a:lnTo>
                <a:lnTo>
                  <a:pt x="616" y="198"/>
                </a:lnTo>
                <a:lnTo>
                  <a:pt x="616" y="196"/>
                </a:lnTo>
                <a:lnTo>
                  <a:pt x="614" y="194"/>
                </a:lnTo>
                <a:lnTo>
                  <a:pt x="614" y="194"/>
                </a:lnTo>
                <a:lnTo>
                  <a:pt x="614" y="196"/>
                </a:lnTo>
                <a:lnTo>
                  <a:pt x="614" y="196"/>
                </a:lnTo>
                <a:lnTo>
                  <a:pt x="612" y="196"/>
                </a:lnTo>
                <a:lnTo>
                  <a:pt x="612" y="196"/>
                </a:lnTo>
                <a:lnTo>
                  <a:pt x="612" y="190"/>
                </a:lnTo>
                <a:lnTo>
                  <a:pt x="612" y="190"/>
                </a:lnTo>
                <a:lnTo>
                  <a:pt x="614" y="188"/>
                </a:lnTo>
                <a:lnTo>
                  <a:pt x="614" y="188"/>
                </a:lnTo>
                <a:lnTo>
                  <a:pt x="614" y="188"/>
                </a:lnTo>
                <a:lnTo>
                  <a:pt x="614" y="186"/>
                </a:lnTo>
                <a:lnTo>
                  <a:pt x="614" y="186"/>
                </a:lnTo>
                <a:lnTo>
                  <a:pt x="610" y="186"/>
                </a:lnTo>
                <a:lnTo>
                  <a:pt x="606" y="182"/>
                </a:lnTo>
                <a:lnTo>
                  <a:pt x="606" y="178"/>
                </a:lnTo>
                <a:lnTo>
                  <a:pt x="606" y="178"/>
                </a:lnTo>
                <a:lnTo>
                  <a:pt x="604" y="178"/>
                </a:lnTo>
                <a:lnTo>
                  <a:pt x="604" y="178"/>
                </a:lnTo>
                <a:lnTo>
                  <a:pt x="604" y="174"/>
                </a:lnTo>
                <a:lnTo>
                  <a:pt x="604" y="174"/>
                </a:lnTo>
                <a:lnTo>
                  <a:pt x="612" y="174"/>
                </a:lnTo>
                <a:lnTo>
                  <a:pt x="612" y="174"/>
                </a:lnTo>
                <a:lnTo>
                  <a:pt x="610" y="170"/>
                </a:lnTo>
                <a:lnTo>
                  <a:pt x="608" y="164"/>
                </a:lnTo>
                <a:lnTo>
                  <a:pt x="610" y="162"/>
                </a:lnTo>
                <a:lnTo>
                  <a:pt x="610" y="162"/>
                </a:lnTo>
                <a:lnTo>
                  <a:pt x="610" y="160"/>
                </a:lnTo>
                <a:lnTo>
                  <a:pt x="608" y="160"/>
                </a:lnTo>
                <a:lnTo>
                  <a:pt x="608" y="160"/>
                </a:lnTo>
                <a:lnTo>
                  <a:pt x="608" y="160"/>
                </a:lnTo>
                <a:lnTo>
                  <a:pt x="610" y="156"/>
                </a:lnTo>
                <a:lnTo>
                  <a:pt x="610" y="156"/>
                </a:lnTo>
                <a:lnTo>
                  <a:pt x="612" y="154"/>
                </a:lnTo>
                <a:lnTo>
                  <a:pt x="612" y="154"/>
                </a:lnTo>
                <a:lnTo>
                  <a:pt x="612" y="150"/>
                </a:lnTo>
                <a:lnTo>
                  <a:pt x="612" y="150"/>
                </a:lnTo>
                <a:lnTo>
                  <a:pt x="616" y="150"/>
                </a:lnTo>
                <a:lnTo>
                  <a:pt x="616" y="150"/>
                </a:lnTo>
                <a:lnTo>
                  <a:pt x="620" y="154"/>
                </a:lnTo>
                <a:lnTo>
                  <a:pt x="620" y="154"/>
                </a:lnTo>
                <a:lnTo>
                  <a:pt x="622" y="154"/>
                </a:lnTo>
                <a:lnTo>
                  <a:pt x="622" y="154"/>
                </a:lnTo>
                <a:lnTo>
                  <a:pt x="616" y="146"/>
                </a:lnTo>
                <a:lnTo>
                  <a:pt x="616" y="146"/>
                </a:lnTo>
                <a:lnTo>
                  <a:pt x="618" y="142"/>
                </a:lnTo>
                <a:lnTo>
                  <a:pt x="618" y="142"/>
                </a:lnTo>
                <a:lnTo>
                  <a:pt x="624" y="140"/>
                </a:lnTo>
                <a:lnTo>
                  <a:pt x="624" y="140"/>
                </a:lnTo>
                <a:lnTo>
                  <a:pt x="624" y="140"/>
                </a:lnTo>
                <a:lnTo>
                  <a:pt x="624" y="138"/>
                </a:lnTo>
                <a:lnTo>
                  <a:pt x="624" y="138"/>
                </a:lnTo>
                <a:lnTo>
                  <a:pt x="624" y="136"/>
                </a:lnTo>
                <a:lnTo>
                  <a:pt x="624" y="132"/>
                </a:lnTo>
                <a:lnTo>
                  <a:pt x="624" y="124"/>
                </a:lnTo>
                <a:lnTo>
                  <a:pt x="624" y="124"/>
                </a:lnTo>
                <a:lnTo>
                  <a:pt x="620" y="120"/>
                </a:lnTo>
                <a:lnTo>
                  <a:pt x="620" y="120"/>
                </a:lnTo>
                <a:lnTo>
                  <a:pt x="620" y="118"/>
                </a:lnTo>
                <a:lnTo>
                  <a:pt x="622" y="118"/>
                </a:lnTo>
                <a:lnTo>
                  <a:pt x="622" y="118"/>
                </a:lnTo>
                <a:lnTo>
                  <a:pt x="622" y="112"/>
                </a:lnTo>
                <a:lnTo>
                  <a:pt x="620" y="112"/>
                </a:lnTo>
                <a:lnTo>
                  <a:pt x="620" y="112"/>
                </a:lnTo>
                <a:lnTo>
                  <a:pt x="620" y="104"/>
                </a:lnTo>
                <a:lnTo>
                  <a:pt x="620" y="104"/>
                </a:lnTo>
                <a:lnTo>
                  <a:pt x="616" y="100"/>
                </a:lnTo>
                <a:lnTo>
                  <a:pt x="616" y="100"/>
                </a:lnTo>
                <a:lnTo>
                  <a:pt x="618" y="96"/>
                </a:lnTo>
                <a:lnTo>
                  <a:pt x="616" y="96"/>
                </a:lnTo>
                <a:lnTo>
                  <a:pt x="616" y="96"/>
                </a:lnTo>
                <a:lnTo>
                  <a:pt x="616" y="90"/>
                </a:lnTo>
                <a:lnTo>
                  <a:pt x="616" y="90"/>
                </a:lnTo>
                <a:lnTo>
                  <a:pt x="620" y="90"/>
                </a:lnTo>
                <a:lnTo>
                  <a:pt x="618" y="82"/>
                </a:lnTo>
                <a:lnTo>
                  <a:pt x="618" y="82"/>
                </a:lnTo>
                <a:lnTo>
                  <a:pt x="632" y="82"/>
                </a:lnTo>
                <a:lnTo>
                  <a:pt x="632" y="82"/>
                </a:lnTo>
                <a:lnTo>
                  <a:pt x="632" y="84"/>
                </a:lnTo>
                <a:lnTo>
                  <a:pt x="634" y="84"/>
                </a:lnTo>
                <a:lnTo>
                  <a:pt x="634" y="84"/>
                </a:lnTo>
                <a:lnTo>
                  <a:pt x="640" y="76"/>
                </a:lnTo>
                <a:lnTo>
                  <a:pt x="640" y="76"/>
                </a:lnTo>
                <a:lnTo>
                  <a:pt x="652" y="78"/>
                </a:lnTo>
                <a:lnTo>
                  <a:pt x="662" y="82"/>
                </a:lnTo>
                <a:lnTo>
                  <a:pt x="662" y="82"/>
                </a:lnTo>
                <a:lnTo>
                  <a:pt x="664" y="86"/>
                </a:lnTo>
                <a:lnTo>
                  <a:pt x="664" y="86"/>
                </a:lnTo>
                <a:lnTo>
                  <a:pt x="666" y="84"/>
                </a:lnTo>
                <a:lnTo>
                  <a:pt x="666" y="82"/>
                </a:lnTo>
                <a:lnTo>
                  <a:pt x="666" y="82"/>
                </a:lnTo>
                <a:lnTo>
                  <a:pt x="678" y="84"/>
                </a:lnTo>
                <a:lnTo>
                  <a:pt x="688" y="86"/>
                </a:lnTo>
                <a:lnTo>
                  <a:pt x="688" y="86"/>
                </a:lnTo>
                <a:lnTo>
                  <a:pt x="688" y="90"/>
                </a:lnTo>
                <a:lnTo>
                  <a:pt x="686" y="96"/>
                </a:lnTo>
                <a:lnTo>
                  <a:pt x="686" y="96"/>
                </a:lnTo>
                <a:lnTo>
                  <a:pt x="684" y="96"/>
                </a:lnTo>
                <a:lnTo>
                  <a:pt x="684" y="96"/>
                </a:lnTo>
                <a:lnTo>
                  <a:pt x="684" y="102"/>
                </a:lnTo>
                <a:lnTo>
                  <a:pt x="684" y="102"/>
                </a:lnTo>
                <a:lnTo>
                  <a:pt x="682" y="102"/>
                </a:lnTo>
                <a:lnTo>
                  <a:pt x="680" y="104"/>
                </a:lnTo>
                <a:lnTo>
                  <a:pt x="680" y="104"/>
                </a:lnTo>
                <a:lnTo>
                  <a:pt x="676" y="108"/>
                </a:lnTo>
                <a:lnTo>
                  <a:pt x="674" y="112"/>
                </a:lnTo>
                <a:lnTo>
                  <a:pt x="674" y="112"/>
                </a:lnTo>
                <a:lnTo>
                  <a:pt x="662" y="114"/>
                </a:lnTo>
                <a:lnTo>
                  <a:pt x="652" y="116"/>
                </a:lnTo>
                <a:lnTo>
                  <a:pt x="652" y="116"/>
                </a:lnTo>
                <a:lnTo>
                  <a:pt x="644" y="116"/>
                </a:lnTo>
                <a:lnTo>
                  <a:pt x="638" y="116"/>
                </a:lnTo>
                <a:lnTo>
                  <a:pt x="638" y="116"/>
                </a:lnTo>
                <a:lnTo>
                  <a:pt x="638" y="116"/>
                </a:lnTo>
                <a:lnTo>
                  <a:pt x="636" y="118"/>
                </a:lnTo>
                <a:lnTo>
                  <a:pt x="636" y="118"/>
                </a:lnTo>
                <a:lnTo>
                  <a:pt x="636" y="118"/>
                </a:lnTo>
                <a:lnTo>
                  <a:pt x="636" y="118"/>
                </a:lnTo>
                <a:lnTo>
                  <a:pt x="634" y="118"/>
                </a:lnTo>
                <a:lnTo>
                  <a:pt x="634" y="118"/>
                </a:lnTo>
                <a:lnTo>
                  <a:pt x="634" y="120"/>
                </a:lnTo>
                <a:lnTo>
                  <a:pt x="634" y="122"/>
                </a:lnTo>
                <a:lnTo>
                  <a:pt x="634" y="122"/>
                </a:lnTo>
                <a:lnTo>
                  <a:pt x="640" y="126"/>
                </a:lnTo>
                <a:lnTo>
                  <a:pt x="640" y="126"/>
                </a:lnTo>
                <a:lnTo>
                  <a:pt x="640" y="128"/>
                </a:lnTo>
                <a:lnTo>
                  <a:pt x="640" y="130"/>
                </a:lnTo>
                <a:lnTo>
                  <a:pt x="640" y="130"/>
                </a:lnTo>
                <a:lnTo>
                  <a:pt x="634" y="132"/>
                </a:lnTo>
                <a:lnTo>
                  <a:pt x="634" y="132"/>
                </a:lnTo>
                <a:lnTo>
                  <a:pt x="632" y="136"/>
                </a:lnTo>
                <a:lnTo>
                  <a:pt x="632" y="136"/>
                </a:lnTo>
                <a:lnTo>
                  <a:pt x="634" y="136"/>
                </a:lnTo>
                <a:lnTo>
                  <a:pt x="634" y="136"/>
                </a:lnTo>
                <a:lnTo>
                  <a:pt x="634" y="138"/>
                </a:lnTo>
                <a:lnTo>
                  <a:pt x="634" y="138"/>
                </a:lnTo>
                <a:lnTo>
                  <a:pt x="634" y="138"/>
                </a:lnTo>
                <a:lnTo>
                  <a:pt x="630" y="138"/>
                </a:lnTo>
                <a:lnTo>
                  <a:pt x="630" y="138"/>
                </a:lnTo>
                <a:lnTo>
                  <a:pt x="630" y="142"/>
                </a:lnTo>
                <a:lnTo>
                  <a:pt x="630" y="142"/>
                </a:lnTo>
                <a:lnTo>
                  <a:pt x="632" y="142"/>
                </a:lnTo>
                <a:lnTo>
                  <a:pt x="634" y="142"/>
                </a:lnTo>
                <a:lnTo>
                  <a:pt x="634" y="142"/>
                </a:lnTo>
                <a:lnTo>
                  <a:pt x="634" y="144"/>
                </a:lnTo>
                <a:lnTo>
                  <a:pt x="634" y="146"/>
                </a:lnTo>
                <a:lnTo>
                  <a:pt x="634" y="146"/>
                </a:lnTo>
                <a:lnTo>
                  <a:pt x="636" y="144"/>
                </a:lnTo>
                <a:lnTo>
                  <a:pt x="644" y="150"/>
                </a:lnTo>
                <a:lnTo>
                  <a:pt x="644" y="152"/>
                </a:lnTo>
                <a:lnTo>
                  <a:pt x="644" y="152"/>
                </a:lnTo>
                <a:lnTo>
                  <a:pt x="648" y="152"/>
                </a:lnTo>
                <a:lnTo>
                  <a:pt x="648" y="152"/>
                </a:lnTo>
                <a:lnTo>
                  <a:pt x="652" y="156"/>
                </a:lnTo>
                <a:lnTo>
                  <a:pt x="652" y="158"/>
                </a:lnTo>
                <a:lnTo>
                  <a:pt x="652" y="158"/>
                </a:lnTo>
                <a:lnTo>
                  <a:pt x="656" y="158"/>
                </a:lnTo>
                <a:lnTo>
                  <a:pt x="658" y="158"/>
                </a:lnTo>
                <a:lnTo>
                  <a:pt x="658" y="158"/>
                </a:lnTo>
                <a:lnTo>
                  <a:pt x="662" y="162"/>
                </a:lnTo>
                <a:lnTo>
                  <a:pt x="664" y="166"/>
                </a:lnTo>
                <a:lnTo>
                  <a:pt x="664" y="166"/>
                </a:lnTo>
                <a:lnTo>
                  <a:pt x="668" y="166"/>
                </a:lnTo>
                <a:lnTo>
                  <a:pt x="670" y="166"/>
                </a:lnTo>
                <a:lnTo>
                  <a:pt x="674" y="172"/>
                </a:lnTo>
                <a:lnTo>
                  <a:pt x="674" y="172"/>
                </a:lnTo>
                <a:lnTo>
                  <a:pt x="678" y="170"/>
                </a:lnTo>
                <a:lnTo>
                  <a:pt x="678" y="178"/>
                </a:lnTo>
                <a:lnTo>
                  <a:pt x="678" y="178"/>
                </a:lnTo>
                <a:lnTo>
                  <a:pt x="670" y="178"/>
                </a:lnTo>
                <a:lnTo>
                  <a:pt x="668" y="176"/>
                </a:lnTo>
                <a:lnTo>
                  <a:pt x="668" y="176"/>
                </a:lnTo>
                <a:lnTo>
                  <a:pt x="666" y="174"/>
                </a:lnTo>
                <a:lnTo>
                  <a:pt x="666" y="174"/>
                </a:lnTo>
                <a:lnTo>
                  <a:pt x="664" y="184"/>
                </a:lnTo>
                <a:lnTo>
                  <a:pt x="664" y="184"/>
                </a:lnTo>
                <a:lnTo>
                  <a:pt x="668" y="182"/>
                </a:lnTo>
                <a:lnTo>
                  <a:pt x="668" y="182"/>
                </a:lnTo>
                <a:lnTo>
                  <a:pt x="668" y="182"/>
                </a:lnTo>
                <a:lnTo>
                  <a:pt x="670" y="180"/>
                </a:lnTo>
                <a:lnTo>
                  <a:pt x="672" y="180"/>
                </a:lnTo>
                <a:lnTo>
                  <a:pt x="672" y="180"/>
                </a:lnTo>
                <a:lnTo>
                  <a:pt x="670" y="186"/>
                </a:lnTo>
                <a:lnTo>
                  <a:pt x="670" y="186"/>
                </a:lnTo>
                <a:lnTo>
                  <a:pt x="666" y="190"/>
                </a:lnTo>
                <a:lnTo>
                  <a:pt x="666" y="190"/>
                </a:lnTo>
                <a:lnTo>
                  <a:pt x="662" y="190"/>
                </a:lnTo>
                <a:lnTo>
                  <a:pt x="662" y="190"/>
                </a:lnTo>
                <a:lnTo>
                  <a:pt x="660" y="194"/>
                </a:lnTo>
                <a:lnTo>
                  <a:pt x="660" y="194"/>
                </a:lnTo>
                <a:lnTo>
                  <a:pt x="660" y="194"/>
                </a:lnTo>
                <a:lnTo>
                  <a:pt x="662" y="198"/>
                </a:lnTo>
                <a:lnTo>
                  <a:pt x="662" y="198"/>
                </a:lnTo>
                <a:lnTo>
                  <a:pt x="666" y="198"/>
                </a:lnTo>
                <a:lnTo>
                  <a:pt x="666" y="198"/>
                </a:lnTo>
                <a:lnTo>
                  <a:pt x="668" y="202"/>
                </a:lnTo>
                <a:lnTo>
                  <a:pt x="668" y="202"/>
                </a:lnTo>
                <a:lnTo>
                  <a:pt x="676" y="204"/>
                </a:lnTo>
                <a:lnTo>
                  <a:pt x="682" y="204"/>
                </a:lnTo>
                <a:lnTo>
                  <a:pt x="682" y="204"/>
                </a:lnTo>
                <a:lnTo>
                  <a:pt x="684" y="210"/>
                </a:lnTo>
                <a:lnTo>
                  <a:pt x="684" y="210"/>
                </a:lnTo>
                <a:lnTo>
                  <a:pt x="686" y="214"/>
                </a:lnTo>
                <a:lnTo>
                  <a:pt x="688" y="218"/>
                </a:lnTo>
                <a:lnTo>
                  <a:pt x="686" y="218"/>
                </a:lnTo>
                <a:lnTo>
                  <a:pt x="686" y="218"/>
                </a:lnTo>
                <a:lnTo>
                  <a:pt x="688" y="222"/>
                </a:lnTo>
                <a:lnTo>
                  <a:pt x="688" y="222"/>
                </a:lnTo>
                <a:lnTo>
                  <a:pt x="692" y="230"/>
                </a:lnTo>
                <a:lnTo>
                  <a:pt x="692" y="230"/>
                </a:lnTo>
                <a:lnTo>
                  <a:pt x="690" y="234"/>
                </a:lnTo>
                <a:lnTo>
                  <a:pt x="690" y="236"/>
                </a:lnTo>
                <a:lnTo>
                  <a:pt x="690" y="236"/>
                </a:lnTo>
                <a:lnTo>
                  <a:pt x="696" y="236"/>
                </a:lnTo>
                <a:lnTo>
                  <a:pt x="696" y="230"/>
                </a:lnTo>
                <a:lnTo>
                  <a:pt x="700" y="228"/>
                </a:lnTo>
                <a:lnTo>
                  <a:pt x="700" y="228"/>
                </a:lnTo>
                <a:lnTo>
                  <a:pt x="700" y="226"/>
                </a:lnTo>
                <a:lnTo>
                  <a:pt x="702" y="226"/>
                </a:lnTo>
                <a:lnTo>
                  <a:pt x="702" y="226"/>
                </a:lnTo>
                <a:lnTo>
                  <a:pt x="704" y="222"/>
                </a:lnTo>
                <a:lnTo>
                  <a:pt x="702" y="220"/>
                </a:lnTo>
                <a:lnTo>
                  <a:pt x="702" y="218"/>
                </a:lnTo>
                <a:lnTo>
                  <a:pt x="702" y="218"/>
                </a:lnTo>
                <a:lnTo>
                  <a:pt x="704" y="208"/>
                </a:lnTo>
                <a:lnTo>
                  <a:pt x="704" y="208"/>
                </a:lnTo>
                <a:lnTo>
                  <a:pt x="710" y="206"/>
                </a:lnTo>
                <a:lnTo>
                  <a:pt x="716" y="204"/>
                </a:lnTo>
                <a:lnTo>
                  <a:pt x="716" y="204"/>
                </a:lnTo>
                <a:lnTo>
                  <a:pt x="722" y="214"/>
                </a:lnTo>
                <a:lnTo>
                  <a:pt x="722" y="214"/>
                </a:lnTo>
                <a:lnTo>
                  <a:pt x="722" y="218"/>
                </a:lnTo>
                <a:lnTo>
                  <a:pt x="720" y="220"/>
                </a:lnTo>
                <a:lnTo>
                  <a:pt x="720" y="220"/>
                </a:lnTo>
                <a:lnTo>
                  <a:pt x="718" y="224"/>
                </a:lnTo>
                <a:lnTo>
                  <a:pt x="718" y="224"/>
                </a:lnTo>
                <a:lnTo>
                  <a:pt x="718" y="230"/>
                </a:lnTo>
                <a:lnTo>
                  <a:pt x="718" y="234"/>
                </a:lnTo>
                <a:lnTo>
                  <a:pt x="716" y="234"/>
                </a:lnTo>
                <a:lnTo>
                  <a:pt x="716" y="234"/>
                </a:lnTo>
                <a:lnTo>
                  <a:pt x="714" y="236"/>
                </a:lnTo>
                <a:lnTo>
                  <a:pt x="712" y="238"/>
                </a:lnTo>
                <a:lnTo>
                  <a:pt x="712" y="238"/>
                </a:lnTo>
                <a:lnTo>
                  <a:pt x="714" y="244"/>
                </a:lnTo>
                <a:lnTo>
                  <a:pt x="718" y="250"/>
                </a:lnTo>
                <a:lnTo>
                  <a:pt x="718" y="250"/>
                </a:lnTo>
                <a:lnTo>
                  <a:pt x="722" y="252"/>
                </a:lnTo>
                <a:lnTo>
                  <a:pt x="722" y="252"/>
                </a:lnTo>
                <a:lnTo>
                  <a:pt x="728" y="262"/>
                </a:lnTo>
                <a:lnTo>
                  <a:pt x="728" y="262"/>
                </a:lnTo>
                <a:lnTo>
                  <a:pt x="732" y="262"/>
                </a:lnTo>
                <a:lnTo>
                  <a:pt x="732" y="262"/>
                </a:lnTo>
                <a:lnTo>
                  <a:pt x="734" y="264"/>
                </a:lnTo>
                <a:lnTo>
                  <a:pt x="736" y="264"/>
                </a:lnTo>
                <a:lnTo>
                  <a:pt x="736" y="264"/>
                </a:lnTo>
                <a:lnTo>
                  <a:pt x="736" y="264"/>
                </a:lnTo>
                <a:lnTo>
                  <a:pt x="736" y="260"/>
                </a:lnTo>
                <a:lnTo>
                  <a:pt x="736" y="260"/>
                </a:lnTo>
                <a:lnTo>
                  <a:pt x="746" y="256"/>
                </a:lnTo>
                <a:lnTo>
                  <a:pt x="746" y="256"/>
                </a:lnTo>
                <a:lnTo>
                  <a:pt x="744" y="254"/>
                </a:lnTo>
                <a:lnTo>
                  <a:pt x="744" y="254"/>
                </a:lnTo>
                <a:lnTo>
                  <a:pt x="744" y="250"/>
                </a:lnTo>
                <a:lnTo>
                  <a:pt x="746" y="248"/>
                </a:lnTo>
                <a:lnTo>
                  <a:pt x="750" y="242"/>
                </a:lnTo>
                <a:lnTo>
                  <a:pt x="750" y="242"/>
                </a:lnTo>
                <a:lnTo>
                  <a:pt x="750" y="238"/>
                </a:lnTo>
                <a:lnTo>
                  <a:pt x="750" y="238"/>
                </a:lnTo>
                <a:lnTo>
                  <a:pt x="754" y="238"/>
                </a:lnTo>
                <a:lnTo>
                  <a:pt x="754" y="238"/>
                </a:lnTo>
                <a:lnTo>
                  <a:pt x="754" y="236"/>
                </a:lnTo>
                <a:lnTo>
                  <a:pt x="752" y="234"/>
                </a:lnTo>
                <a:lnTo>
                  <a:pt x="752" y="234"/>
                </a:lnTo>
                <a:lnTo>
                  <a:pt x="754" y="232"/>
                </a:lnTo>
                <a:lnTo>
                  <a:pt x="754" y="232"/>
                </a:lnTo>
                <a:lnTo>
                  <a:pt x="756" y="222"/>
                </a:lnTo>
                <a:lnTo>
                  <a:pt x="756" y="222"/>
                </a:lnTo>
                <a:lnTo>
                  <a:pt x="764" y="222"/>
                </a:lnTo>
                <a:lnTo>
                  <a:pt x="764" y="222"/>
                </a:lnTo>
                <a:lnTo>
                  <a:pt x="764" y="220"/>
                </a:lnTo>
                <a:lnTo>
                  <a:pt x="764" y="220"/>
                </a:lnTo>
                <a:lnTo>
                  <a:pt x="764" y="220"/>
                </a:lnTo>
                <a:lnTo>
                  <a:pt x="764" y="218"/>
                </a:lnTo>
                <a:lnTo>
                  <a:pt x="764" y="218"/>
                </a:lnTo>
                <a:lnTo>
                  <a:pt x="766" y="218"/>
                </a:lnTo>
                <a:lnTo>
                  <a:pt x="766" y="218"/>
                </a:lnTo>
                <a:lnTo>
                  <a:pt x="764" y="216"/>
                </a:lnTo>
                <a:lnTo>
                  <a:pt x="764" y="216"/>
                </a:lnTo>
                <a:lnTo>
                  <a:pt x="764" y="214"/>
                </a:lnTo>
                <a:lnTo>
                  <a:pt x="766" y="212"/>
                </a:lnTo>
                <a:lnTo>
                  <a:pt x="766" y="212"/>
                </a:lnTo>
                <a:lnTo>
                  <a:pt x="764" y="208"/>
                </a:lnTo>
                <a:lnTo>
                  <a:pt x="760" y="208"/>
                </a:lnTo>
                <a:lnTo>
                  <a:pt x="760" y="208"/>
                </a:lnTo>
                <a:lnTo>
                  <a:pt x="760" y="200"/>
                </a:lnTo>
                <a:lnTo>
                  <a:pt x="760" y="192"/>
                </a:lnTo>
                <a:lnTo>
                  <a:pt x="760" y="192"/>
                </a:lnTo>
                <a:lnTo>
                  <a:pt x="756" y="190"/>
                </a:lnTo>
                <a:lnTo>
                  <a:pt x="756" y="190"/>
                </a:lnTo>
                <a:lnTo>
                  <a:pt x="766" y="190"/>
                </a:lnTo>
                <a:lnTo>
                  <a:pt x="776" y="192"/>
                </a:lnTo>
                <a:lnTo>
                  <a:pt x="776" y="192"/>
                </a:lnTo>
                <a:lnTo>
                  <a:pt x="780" y="196"/>
                </a:lnTo>
                <a:lnTo>
                  <a:pt x="780" y="196"/>
                </a:lnTo>
                <a:lnTo>
                  <a:pt x="780" y="194"/>
                </a:lnTo>
                <a:lnTo>
                  <a:pt x="782" y="192"/>
                </a:lnTo>
                <a:lnTo>
                  <a:pt x="782" y="192"/>
                </a:lnTo>
                <a:lnTo>
                  <a:pt x="792" y="192"/>
                </a:lnTo>
                <a:lnTo>
                  <a:pt x="792" y="192"/>
                </a:lnTo>
                <a:lnTo>
                  <a:pt x="792" y="194"/>
                </a:lnTo>
                <a:lnTo>
                  <a:pt x="790" y="196"/>
                </a:lnTo>
                <a:lnTo>
                  <a:pt x="790" y="196"/>
                </a:lnTo>
                <a:lnTo>
                  <a:pt x="796" y="200"/>
                </a:lnTo>
                <a:lnTo>
                  <a:pt x="796" y="200"/>
                </a:lnTo>
                <a:lnTo>
                  <a:pt x="794" y="200"/>
                </a:lnTo>
                <a:lnTo>
                  <a:pt x="794" y="202"/>
                </a:lnTo>
                <a:lnTo>
                  <a:pt x="796" y="208"/>
                </a:lnTo>
                <a:lnTo>
                  <a:pt x="796" y="208"/>
                </a:lnTo>
                <a:lnTo>
                  <a:pt x="802" y="206"/>
                </a:lnTo>
                <a:lnTo>
                  <a:pt x="808" y="206"/>
                </a:lnTo>
                <a:lnTo>
                  <a:pt x="808" y="206"/>
                </a:lnTo>
                <a:lnTo>
                  <a:pt x="810" y="206"/>
                </a:lnTo>
                <a:lnTo>
                  <a:pt x="810" y="208"/>
                </a:lnTo>
                <a:lnTo>
                  <a:pt x="808" y="212"/>
                </a:lnTo>
                <a:lnTo>
                  <a:pt x="802" y="220"/>
                </a:lnTo>
                <a:lnTo>
                  <a:pt x="802" y="220"/>
                </a:lnTo>
                <a:lnTo>
                  <a:pt x="802" y="222"/>
                </a:lnTo>
                <a:lnTo>
                  <a:pt x="802" y="222"/>
                </a:lnTo>
                <a:lnTo>
                  <a:pt x="802" y="222"/>
                </a:lnTo>
                <a:lnTo>
                  <a:pt x="808" y="222"/>
                </a:lnTo>
                <a:lnTo>
                  <a:pt x="806" y="228"/>
                </a:lnTo>
                <a:lnTo>
                  <a:pt x="806" y="228"/>
                </a:lnTo>
                <a:lnTo>
                  <a:pt x="804" y="228"/>
                </a:lnTo>
                <a:lnTo>
                  <a:pt x="800" y="230"/>
                </a:lnTo>
                <a:lnTo>
                  <a:pt x="800" y="230"/>
                </a:lnTo>
                <a:lnTo>
                  <a:pt x="800" y="232"/>
                </a:lnTo>
                <a:lnTo>
                  <a:pt x="800" y="234"/>
                </a:lnTo>
                <a:lnTo>
                  <a:pt x="800" y="236"/>
                </a:lnTo>
                <a:lnTo>
                  <a:pt x="800" y="238"/>
                </a:lnTo>
                <a:lnTo>
                  <a:pt x="800" y="238"/>
                </a:lnTo>
                <a:lnTo>
                  <a:pt x="806" y="248"/>
                </a:lnTo>
                <a:lnTo>
                  <a:pt x="806" y="248"/>
                </a:lnTo>
                <a:lnTo>
                  <a:pt x="808" y="250"/>
                </a:lnTo>
                <a:lnTo>
                  <a:pt x="810" y="250"/>
                </a:lnTo>
                <a:lnTo>
                  <a:pt x="812" y="250"/>
                </a:lnTo>
                <a:lnTo>
                  <a:pt x="814" y="252"/>
                </a:lnTo>
                <a:lnTo>
                  <a:pt x="816" y="254"/>
                </a:lnTo>
                <a:lnTo>
                  <a:pt x="816" y="254"/>
                </a:lnTo>
                <a:lnTo>
                  <a:pt x="816" y="258"/>
                </a:lnTo>
                <a:lnTo>
                  <a:pt x="814" y="264"/>
                </a:lnTo>
                <a:lnTo>
                  <a:pt x="810" y="268"/>
                </a:lnTo>
                <a:lnTo>
                  <a:pt x="810" y="268"/>
                </a:lnTo>
                <a:lnTo>
                  <a:pt x="806" y="268"/>
                </a:lnTo>
                <a:lnTo>
                  <a:pt x="802" y="268"/>
                </a:lnTo>
                <a:lnTo>
                  <a:pt x="802" y="268"/>
                </a:lnTo>
                <a:lnTo>
                  <a:pt x="794" y="274"/>
                </a:lnTo>
                <a:lnTo>
                  <a:pt x="794" y="274"/>
                </a:lnTo>
                <a:lnTo>
                  <a:pt x="790" y="274"/>
                </a:lnTo>
                <a:lnTo>
                  <a:pt x="788" y="276"/>
                </a:lnTo>
                <a:lnTo>
                  <a:pt x="788" y="276"/>
                </a:lnTo>
                <a:lnTo>
                  <a:pt x="788" y="276"/>
                </a:lnTo>
                <a:lnTo>
                  <a:pt x="784" y="282"/>
                </a:lnTo>
                <a:lnTo>
                  <a:pt x="780" y="286"/>
                </a:lnTo>
                <a:lnTo>
                  <a:pt x="778" y="286"/>
                </a:lnTo>
                <a:lnTo>
                  <a:pt x="778" y="286"/>
                </a:lnTo>
                <a:lnTo>
                  <a:pt x="776" y="282"/>
                </a:lnTo>
                <a:lnTo>
                  <a:pt x="776" y="282"/>
                </a:lnTo>
                <a:lnTo>
                  <a:pt x="774" y="282"/>
                </a:lnTo>
                <a:lnTo>
                  <a:pt x="770" y="280"/>
                </a:lnTo>
                <a:lnTo>
                  <a:pt x="770" y="280"/>
                </a:lnTo>
                <a:lnTo>
                  <a:pt x="770" y="278"/>
                </a:lnTo>
                <a:lnTo>
                  <a:pt x="768" y="274"/>
                </a:lnTo>
                <a:lnTo>
                  <a:pt x="768" y="274"/>
                </a:lnTo>
                <a:lnTo>
                  <a:pt x="768" y="274"/>
                </a:lnTo>
                <a:lnTo>
                  <a:pt x="766" y="276"/>
                </a:lnTo>
                <a:lnTo>
                  <a:pt x="766" y="276"/>
                </a:lnTo>
                <a:lnTo>
                  <a:pt x="764" y="272"/>
                </a:lnTo>
                <a:lnTo>
                  <a:pt x="764" y="272"/>
                </a:lnTo>
                <a:lnTo>
                  <a:pt x="762" y="272"/>
                </a:lnTo>
                <a:lnTo>
                  <a:pt x="762" y="272"/>
                </a:lnTo>
                <a:lnTo>
                  <a:pt x="762" y="274"/>
                </a:lnTo>
                <a:lnTo>
                  <a:pt x="762" y="274"/>
                </a:lnTo>
                <a:lnTo>
                  <a:pt x="758" y="276"/>
                </a:lnTo>
                <a:lnTo>
                  <a:pt x="758" y="276"/>
                </a:lnTo>
                <a:lnTo>
                  <a:pt x="760" y="276"/>
                </a:lnTo>
                <a:lnTo>
                  <a:pt x="762" y="276"/>
                </a:lnTo>
                <a:lnTo>
                  <a:pt x="762" y="276"/>
                </a:lnTo>
                <a:lnTo>
                  <a:pt x="764" y="278"/>
                </a:lnTo>
                <a:lnTo>
                  <a:pt x="764" y="280"/>
                </a:lnTo>
                <a:lnTo>
                  <a:pt x="764" y="280"/>
                </a:lnTo>
                <a:lnTo>
                  <a:pt x="766" y="282"/>
                </a:lnTo>
                <a:lnTo>
                  <a:pt x="766" y="282"/>
                </a:lnTo>
                <a:lnTo>
                  <a:pt x="768" y="282"/>
                </a:lnTo>
                <a:lnTo>
                  <a:pt x="770" y="284"/>
                </a:lnTo>
                <a:lnTo>
                  <a:pt x="770" y="286"/>
                </a:lnTo>
                <a:lnTo>
                  <a:pt x="770" y="286"/>
                </a:lnTo>
                <a:lnTo>
                  <a:pt x="772" y="286"/>
                </a:lnTo>
                <a:lnTo>
                  <a:pt x="772" y="286"/>
                </a:lnTo>
                <a:lnTo>
                  <a:pt x="774" y="288"/>
                </a:lnTo>
                <a:lnTo>
                  <a:pt x="774" y="288"/>
                </a:lnTo>
                <a:lnTo>
                  <a:pt x="766" y="290"/>
                </a:lnTo>
                <a:lnTo>
                  <a:pt x="766" y="292"/>
                </a:lnTo>
                <a:lnTo>
                  <a:pt x="766" y="292"/>
                </a:lnTo>
                <a:lnTo>
                  <a:pt x="760" y="290"/>
                </a:lnTo>
                <a:lnTo>
                  <a:pt x="760" y="290"/>
                </a:lnTo>
                <a:lnTo>
                  <a:pt x="750" y="282"/>
                </a:lnTo>
                <a:lnTo>
                  <a:pt x="750" y="282"/>
                </a:lnTo>
                <a:lnTo>
                  <a:pt x="738" y="284"/>
                </a:lnTo>
                <a:lnTo>
                  <a:pt x="738" y="284"/>
                </a:lnTo>
                <a:lnTo>
                  <a:pt x="744" y="290"/>
                </a:lnTo>
                <a:lnTo>
                  <a:pt x="744" y="290"/>
                </a:lnTo>
                <a:lnTo>
                  <a:pt x="744" y="294"/>
                </a:lnTo>
                <a:lnTo>
                  <a:pt x="742" y="296"/>
                </a:lnTo>
                <a:lnTo>
                  <a:pt x="738" y="302"/>
                </a:lnTo>
                <a:lnTo>
                  <a:pt x="738" y="302"/>
                </a:lnTo>
                <a:lnTo>
                  <a:pt x="738" y="304"/>
                </a:lnTo>
                <a:lnTo>
                  <a:pt x="738" y="306"/>
                </a:lnTo>
                <a:lnTo>
                  <a:pt x="738" y="306"/>
                </a:lnTo>
                <a:lnTo>
                  <a:pt x="734" y="308"/>
                </a:lnTo>
                <a:lnTo>
                  <a:pt x="734" y="308"/>
                </a:lnTo>
                <a:lnTo>
                  <a:pt x="724" y="298"/>
                </a:lnTo>
                <a:lnTo>
                  <a:pt x="724" y="298"/>
                </a:lnTo>
                <a:lnTo>
                  <a:pt x="722" y="298"/>
                </a:lnTo>
                <a:lnTo>
                  <a:pt x="720" y="300"/>
                </a:lnTo>
                <a:lnTo>
                  <a:pt x="720" y="300"/>
                </a:lnTo>
                <a:lnTo>
                  <a:pt x="714" y="296"/>
                </a:lnTo>
                <a:lnTo>
                  <a:pt x="714" y="296"/>
                </a:lnTo>
                <a:lnTo>
                  <a:pt x="712" y="296"/>
                </a:lnTo>
                <a:lnTo>
                  <a:pt x="710" y="298"/>
                </a:lnTo>
                <a:lnTo>
                  <a:pt x="710" y="298"/>
                </a:lnTo>
                <a:lnTo>
                  <a:pt x="706" y="298"/>
                </a:lnTo>
                <a:lnTo>
                  <a:pt x="704" y="296"/>
                </a:lnTo>
                <a:lnTo>
                  <a:pt x="700" y="294"/>
                </a:lnTo>
                <a:lnTo>
                  <a:pt x="700" y="294"/>
                </a:lnTo>
                <a:lnTo>
                  <a:pt x="698" y="300"/>
                </a:lnTo>
                <a:lnTo>
                  <a:pt x="698" y="300"/>
                </a:lnTo>
                <a:lnTo>
                  <a:pt x="700" y="300"/>
                </a:lnTo>
                <a:lnTo>
                  <a:pt x="700" y="302"/>
                </a:lnTo>
                <a:lnTo>
                  <a:pt x="700" y="302"/>
                </a:lnTo>
                <a:lnTo>
                  <a:pt x="694" y="304"/>
                </a:lnTo>
                <a:lnTo>
                  <a:pt x="694" y="304"/>
                </a:lnTo>
                <a:lnTo>
                  <a:pt x="688" y="304"/>
                </a:lnTo>
                <a:lnTo>
                  <a:pt x="688" y="304"/>
                </a:lnTo>
                <a:lnTo>
                  <a:pt x="686" y="306"/>
                </a:lnTo>
                <a:lnTo>
                  <a:pt x="686" y="306"/>
                </a:lnTo>
                <a:lnTo>
                  <a:pt x="700" y="306"/>
                </a:lnTo>
                <a:lnTo>
                  <a:pt x="716" y="306"/>
                </a:lnTo>
                <a:lnTo>
                  <a:pt x="716" y="306"/>
                </a:lnTo>
                <a:lnTo>
                  <a:pt x="724" y="308"/>
                </a:lnTo>
                <a:lnTo>
                  <a:pt x="732" y="310"/>
                </a:lnTo>
                <a:lnTo>
                  <a:pt x="732" y="310"/>
                </a:lnTo>
                <a:lnTo>
                  <a:pt x="730" y="312"/>
                </a:lnTo>
                <a:lnTo>
                  <a:pt x="728" y="316"/>
                </a:lnTo>
                <a:lnTo>
                  <a:pt x="728" y="324"/>
                </a:lnTo>
                <a:lnTo>
                  <a:pt x="728" y="324"/>
                </a:lnTo>
                <a:lnTo>
                  <a:pt x="722" y="328"/>
                </a:lnTo>
                <a:lnTo>
                  <a:pt x="722" y="328"/>
                </a:lnTo>
                <a:lnTo>
                  <a:pt x="718" y="330"/>
                </a:lnTo>
                <a:lnTo>
                  <a:pt x="716" y="330"/>
                </a:lnTo>
                <a:lnTo>
                  <a:pt x="714" y="334"/>
                </a:lnTo>
                <a:lnTo>
                  <a:pt x="714" y="334"/>
                </a:lnTo>
                <a:lnTo>
                  <a:pt x="714" y="332"/>
                </a:lnTo>
                <a:lnTo>
                  <a:pt x="712" y="332"/>
                </a:lnTo>
                <a:lnTo>
                  <a:pt x="712" y="330"/>
                </a:lnTo>
                <a:lnTo>
                  <a:pt x="712" y="330"/>
                </a:lnTo>
                <a:lnTo>
                  <a:pt x="700" y="326"/>
                </a:lnTo>
                <a:lnTo>
                  <a:pt x="700" y="326"/>
                </a:lnTo>
                <a:lnTo>
                  <a:pt x="698" y="328"/>
                </a:lnTo>
                <a:lnTo>
                  <a:pt x="698" y="330"/>
                </a:lnTo>
                <a:lnTo>
                  <a:pt x="698" y="330"/>
                </a:lnTo>
                <a:lnTo>
                  <a:pt x="692" y="330"/>
                </a:lnTo>
                <a:lnTo>
                  <a:pt x="692" y="330"/>
                </a:lnTo>
                <a:lnTo>
                  <a:pt x="690" y="336"/>
                </a:lnTo>
                <a:lnTo>
                  <a:pt x="690" y="338"/>
                </a:lnTo>
                <a:lnTo>
                  <a:pt x="692" y="340"/>
                </a:lnTo>
                <a:lnTo>
                  <a:pt x="692" y="340"/>
                </a:lnTo>
                <a:lnTo>
                  <a:pt x="692" y="342"/>
                </a:lnTo>
                <a:lnTo>
                  <a:pt x="692" y="344"/>
                </a:lnTo>
                <a:lnTo>
                  <a:pt x="690" y="344"/>
                </a:lnTo>
                <a:lnTo>
                  <a:pt x="688" y="346"/>
                </a:lnTo>
                <a:lnTo>
                  <a:pt x="688" y="346"/>
                </a:lnTo>
                <a:lnTo>
                  <a:pt x="682" y="346"/>
                </a:lnTo>
                <a:lnTo>
                  <a:pt x="682" y="346"/>
                </a:lnTo>
                <a:lnTo>
                  <a:pt x="682" y="352"/>
                </a:lnTo>
                <a:lnTo>
                  <a:pt x="682" y="352"/>
                </a:lnTo>
                <a:lnTo>
                  <a:pt x="686" y="352"/>
                </a:lnTo>
                <a:lnTo>
                  <a:pt x="686" y="352"/>
                </a:lnTo>
                <a:lnTo>
                  <a:pt x="686" y="358"/>
                </a:lnTo>
                <a:lnTo>
                  <a:pt x="686" y="358"/>
                </a:lnTo>
                <a:lnTo>
                  <a:pt x="686" y="360"/>
                </a:lnTo>
                <a:lnTo>
                  <a:pt x="686" y="360"/>
                </a:lnTo>
                <a:lnTo>
                  <a:pt x="684" y="362"/>
                </a:lnTo>
                <a:lnTo>
                  <a:pt x="684" y="362"/>
                </a:lnTo>
                <a:lnTo>
                  <a:pt x="676" y="364"/>
                </a:lnTo>
                <a:lnTo>
                  <a:pt x="666" y="362"/>
                </a:lnTo>
                <a:lnTo>
                  <a:pt x="666" y="366"/>
                </a:lnTo>
                <a:lnTo>
                  <a:pt x="666" y="366"/>
                </a:lnTo>
                <a:lnTo>
                  <a:pt x="670" y="366"/>
                </a:lnTo>
                <a:lnTo>
                  <a:pt x="670" y="366"/>
                </a:lnTo>
                <a:lnTo>
                  <a:pt x="668" y="370"/>
                </a:lnTo>
                <a:lnTo>
                  <a:pt x="668" y="370"/>
                </a:lnTo>
                <a:lnTo>
                  <a:pt x="662" y="370"/>
                </a:lnTo>
                <a:lnTo>
                  <a:pt x="662" y="370"/>
                </a:lnTo>
                <a:lnTo>
                  <a:pt x="664" y="372"/>
                </a:lnTo>
                <a:lnTo>
                  <a:pt x="664" y="372"/>
                </a:lnTo>
                <a:lnTo>
                  <a:pt x="666" y="372"/>
                </a:lnTo>
                <a:lnTo>
                  <a:pt x="666" y="374"/>
                </a:lnTo>
                <a:lnTo>
                  <a:pt x="666" y="374"/>
                </a:lnTo>
                <a:lnTo>
                  <a:pt x="660" y="374"/>
                </a:lnTo>
                <a:lnTo>
                  <a:pt x="660" y="374"/>
                </a:lnTo>
                <a:lnTo>
                  <a:pt x="662" y="372"/>
                </a:lnTo>
                <a:lnTo>
                  <a:pt x="660" y="372"/>
                </a:lnTo>
                <a:lnTo>
                  <a:pt x="658" y="372"/>
                </a:lnTo>
                <a:lnTo>
                  <a:pt x="658" y="372"/>
                </a:lnTo>
                <a:lnTo>
                  <a:pt x="658" y="376"/>
                </a:lnTo>
                <a:lnTo>
                  <a:pt x="658" y="376"/>
                </a:lnTo>
                <a:lnTo>
                  <a:pt x="654" y="376"/>
                </a:lnTo>
                <a:lnTo>
                  <a:pt x="654" y="376"/>
                </a:lnTo>
                <a:lnTo>
                  <a:pt x="654" y="386"/>
                </a:lnTo>
                <a:lnTo>
                  <a:pt x="654" y="386"/>
                </a:lnTo>
                <a:lnTo>
                  <a:pt x="646" y="386"/>
                </a:lnTo>
                <a:lnTo>
                  <a:pt x="646" y="386"/>
                </a:lnTo>
                <a:lnTo>
                  <a:pt x="646" y="390"/>
                </a:lnTo>
                <a:lnTo>
                  <a:pt x="646" y="390"/>
                </a:lnTo>
                <a:lnTo>
                  <a:pt x="642" y="394"/>
                </a:lnTo>
                <a:lnTo>
                  <a:pt x="636" y="398"/>
                </a:lnTo>
                <a:lnTo>
                  <a:pt x="636" y="398"/>
                </a:lnTo>
                <a:lnTo>
                  <a:pt x="638" y="402"/>
                </a:lnTo>
                <a:lnTo>
                  <a:pt x="640" y="406"/>
                </a:lnTo>
                <a:lnTo>
                  <a:pt x="640" y="406"/>
                </a:lnTo>
                <a:lnTo>
                  <a:pt x="630" y="406"/>
                </a:lnTo>
                <a:lnTo>
                  <a:pt x="630" y="406"/>
                </a:lnTo>
                <a:lnTo>
                  <a:pt x="628" y="408"/>
                </a:lnTo>
                <a:lnTo>
                  <a:pt x="628" y="408"/>
                </a:lnTo>
                <a:lnTo>
                  <a:pt x="632" y="410"/>
                </a:lnTo>
                <a:lnTo>
                  <a:pt x="632" y="410"/>
                </a:lnTo>
                <a:lnTo>
                  <a:pt x="632" y="414"/>
                </a:lnTo>
                <a:lnTo>
                  <a:pt x="632" y="414"/>
                </a:lnTo>
                <a:lnTo>
                  <a:pt x="626" y="420"/>
                </a:lnTo>
                <a:lnTo>
                  <a:pt x="626" y="420"/>
                </a:lnTo>
                <a:lnTo>
                  <a:pt x="626" y="424"/>
                </a:lnTo>
                <a:lnTo>
                  <a:pt x="626" y="428"/>
                </a:lnTo>
                <a:lnTo>
                  <a:pt x="626" y="428"/>
                </a:lnTo>
                <a:lnTo>
                  <a:pt x="622" y="430"/>
                </a:lnTo>
                <a:lnTo>
                  <a:pt x="622" y="430"/>
                </a:lnTo>
                <a:lnTo>
                  <a:pt x="626" y="436"/>
                </a:lnTo>
                <a:lnTo>
                  <a:pt x="626" y="436"/>
                </a:lnTo>
                <a:lnTo>
                  <a:pt x="628" y="440"/>
                </a:lnTo>
                <a:lnTo>
                  <a:pt x="628" y="446"/>
                </a:lnTo>
                <a:lnTo>
                  <a:pt x="628" y="446"/>
                </a:lnTo>
                <a:lnTo>
                  <a:pt x="630" y="448"/>
                </a:lnTo>
                <a:lnTo>
                  <a:pt x="636" y="448"/>
                </a:lnTo>
                <a:lnTo>
                  <a:pt x="648" y="448"/>
                </a:lnTo>
                <a:lnTo>
                  <a:pt x="648" y="448"/>
                </a:lnTo>
                <a:lnTo>
                  <a:pt x="654" y="456"/>
                </a:lnTo>
                <a:lnTo>
                  <a:pt x="654" y="456"/>
                </a:lnTo>
                <a:lnTo>
                  <a:pt x="654" y="460"/>
                </a:lnTo>
                <a:lnTo>
                  <a:pt x="654" y="460"/>
                </a:lnTo>
                <a:lnTo>
                  <a:pt x="656" y="462"/>
                </a:lnTo>
                <a:lnTo>
                  <a:pt x="656" y="462"/>
                </a:lnTo>
                <a:lnTo>
                  <a:pt x="656" y="468"/>
                </a:lnTo>
                <a:lnTo>
                  <a:pt x="656" y="468"/>
                </a:lnTo>
                <a:lnTo>
                  <a:pt x="660" y="474"/>
                </a:lnTo>
                <a:lnTo>
                  <a:pt x="660" y="474"/>
                </a:lnTo>
                <a:lnTo>
                  <a:pt x="662" y="480"/>
                </a:lnTo>
                <a:lnTo>
                  <a:pt x="662" y="486"/>
                </a:lnTo>
                <a:lnTo>
                  <a:pt x="662" y="486"/>
                </a:lnTo>
                <a:lnTo>
                  <a:pt x="672" y="482"/>
                </a:lnTo>
                <a:lnTo>
                  <a:pt x="678" y="480"/>
                </a:lnTo>
                <a:lnTo>
                  <a:pt x="682" y="480"/>
                </a:lnTo>
                <a:lnTo>
                  <a:pt x="682" y="480"/>
                </a:lnTo>
                <a:lnTo>
                  <a:pt x="690" y="486"/>
                </a:lnTo>
                <a:lnTo>
                  <a:pt x="690" y="486"/>
                </a:lnTo>
                <a:lnTo>
                  <a:pt x="694" y="486"/>
                </a:lnTo>
                <a:lnTo>
                  <a:pt x="694" y="486"/>
                </a:lnTo>
                <a:lnTo>
                  <a:pt x="698" y="490"/>
                </a:lnTo>
                <a:lnTo>
                  <a:pt x="702" y="492"/>
                </a:lnTo>
                <a:lnTo>
                  <a:pt x="702" y="492"/>
                </a:lnTo>
                <a:lnTo>
                  <a:pt x="708" y="492"/>
                </a:lnTo>
                <a:lnTo>
                  <a:pt x="708" y="492"/>
                </a:lnTo>
                <a:lnTo>
                  <a:pt x="710" y="494"/>
                </a:lnTo>
                <a:lnTo>
                  <a:pt x="712" y="496"/>
                </a:lnTo>
                <a:lnTo>
                  <a:pt x="712" y="496"/>
                </a:lnTo>
                <a:lnTo>
                  <a:pt x="716" y="498"/>
                </a:lnTo>
                <a:lnTo>
                  <a:pt x="720" y="498"/>
                </a:lnTo>
                <a:lnTo>
                  <a:pt x="720" y="498"/>
                </a:lnTo>
                <a:lnTo>
                  <a:pt x="720" y="500"/>
                </a:lnTo>
                <a:lnTo>
                  <a:pt x="720" y="500"/>
                </a:lnTo>
                <a:lnTo>
                  <a:pt x="722" y="504"/>
                </a:lnTo>
                <a:lnTo>
                  <a:pt x="724" y="506"/>
                </a:lnTo>
                <a:lnTo>
                  <a:pt x="724" y="506"/>
                </a:lnTo>
                <a:lnTo>
                  <a:pt x="724" y="512"/>
                </a:lnTo>
                <a:lnTo>
                  <a:pt x="724" y="512"/>
                </a:lnTo>
                <a:lnTo>
                  <a:pt x="728" y="512"/>
                </a:lnTo>
                <a:lnTo>
                  <a:pt x="732" y="512"/>
                </a:lnTo>
                <a:lnTo>
                  <a:pt x="732" y="512"/>
                </a:lnTo>
                <a:lnTo>
                  <a:pt x="734" y="516"/>
                </a:lnTo>
                <a:lnTo>
                  <a:pt x="738" y="518"/>
                </a:lnTo>
                <a:lnTo>
                  <a:pt x="738" y="518"/>
                </a:lnTo>
                <a:lnTo>
                  <a:pt x="742" y="518"/>
                </a:lnTo>
                <a:lnTo>
                  <a:pt x="748" y="518"/>
                </a:lnTo>
                <a:lnTo>
                  <a:pt x="748" y="518"/>
                </a:lnTo>
                <a:lnTo>
                  <a:pt x="750" y="522"/>
                </a:lnTo>
                <a:lnTo>
                  <a:pt x="750" y="522"/>
                </a:lnTo>
                <a:lnTo>
                  <a:pt x="752" y="524"/>
                </a:lnTo>
                <a:lnTo>
                  <a:pt x="756" y="524"/>
                </a:lnTo>
                <a:lnTo>
                  <a:pt x="756" y="526"/>
                </a:lnTo>
                <a:lnTo>
                  <a:pt x="756" y="526"/>
                </a:lnTo>
                <a:lnTo>
                  <a:pt x="762" y="528"/>
                </a:lnTo>
                <a:lnTo>
                  <a:pt x="762" y="528"/>
                </a:lnTo>
                <a:lnTo>
                  <a:pt x="766" y="530"/>
                </a:lnTo>
                <a:lnTo>
                  <a:pt x="770" y="528"/>
                </a:lnTo>
                <a:lnTo>
                  <a:pt x="778" y="528"/>
                </a:lnTo>
                <a:lnTo>
                  <a:pt x="778" y="528"/>
                </a:lnTo>
                <a:lnTo>
                  <a:pt x="782" y="530"/>
                </a:lnTo>
                <a:lnTo>
                  <a:pt x="782" y="530"/>
                </a:lnTo>
                <a:lnTo>
                  <a:pt x="784" y="530"/>
                </a:lnTo>
                <a:lnTo>
                  <a:pt x="788" y="530"/>
                </a:lnTo>
                <a:lnTo>
                  <a:pt x="788" y="530"/>
                </a:lnTo>
                <a:lnTo>
                  <a:pt x="798" y="534"/>
                </a:lnTo>
                <a:lnTo>
                  <a:pt x="798" y="534"/>
                </a:lnTo>
                <a:lnTo>
                  <a:pt x="798" y="544"/>
                </a:lnTo>
                <a:lnTo>
                  <a:pt x="798" y="544"/>
                </a:lnTo>
                <a:lnTo>
                  <a:pt x="796" y="548"/>
                </a:lnTo>
                <a:lnTo>
                  <a:pt x="794" y="552"/>
                </a:lnTo>
                <a:lnTo>
                  <a:pt x="794" y="552"/>
                </a:lnTo>
                <a:lnTo>
                  <a:pt x="798" y="556"/>
                </a:lnTo>
                <a:lnTo>
                  <a:pt x="798" y="556"/>
                </a:lnTo>
                <a:lnTo>
                  <a:pt x="798" y="568"/>
                </a:lnTo>
                <a:lnTo>
                  <a:pt x="796" y="580"/>
                </a:lnTo>
                <a:lnTo>
                  <a:pt x="796" y="580"/>
                </a:lnTo>
                <a:lnTo>
                  <a:pt x="800" y="580"/>
                </a:lnTo>
                <a:lnTo>
                  <a:pt x="800" y="580"/>
                </a:lnTo>
                <a:lnTo>
                  <a:pt x="804" y="584"/>
                </a:lnTo>
                <a:lnTo>
                  <a:pt x="806" y="590"/>
                </a:lnTo>
                <a:lnTo>
                  <a:pt x="806" y="590"/>
                </a:lnTo>
                <a:lnTo>
                  <a:pt x="804" y="592"/>
                </a:lnTo>
                <a:lnTo>
                  <a:pt x="804" y="594"/>
                </a:lnTo>
                <a:lnTo>
                  <a:pt x="804" y="594"/>
                </a:lnTo>
                <a:lnTo>
                  <a:pt x="814" y="600"/>
                </a:lnTo>
                <a:lnTo>
                  <a:pt x="814" y="600"/>
                </a:lnTo>
                <a:lnTo>
                  <a:pt x="816" y="604"/>
                </a:lnTo>
                <a:lnTo>
                  <a:pt x="818" y="608"/>
                </a:lnTo>
                <a:lnTo>
                  <a:pt x="818" y="608"/>
                </a:lnTo>
                <a:lnTo>
                  <a:pt x="818" y="608"/>
                </a:lnTo>
                <a:lnTo>
                  <a:pt x="818" y="610"/>
                </a:lnTo>
                <a:lnTo>
                  <a:pt x="818" y="610"/>
                </a:lnTo>
                <a:lnTo>
                  <a:pt x="830" y="610"/>
                </a:lnTo>
                <a:lnTo>
                  <a:pt x="830" y="610"/>
                </a:lnTo>
                <a:lnTo>
                  <a:pt x="830" y="608"/>
                </a:lnTo>
                <a:lnTo>
                  <a:pt x="832" y="608"/>
                </a:lnTo>
                <a:lnTo>
                  <a:pt x="832" y="608"/>
                </a:lnTo>
                <a:lnTo>
                  <a:pt x="834" y="604"/>
                </a:lnTo>
                <a:lnTo>
                  <a:pt x="834" y="604"/>
                </a:lnTo>
                <a:lnTo>
                  <a:pt x="836" y="604"/>
                </a:lnTo>
                <a:lnTo>
                  <a:pt x="840" y="604"/>
                </a:lnTo>
                <a:lnTo>
                  <a:pt x="840" y="602"/>
                </a:lnTo>
                <a:lnTo>
                  <a:pt x="840" y="602"/>
                </a:lnTo>
                <a:lnTo>
                  <a:pt x="838" y="598"/>
                </a:lnTo>
                <a:lnTo>
                  <a:pt x="844" y="588"/>
                </a:lnTo>
                <a:lnTo>
                  <a:pt x="844" y="588"/>
                </a:lnTo>
                <a:lnTo>
                  <a:pt x="846" y="588"/>
                </a:lnTo>
                <a:lnTo>
                  <a:pt x="844" y="588"/>
                </a:lnTo>
                <a:lnTo>
                  <a:pt x="842" y="588"/>
                </a:lnTo>
                <a:lnTo>
                  <a:pt x="842" y="588"/>
                </a:lnTo>
                <a:lnTo>
                  <a:pt x="842" y="586"/>
                </a:lnTo>
                <a:lnTo>
                  <a:pt x="842" y="584"/>
                </a:lnTo>
                <a:lnTo>
                  <a:pt x="842" y="582"/>
                </a:lnTo>
                <a:lnTo>
                  <a:pt x="842" y="580"/>
                </a:lnTo>
                <a:lnTo>
                  <a:pt x="842" y="580"/>
                </a:lnTo>
                <a:lnTo>
                  <a:pt x="840" y="580"/>
                </a:lnTo>
                <a:lnTo>
                  <a:pt x="840" y="580"/>
                </a:lnTo>
                <a:lnTo>
                  <a:pt x="840" y="568"/>
                </a:lnTo>
                <a:lnTo>
                  <a:pt x="840" y="564"/>
                </a:lnTo>
                <a:lnTo>
                  <a:pt x="840" y="558"/>
                </a:lnTo>
                <a:lnTo>
                  <a:pt x="834" y="554"/>
                </a:lnTo>
                <a:lnTo>
                  <a:pt x="834" y="554"/>
                </a:lnTo>
                <a:lnTo>
                  <a:pt x="834" y="548"/>
                </a:lnTo>
                <a:lnTo>
                  <a:pt x="834" y="542"/>
                </a:lnTo>
                <a:lnTo>
                  <a:pt x="834" y="540"/>
                </a:lnTo>
                <a:lnTo>
                  <a:pt x="834" y="540"/>
                </a:lnTo>
                <a:lnTo>
                  <a:pt x="838" y="538"/>
                </a:lnTo>
                <a:lnTo>
                  <a:pt x="842" y="538"/>
                </a:lnTo>
                <a:lnTo>
                  <a:pt x="842" y="538"/>
                </a:lnTo>
                <a:lnTo>
                  <a:pt x="846" y="534"/>
                </a:lnTo>
                <a:lnTo>
                  <a:pt x="846" y="534"/>
                </a:lnTo>
                <a:lnTo>
                  <a:pt x="848" y="534"/>
                </a:lnTo>
                <a:lnTo>
                  <a:pt x="850" y="532"/>
                </a:lnTo>
                <a:lnTo>
                  <a:pt x="850" y="532"/>
                </a:lnTo>
                <a:lnTo>
                  <a:pt x="852" y="530"/>
                </a:lnTo>
                <a:lnTo>
                  <a:pt x="852" y="530"/>
                </a:lnTo>
                <a:lnTo>
                  <a:pt x="854" y="528"/>
                </a:lnTo>
                <a:lnTo>
                  <a:pt x="858" y="524"/>
                </a:lnTo>
                <a:lnTo>
                  <a:pt x="858" y="524"/>
                </a:lnTo>
                <a:lnTo>
                  <a:pt x="860" y="520"/>
                </a:lnTo>
                <a:lnTo>
                  <a:pt x="860" y="520"/>
                </a:lnTo>
                <a:lnTo>
                  <a:pt x="864" y="516"/>
                </a:lnTo>
                <a:lnTo>
                  <a:pt x="866" y="514"/>
                </a:lnTo>
                <a:lnTo>
                  <a:pt x="866" y="514"/>
                </a:lnTo>
                <a:lnTo>
                  <a:pt x="868" y="510"/>
                </a:lnTo>
                <a:lnTo>
                  <a:pt x="868" y="510"/>
                </a:lnTo>
                <a:lnTo>
                  <a:pt x="874" y="508"/>
                </a:lnTo>
                <a:lnTo>
                  <a:pt x="874" y="508"/>
                </a:lnTo>
                <a:lnTo>
                  <a:pt x="872" y="500"/>
                </a:lnTo>
                <a:lnTo>
                  <a:pt x="872" y="502"/>
                </a:lnTo>
                <a:lnTo>
                  <a:pt x="870" y="506"/>
                </a:lnTo>
                <a:lnTo>
                  <a:pt x="868" y="506"/>
                </a:lnTo>
                <a:lnTo>
                  <a:pt x="868" y="506"/>
                </a:lnTo>
                <a:lnTo>
                  <a:pt x="870" y="496"/>
                </a:lnTo>
                <a:lnTo>
                  <a:pt x="872" y="488"/>
                </a:lnTo>
                <a:lnTo>
                  <a:pt x="872" y="488"/>
                </a:lnTo>
                <a:lnTo>
                  <a:pt x="870" y="486"/>
                </a:lnTo>
                <a:lnTo>
                  <a:pt x="866" y="484"/>
                </a:lnTo>
                <a:lnTo>
                  <a:pt x="866" y="484"/>
                </a:lnTo>
                <a:lnTo>
                  <a:pt x="864" y="478"/>
                </a:lnTo>
                <a:lnTo>
                  <a:pt x="864" y="472"/>
                </a:lnTo>
                <a:lnTo>
                  <a:pt x="864" y="472"/>
                </a:lnTo>
                <a:lnTo>
                  <a:pt x="860" y="470"/>
                </a:lnTo>
                <a:lnTo>
                  <a:pt x="860" y="470"/>
                </a:lnTo>
                <a:lnTo>
                  <a:pt x="860" y="464"/>
                </a:lnTo>
                <a:lnTo>
                  <a:pt x="860" y="464"/>
                </a:lnTo>
                <a:lnTo>
                  <a:pt x="858" y="462"/>
                </a:lnTo>
                <a:lnTo>
                  <a:pt x="858" y="462"/>
                </a:lnTo>
                <a:lnTo>
                  <a:pt x="856" y="458"/>
                </a:lnTo>
                <a:lnTo>
                  <a:pt x="856" y="458"/>
                </a:lnTo>
                <a:lnTo>
                  <a:pt x="854" y="458"/>
                </a:lnTo>
                <a:lnTo>
                  <a:pt x="852" y="456"/>
                </a:lnTo>
                <a:lnTo>
                  <a:pt x="852" y="456"/>
                </a:lnTo>
                <a:lnTo>
                  <a:pt x="850" y="454"/>
                </a:lnTo>
                <a:lnTo>
                  <a:pt x="848" y="452"/>
                </a:lnTo>
                <a:lnTo>
                  <a:pt x="848" y="452"/>
                </a:lnTo>
                <a:lnTo>
                  <a:pt x="846" y="450"/>
                </a:lnTo>
                <a:lnTo>
                  <a:pt x="842" y="450"/>
                </a:lnTo>
                <a:lnTo>
                  <a:pt x="842" y="450"/>
                </a:lnTo>
                <a:lnTo>
                  <a:pt x="842" y="448"/>
                </a:lnTo>
                <a:lnTo>
                  <a:pt x="840" y="448"/>
                </a:lnTo>
                <a:lnTo>
                  <a:pt x="840" y="448"/>
                </a:lnTo>
                <a:lnTo>
                  <a:pt x="842" y="442"/>
                </a:lnTo>
                <a:lnTo>
                  <a:pt x="846" y="438"/>
                </a:lnTo>
                <a:lnTo>
                  <a:pt x="848" y="436"/>
                </a:lnTo>
                <a:lnTo>
                  <a:pt x="854" y="436"/>
                </a:lnTo>
                <a:lnTo>
                  <a:pt x="854" y="436"/>
                </a:lnTo>
                <a:lnTo>
                  <a:pt x="854" y="430"/>
                </a:lnTo>
                <a:lnTo>
                  <a:pt x="854" y="430"/>
                </a:lnTo>
                <a:lnTo>
                  <a:pt x="854" y="430"/>
                </a:lnTo>
                <a:lnTo>
                  <a:pt x="854" y="428"/>
                </a:lnTo>
                <a:lnTo>
                  <a:pt x="854" y="426"/>
                </a:lnTo>
                <a:lnTo>
                  <a:pt x="858" y="428"/>
                </a:lnTo>
                <a:lnTo>
                  <a:pt x="858" y="428"/>
                </a:lnTo>
                <a:lnTo>
                  <a:pt x="858" y="426"/>
                </a:lnTo>
                <a:lnTo>
                  <a:pt x="858" y="424"/>
                </a:lnTo>
                <a:lnTo>
                  <a:pt x="860" y="424"/>
                </a:lnTo>
                <a:lnTo>
                  <a:pt x="860" y="424"/>
                </a:lnTo>
                <a:lnTo>
                  <a:pt x="860" y="420"/>
                </a:lnTo>
                <a:lnTo>
                  <a:pt x="860" y="420"/>
                </a:lnTo>
                <a:lnTo>
                  <a:pt x="856" y="418"/>
                </a:lnTo>
                <a:lnTo>
                  <a:pt x="856" y="418"/>
                </a:lnTo>
                <a:lnTo>
                  <a:pt x="858" y="416"/>
                </a:lnTo>
                <a:lnTo>
                  <a:pt x="858" y="416"/>
                </a:lnTo>
                <a:lnTo>
                  <a:pt x="856" y="410"/>
                </a:lnTo>
                <a:lnTo>
                  <a:pt x="854" y="406"/>
                </a:lnTo>
                <a:lnTo>
                  <a:pt x="854" y="406"/>
                </a:lnTo>
                <a:lnTo>
                  <a:pt x="858" y="402"/>
                </a:lnTo>
                <a:lnTo>
                  <a:pt x="858" y="402"/>
                </a:lnTo>
                <a:lnTo>
                  <a:pt x="854" y="402"/>
                </a:lnTo>
                <a:lnTo>
                  <a:pt x="854" y="402"/>
                </a:lnTo>
                <a:lnTo>
                  <a:pt x="852" y="398"/>
                </a:lnTo>
                <a:lnTo>
                  <a:pt x="852" y="398"/>
                </a:lnTo>
                <a:lnTo>
                  <a:pt x="858" y="388"/>
                </a:lnTo>
                <a:lnTo>
                  <a:pt x="858" y="388"/>
                </a:lnTo>
                <a:lnTo>
                  <a:pt x="858" y="384"/>
                </a:lnTo>
                <a:lnTo>
                  <a:pt x="860" y="384"/>
                </a:lnTo>
                <a:lnTo>
                  <a:pt x="860" y="384"/>
                </a:lnTo>
                <a:lnTo>
                  <a:pt x="860" y="380"/>
                </a:lnTo>
                <a:lnTo>
                  <a:pt x="860" y="380"/>
                </a:lnTo>
                <a:lnTo>
                  <a:pt x="856" y="380"/>
                </a:lnTo>
                <a:lnTo>
                  <a:pt x="856" y="380"/>
                </a:lnTo>
                <a:lnTo>
                  <a:pt x="854" y="376"/>
                </a:lnTo>
                <a:lnTo>
                  <a:pt x="854" y="376"/>
                </a:lnTo>
                <a:lnTo>
                  <a:pt x="854" y="374"/>
                </a:lnTo>
                <a:lnTo>
                  <a:pt x="854" y="372"/>
                </a:lnTo>
                <a:lnTo>
                  <a:pt x="854" y="372"/>
                </a:lnTo>
                <a:lnTo>
                  <a:pt x="858" y="372"/>
                </a:lnTo>
                <a:lnTo>
                  <a:pt x="858" y="372"/>
                </a:lnTo>
                <a:lnTo>
                  <a:pt x="862" y="370"/>
                </a:lnTo>
                <a:lnTo>
                  <a:pt x="866" y="370"/>
                </a:lnTo>
                <a:lnTo>
                  <a:pt x="870" y="372"/>
                </a:lnTo>
                <a:lnTo>
                  <a:pt x="870" y="372"/>
                </a:lnTo>
                <a:lnTo>
                  <a:pt x="874" y="370"/>
                </a:lnTo>
                <a:lnTo>
                  <a:pt x="874" y="370"/>
                </a:lnTo>
                <a:lnTo>
                  <a:pt x="878" y="374"/>
                </a:lnTo>
                <a:lnTo>
                  <a:pt x="878" y="374"/>
                </a:lnTo>
                <a:lnTo>
                  <a:pt x="884" y="372"/>
                </a:lnTo>
                <a:lnTo>
                  <a:pt x="890" y="372"/>
                </a:lnTo>
                <a:lnTo>
                  <a:pt x="890" y="372"/>
                </a:lnTo>
                <a:lnTo>
                  <a:pt x="894" y="374"/>
                </a:lnTo>
                <a:lnTo>
                  <a:pt x="900" y="374"/>
                </a:lnTo>
                <a:lnTo>
                  <a:pt x="900" y="374"/>
                </a:lnTo>
                <a:lnTo>
                  <a:pt x="906" y="370"/>
                </a:lnTo>
                <a:lnTo>
                  <a:pt x="914" y="364"/>
                </a:lnTo>
                <a:lnTo>
                  <a:pt x="914" y="368"/>
                </a:lnTo>
                <a:lnTo>
                  <a:pt x="914" y="368"/>
                </a:lnTo>
                <a:lnTo>
                  <a:pt x="918" y="368"/>
                </a:lnTo>
                <a:lnTo>
                  <a:pt x="922" y="370"/>
                </a:lnTo>
                <a:lnTo>
                  <a:pt x="922" y="370"/>
                </a:lnTo>
                <a:lnTo>
                  <a:pt x="926" y="374"/>
                </a:lnTo>
                <a:lnTo>
                  <a:pt x="926" y="374"/>
                </a:lnTo>
                <a:lnTo>
                  <a:pt x="928" y="374"/>
                </a:lnTo>
                <a:lnTo>
                  <a:pt x="928" y="374"/>
                </a:lnTo>
                <a:lnTo>
                  <a:pt x="928" y="374"/>
                </a:lnTo>
                <a:lnTo>
                  <a:pt x="928" y="378"/>
                </a:lnTo>
                <a:lnTo>
                  <a:pt x="928" y="378"/>
                </a:lnTo>
                <a:lnTo>
                  <a:pt x="932" y="380"/>
                </a:lnTo>
                <a:lnTo>
                  <a:pt x="934" y="380"/>
                </a:lnTo>
                <a:lnTo>
                  <a:pt x="934" y="380"/>
                </a:lnTo>
                <a:lnTo>
                  <a:pt x="936" y="386"/>
                </a:lnTo>
                <a:lnTo>
                  <a:pt x="936" y="386"/>
                </a:lnTo>
                <a:lnTo>
                  <a:pt x="938" y="386"/>
                </a:lnTo>
                <a:lnTo>
                  <a:pt x="938" y="386"/>
                </a:lnTo>
                <a:lnTo>
                  <a:pt x="940" y="392"/>
                </a:lnTo>
                <a:lnTo>
                  <a:pt x="940" y="392"/>
                </a:lnTo>
                <a:lnTo>
                  <a:pt x="960" y="392"/>
                </a:lnTo>
                <a:lnTo>
                  <a:pt x="960" y="394"/>
                </a:lnTo>
                <a:lnTo>
                  <a:pt x="960" y="394"/>
                </a:lnTo>
                <a:lnTo>
                  <a:pt x="956" y="398"/>
                </a:lnTo>
                <a:lnTo>
                  <a:pt x="956" y="398"/>
                </a:lnTo>
                <a:lnTo>
                  <a:pt x="964" y="400"/>
                </a:lnTo>
                <a:lnTo>
                  <a:pt x="964" y="400"/>
                </a:lnTo>
                <a:lnTo>
                  <a:pt x="966" y="402"/>
                </a:lnTo>
                <a:lnTo>
                  <a:pt x="966" y="402"/>
                </a:lnTo>
                <a:lnTo>
                  <a:pt x="968" y="398"/>
                </a:lnTo>
                <a:lnTo>
                  <a:pt x="968" y="398"/>
                </a:lnTo>
                <a:lnTo>
                  <a:pt x="972" y="398"/>
                </a:lnTo>
                <a:lnTo>
                  <a:pt x="972" y="398"/>
                </a:lnTo>
                <a:lnTo>
                  <a:pt x="966" y="406"/>
                </a:lnTo>
                <a:lnTo>
                  <a:pt x="966" y="410"/>
                </a:lnTo>
                <a:lnTo>
                  <a:pt x="966" y="412"/>
                </a:lnTo>
                <a:lnTo>
                  <a:pt x="968" y="412"/>
                </a:lnTo>
                <a:lnTo>
                  <a:pt x="968" y="412"/>
                </a:lnTo>
                <a:lnTo>
                  <a:pt x="968" y="414"/>
                </a:lnTo>
                <a:lnTo>
                  <a:pt x="968" y="414"/>
                </a:lnTo>
                <a:lnTo>
                  <a:pt x="962" y="416"/>
                </a:lnTo>
                <a:lnTo>
                  <a:pt x="962" y="416"/>
                </a:lnTo>
                <a:lnTo>
                  <a:pt x="962" y="418"/>
                </a:lnTo>
                <a:lnTo>
                  <a:pt x="962" y="422"/>
                </a:lnTo>
                <a:lnTo>
                  <a:pt x="962" y="422"/>
                </a:lnTo>
                <a:lnTo>
                  <a:pt x="966" y="424"/>
                </a:lnTo>
                <a:lnTo>
                  <a:pt x="966" y="424"/>
                </a:lnTo>
                <a:lnTo>
                  <a:pt x="966" y="428"/>
                </a:lnTo>
                <a:lnTo>
                  <a:pt x="966" y="432"/>
                </a:lnTo>
                <a:lnTo>
                  <a:pt x="966" y="432"/>
                </a:lnTo>
                <a:lnTo>
                  <a:pt x="964" y="434"/>
                </a:lnTo>
                <a:lnTo>
                  <a:pt x="964" y="434"/>
                </a:lnTo>
                <a:lnTo>
                  <a:pt x="964" y="436"/>
                </a:lnTo>
                <a:lnTo>
                  <a:pt x="964" y="438"/>
                </a:lnTo>
                <a:lnTo>
                  <a:pt x="964" y="438"/>
                </a:lnTo>
                <a:lnTo>
                  <a:pt x="970" y="442"/>
                </a:lnTo>
                <a:lnTo>
                  <a:pt x="970" y="442"/>
                </a:lnTo>
                <a:lnTo>
                  <a:pt x="972" y="442"/>
                </a:lnTo>
                <a:lnTo>
                  <a:pt x="974" y="442"/>
                </a:lnTo>
                <a:lnTo>
                  <a:pt x="974" y="444"/>
                </a:lnTo>
                <a:lnTo>
                  <a:pt x="974" y="444"/>
                </a:lnTo>
                <a:lnTo>
                  <a:pt x="984" y="444"/>
                </a:lnTo>
                <a:lnTo>
                  <a:pt x="984" y="444"/>
                </a:lnTo>
                <a:lnTo>
                  <a:pt x="986" y="454"/>
                </a:lnTo>
                <a:lnTo>
                  <a:pt x="986" y="454"/>
                </a:lnTo>
                <a:lnTo>
                  <a:pt x="990" y="452"/>
                </a:lnTo>
                <a:lnTo>
                  <a:pt x="990" y="450"/>
                </a:lnTo>
                <a:lnTo>
                  <a:pt x="990" y="450"/>
                </a:lnTo>
                <a:lnTo>
                  <a:pt x="992" y="450"/>
                </a:lnTo>
                <a:lnTo>
                  <a:pt x="992" y="450"/>
                </a:lnTo>
                <a:lnTo>
                  <a:pt x="992" y="454"/>
                </a:lnTo>
                <a:lnTo>
                  <a:pt x="994" y="454"/>
                </a:lnTo>
                <a:lnTo>
                  <a:pt x="994" y="454"/>
                </a:lnTo>
                <a:lnTo>
                  <a:pt x="998" y="460"/>
                </a:lnTo>
                <a:lnTo>
                  <a:pt x="998" y="460"/>
                </a:lnTo>
                <a:lnTo>
                  <a:pt x="1000" y="458"/>
                </a:lnTo>
                <a:lnTo>
                  <a:pt x="1000" y="458"/>
                </a:lnTo>
                <a:lnTo>
                  <a:pt x="1004" y="458"/>
                </a:lnTo>
                <a:lnTo>
                  <a:pt x="1004" y="458"/>
                </a:lnTo>
                <a:lnTo>
                  <a:pt x="1006" y="456"/>
                </a:lnTo>
                <a:lnTo>
                  <a:pt x="1008" y="454"/>
                </a:lnTo>
                <a:lnTo>
                  <a:pt x="1010" y="448"/>
                </a:lnTo>
                <a:lnTo>
                  <a:pt x="1010" y="448"/>
                </a:lnTo>
                <a:lnTo>
                  <a:pt x="1012" y="448"/>
                </a:lnTo>
                <a:lnTo>
                  <a:pt x="1014" y="450"/>
                </a:lnTo>
                <a:lnTo>
                  <a:pt x="1014" y="450"/>
                </a:lnTo>
                <a:lnTo>
                  <a:pt x="1014" y="444"/>
                </a:lnTo>
                <a:lnTo>
                  <a:pt x="1014" y="444"/>
                </a:lnTo>
                <a:lnTo>
                  <a:pt x="1018" y="440"/>
                </a:lnTo>
                <a:lnTo>
                  <a:pt x="1022" y="436"/>
                </a:lnTo>
                <a:lnTo>
                  <a:pt x="1024" y="434"/>
                </a:lnTo>
                <a:lnTo>
                  <a:pt x="1024" y="434"/>
                </a:lnTo>
                <a:lnTo>
                  <a:pt x="1022" y="432"/>
                </a:lnTo>
                <a:lnTo>
                  <a:pt x="1022" y="430"/>
                </a:lnTo>
                <a:lnTo>
                  <a:pt x="1022" y="428"/>
                </a:lnTo>
                <a:lnTo>
                  <a:pt x="1022" y="428"/>
                </a:lnTo>
                <a:lnTo>
                  <a:pt x="1026" y="426"/>
                </a:lnTo>
                <a:lnTo>
                  <a:pt x="1026" y="426"/>
                </a:lnTo>
                <a:lnTo>
                  <a:pt x="1026" y="424"/>
                </a:lnTo>
                <a:lnTo>
                  <a:pt x="1026" y="420"/>
                </a:lnTo>
                <a:lnTo>
                  <a:pt x="1026" y="420"/>
                </a:lnTo>
                <a:lnTo>
                  <a:pt x="1026" y="420"/>
                </a:lnTo>
                <a:lnTo>
                  <a:pt x="1028" y="420"/>
                </a:lnTo>
                <a:lnTo>
                  <a:pt x="1028" y="420"/>
                </a:lnTo>
                <a:lnTo>
                  <a:pt x="1030" y="412"/>
                </a:lnTo>
                <a:lnTo>
                  <a:pt x="1030" y="412"/>
                </a:lnTo>
                <a:lnTo>
                  <a:pt x="1036" y="412"/>
                </a:lnTo>
                <a:lnTo>
                  <a:pt x="1036" y="412"/>
                </a:lnTo>
                <a:lnTo>
                  <a:pt x="1036" y="422"/>
                </a:lnTo>
                <a:lnTo>
                  <a:pt x="1036" y="422"/>
                </a:lnTo>
                <a:lnTo>
                  <a:pt x="1038" y="422"/>
                </a:lnTo>
                <a:lnTo>
                  <a:pt x="1038" y="422"/>
                </a:lnTo>
                <a:lnTo>
                  <a:pt x="1038" y="426"/>
                </a:lnTo>
                <a:lnTo>
                  <a:pt x="1036" y="428"/>
                </a:lnTo>
                <a:lnTo>
                  <a:pt x="1036" y="428"/>
                </a:lnTo>
                <a:lnTo>
                  <a:pt x="1038" y="434"/>
                </a:lnTo>
                <a:lnTo>
                  <a:pt x="1038" y="440"/>
                </a:lnTo>
                <a:lnTo>
                  <a:pt x="1040" y="440"/>
                </a:lnTo>
                <a:lnTo>
                  <a:pt x="1040" y="440"/>
                </a:lnTo>
                <a:lnTo>
                  <a:pt x="1040" y="444"/>
                </a:lnTo>
                <a:lnTo>
                  <a:pt x="1040" y="444"/>
                </a:lnTo>
                <a:lnTo>
                  <a:pt x="1044" y="442"/>
                </a:lnTo>
                <a:lnTo>
                  <a:pt x="1044" y="442"/>
                </a:lnTo>
                <a:lnTo>
                  <a:pt x="1046" y="442"/>
                </a:lnTo>
                <a:lnTo>
                  <a:pt x="1048" y="442"/>
                </a:lnTo>
                <a:lnTo>
                  <a:pt x="1048" y="442"/>
                </a:lnTo>
                <a:lnTo>
                  <a:pt x="1048" y="446"/>
                </a:lnTo>
                <a:lnTo>
                  <a:pt x="1048" y="446"/>
                </a:lnTo>
                <a:lnTo>
                  <a:pt x="1052" y="446"/>
                </a:lnTo>
                <a:lnTo>
                  <a:pt x="1052" y="448"/>
                </a:lnTo>
                <a:lnTo>
                  <a:pt x="1052" y="448"/>
                </a:lnTo>
                <a:lnTo>
                  <a:pt x="1050" y="448"/>
                </a:lnTo>
                <a:lnTo>
                  <a:pt x="1048" y="450"/>
                </a:lnTo>
                <a:lnTo>
                  <a:pt x="1048" y="450"/>
                </a:lnTo>
                <a:lnTo>
                  <a:pt x="1054" y="452"/>
                </a:lnTo>
                <a:lnTo>
                  <a:pt x="1054" y="454"/>
                </a:lnTo>
                <a:lnTo>
                  <a:pt x="1052" y="456"/>
                </a:lnTo>
                <a:lnTo>
                  <a:pt x="1052" y="456"/>
                </a:lnTo>
                <a:lnTo>
                  <a:pt x="1046" y="458"/>
                </a:lnTo>
                <a:lnTo>
                  <a:pt x="1046" y="458"/>
                </a:lnTo>
                <a:lnTo>
                  <a:pt x="1046" y="460"/>
                </a:lnTo>
                <a:lnTo>
                  <a:pt x="1046" y="460"/>
                </a:lnTo>
                <a:lnTo>
                  <a:pt x="1058" y="460"/>
                </a:lnTo>
                <a:lnTo>
                  <a:pt x="1058" y="460"/>
                </a:lnTo>
                <a:lnTo>
                  <a:pt x="1060" y="462"/>
                </a:lnTo>
                <a:lnTo>
                  <a:pt x="1060" y="462"/>
                </a:lnTo>
                <a:lnTo>
                  <a:pt x="1056" y="468"/>
                </a:lnTo>
                <a:lnTo>
                  <a:pt x="1056" y="468"/>
                </a:lnTo>
                <a:lnTo>
                  <a:pt x="1058" y="468"/>
                </a:lnTo>
                <a:lnTo>
                  <a:pt x="1058" y="468"/>
                </a:lnTo>
                <a:lnTo>
                  <a:pt x="1060" y="470"/>
                </a:lnTo>
                <a:lnTo>
                  <a:pt x="1058" y="472"/>
                </a:lnTo>
                <a:lnTo>
                  <a:pt x="1058" y="472"/>
                </a:lnTo>
                <a:lnTo>
                  <a:pt x="1062" y="472"/>
                </a:lnTo>
                <a:lnTo>
                  <a:pt x="1062" y="472"/>
                </a:lnTo>
                <a:lnTo>
                  <a:pt x="1064" y="476"/>
                </a:lnTo>
                <a:lnTo>
                  <a:pt x="1064" y="476"/>
                </a:lnTo>
                <a:lnTo>
                  <a:pt x="1068" y="476"/>
                </a:lnTo>
                <a:lnTo>
                  <a:pt x="1068" y="476"/>
                </a:lnTo>
                <a:lnTo>
                  <a:pt x="1066" y="482"/>
                </a:lnTo>
                <a:lnTo>
                  <a:pt x="1062" y="486"/>
                </a:lnTo>
                <a:lnTo>
                  <a:pt x="1062" y="486"/>
                </a:lnTo>
                <a:lnTo>
                  <a:pt x="1068" y="486"/>
                </a:lnTo>
                <a:lnTo>
                  <a:pt x="1068" y="486"/>
                </a:lnTo>
                <a:lnTo>
                  <a:pt x="1068" y="488"/>
                </a:lnTo>
                <a:lnTo>
                  <a:pt x="1070" y="490"/>
                </a:lnTo>
                <a:lnTo>
                  <a:pt x="1070" y="490"/>
                </a:lnTo>
                <a:lnTo>
                  <a:pt x="1074" y="490"/>
                </a:lnTo>
                <a:lnTo>
                  <a:pt x="1074" y="490"/>
                </a:lnTo>
                <a:lnTo>
                  <a:pt x="1076" y="494"/>
                </a:lnTo>
                <a:lnTo>
                  <a:pt x="1076" y="496"/>
                </a:lnTo>
                <a:lnTo>
                  <a:pt x="1076" y="496"/>
                </a:lnTo>
                <a:lnTo>
                  <a:pt x="1076" y="496"/>
                </a:lnTo>
                <a:lnTo>
                  <a:pt x="1076" y="498"/>
                </a:lnTo>
                <a:lnTo>
                  <a:pt x="1076" y="498"/>
                </a:lnTo>
                <a:lnTo>
                  <a:pt x="1074" y="498"/>
                </a:lnTo>
                <a:lnTo>
                  <a:pt x="1074" y="496"/>
                </a:lnTo>
                <a:lnTo>
                  <a:pt x="1074" y="496"/>
                </a:lnTo>
                <a:lnTo>
                  <a:pt x="1072" y="498"/>
                </a:lnTo>
                <a:lnTo>
                  <a:pt x="1072" y="498"/>
                </a:lnTo>
                <a:lnTo>
                  <a:pt x="1072" y="498"/>
                </a:lnTo>
                <a:lnTo>
                  <a:pt x="1066" y="498"/>
                </a:lnTo>
                <a:lnTo>
                  <a:pt x="1062" y="498"/>
                </a:lnTo>
                <a:lnTo>
                  <a:pt x="1062" y="500"/>
                </a:lnTo>
                <a:lnTo>
                  <a:pt x="1062" y="500"/>
                </a:lnTo>
                <a:lnTo>
                  <a:pt x="1066" y="502"/>
                </a:lnTo>
                <a:lnTo>
                  <a:pt x="1066" y="502"/>
                </a:lnTo>
                <a:lnTo>
                  <a:pt x="1064" y="508"/>
                </a:lnTo>
                <a:lnTo>
                  <a:pt x="1064" y="508"/>
                </a:lnTo>
                <a:lnTo>
                  <a:pt x="1068" y="506"/>
                </a:lnTo>
                <a:lnTo>
                  <a:pt x="1070" y="506"/>
                </a:lnTo>
                <a:lnTo>
                  <a:pt x="1070" y="510"/>
                </a:lnTo>
                <a:lnTo>
                  <a:pt x="1070" y="510"/>
                </a:lnTo>
                <a:lnTo>
                  <a:pt x="1068" y="510"/>
                </a:lnTo>
                <a:lnTo>
                  <a:pt x="1068" y="510"/>
                </a:lnTo>
                <a:lnTo>
                  <a:pt x="1068" y="510"/>
                </a:lnTo>
                <a:lnTo>
                  <a:pt x="1072" y="510"/>
                </a:lnTo>
                <a:lnTo>
                  <a:pt x="1072" y="510"/>
                </a:lnTo>
                <a:lnTo>
                  <a:pt x="1072" y="518"/>
                </a:lnTo>
                <a:lnTo>
                  <a:pt x="1072" y="518"/>
                </a:lnTo>
                <a:lnTo>
                  <a:pt x="1078" y="518"/>
                </a:lnTo>
                <a:lnTo>
                  <a:pt x="1082" y="518"/>
                </a:lnTo>
                <a:lnTo>
                  <a:pt x="1082" y="518"/>
                </a:lnTo>
                <a:lnTo>
                  <a:pt x="1086" y="522"/>
                </a:lnTo>
                <a:lnTo>
                  <a:pt x="1086" y="522"/>
                </a:lnTo>
                <a:lnTo>
                  <a:pt x="1088" y="522"/>
                </a:lnTo>
                <a:lnTo>
                  <a:pt x="1088" y="522"/>
                </a:lnTo>
                <a:lnTo>
                  <a:pt x="1088" y="528"/>
                </a:lnTo>
                <a:lnTo>
                  <a:pt x="1088" y="528"/>
                </a:lnTo>
                <a:lnTo>
                  <a:pt x="1088" y="530"/>
                </a:lnTo>
                <a:lnTo>
                  <a:pt x="1088" y="534"/>
                </a:lnTo>
                <a:lnTo>
                  <a:pt x="1088" y="534"/>
                </a:lnTo>
                <a:lnTo>
                  <a:pt x="1100" y="534"/>
                </a:lnTo>
                <a:lnTo>
                  <a:pt x="1100" y="534"/>
                </a:lnTo>
                <a:lnTo>
                  <a:pt x="1100" y="538"/>
                </a:lnTo>
                <a:lnTo>
                  <a:pt x="1100" y="538"/>
                </a:lnTo>
                <a:lnTo>
                  <a:pt x="1104" y="534"/>
                </a:lnTo>
                <a:lnTo>
                  <a:pt x="1104" y="534"/>
                </a:lnTo>
                <a:lnTo>
                  <a:pt x="1104" y="536"/>
                </a:lnTo>
                <a:lnTo>
                  <a:pt x="1106" y="536"/>
                </a:lnTo>
                <a:lnTo>
                  <a:pt x="1106" y="536"/>
                </a:lnTo>
                <a:lnTo>
                  <a:pt x="1106" y="534"/>
                </a:lnTo>
                <a:lnTo>
                  <a:pt x="1108" y="534"/>
                </a:lnTo>
                <a:lnTo>
                  <a:pt x="1108" y="534"/>
                </a:lnTo>
                <a:lnTo>
                  <a:pt x="1108" y="540"/>
                </a:lnTo>
                <a:lnTo>
                  <a:pt x="1110" y="540"/>
                </a:lnTo>
                <a:lnTo>
                  <a:pt x="1110" y="540"/>
                </a:lnTo>
                <a:lnTo>
                  <a:pt x="1114" y="544"/>
                </a:lnTo>
                <a:lnTo>
                  <a:pt x="1118" y="546"/>
                </a:lnTo>
                <a:lnTo>
                  <a:pt x="1118" y="546"/>
                </a:lnTo>
                <a:lnTo>
                  <a:pt x="1120" y="542"/>
                </a:lnTo>
                <a:lnTo>
                  <a:pt x="1120" y="542"/>
                </a:lnTo>
                <a:lnTo>
                  <a:pt x="1122" y="540"/>
                </a:lnTo>
                <a:lnTo>
                  <a:pt x="1122" y="540"/>
                </a:lnTo>
                <a:lnTo>
                  <a:pt x="1124" y="546"/>
                </a:lnTo>
                <a:lnTo>
                  <a:pt x="1124" y="546"/>
                </a:lnTo>
                <a:lnTo>
                  <a:pt x="1126" y="548"/>
                </a:lnTo>
                <a:lnTo>
                  <a:pt x="1126" y="548"/>
                </a:lnTo>
                <a:lnTo>
                  <a:pt x="1130" y="546"/>
                </a:lnTo>
                <a:lnTo>
                  <a:pt x="1130" y="546"/>
                </a:lnTo>
                <a:lnTo>
                  <a:pt x="1126" y="550"/>
                </a:lnTo>
                <a:lnTo>
                  <a:pt x="1124" y="554"/>
                </a:lnTo>
                <a:lnTo>
                  <a:pt x="1124" y="554"/>
                </a:lnTo>
                <a:lnTo>
                  <a:pt x="1120" y="554"/>
                </a:lnTo>
                <a:lnTo>
                  <a:pt x="1118" y="556"/>
                </a:lnTo>
                <a:lnTo>
                  <a:pt x="1118" y="556"/>
                </a:lnTo>
                <a:lnTo>
                  <a:pt x="1114" y="556"/>
                </a:lnTo>
                <a:lnTo>
                  <a:pt x="1112" y="556"/>
                </a:lnTo>
                <a:lnTo>
                  <a:pt x="1112" y="556"/>
                </a:lnTo>
                <a:lnTo>
                  <a:pt x="1110" y="560"/>
                </a:lnTo>
                <a:lnTo>
                  <a:pt x="1110" y="560"/>
                </a:lnTo>
                <a:lnTo>
                  <a:pt x="1106" y="560"/>
                </a:lnTo>
                <a:lnTo>
                  <a:pt x="1106" y="560"/>
                </a:lnTo>
                <a:lnTo>
                  <a:pt x="1098" y="566"/>
                </a:lnTo>
                <a:lnTo>
                  <a:pt x="1098" y="566"/>
                </a:lnTo>
                <a:lnTo>
                  <a:pt x="1088" y="566"/>
                </a:lnTo>
                <a:lnTo>
                  <a:pt x="1088" y="566"/>
                </a:lnTo>
                <a:lnTo>
                  <a:pt x="1090" y="576"/>
                </a:lnTo>
                <a:lnTo>
                  <a:pt x="1090" y="576"/>
                </a:lnTo>
                <a:lnTo>
                  <a:pt x="1094" y="576"/>
                </a:lnTo>
                <a:lnTo>
                  <a:pt x="1094" y="576"/>
                </a:lnTo>
                <a:lnTo>
                  <a:pt x="1094" y="572"/>
                </a:lnTo>
                <a:lnTo>
                  <a:pt x="1096" y="570"/>
                </a:lnTo>
                <a:lnTo>
                  <a:pt x="1096" y="570"/>
                </a:lnTo>
                <a:lnTo>
                  <a:pt x="1098" y="570"/>
                </a:lnTo>
                <a:lnTo>
                  <a:pt x="1102" y="568"/>
                </a:lnTo>
                <a:lnTo>
                  <a:pt x="1102" y="568"/>
                </a:lnTo>
                <a:lnTo>
                  <a:pt x="1108" y="564"/>
                </a:lnTo>
                <a:lnTo>
                  <a:pt x="1114" y="560"/>
                </a:lnTo>
                <a:lnTo>
                  <a:pt x="1114" y="560"/>
                </a:lnTo>
                <a:lnTo>
                  <a:pt x="1118" y="560"/>
                </a:lnTo>
                <a:lnTo>
                  <a:pt x="1122" y="560"/>
                </a:lnTo>
                <a:lnTo>
                  <a:pt x="1122" y="556"/>
                </a:lnTo>
                <a:lnTo>
                  <a:pt x="1122" y="556"/>
                </a:lnTo>
                <a:lnTo>
                  <a:pt x="1126" y="556"/>
                </a:lnTo>
                <a:lnTo>
                  <a:pt x="1132" y="556"/>
                </a:lnTo>
                <a:lnTo>
                  <a:pt x="1132" y="556"/>
                </a:lnTo>
                <a:lnTo>
                  <a:pt x="1134" y="560"/>
                </a:lnTo>
                <a:lnTo>
                  <a:pt x="1134" y="560"/>
                </a:lnTo>
                <a:lnTo>
                  <a:pt x="1142" y="564"/>
                </a:lnTo>
                <a:lnTo>
                  <a:pt x="1142" y="564"/>
                </a:lnTo>
                <a:lnTo>
                  <a:pt x="1142" y="568"/>
                </a:lnTo>
                <a:lnTo>
                  <a:pt x="1144" y="568"/>
                </a:lnTo>
                <a:lnTo>
                  <a:pt x="1144" y="568"/>
                </a:lnTo>
                <a:lnTo>
                  <a:pt x="1144" y="566"/>
                </a:lnTo>
                <a:lnTo>
                  <a:pt x="1144" y="566"/>
                </a:lnTo>
                <a:lnTo>
                  <a:pt x="1148" y="564"/>
                </a:lnTo>
                <a:lnTo>
                  <a:pt x="1148" y="564"/>
                </a:lnTo>
                <a:lnTo>
                  <a:pt x="1148" y="566"/>
                </a:lnTo>
                <a:lnTo>
                  <a:pt x="1150" y="566"/>
                </a:lnTo>
                <a:lnTo>
                  <a:pt x="1150" y="566"/>
                </a:lnTo>
                <a:lnTo>
                  <a:pt x="1150" y="572"/>
                </a:lnTo>
                <a:lnTo>
                  <a:pt x="1150" y="574"/>
                </a:lnTo>
                <a:lnTo>
                  <a:pt x="1148" y="576"/>
                </a:lnTo>
                <a:lnTo>
                  <a:pt x="1148" y="578"/>
                </a:lnTo>
                <a:lnTo>
                  <a:pt x="1148" y="578"/>
                </a:lnTo>
                <a:lnTo>
                  <a:pt x="1150" y="578"/>
                </a:lnTo>
                <a:lnTo>
                  <a:pt x="1148" y="578"/>
                </a:lnTo>
                <a:lnTo>
                  <a:pt x="1148" y="578"/>
                </a:lnTo>
                <a:lnTo>
                  <a:pt x="1150" y="582"/>
                </a:lnTo>
                <a:lnTo>
                  <a:pt x="1148" y="588"/>
                </a:lnTo>
                <a:lnTo>
                  <a:pt x="1146" y="588"/>
                </a:lnTo>
                <a:lnTo>
                  <a:pt x="1146" y="590"/>
                </a:lnTo>
                <a:lnTo>
                  <a:pt x="1146" y="590"/>
                </a:lnTo>
                <a:lnTo>
                  <a:pt x="1144" y="590"/>
                </a:lnTo>
                <a:lnTo>
                  <a:pt x="1144" y="590"/>
                </a:lnTo>
                <a:lnTo>
                  <a:pt x="1142" y="594"/>
                </a:lnTo>
                <a:lnTo>
                  <a:pt x="1142" y="594"/>
                </a:lnTo>
                <a:lnTo>
                  <a:pt x="1138" y="594"/>
                </a:lnTo>
                <a:lnTo>
                  <a:pt x="1134" y="598"/>
                </a:lnTo>
                <a:lnTo>
                  <a:pt x="1134" y="598"/>
                </a:lnTo>
                <a:lnTo>
                  <a:pt x="1132" y="598"/>
                </a:lnTo>
                <a:lnTo>
                  <a:pt x="1130" y="598"/>
                </a:lnTo>
                <a:lnTo>
                  <a:pt x="1130" y="598"/>
                </a:lnTo>
                <a:lnTo>
                  <a:pt x="1126" y="598"/>
                </a:lnTo>
                <a:lnTo>
                  <a:pt x="1124" y="600"/>
                </a:lnTo>
                <a:lnTo>
                  <a:pt x="1122" y="602"/>
                </a:lnTo>
                <a:lnTo>
                  <a:pt x="1118" y="600"/>
                </a:lnTo>
                <a:lnTo>
                  <a:pt x="1118" y="600"/>
                </a:lnTo>
                <a:lnTo>
                  <a:pt x="1118" y="600"/>
                </a:lnTo>
                <a:lnTo>
                  <a:pt x="1116" y="600"/>
                </a:lnTo>
                <a:lnTo>
                  <a:pt x="1116" y="600"/>
                </a:lnTo>
                <a:lnTo>
                  <a:pt x="1116" y="602"/>
                </a:lnTo>
                <a:lnTo>
                  <a:pt x="1116" y="602"/>
                </a:lnTo>
                <a:lnTo>
                  <a:pt x="1112" y="604"/>
                </a:lnTo>
                <a:lnTo>
                  <a:pt x="1112" y="604"/>
                </a:lnTo>
                <a:lnTo>
                  <a:pt x="1112" y="608"/>
                </a:lnTo>
                <a:lnTo>
                  <a:pt x="1112" y="608"/>
                </a:lnTo>
                <a:lnTo>
                  <a:pt x="1108" y="612"/>
                </a:lnTo>
                <a:lnTo>
                  <a:pt x="1108" y="612"/>
                </a:lnTo>
                <a:lnTo>
                  <a:pt x="1108" y="614"/>
                </a:lnTo>
                <a:lnTo>
                  <a:pt x="1108" y="616"/>
                </a:lnTo>
                <a:lnTo>
                  <a:pt x="1108" y="616"/>
                </a:lnTo>
                <a:lnTo>
                  <a:pt x="1106" y="618"/>
                </a:lnTo>
                <a:lnTo>
                  <a:pt x="1104" y="620"/>
                </a:lnTo>
                <a:lnTo>
                  <a:pt x="1100" y="620"/>
                </a:lnTo>
                <a:lnTo>
                  <a:pt x="1100" y="620"/>
                </a:lnTo>
                <a:lnTo>
                  <a:pt x="1100" y="624"/>
                </a:lnTo>
                <a:lnTo>
                  <a:pt x="1100" y="624"/>
                </a:lnTo>
                <a:lnTo>
                  <a:pt x="1098" y="626"/>
                </a:lnTo>
                <a:lnTo>
                  <a:pt x="1098" y="626"/>
                </a:lnTo>
                <a:lnTo>
                  <a:pt x="1090" y="626"/>
                </a:lnTo>
                <a:lnTo>
                  <a:pt x="1090" y="626"/>
                </a:lnTo>
                <a:lnTo>
                  <a:pt x="1088" y="630"/>
                </a:lnTo>
                <a:lnTo>
                  <a:pt x="1088" y="630"/>
                </a:lnTo>
                <a:lnTo>
                  <a:pt x="1086" y="630"/>
                </a:lnTo>
                <a:lnTo>
                  <a:pt x="1084" y="630"/>
                </a:lnTo>
                <a:lnTo>
                  <a:pt x="1082" y="628"/>
                </a:lnTo>
                <a:lnTo>
                  <a:pt x="1082" y="628"/>
                </a:lnTo>
                <a:lnTo>
                  <a:pt x="1078" y="628"/>
                </a:lnTo>
                <a:lnTo>
                  <a:pt x="1078" y="628"/>
                </a:lnTo>
                <a:lnTo>
                  <a:pt x="1078" y="630"/>
                </a:lnTo>
                <a:lnTo>
                  <a:pt x="1078" y="630"/>
                </a:lnTo>
                <a:lnTo>
                  <a:pt x="1078" y="632"/>
                </a:lnTo>
                <a:lnTo>
                  <a:pt x="1076" y="632"/>
                </a:lnTo>
                <a:lnTo>
                  <a:pt x="1076" y="630"/>
                </a:lnTo>
                <a:lnTo>
                  <a:pt x="1076" y="630"/>
                </a:lnTo>
                <a:lnTo>
                  <a:pt x="1072" y="632"/>
                </a:lnTo>
                <a:lnTo>
                  <a:pt x="1072" y="632"/>
                </a:lnTo>
                <a:lnTo>
                  <a:pt x="1070" y="626"/>
                </a:lnTo>
                <a:lnTo>
                  <a:pt x="1070" y="626"/>
                </a:lnTo>
                <a:lnTo>
                  <a:pt x="1064" y="628"/>
                </a:lnTo>
                <a:lnTo>
                  <a:pt x="1060" y="628"/>
                </a:lnTo>
                <a:lnTo>
                  <a:pt x="1058" y="628"/>
                </a:lnTo>
                <a:lnTo>
                  <a:pt x="1052" y="626"/>
                </a:lnTo>
                <a:lnTo>
                  <a:pt x="1052" y="626"/>
                </a:lnTo>
                <a:lnTo>
                  <a:pt x="1050" y="630"/>
                </a:lnTo>
                <a:lnTo>
                  <a:pt x="1050" y="630"/>
                </a:lnTo>
                <a:lnTo>
                  <a:pt x="1046" y="630"/>
                </a:lnTo>
                <a:lnTo>
                  <a:pt x="1042" y="628"/>
                </a:lnTo>
                <a:lnTo>
                  <a:pt x="1042" y="628"/>
                </a:lnTo>
                <a:lnTo>
                  <a:pt x="1040" y="630"/>
                </a:lnTo>
                <a:lnTo>
                  <a:pt x="1036" y="630"/>
                </a:lnTo>
                <a:lnTo>
                  <a:pt x="1036" y="630"/>
                </a:lnTo>
                <a:lnTo>
                  <a:pt x="1034" y="630"/>
                </a:lnTo>
                <a:lnTo>
                  <a:pt x="1032" y="628"/>
                </a:lnTo>
                <a:lnTo>
                  <a:pt x="1032" y="628"/>
                </a:lnTo>
                <a:lnTo>
                  <a:pt x="1030" y="630"/>
                </a:lnTo>
                <a:lnTo>
                  <a:pt x="1030" y="630"/>
                </a:lnTo>
                <a:lnTo>
                  <a:pt x="1020" y="630"/>
                </a:lnTo>
                <a:lnTo>
                  <a:pt x="1020" y="630"/>
                </a:lnTo>
                <a:lnTo>
                  <a:pt x="1020" y="630"/>
                </a:lnTo>
                <a:lnTo>
                  <a:pt x="1006" y="628"/>
                </a:lnTo>
                <a:lnTo>
                  <a:pt x="1006" y="630"/>
                </a:lnTo>
                <a:lnTo>
                  <a:pt x="1006" y="630"/>
                </a:lnTo>
                <a:lnTo>
                  <a:pt x="1002" y="634"/>
                </a:lnTo>
                <a:lnTo>
                  <a:pt x="1002" y="634"/>
                </a:lnTo>
                <a:lnTo>
                  <a:pt x="1000" y="632"/>
                </a:lnTo>
                <a:lnTo>
                  <a:pt x="1000" y="634"/>
                </a:lnTo>
                <a:lnTo>
                  <a:pt x="998" y="634"/>
                </a:lnTo>
                <a:lnTo>
                  <a:pt x="998" y="634"/>
                </a:lnTo>
                <a:lnTo>
                  <a:pt x="998" y="638"/>
                </a:lnTo>
                <a:lnTo>
                  <a:pt x="996" y="644"/>
                </a:lnTo>
                <a:lnTo>
                  <a:pt x="996" y="644"/>
                </a:lnTo>
                <a:lnTo>
                  <a:pt x="992" y="646"/>
                </a:lnTo>
                <a:lnTo>
                  <a:pt x="990" y="646"/>
                </a:lnTo>
                <a:lnTo>
                  <a:pt x="990" y="646"/>
                </a:lnTo>
                <a:lnTo>
                  <a:pt x="988" y="648"/>
                </a:lnTo>
                <a:lnTo>
                  <a:pt x="988" y="650"/>
                </a:lnTo>
                <a:lnTo>
                  <a:pt x="988" y="650"/>
                </a:lnTo>
                <a:lnTo>
                  <a:pt x="986" y="652"/>
                </a:lnTo>
                <a:lnTo>
                  <a:pt x="984" y="652"/>
                </a:lnTo>
                <a:lnTo>
                  <a:pt x="984" y="652"/>
                </a:lnTo>
                <a:lnTo>
                  <a:pt x="984" y="652"/>
                </a:lnTo>
                <a:lnTo>
                  <a:pt x="982" y="654"/>
                </a:lnTo>
                <a:lnTo>
                  <a:pt x="982" y="656"/>
                </a:lnTo>
                <a:lnTo>
                  <a:pt x="982" y="656"/>
                </a:lnTo>
                <a:lnTo>
                  <a:pt x="980" y="658"/>
                </a:lnTo>
                <a:lnTo>
                  <a:pt x="976" y="658"/>
                </a:lnTo>
                <a:lnTo>
                  <a:pt x="976" y="658"/>
                </a:lnTo>
                <a:lnTo>
                  <a:pt x="974" y="660"/>
                </a:lnTo>
                <a:lnTo>
                  <a:pt x="974" y="660"/>
                </a:lnTo>
                <a:lnTo>
                  <a:pt x="972" y="662"/>
                </a:lnTo>
                <a:lnTo>
                  <a:pt x="972" y="662"/>
                </a:lnTo>
                <a:lnTo>
                  <a:pt x="968" y="666"/>
                </a:lnTo>
                <a:lnTo>
                  <a:pt x="968" y="668"/>
                </a:lnTo>
                <a:lnTo>
                  <a:pt x="966" y="670"/>
                </a:lnTo>
                <a:lnTo>
                  <a:pt x="966" y="670"/>
                </a:lnTo>
                <a:lnTo>
                  <a:pt x="960" y="670"/>
                </a:lnTo>
                <a:lnTo>
                  <a:pt x="960" y="670"/>
                </a:lnTo>
                <a:lnTo>
                  <a:pt x="964" y="672"/>
                </a:lnTo>
                <a:lnTo>
                  <a:pt x="964" y="672"/>
                </a:lnTo>
                <a:lnTo>
                  <a:pt x="960" y="684"/>
                </a:lnTo>
                <a:lnTo>
                  <a:pt x="954" y="694"/>
                </a:lnTo>
                <a:lnTo>
                  <a:pt x="954" y="694"/>
                </a:lnTo>
                <a:lnTo>
                  <a:pt x="956" y="694"/>
                </a:lnTo>
                <a:lnTo>
                  <a:pt x="956" y="692"/>
                </a:lnTo>
                <a:lnTo>
                  <a:pt x="958" y="692"/>
                </a:lnTo>
                <a:lnTo>
                  <a:pt x="958" y="692"/>
                </a:lnTo>
                <a:lnTo>
                  <a:pt x="964" y="684"/>
                </a:lnTo>
                <a:lnTo>
                  <a:pt x="964" y="684"/>
                </a:lnTo>
                <a:lnTo>
                  <a:pt x="964" y="680"/>
                </a:lnTo>
                <a:lnTo>
                  <a:pt x="966" y="678"/>
                </a:lnTo>
                <a:lnTo>
                  <a:pt x="966" y="678"/>
                </a:lnTo>
                <a:lnTo>
                  <a:pt x="970" y="676"/>
                </a:lnTo>
                <a:lnTo>
                  <a:pt x="974" y="676"/>
                </a:lnTo>
                <a:lnTo>
                  <a:pt x="974" y="676"/>
                </a:lnTo>
                <a:lnTo>
                  <a:pt x="974" y="672"/>
                </a:lnTo>
                <a:lnTo>
                  <a:pt x="974" y="670"/>
                </a:lnTo>
                <a:lnTo>
                  <a:pt x="974" y="670"/>
                </a:lnTo>
                <a:lnTo>
                  <a:pt x="978" y="668"/>
                </a:lnTo>
                <a:lnTo>
                  <a:pt x="984" y="666"/>
                </a:lnTo>
                <a:lnTo>
                  <a:pt x="984" y="666"/>
                </a:lnTo>
                <a:lnTo>
                  <a:pt x="988" y="660"/>
                </a:lnTo>
                <a:lnTo>
                  <a:pt x="988" y="660"/>
                </a:lnTo>
                <a:lnTo>
                  <a:pt x="990" y="660"/>
                </a:lnTo>
                <a:lnTo>
                  <a:pt x="990" y="660"/>
                </a:lnTo>
                <a:lnTo>
                  <a:pt x="992" y="656"/>
                </a:lnTo>
                <a:lnTo>
                  <a:pt x="992" y="656"/>
                </a:lnTo>
                <a:lnTo>
                  <a:pt x="998" y="656"/>
                </a:lnTo>
                <a:lnTo>
                  <a:pt x="998" y="656"/>
                </a:lnTo>
                <a:lnTo>
                  <a:pt x="1000" y="652"/>
                </a:lnTo>
                <a:lnTo>
                  <a:pt x="1000" y="652"/>
                </a:lnTo>
                <a:lnTo>
                  <a:pt x="1006" y="650"/>
                </a:lnTo>
                <a:lnTo>
                  <a:pt x="1014" y="648"/>
                </a:lnTo>
                <a:lnTo>
                  <a:pt x="1018" y="646"/>
                </a:lnTo>
                <a:lnTo>
                  <a:pt x="1018" y="646"/>
                </a:lnTo>
                <a:lnTo>
                  <a:pt x="1020" y="646"/>
                </a:lnTo>
                <a:lnTo>
                  <a:pt x="1020" y="648"/>
                </a:lnTo>
                <a:lnTo>
                  <a:pt x="1020" y="648"/>
                </a:lnTo>
                <a:lnTo>
                  <a:pt x="1026" y="648"/>
                </a:lnTo>
                <a:lnTo>
                  <a:pt x="1032" y="648"/>
                </a:lnTo>
                <a:lnTo>
                  <a:pt x="1032" y="648"/>
                </a:lnTo>
                <a:lnTo>
                  <a:pt x="1034" y="648"/>
                </a:lnTo>
                <a:lnTo>
                  <a:pt x="1034" y="650"/>
                </a:lnTo>
                <a:lnTo>
                  <a:pt x="1036" y="652"/>
                </a:lnTo>
                <a:lnTo>
                  <a:pt x="1036" y="652"/>
                </a:lnTo>
                <a:lnTo>
                  <a:pt x="1038" y="654"/>
                </a:lnTo>
                <a:lnTo>
                  <a:pt x="1038" y="654"/>
                </a:lnTo>
                <a:lnTo>
                  <a:pt x="1038" y="658"/>
                </a:lnTo>
                <a:lnTo>
                  <a:pt x="1038" y="658"/>
                </a:lnTo>
                <a:lnTo>
                  <a:pt x="1034" y="656"/>
                </a:lnTo>
                <a:lnTo>
                  <a:pt x="1034" y="656"/>
                </a:lnTo>
                <a:lnTo>
                  <a:pt x="1036" y="662"/>
                </a:lnTo>
                <a:lnTo>
                  <a:pt x="1034" y="668"/>
                </a:lnTo>
                <a:lnTo>
                  <a:pt x="1034" y="668"/>
                </a:lnTo>
                <a:lnTo>
                  <a:pt x="1028" y="666"/>
                </a:lnTo>
                <a:lnTo>
                  <a:pt x="1028" y="666"/>
                </a:lnTo>
                <a:lnTo>
                  <a:pt x="1028" y="676"/>
                </a:lnTo>
                <a:lnTo>
                  <a:pt x="1028" y="676"/>
                </a:lnTo>
                <a:lnTo>
                  <a:pt x="1022" y="676"/>
                </a:lnTo>
                <a:lnTo>
                  <a:pt x="1022" y="678"/>
                </a:lnTo>
                <a:lnTo>
                  <a:pt x="1022" y="678"/>
                </a:lnTo>
                <a:lnTo>
                  <a:pt x="1018" y="678"/>
                </a:lnTo>
                <a:lnTo>
                  <a:pt x="1018" y="678"/>
                </a:lnTo>
                <a:lnTo>
                  <a:pt x="1018" y="674"/>
                </a:lnTo>
                <a:lnTo>
                  <a:pt x="1018" y="672"/>
                </a:lnTo>
                <a:lnTo>
                  <a:pt x="1018" y="672"/>
                </a:lnTo>
                <a:lnTo>
                  <a:pt x="1014" y="670"/>
                </a:lnTo>
                <a:lnTo>
                  <a:pt x="1014" y="670"/>
                </a:lnTo>
                <a:lnTo>
                  <a:pt x="1014" y="672"/>
                </a:lnTo>
                <a:lnTo>
                  <a:pt x="1012" y="674"/>
                </a:lnTo>
                <a:lnTo>
                  <a:pt x="1012" y="676"/>
                </a:lnTo>
                <a:lnTo>
                  <a:pt x="1012" y="676"/>
                </a:lnTo>
                <a:lnTo>
                  <a:pt x="1016" y="678"/>
                </a:lnTo>
                <a:lnTo>
                  <a:pt x="1016" y="680"/>
                </a:lnTo>
                <a:lnTo>
                  <a:pt x="1016" y="680"/>
                </a:lnTo>
                <a:lnTo>
                  <a:pt x="1014" y="680"/>
                </a:lnTo>
                <a:lnTo>
                  <a:pt x="1014" y="682"/>
                </a:lnTo>
                <a:lnTo>
                  <a:pt x="1016" y="684"/>
                </a:lnTo>
                <a:lnTo>
                  <a:pt x="1020" y="684"/>
                </a:lnTo>
                <a:lnTo>
                  <a:pt x="1020" y="684"/>
                </a:lnTo>
                <a:lnTo>
                  <a:pt x="1024" y="680"/>
                </a:lnTo>
                <a:lnTo>
                  <a:pt x="1024" y="680"/>
                </a:lnTo>
                <a:lnTo>
                  <a:pt x="1028" y="680"/>
                </a:lnTo>
                <a:lnTo>
                  <a:pt x="1032" y="680"/>
                </a:lnTo>
                <a:lnTo>
                  <a:pt x="1032" y="680"/>
                </a:lnTo>
                <a:lnTo>
                  <a:pt x="1032" y="682"/>
                </a:lnTo>
                <a:lnTo>
                  <a:pt x="1032" y="684"/>
                </a:lnTo>
                <a:lnTo>
                  <a:pt x="1030" y="686"/>
                </a:lnTo>
                <a:lnTo>
                  <a:pt x="1030" y="686"/>
                </a:lnTo>
                <a:lnTo>
                  <a:pt x="1030" y="690"/>
                </a:lnTo>
                <a:lnTo>
                  <a:pt x="1030" y="692"/>
                </a:lnTo>
                <a:lnTo>
                  <a:pt x="1030" y="692"/>
                </a:lnTo>
                <a:lnTo>
                  <a:pt x="1028" y="692"/>
                </a:lnTo>
                <a:lnTo>
                  <a:pt x="1026" y="696"/>
                </a:lnTo>
                <a:lnTo>
                  <a:pt x="1026" y="696"/>
                </a:lnTo>
                <a:lnTo>
                  <a:pt x="1024" y="696"/>
                </a:lnTo>
                <a:lnTo>
                  <a:pt x="1026" y="696"/>
                </a:lnTo>
                <a:lnTo>
                  <a:pt x="1028" y="698"/>
                </a:lnTo>
                <a:lnTo>
                  <a:pt x="1028" y="698"/>
                </a:lnTo>
                <a:lnTo>
                  <a:pt x="1034" y="696"/>
                </a:lnTo>
                <a:lnTo>
                  <a:pt x="1034" y="696"/>
                </a:lnTo>
                <a:lnTo>
                  <a:pt x="1034" y="700"/>
                </a:lnTo>
                <a:lnTo>
                  <a:pt x="1032" y="700"/>
                </a:lnTo>
                <a:lnTo>
                  <a:pt x="1032" y="700"/>
                </a:lnTo>
                <a:lnTo>
                  <a:pt x="1032" y="710"/>
                </a:lnTo>
                <a:lnTo>
                  <a:pt x="1032" y="710"/>
                </a:lnTo>
                <a:lnTo>
                  <a:pt x="1034" y="710"/>
                </a:lnTo>
                <a:lnTo>
                  <a:pt x="1034" y="710"/>
                </a:lnTo>
                <a:lnTo>
                  <a:pt x="1034" y="714"/>
                </a:lnTo>
                <a:lnTo>
                  <a:pt x="1034" y="714"/>
                </a:lnTo>
                <a:lnTo>
                  <a:pt x="1046" y="716"/>
                </a:lnTo>
                <a:lnTo>
                  <a:pt x="1046" y="716"/>
                </a:lnTo>
                <a:lnTo>
                  <a:pt x="1044" y="718"/>
                </a:lnTo>
                <a:lnTo>
                  <a:pt x="1044" y="718"/>
                </a:lnTo>
                <a:lnTo>
                  <a:pt x="1040" y="720"/>
                </a:lnTo>
                <a:lnTo>
                  <a:pt x="1042" y="722"/>
                </a:lnTo>
                <a:lnTo>
                  <a:pt x="1042" y="722"/>
                </a:lnTo>
                <a:lnTo>
                  <a:pt x="1044" y="722"/>
                </a:lnTo>
                <a:lnTo>
                  <a:pt x="1044" y="720"/>
                </a:lnTo>
                <a:lnTo>
                  <a:pt x="1046" y="720"/>
                </a:lnTo>
                <a:lnTo>
                  <a:pt x="1046" y="720"/>
                </a:lnTo>
                <a:lnTo>
                  <a:pt x="1052" y="724"/>
                </a:lnTo>
                <a:lnTo>
                  <a:pt x="1052" y="724"/>
                </a:lnTo>
                <a:lnTo>
                  <a:pt x="1056" y="724"/>
                </a:lnTo>
                <a:lnTo>
                  <a:pt x="1056" y="724"/>
                </a:lnTo>
                <a:lnTo>
                  <a:pt x="1056" y="728"/>
                </a:lnTo>
                <a:lnTo>
                  <a:pt x="1056" y="728"/>
                </a:lnTo>
                <a:lnTo>
                  <a:pt x="1060" y="728"/>
                </a:lnTo>
                <a:lnTo>
                  <a:pt x="1060" y="728"/>
                </a:lnTo>
                <a:lnTo>
                  <a:pt x="1064" y="724"/>
                </a:lnTo>
                <a:lnTo>
                  <a:pt x="1068" y="720"/>
                </a:lnTo>
                <a:lnTo>
                  <a:pt x="1068" y="720"/>
                </a:lnTo>
                <a:lnTo>
                  <a:pt x="1070" y="720"/>
                </a:lnTo>
                <a:lnTo>
                  <a:pt x="1070" y="720"/>
                </a:lnTo>
                <a:lnTo>
                  <a:pt x="1070" y="728"/>
                </a:lnTo>
                <a:lnTo>
                  <a:pt x="1070" y="728"/>
                </a:lnTo>
                <a:lnTo>
                  <a:pt x="1074" y="728"/>
                </a:lnTo>
                <a:lnTo>
                  <a:pt x="1074" y="728"/>
                </a:lnTo>
                <a:lnTo>
                  <a:pt x="1074" y="730"/>
                </a:lnTo>
                <a:lnTo>
                  <a:pt x="1074" y="730"/>
                </a:lnTo>
                <a:close/>
                <a:moveTo>
                  <a:pt x="1206" y="678"/>
                </a:moveTo>
                <a:lnTo>
                  <a:pt x="1206" y="678"/>
                </a:lnTo>
                <a:lnTo>
                  <a:pt x="1206" y="682"/>
                </a:lnTo>
                <a:lnTo>
                  <a:pt x="1206" y="682"/>
                </a:lnTo>
                <a:lnTo>
                  <a:pt x="1202" y="682"/>
                </a:lnTo>
                <a:lnTo>
                  <a:pt x="1200" y="680"/>
                </a:lnTo>
                <a:lnTo>
                  <a:pt x="1200" y="676"/>
                </a:lnTo>
                <a:lnTo>
                  <a:pt x="1200" y="676"/>
                </a:lnTo>
                <a:lnTo>
                  <a:pt x="1206" y="670"/>
                </a:lnTo>
                <a:lnTo>
                  <a:pt x="1206" y="670"/>
                </a:lnTo>
                <a:lnTo>
                  <a:pt x="1206" y="666"/>
                </a:lnTo>
                <a:lnTo>
                  <a:pt x="1206" y="666"/>
                </a:lnTo>
                <a:lnTo>
                  <a:pt x="1202" y="668"/>
                </a:lnTo>
                <a:lnTo>
                  <a:pt x="1202" y="670"/>
                </a:lnTo>
                <a:lnTo>
                  <a:pt x="1202" y="670"/>
                </a:lnTo>
                <a:lnTo>
                  <a:pt x="1200" y="672"/>
                </a:lnTo>
                <a:lnTo>
                  <a:pt x="1200" y="672"/>
                </a:lnTo>
                <a:lnTo>
                  <a:pt x="1198" y="676"/>
                </a:lnTo>
                <a:lnTo>
                  <a:pt x="1198" y="680"/>
                </a:lnTo>
                <a:lnTo>
                  <a:pt x="1198" y="680"/>
                </a:lnTo>
                <a:lnTo>
                  <a:pt x="1192" y="680"/>
                </a:lnTo>
                <a:lnTo>
                  <a:pt x="1192" y="676"/>
                </a:lnTo>
                <a:lnTo>
                  <a:pt x="1192" y="676"/>
                </a:lnTo>
                <a:lnTo>
                  <a:pt x="1196" y="676"/>
                </a:lnTo>
                <a:lnTo>
                  <a:pt x="1196" y="676"/>
                </a:lnTo>
                <a:lnTo>
                  <a:pt x="1196" y="672"/>
                </a:lnTo>
                <a:lnTo>
                  <a:pt x="1196" y="672"/>
                </a:lnTo>
                <a:lnTo>
                  <a:pt x="1192" y="670"/>
                </a:lnTo>
                <a:lnTo>
                  <a:pt x="1192" y="670"/>
                </a:lnTo>
                <a:lnTo>
                  <a:pt x="1192" y="666"/>
                </a:lnTo>
                <a:lnTo>
                  <a:pt x="1192" y="666"/>
                </a:lnTo>
                <a:lnTo>
                  <a:pt x="1196" y="666"/>
                </a:lnTo>
                <a:lnTo>
                  <a:pt x="1196" y="666"/>
                </a:lnTo>
                <a:lnTo>
                  <a:pt x="1196" y="662"/>
                </a:lnTo>
                <a:lnTo>
                  <a:pt x="1198" y="658"/>
                </a:lnTo>
                <a:lnTo>
                  <a:pt x="1198" y="658"/>
                </a:lnTo>
                <a:lnTo>
                  <a:pt x="1194" y="660"/>
                </a:lnTo>
                <a:lnTo>
                  <a:pt x="1194" y="662"/>
                </a:lnTo>
                <a:lnTo>
                  <a:pt x="1194" y="662"/>
                </a:lnTo>
                <a:lnTo>
                  <a:pt x="1190" y="662"/>
                </a:lnTo>
                <a:lnTo>
                  <a:pt x="1190" y="662"/>
                </a:lnTo>
                <a:lnTo>
                  <a:pt x="1186" y="664"/>
                </a:lnTo>
                <a:lnTo>
                  <a:pt x="1186" y="664"/>
                </a:lnTo>
                <a:lnTo>
                  <a:pt x="1184" y="664"/>
                </a:lnTo>
                <a:lnTo>
                  <a:pt x="1182" y="664"/>
                </a:lnTo>
                <a:lnTo>
                  <a:pt x="1182" y="664"/>
                </a:lnTo>
                <a:lnTo>
                  <a:pt x="1186" y="656"/>
                </a:lnTo>
                <a:lnTo>
                  <a:pt x="1186" y="656"/>
                </a:lnTo>
                <a:lnTo>
                  <a:pt x="1184" y="658"/>
                </a:lnTo>
                <a:lnTo>
                  <a:pt x="1184" y="658"/>
                </a:lnTo>
                <a:lnTo>
                  <a:pt x="1184" y="658"/>
                </a:lnTo>
                <a:lnTo>
                  <a:pt x="1180" y="658"/>
                </a:lnTo>
                <a:lnTo>
                  <a:pt x="1180" y="658"/>
                </a:lnTo>
                <a:lnTo>
                  <a:pt x="1182" y="656"/>
                </a:lnTo>
                <a:lnTo>
                  <a:pt x="1182" y="656"/>
                </a:lnTo>
                <a:lnTo>
                  <a:pt x="1178" y="654"/>
                </a:lnTo>
                <a:lnTo>
                  <a:pt x="1180" y="652"/>
                </a:lnTo>
                <a:lnTo>
                  <a:pt x="1180" y="652"/>
                </a:lnTo>
                <a:lnTo>
                  <a:pt x="1184" y="646"/>
                </a:lnTo>
                <a:lnTo>
                  <a:pt x="1184" y="646"/>
                </a:lnTo>
                <a:lnTo>
                  <a:pt x="1180" y="642"/>
                </a:lnTo>
                <a:lnTo>
                  <a:pt x="1178" y="642"/>
                </a:lnTo>
                <a:lnTo>
                  <a:pt x="1176" y="644"/>
                </a:lnTo>
                <a:lnTo>
                  <a:pt x="1176" y="644"/>
                </a:lnTo>
                <a:lnTo>
                  <a:pt x="1174" y="644"/>
                </a:lnTo>
                <a:lnTo>
                  <a:pt x="1172" y="644"/>
                </a:lnTo>
                <a:lnTo>
                  <a:pt x="1170" y="640"/>
                </a:lnTo>
                <a:lnTo>
                  <a:pt x="1170" y="640"/>
                </a:lnTo>
                <a:lnTo>
                  <a:pt x="1168" y="642"/>
                </a:lnTo>
                <a:lnTo>
                  <a:pt x="1162" y="644"/>
                </a:lnTo>
                <a:lnTo>
                  <a:pt x="1162" y="644"/>
                </a:lnTo>
                <a:lnTo>
                  <a:pt x="1162" y="646"/>
                </a:lnTo>
                <a:lnTo>
                  <a:pt x="1162" y="648"/>
                </a:lnTo>
                <a:lnTo>
                  <a:pt x="1162" y="648"/>
                </a:lnTo>
                <a:lnTo>
                  <a:pt x="1160" y="646"/>
                </a:lnTo>
                <a:lnTo>
                  <a:pt x="1160" y="644"/>
                </a:lnTo>
                <a:lnTo>
                  <a:pt x="1160" y="644"/>
                </a:lnTo>
                <a:lnTo>
                  <a:pt x="1154" y="646"/>
                </a:lnTo>
                <a:lnTo>
                  <a:pt x="1154" y="646"/>
                </a:lnTo>
                <a:lnTo>
                  <a:pt x="1154" y="646"/>
                </a:lnTo>
                <a:lnTo>
                  <a:pt x="1156" y="644"/>
                </a:lnTo>
                <a:lnTo>
                  <a:pt x="1156" y="642"/>
                </a:lnTo>
                <a:lnTo>
                  <a:pt x="1156" y="642"/>
                </a:lnTo>
                <a:lnTo>
                  <a:pt x="1148" y="644"/>
                </a:lnTo>
                <a:lnTo>
                  <a:pt x="1148" y="644"/>
                </a:lnTo>
                <a:lnTo>
                  <a:pt x="1154" y="640"/>
                </a:lnTo>
                <a:lnTo>
                  <a:pt x="1154" y="636"/>
                </a:lnTo>
                <a:lnTo>
                  <a:pt x="1152" y="634"/>
                </a:lnTo>
                <a:lnTo>
                  <a:pt x="1146" y="632"/>
                </a:lnTo>
                <a:lnTo>
                  <a:pt x="1146" y="632"/>
                </a:lnTo>
                <a:lnTo>
                  <a:pt x="1146" y="634"/>
                </a:lnTo>
                <a:lnTo>
                  <a:pt x="1146" y="634"/>
                </a:lnTo>
                <a:lnTo>
                  <a:pt x="1146" y="634"/>
                </a:lnTo>
                <a:lnTo>
                  <a:pt x="1144" y="634"/>
                </a:lnTo>
                <a:lnTo>
                  <a:pt x="1144" y="634"/>
                </a:lnTo>
                <a:lnTo>
                  <a:pt x="1138" y="644"/>
                </a:lnTo>
                <a:lnTo>
                  <a:pt x="1138" y="644"/>
                </a:lnTo>
                <a:lnTo>
                  <a:pt x="1140" y="638"/>
                </a:lnTo>
                <a:lnTo>
                  <a:pt x="1140" y="638"/>
                </a:lnTo>
                <a:lnTo>
                  <a:pt x="1138" y="638"/>
                </a:lnTo>
                <a:lnTo>
                  <a:pt x="1138" y="638"/>
                </a:lnTo>
                <a:lnTo>
                  <a:pt x="1138" y="636"/>
                </a:lnTo>
                <a:lnTo>
                  <a:pt x="1138" y="636"/>
                </a:lnTo>
                <a:lnTo>
                  <a:pt x="1138" y="634"/>
                </a:lnTo>
                <a:lnTo>
                  <a:pt x="1138" y="632"/>
                </a:lnTo>
                <a:lnTo>
                  <a:pt x="1138" y="632"/>
                </a:lnTo>
                <a:lnTo>
                  <a:pt x="1140" y="628"/>
                </a:lnTo>
                <a:lnTo>
                  <a:pt x="1142" y="626"/>
                </a:lnTo>
                <a:lnTo>
                  <a:pt x="1142" y="626"/>
                </a:lnTo>
                <a:lnTo>
                  <a:pt x="1142" y="616"/>
                </a:lnTo>
                <a:lnTo>
                  <a:pt x="1144" y="616"/>
                </a:lnTo>
                <a:lnTo>
                  <a:pt x="1144" y="616"/>
                </a:lnTo>
                <a:lnTo>
                  <a:pt x="1148" y="616"/>
                </a:lnTo>
                <a:lnTo>
                  <a:pt x="1148" y="616"/>
                </a:lnTo>
                <a:lnTo>
                  <a:pt x="1150" y="612"/>
                </a:lnTo>
                <a:lnTo>
                  <a:pt x="1150" y="610"/>
                </a:lnTo>
                <a:lnTo>
                  <a:pt x="1146" y="610"/>
                </a:lnTo>
                <a:lnTo>
                  <a:pt x="1146" y="608"/>
                </a:lnTo>
                <a:lnTo>
                  <a:pt x="1146" y="608"/>
                </a:lnTo>
                <a:lnTo>
                  <a:pt x="1150" y="608"/>
                </a:lnTo>
                <a:lnTo>
                  <a:pt x="1150" y="606"/>
                </a:lnTo>
                <a:lnTo>
                  <a:pt x="1154" y="606"/>
                </a:lnTo>
                <a:lnTo>
                  <a:pt x="1154" y="606"/>
                </a:lnTo>
                <a:lnTo>
                  <a:pt x="1154" y="602"/>
                </a:lnTo>
                <a:lnTo>
                  <a:pt x="1154" y="602"/>
                </a:lnTo>
                <a:lnTo>
                  <a:pt x="1148" y="604"/>
                </a:lnTo>
                <a:lnTo>
                  <a:pt x="1148" y="604"/>
                </a:lnTo>
                <a:lnTo>
                  <a:pt x="1144" y="602"/>
                </a:lnTo>
                <a:lnTo>
                  <a:pt x="1144" y="602"/>
                </a:lnTo>
                <a:lnTo>
                  <a:pt x="1138" y="604"/>
                </a:lnTo>
                <a:lnTo>
                  <a:pt x="1134" y="610"/>
                </a:lnTo>
                <a:lnTo>
                  <a:pt x="1134" y="610"/>
                </a:lnTo>
                <a:lnTo>
                  <a:pt x="1136" y="614"/>
                </a:lnTo>
                <a:lnTo>
                  <a:pt x="1136" y="614"/>
                </a:lnTo>
                <a:lnTo>
                  <a:pt x="1132" y="614"/>
                </a:lnTo>
                <a:lnTo>
                  <a:pt x="1130" y="616"/>
                </a:lnTo>
                <a:lnTo>
                  <a:pt x="1130" y="616"/>
                </a:lnTo>
                <a:lnTo>
                  <a:pt x="1130" y="624"/>
                </a:lnTo>
                <a:lnTo>
                  <a:pt x="1128" y="626"/>
                </a:lnTo>
                <a:lnTo>
                  <a:pt x="1128" y="626"/>
                </a:lnTo>
                <a:lnTo>
                  <a:pt x="1128" y="634"/>
                </a:lnTo>
                <a:lnTo>
                  <a:pt x="1128" y="636"/>
                </a:lnTo>
                <a:lnTo>
                  <a:pt x="1128" y="640"/>
                </a:lnTo>
                <a:lnTo>
                  <a:pt x="1124" y="644"/>
                </a:lnTo>
                <a:lnTo>
                  <a:pt x="1124" y="644"/>
                </a:lnTo>
                <a:lnTo>
                  <a:pt x="1124" y="644"/>
                </a:lnTo>
                <a:lnTo>
                  <a:pt x="1124" y="646"/>
                </a:lnTo>
                <a:lnTo>
                  <a:pt x="1124" y="646"/>
                </a:lnTo>
                <a:lnTo>
                  <a:pt x="1130" y="646"/>
                </a:lnTo>
                <a:lnTo>
                  <a:pt x="1130" y="646"/>
                </a:lnTo>
                <a:lnTo>
                  <a:pt x="1128" y="650"/>
                </a:lnTo>
                <a:lnTo>
                  <a:pt x="1128" y="650"/>
                </a:lnTo>
                <a:lnTo>
                  <a:pt x="1128" y="652"/>
                </a:lnTo>
                <a:lnTo>
                  <a:pt x="1126" y="652"/>
                </a:lnTo>
                <a:lnTo>
                  <a:pt x="1126" y="652"/>
                </a:lnTo>
                <a:lnTo>
                  <a:pt x="1124" y="650"/>
                </a:lnTo>
                <a:lnTo>
                  <a:pt x="1122" y="650"/>
                </a:lnTo>
                <a:lnTo>
                  <a:pt x="1120" y="650"/>
                </a:lnTo>
                <a:lnTo>
                  <a:pt x="1120" y="652"/>
                </a:lnTo>
                <a:lnTo>
                  <a:pt x="1120" y="652"/>
                </a:lnTo>
                <a:lnTo>
                  <a:pt x="1118" y="652"/>
                </a:lnTo>
                <a:lnTo>
                  <a:pt x="1118" y="654"/>
                </a:lnTo>
                <a:lnTo>
                  <a:pt x="1118" y="654"/>
                </a:lnTo>
                <a:lnTo>
                  <a:pt x="1120" y="654"/>
                </a:lnTo>
                <a:lnTo>
                  <a:pt x="1120" y="656"/>
                </a:lnTo>
                <a:lnTo>
                  <a:pt x="1116" y="656"/>
                </a:lnTo>
                <a:lnTo>
                  <a:pt x="1116" y="656"/>
                </a:lnTo>
                <a:lnTo>
                  <a:pt x="1112" y="656"/>
                </a:lnTo>
                <a:lnTo>
                  <a:pt x="1112" y="656"/>
                </a:lnTo>
                <a:lnTo>
                  <a:pt x="1112" y="660"/>
                </a:lnTo>
                <a:lnTo>
                  <a:pt x="1112" y="660"/>
                </a:lnTo>
                <a:lnTo>
                  <a:pt x="1114" y="660"/>
                </a:lnTo>
                <a:lnTo>
                  <a:pt x="1114" y="660"/>
                </a:lnTo>
                <a:lnTo>
                  <a:pt x="1114" y="658"/>
                </a:lnTo>
                <a:lnTo>
                  <a:pt x="1114" y="658"/>
                </a:lnTo>
                <a:lnTo>
                  <a:pt x="1122" y="660"/>
                </a:lnTo>
                <a:lnTo>
                  <a:pt x="1122" y="660"/>
                </a:lnTo>
                <a:lnTo>
                  <a:pt x="1120" y="662"/>
                </a:lnTo>
                <a:lnTo>
                  <a:pt x="1120" y="662"/>
                </a:lnTo>
                <a:lnTo>
                  <a:pt x="1120" y="662"/>
                </a:lnTo>
                <a:lnTo>
                  <a:pt x="1120" y="660"/>
                </a:lnTo>
                <a:lnTo>
                  <a:pt x="1120" y="660"/>
                </a:lnTo>
                <a:lnTo>
                  <a:pt x="1116" y="662"/>
                </a:lnTo>
                <a:lnTo>
                  <a:pt x="1116" y="662"/>
                </a:lnTo>
                <a:lnTo>
                  <a:pt x="1116" y="666"/>
                </a:lnTo>
                <a:lnTo>
                  <a:pt x="1110" y="670"/>
                </a:lnTo>
                <a:lnTo>
                  <a:pt x="1110" y="670"/>
                </a:lnTo>
                <a:lnTo>
                  <a:pt x="1108" y="672"/>
                </a:lnTo>
                <a:lnTo>
                  <a:pt x="1108" y="672"/>
                </a:lnTo>
                <a:lnTo>
                  <a:pt x="1110" y="678"/>
                </a:lnTo>
                <a:lnTo>
                  <a:pt x="1116" y="678"/>
                </a:lnTo>
                <a:lnTo>
                  <a:pt x="1116" y="678"/>
                </a:lnTo>
                <a:lnTo>
                  <a:pt x="1118" y="676"/>
                </a:lnTo>
                <a:lnTo>
                  <a:pt x="1118" y="676"/>
                </a:lnTo>
                <a:lnTo>
                  <a:pt x="1118" y="676"/>
                </a:lnTo>
                <a:lnTo>
                  <a:pt x="1132" y="676"/>
                </a:lnTo>
                <a:lnTo>
                  <a:pt x="1132" y="676"/>
                </a:lnTo>
                <a:lnTo>
                  <a:pt x="1140" y="676"/>
                </a:lnTo>
                <a:lnTo>
                  <a:pt x="1140" y="676"/>
                </a:lnTo>
                <a:lnTo>
                  <a:pt x="1140" y="678"/>
                </a:lnTo>
                <a:lnTo>
                  <a:pt x="1142" y="678"/>
                </a:lnTo>
                <a:lnTo>
                  <a:pt x="1142" y="678"/>
                </a:lnTo>
                <a:lnTo>
                  <a:pt x="1146" y="676"/>
                </a:lnTo>
                <a:lnTo>
                  <a:pt x="1148" y="674"/>
                </a:lnTo>
                <a:lnTo>
                  <a:pt x="1148" y="674"/>
                </a:lnTo>
                <a:lnTo>
                  <a:pt x="1148" y="678"/>
                </a:lnTo>
                <a:lnTo>
                  <a:pt x="1148" y="678"/>
                </a:lnTo>
                <a:lnTo>
                  <a:pt x="1168" y="674"/>
                </a:lnTo>
                <a:lnTo>
                  <a:pt x="1168" y="674"/>
                </a:lnTo>
                <a:lnTo>
                  <a:pt x="1166" y="680"/>
                </a:lnTo>
                <a:lnTo>
                  <a:pt x="1172" y="680"/>
                </a:lnTo>
                <a:lnTo>
                  <a:pt x="1172" y="680"/>
                </a:lnTo>
                <a:lnTo>
                  <a:pt x="1174" y="674"/>
                </a:lnTo>
                <a:lnTo>
                  <a:pt x="1174" y="674"/>
                </a:lnTo>
                <a:lnTo>
                  <a:pt x="1178" y="674"/>
                </a:lnTo>
                <a:lnTo>
                  <a:pt x="1178" y="674"/>
                </a:lnTo>
                <a:lnTo>
                  <a:pt x="1176" y="678"/>
                </a:lnTo>
                <a:lnTo>
                  <a:pt x="1176" y="678"/>
                </a:lnTo>
                <a:lnTo>
                  <a:pt x="1174" y="680"/>
                </a:lnTo>
                <a:lnTo>
                  <a:pt x="1172" y="682"/>
                </a:lnTo>
                <a:lnTo>
                  <a:pt x="1172" y="682"/>
                </a:lnTo>
                <a:lnTo>
                  <a:pt x="1170" y="686"/>
                </a:lnTo>
                <a:lnTo>
                  <a:pt x="1170" y="686"/>
                </a:lnTo>
                <a:lnTo>
                  <a:pt x="1166" y="688"/>
                </a:lnTo>
                <a:lnTo>
                  <a:pt x="1166" y="688"/>
                </a:lnTo>
                <a:lnTo>
                  <a:pt x="1166" y="692"/>
                </a:lnTo>
                <a:lnTo>
                  <a:pt x="1166" y="692"/>
                </a:lnTo>
                <a:lnTo>
                  <a:pt x="1170" y="692"/>
                </a:lnTo>
                <a:lnTo>
                  <a:pt x="1170" y="692"/>
                </a:lnTo>
                <a:lnTo>
                  <a:pt x="1174" y="688"/>
                </a:lnTo>
                <a:lnTo>
                  <a:pt x="1176" y="684"/>
                </a:lnTo>
                <a:lnTo>
                  <a:pt x="1176" y="684"/>
                </a:lnTo>
                <a:lnTo>
                  <a:pt x="1176" y="684"/>
                </a:lnTo>
                <a:lnTo>
                  <a:pt x="1176" y="682"/>
                </a:lnTo>
                <a:lnTo>
                  <a:pt x="1178" y="680"/>
                </a:lnTo>
                <a:lnTo>
                  <a:pt x="1178" y="680"/>
                </a:lnTo>
                <a:lnTo>
                  <a:pt x="1182" y="680"/>
                </a:lnTo>
                <a:lnTo>
                  <a:pt x="1182" y="680"/>
                </a:lnTo>
                <a:lnTo>
                  <a:pt x="1184" y="674"/>
                </a:lnTo>
                <a:lnTo>
                  <a:pt x="1188" y="674"/>
                </a:lnTo>
                <a:lnTo>
                  <a:pt x="1188" y="674"/>
                </a:lnTo>
                <a:lnTo>
                  <a:pt x="1188" y="678"/>
                </a:lnTo>
                <a:lnTo>
                  <a:pt x="1192" y="680"/>
                </a:lnTo>
                <a:lnTo>
                  <a:pt x="1192" y="680"/>
                </a:lnTo>
                <a:lnTo>
                  <a:pt x="1192" y="684"/>
                </a:lnTo>
                <a:lnTo>
                  <a:pt x="1192" y="684"/>
                </a:lnTo>
                <a:lnTo>
                  <a:pt x="1190" y="684"/>
                </a:lnTo>
                <a:lnTo>
                  <a:pt x="1188" y="684"/>
                </a:lnTo>
                <a:lnTo>
                  <a:pt x="1188" y="684"/>
                </a:lnTo>
                <a:lnTo>
                  <a:pt x="1188" y="692"/>
                </a:lnTo>
                <a:lnTo>
                  <a:pt x="1188" y="692"/>
                </a:lnTo>
                <a:lnTo>
                  <a:pt x="1192" y="690"/>
                </a:lnTo>
                <a:lnTo>
                  <a:pt x="1192" y="690"/>
                </a:lnTo>
                <a:lnTo>
                  <a:pt x="1192" y="686"/>
                </a:lnTo>
                <a:lnTo>
                  <a:pt x="1192" y="686"/>
                </a:lnTo>
                <a:lnTo>
                  <a:pt x="1196" y="688"/>
                </a:lnTo>
                <a:lnTo>
                  <a:pt x="1196" y="694"/>
                </a:lnTo>
                <a:lnTo>
                  <a:pt x="1196" y="694"/>
                </a:lnTo>
                <a:lnTo>
                  <a:pt x="1202" y="694"/>
                </a:lnTo>
                <a:lnTo>
                  <a:pt x="1202" y="694"/>
                </a:lnTo>
                <a:lnTo>
                  <a:pt x="1204" y="688"/>
                </a:lnTo>
                <a:lnTo>
                  <a:pt x="1204" y="688"/>
                </a:lnTo>
                <a:lnTo>
                  <a:pt x="1208" y="680"/>
                </a:lnTo>
                <a:lnTo>
                  <a:pt x="1208" y="676"/>
                </a:lnTo>
                <a:lnTo>
                  <a:pt x="1208" y="676"/>
                </a:lnTo>
                <a:lnTo>
                  <a:pt x="1206" y="678"/>
                </a:lnTo>
                <a:lnTo>
                  <a:pt x="1206" y="678"/>
                </a:lnTo>
                <a:close/>
                <a:moveTo>
                  <a:pt x="1088" y="714"/>
                </a:moveTo>
                <a:lnTo>
                  <a:pt x="1088" y="712"/>
                </a:lnTo>
                <a:lnTo>
                  <a:pt x="1088" y="712"/>
                </a:lnTo>
                <a:lnTo>
                  <a:pt x="1084" y="712"/>
                </a:lnTo>
                <a:lnTo>
                  <a:pt x="1084" y="712"/>
                </a:lnTo>
                <a:lnTo>
                  <a:pt x="1086" y="704"/>
                </a:lnTo>
                <a:lnTo>
                  <a:pt x="1090" y="700"/>
                </a:lnTo>
                <a:lnTo>
                  <a:pt x="1090" y="700"/>
                </a:lnTo>
                <a:lnTo>
                  <a:pt x="1096" y="700"/>
                </a:lnTo>
                <a:lnTo>
                  <a:pt x="1096" y="700"/>
                </a:lnTo>
                <a:lnTo>
                  <a:pt x="1098" y="698"/>
                </a:lnTo>
                <a:lnTo>
                  <a:pt x="1100" y="696"/>
                </a:lnTo>
                <a:lnTo>
                  <a:pt x="1100" y="696"/>
                </a:lnTo>
                <a:lnTo>
                  <a:pt x="1098" y="694"/>
                </a:lnTo>
                <a:lnTo>
                  <a:pt x="1096" y="694"/>
                </a:lnTo>
                <a:lnTo>
                  <a:pt x="1096" y="696"/>
                </a:lnTo>
                <a:lnTo>
                  <a:pt x="1096" y="696"/>
                </a:lnTo>
                <a:lnTo>
                  <a:pt x="1092" y="698"/>
                </a:lnTo>
                <a:lnTo>
                  <a:pt x="1090" y="698"/>
                </a:lnTo>
                <a:lnTo>
                  <a:pt x="1086" y="696"/>
                </a:lnTo>
                <a:lnTo>
                  <a:pt x="1086" y="696"/>
                </a:lnTo>
                <a:lnTo>
                  <a:pt x="1080" y="700"/>
                </a:lnTo>
                <a:lnTo>
                  <a:pt x="1080" y="700"/>
                </a:lnTo>
                <a:lnTo>
                  <a:pt x="1082" y="704"/>
                </a:lnTo>
                <a:lnTo>
                  <a:pt x="1080" y="706"/>
                </a:lnTo>
                <a:lnTo>
                  <a:pt x="1078" y="706"/>
                </a:lnTo>
                <a:lnTo>
                  <a:pt x="1078" y="706"/>
                </a:lnTo>
                <a:lnTo>
                  <a:pt x="1076" y="710"/>
                </a:lnTo>
                <a:lnTo>
                  <a:pt x="1076" y="710"/>
                </a:lnTo>
                <a:lnTo>
                  <a:pt x="1076" y="712"/>
                </a:lnTo>
                <a:lnTo>
                  <a:pt x="1076" y="714"/>
                </a:lnTo>
                <a:lnTo>
                  <a:pt x="1074" y="716"/>
                </a:lnTo>
                <a:lnTo>
                  <a:pt x="1074" y="716"/>
                </a:lnTo>
                <a:lnTo>
                  <a:pt x="1074" y="722"/>
                </a:lnTo>
                <a:lnTo>
                  <a:pt x="1074" y="724"/>
                </a:lnTo>
                <a:lnTo>
                  <a:pt x="1076" y="726"/>
                </a:lnTo>
                <a:lnTo>
                  <a:pt x="1076" y="726"/>
                </a:lnTo>
                <a:lnTo>
                  <a:pt x="1082" y="728"/>
                </a:lnTo>
                <a:lnTo>
                  <a:pt x="1082" y="728"/>
                </a:lnTo>
                <a:lnTo>
                  <a:pt x="1082" y="726"/>
                </a:lnTo>
                <a:lnTo>
                  <a:pt x="1082" y="726"/>
                </a:lnTo>
                <a:lnTo>
                  <a:pt x="1082" y="724"/>
                </a:lnTo>
                <a:lnTo>
                  <a:pt x="1080" y="722"/>
                </a:lnTo>
                <a:lnTo>
                  <a:pt x="1082" y="718"/>
                </a:lnTo>
                <a:lnTo>
                  <a:pt x="1088" y="714"/>
                </a:lnTo>
                <a:lnTo>
                  <a:pt x="1088" y="714"/>
                </a:lnTo>
                <a:close/>
                <a:moveTo>
                  <a:pt x="1070" y="654"/>
                </a:moveTo>
                <a:lnTo>
                  <a:pt x="1064" y="650"/>
                </a:lnTo>
                <a:lnTo>
                  <a:pt x="1064" y="650"/>
                </a:lnTo>
                <a:lnTo>
                  <a:pt x="1062" y="650"/>
                </a:lnTo>
                <a:lnTo>
                  <a:pt x="1062" y="650"/>
                </a:lnTo>
                <a:lnTo>
                  <a:pt x="1058" y="646"/>
                </a:lnTo>
                <a:lnTo>
                  <a:pt x="1056" y="642"/>
                </a:lnTo>
                <a:lnTo>
                  <a:pt x="1056" y="642"/>
                </a:lnTo>
                <a:lnTo>
                  <a:pt x="1052" y="642"/>
                </a:lnTo>
                <a:lnTo>
                  <a:pt x="1052" y="642"/>
                </a:lnTo>
                <a:lnTo>
                  <a:pt x="1046" y="640"/>
                </a:lnTo>
                <a:lnTo>
                  <a:pt x="1042" y="636"/>
                </a:lnTo>
                <a:lnTo>
                  <a:pt x="1042" y="636"/>
                </a:lnTo>
                <a:lnTo>
                  <a:pt x="1034" y="636"/>
                </a:lnTo>
                <a:lnTo>
                  <a:pt x="1034" y="636"/>
                </a:lnTo>
                <a:lnTo>
                  <a:pt x="1034" y="642"/>
                </a:lnTo>
                <a:lnTo>
                  <a:pt x="1034" y="642"/>
                </a:lnTo>
                <a:lnTo>
                  <a:pt x="1040" y="642"/>
                </a:lnTo>
                <a:lnTo>
                  <a:pt x="1044" y="646"/>
                </a:lnTo>
                <a:lnTo>
                  <a:pt x="1044" y="646"/>
                </a:lnTo>
                <a:lnTo>
                  <a:pt x="1044" y="650"/>
                </a:lnTo>
                <a:lnTo>
                  <a:pt x="1044" y="650"/>
                </a:lnTo>
                <a:lnTo>
                  <a:pt x="1048" y="650"/>
                </a:lnTo>
                <a:lnTo>
                  <a:pt x="1054" y="652"/>
                </a:lnTo>
                <a:lnTo>
                  <a:pt x="1054" y="652"/>
                </a:lnTo>
                <a:lnTo>
                  <a:pt x="1058" y="654"/>
                </a:lnTo>
                <a:lnTo>
                  <a:pt x="1062" y="656"/>
                </a:lnTo>
                <a:lnTo>
                  <a:pt x="1062" y="656"/>
                </a:lnTo>
                <a:lnTo>
                  <a:pt x="1068" y="658"/>
                </a:lnTo>
                <a:lnTo>
                  <a:pt x="1068" y="658"/>
                </a:lnTo>
                <a:lnTo>
                  <a:pt x="1068" y="656"/>
                </a:lnTo>
                <a:lnTo>
                  <a:pt x="1070" y="654"/>
                </a:lnTo>
                <a:lnTo>
                  <a:pt x="1070" y="654"/>
                </a:lnTo>
                <a:close/>
                <a:moveTo>
                  <a:pt x="128" y="568"/>
                </a:moveTo>
                <a:lnTo>
                  <a:pt x="128" y="568"/>
                </a:lnTo>
                <a:lnTo>
                  <a:pt x="128" y="566"/>
                </a:lnTo>
                <a:lnTo>
                  <a:pt x="128" y="562"/>
                </a:lnTo>
                <a:lnTo>
                  <a:pt x="128" y="562"/>
                </a:lnTo>
                <a:lnTo>
                  <a:pt x="132" y="554"/>
                </a:lnTo>
                <a:lnTo>
                  <a:pt x="132" y="554"/>
                </a:lnTo>
                <a:lnTo>
                  <a:pt x="122" y="556"/>
                </a:lnTo>
                <a:lnTo>
                  <a:pt x="118" y="556"/>
                </a:lnTo>
                <a:lnTo>
                  <a:pt x="114" y="554"/>
                </a:lnTo>
                <a:lnTo>
                  <a:pt x="114" y="554"/>
                </a:lnTo>
                <a:lnTo>
                  <a:pt x="116" y="564"/>
                </a:lnTo>
                <a:lnTo>
                  <a:pt x="116" y="564"/>
                </a:lnTo>
                <a:lnTo>
                  <a:pt x="116" y="566"/>
                </a:lnTo>
                <a:lnTo>
                  <a:pt x="116" y="568"/>
                </a:lnTo>
                <a:lnTo>
                  <a:pt x="118" y="568"/>
                </a:lnTo>
                <a:lnTo>
                  <a:pt x="118" y="568"/>
                </a:lnTo>
                <a:lnTo>
                  <a:pt x="118" y="570"/>
                </a:lnTo>
                <a:lnTo>
                  <a:pt x="118" y="570"/>
                </a:lnTo>
                <a:lnTo>
                  <a:pt x="118" y="570"/>
                </a:lnTo>
                <a:lnTo>
                  <a:pt x="118" y="574"/>
                </a:lnTo>
                <a:lnTo>
                  <a:pt x="118" y="574"/>
                </a:lnTo>
                <a:lnTo>
                  <a:pt x="122" y="572"/>
                </a:lnTo>
                <a:lnTo>
                  <a:pt x="124" y="572"/>
                </a:lnTo>
                <a:lnTo>
                  <a:pt x="124" y="572"/>
                </a:lnTo>
                <a:lnTo>
                  <a:pt x="128" y="568"/>
                </a:lnTo>
                <a:lnTo>
                  <a:pt x="128" y="568"/>
                </a:lnTo>
                <a:close/>
                <a:moveTo>
                  <a:pt x="552" y="194"/>
                </a:moveTo>
                <a:lnTo>
                  <a:pt x="552" y="194"/>
                </a:lnTo>
                <a:lnTo>
                  <a:pt x="550" y="192"/>
                </a:lnTo>
                <a:lnTo>
                  <a:pt x="550" y="192"/>
                </a:lnTo>
                <a:lnTo>
                  <a:pt x="550" y="188"/>
                </a:lnTo>
                <a:lnTo>
                  <a:pt x="550" y="182"/>
                </a:lnTo>
                <a:lnTo>
                  <a:pt x="550" y="182"/>
                </a:lnTo>
                <a:lnTo>
                  <a:pt x="548" y="180"/>
                </a:lnTo>
                <a:lnTo>
                  <a:pt x="548" y="180"/>
                </a:lnTo>
                <a:lnTo>
                  <a:pt x="544" y="180"/>
                </a:lnTo>
                <a:lnTo>
                  <a:pt x="542" y="182"/>
                </a:lnTo>
                <a:lnTo>
                  <a:pt x="542" y="182"/>
                </a:lnTo>
                <a:lnTo>
                  <a:pt x="532" y="180"/>
                </a:lnTo>
                <a:lnTo>
                  <a:pt x="526" y="178"/>
                </a:lnTo>
                <a:lnTo>
                  <a:pt x="522" y="172"/>
                </a:lnTo>
                <a:lnTo>
                  <a:pt x="520" y="166"/>
                </a:lnTo>
                <a:lnTo>
                  <a:pt x="518" y="166"/>
                </a:lnTo>
                <a:lnTo>
                  <a:pt x="518" y="166"/>
                </a:lnTo>
                <a:lnTo>
                  <a:pt x="518" y="174"/>
                </a:lnTo>
                <a:lnTo>
                  <a:pt x="518" y="174"/>
                </a:lnTo>
                <a:lnTo>
                  <a:pt x="516" y="172"/>
                </a:lnTo>
                <a:lnTo>
                  <a:pt x="516" y="172"/>
                </a:lnTo>
                <a:lnTo>
                  <a:pt x="510" y="172"/>
                </a:lnTo>
                <a:lnTo>
                  <a:pt x="508" y="172"/>
                </a:lnTo>
                <a:lnTo>
                  <a:pt x="508" y="172"/>
                </a:lnTo>
                <a:lnTo>
                  <a:pt x="506" y="168"/>
                </a:lnTo>
                <a:lnTo>
                  <a:pt x="506" y="168"/>
                </a:lnTo>
                <a:lnTo>
                  <a:pt x="502" y="164"/>
                </a:lnTo>
                <a:lnTo>
                  <a:pt x="498" y="158"/>
                </a:lnTo>
                <a:lnTo>
                  <a:pt x="498" y="158"/>
                </a:lnTo>
                <a:lnTo>
                  <a:pt x="498" y="154"/>
                </a:lnTo>
                <a:lnTo>
                  <a:pt x="496" y="148"/>
                </a:lnTo>
                <a:lnTo>
                  <a:pt x="496" y="148"/>
                </a:lnTo>
                <a:lnTo>
                  <a:pt x="494" y="148"/>
                </a:lnTo>
                <a:lnTo>
                  <a:pt x="490" y="146"/>
                </a:lnTo>
                <a:lnTo>
                  <a:pt x="490" y="146"/>
                </a:lnTo>
                <a:lnTo>
                  <a:pt x="490" y="142"/>
                </a:lnTo>
                <a:lnTo>
                  <a:pt x="490" y="138"/>
                </a:lnTo>
                <a:lnTo>
                  <a:pt x="490" y="138"/>
                </a:lnTo>
                <a:lnTo>
                  <a:pt x="488" y="134"/>
                </a:lnTo>
                <a:lnTo>
                  <a:pt x="486" y="132"/>
                </a:lnTo>
                <a:lnTo>
                  <a:pt x="486" y="132"/>
                </a:lnTo>
                <a:lnTo>
                  <a:pt x="486" y="130"/>
                </a:lnTo>
                <a:lnTo>
                  <a:pt x="486" y="130"/>
                </a:lnTo>
                <a:lnTo>
                  <a:pt x="482" y="128"/>
                </a:lnTo>
                <a:lnTo>
                  <a:pt x="478" y="130"/>
                </a:lnTo>
                <a:lnTo>
                  <a:pt x="478" y="130"/>
                </a:lnTo>
                <a:lnTo>
                  <a:pt x="474" y="128"/>
                </a:lnTo>
                <a:lnTo>
                  <a:pt x="470" y="128"/>
                </a:lnTo>
                <a:lnTo>
                  <a:pt x="468" y="130"/>
                </a:lnTo>
                <a:lnTo>
                  <a:pt x="468" y="130"/>
                </a:lnTo>
                <a:lnTo>
                  <a:pt x="466" y="130"/>
                </a:lnTo>
                <a:lnTo>
                  <a:pt x="462" y="130"/>
                </a:lnTo>
                <a:lnTo>
                  <a:pt x="460" y="126"/>
                </a:lnTo>
                <a:lnTo>
                  <a:pt x="458" y="126"/>
                </a:lnTo>
                <a:lnTo>
                  <a:pt x="458" y="126"/>
                </a:lnTo>
                <a:lnTo>
                  <a:pt x="454" y="134"/>
                </a:lnTo>
                <a:lnTo>
                  <a:pt x="454" y="134"/>
                </a:lnTo>
                <a:lnTo>
                  <a:pt x="454" y="136"/>
                </a:lnTo>
                <a:lnTo>
                  <a:pt x="454" y="140"/>
                </a:lnTo>
                <a:lnTo>
                  <a:pt x="454" y="140"/>
                </a:lnTo>
                <a:lnTo>
                  <a:pt x="450" y="142"/>
                </a:lnTo>
                <a:lnTo>
                  <a:pt x="446" y="144"/>
                </a:lnTo>
                <a:lnTo>
                  <a:pt x="446" y="144"/>
                </a:lnTo>
                <a:lnTo>
                  <a:pt x="444" y="138"/>
                </a:lnTo>
                <a:lnTo>
                  <a:pt x="446" y="132"/>
                </a:lnTo>
                <a:lnTo>
                  <a:pt x="450" y="120"/>
                </a:lnTo>
                <a:lnTo>
                  <a:pt x="450" y="120"/>
                </a:lnTo>
                <a:lnTo>
                  <a:pt x="448" y="120"/>
                </a:lnTo>
                <a:lnTo>
                  <a:pt x="442" y="112"/>
                </a:lnTo>
                <a:lnTo>
                  <a:pt x="442" y="112"/>
                </a:lnTo>
                <a:lnTo>
                  <a:pt x="442" y="110"/>
                </a:lnTo>
                <a:lnTo>
                  <a:pt x="442" y="110"/>
                </a:lnTo>
                <a:lnTo>
                  <a:pt x="440" y="108"/>
                </a:lnTo>
                <a:lnTo>
                  <a:pt x="438" y="108"/>
                </a:lnTo>
                <a:lnTo>
                  <a:pt x="438" y="110"/>
                </a:lnTo>
                <a:lnTo>
                  <a:pt x="438" y="110"/>
                </a:lnTo>
                <a:lnTo>
                  <a:pt x="434" y="106"/>
                </a:lnTo>
                <a:lnTo>
                  <a:pt x="434" y="106"/>
                </a:lnTo>
                <a:lnTo>
                  <a:pt x="428" y="106"/>
                </a:lnTo>
                <a:lnTo>
                  <a:pt x="428" y="106"/>
                </a:lnTo>
                <a:lnTo>
                  <a:pt x="428" y="110"/>
                </a:lnTo>
                <a:lnTo>
                  <a:pt x="428" y="110"/>
                </a:lnTo>
                <a:lnTo>
                  <a:pt x="426" y="112"/>
                </a:lnTo>
                <a:lnTo>
                  <a:pt x="422" y="114"/>
                </a:lnTo>
                <a:lnTo>
                  <a:pt x="422" y="114"/>
                </a:lnTo>
                <a:lnTo>
                  <a:pt x="422" y="120"/>
                </a:lnTo>
                <a:lnTo>
                  <a:pt x="422" y="120"/>
                </a:lnTo>
                <a:lnTo>
                  <a:pt x="418" y="120"/>
                </a:lnTo>
                <a:lnTo>
                  <a:pt x="418" y="120"/>
                </a:lnTo>
                <a:lnTo>
                  <a:pt x="418" y="118"/>
                </a:lnTo>
                <a:lnTo>
                  <a:pt x="416" y="118"/>
                </a:lnTo>
                <a:lnTo>
                  <a:pt x="416" y="118"/>
                </a:lnTo>
                <a:lnTo>
                  <a:pt x="416" y="114"/>
                </a:lnTo>
                <a:lnTo>
                  <a:pt x="416" y="114"/>
                </a:lnTo>
                <a:lnTo>
                  <a:pt x="412" y="110"/>
                </a:lnTo>
                <a:lnTo>
                  <a:pt x="406" y="106"/>
                </a:lnTo>
                <a:lnTo>
                  <a:pt x="406" y="106"/>
                </a:lnTo>
                <a:lnTo>
                  <a:pt x="396" y="104"/>
                </a:lnTo>
                <a:lnTo>
                  <a:pt x="396" y="104"/>
                </a:lnTo>
                <a:lnTo>
                  <a:pt x="394" y="116"/>
                </a:lnTo>
                <a:lnTo>
                  <a:pt x="394" y="116"/>
                </a:lnTo>
                <a:lnTo>
                  <a:pt x="394" y="118"/>
                </a:lnTo>
                <a:lnTo>
                  <a:pt x="396" y="120"/>
                </a:lnTo>
                <a:lnTo>
                  <a:pt x="396" y="120"/>
                </a:lnTo>
                <a:lnTo>
                  <a:pt x="396" y="130"/>
                </a:lnTo>
                <a:lnTo>
                  <a:pt x="396" y="130"/>
                </a:lnTo>
                <a:lnTo>
                  <a:pt x="392" y="132"/>
                </a:lnTo>
                <a:lnTo>
                  <a:pt x="392" y="132"/>
                </a:lnTo>
                <a:lnTo>
                  <a:pt x="390" y="128"/>
                </a:lnTo>
                <a:lnTo>
                  <a:pt x="390" y="128"/>
                </a:lnTo>
                <a:lnTo>
                  <a:pt x="384" y="128"/>
                </a:lnTo>
                <a:lnTo>
                  <a:pt x="384" y="128"/>
                </a:lnTo>
                <a:lnTo>
                  <a:pt x="374" y="118"/>
                </a:lnTo>
                <a:lnTo>
                  <a:pt x="374" y="118"/>
                </a:lnTo>
                <a:lnTo>
                  <a:pt x="374" y="116"/>
                </a:lnTo>
                <a:lnTo>
                  <a:pt x="374" y="114"/>
                </a:lnTo>
                <a:lnTo>
                  <a:pt x="376" y="110"/>
                </a:lnTo>
                <a:lnTo>
                  <a:pt x="376" y="110"/>
                </a:lnTo>
                <a:lnTo>
                  <a:pt x="374" y="102"/>
                </a:lnTo>
                <a:lnTo>
                  <a:pt x="374" y="96"/>
                </a:lnTo>
                <a:lnTo>
                  <a:pt x="374" y="96"/>
                </a:lnTo>
                <a:lnTo>
                  <a:pt x="364" y="94"/>
                </a:lnTo>
                <a:lnTo>
                  <a:pt x="364" y="94"/>
                </a:lnTo>
                <a:lnTo>
                  <a:pt x="358" y="100"/>
                </a:lnTo>
                <a:lnTo>
                  <a:pt x="350" y="106"/>
                </a:lnTo>
                <a:lnTo>
                  <a:pt x="348" y="108"/>
                </a:lnTo>
                <a:lnTo>
                  <a:pt x="348" y="108"/>
                </a:lnTo>
                <a:lnTo>
                  <a:pt x="340" y="108"/>
                </a:lnTo>
                <a:lnTo>
                  <a:pt x="336" y="108"/>
                </a:lnTo>
                <a:lnTo>
                  <a:pt x="336" y="108"/>
                </a:lnTo>
                <a:lnTo>
                  <a:pt x="330" y="110"/>
                </a:lnTo>
                <a:lnTo>
                  <a:pt x="326" y="112"/>
                </a:lnTo>
                <a:lnTo>
                  <a:pt x="326" y="112"/>
                </a:lnTo>
                <a:lnTo>
                  <a:pt x="324" y="114"/>
                </a:lnTo>
                <a:lnTo>
                  <a:pt x="320" y="114"/>
                </a:lnTo>
                <a:lnTo>
                  <a:pt x="320" y="114"/>
                </a:lnTo>
                <a:lnTo>
                  <a:pt x="318" y="116"/>
                </a:lnTo>
                <a:lnTo>
                  <a:pt x="316" y="120"/>
                </a:lnTo>
                <a:lnTo>
                  <a:pt x="316" y="130"/>
                </a:lnTo>
                <a:lnTo>
                  <a:pt x="316" y="130"/>
                </a:lnTo>
                <a:lnTo>
                  <a:pt x="310" y="130"/>
                </a:lnTo>
                <a:lnTo>
                  <a:pt x="310" y="130"/>
                </a:lnTo>
                <a:lnTo>
                  <a:pt x="310" y="132"/>
                </a:lnTo>
                <a:lnTo>
                  <a:pt x="310" y="134"/>
                </a:lnTo>
                <a:lnTo>
                  <a:pt x="310" y="134"/>
                </a:lnTo>
                <a:lnTo>
                  <a:pt x="306" y="138"/>
                </a:lnTo>
                <a:lnTo>
                  <a:pt x="302" y="142"/>
                </a:lnTo>
                <a:lnTo>
                  <a:pt x="302" y="142"/>
                </a:lnTo>
                <a:lnTo>
                  <a:pt x="300" y="142"/>
                </a:lnTo>
                <a:lnTo>
                  <a:pt x="300" y="142"/>
                </a:lnTo>
                <a:lnTo>
                  <a:pt x="302" y="146"/>
                </a:lnTo>
                <a:lnTo>
                  <a:pt x="304" y="148"/>
                </a:lnTo>
                <a:lnTo>
                  <a:pt x="308" y="148"/>
                </a:lnTo>
                <a:lnTo>
                  <a:pt x="308" y="148"/>
                </a:lnTo>
                <a:lnTo>
                  <a:pt x="312" y="148"/>
                </a:lnTo>
                <a:lnTo>
                  <a:pt x="314" y="148"/>
                </a:lnTo>
                <a:lnTo>
                  <a:pt x="314" y="146"/>
                </a:lnTo>
                <a:lnTo>
                  <a:pt x="316" y="144"/>
                </a:lnTo>
                <a:lnTo>
                  <a:pt x="316" y="144"/>
                </a:lnTo>
                <a:lnTo>
                  <a:pt x="318" y="144"/>
                </a:lnTo>
                <a:lnTo>
                  <a:pt x="320" y="146"/>
                </a:lnTo>
                <a:lnTo>
                  <a:pt x="320" y="146"/>
                </a:lnTo>
                <a:lnTo>
                  <a:pt x="318" y="146"/>
                </a:lnTo>
                <a:lnTo>
                  <a:pt x="318" y="146"/>
                </a:lnTo>
                <a:lnTo>
                  <a:pt x="318" y="148"/>
                </a:lnTo>
                <a:lnTo>
                  <a:pt x="318" y="148"/>
                </a:lnTo>
                <a:lnTo>
                  <a:pt x="322" y="150"/>
                </a:lnTo>
                <a:lnTo>
                  <a:pt x="322" y="150"/>
                </a:lnTo>
                <a:lnTo>
                  <a:pt x="322" y="150"/>
                </a:lnTo>
                <a:lnTo>
                  <a:pt x="314" y="150"/>
                </a:lnTo>
                <a:lnTo>
                  <a:pt x="314" y="154"/>
                </a:lnTo>
                <a:lnTo>
                  <a:pt x="326" y="154"/>
                </a:lnTo>
                <a:lnTo>
                  <a:pt x="326" y="154"/>
                </a:lnTo>
                <a:lnTo>
                  <a:pt x="328" y="148"/>
                </a:lnTo>
                <a:lnTo>
                  <a:pt x="328" y="148"/>
                </a:lnTo>
                <a:lnTo>
                  <a:pt x="334" y="150"/>
                </a:lnTo>
                <a:lnTo>
                  <a:pt x="340" y="152"/>
                </a:lnTo>
                <a:lnTo>
                  <a:pt x="340" y="152"/>
                </a:lnTo>
                <a:lnTo>
                  <a:pt x="344" y="148"/>
                </a:lnTo>
                <a:lnTo>
                  <a:pt x="344" y="148"/>
                </a:lnTo>
                <a:lnTo>
                  <a:pt x="352" y="146"/>
                </a:lnTo>
                <a:lnTo>
                  <a:pt x="360" y="148"/>
                </a:lnTo>
                <a:lnTo>
                  <a:pt x="360" y="148"/>
                </a:lnTo>
                <a:lnTo>
                  <a:pt x="360" y="150"/>
                </a:lnTo>
                <a:lnTo>
                  <a:pt x="360" y="150"/>
                </a:lnTo>
                <a:lnTo>
                  <a:pt x="352" y="150"/>
                </a:lnTo>
                <a:lnTo>
                  <a:pt x="344" y="152"/>
                </a:lnTo>
                <a:lnTo>
                  <a:pt x="344" y="152"/>
                </a:lnTo>
                <a:lnTo>
                  <a:pt x="344" y="156"/>
                </a:lnTo>
                <a:lnTo>
                  <a:pt x="344" y="156"/>
                </a:lnTo>
                <a:lnTo>
                  <a:pt x="342" y="156"/>
                </a:lnTo>
                <a:lnTo>
                  <a:pt x="340" y="154"/>
                </a:lnTo>
                <a:lnTo>
                  <a:pt x="340" y="154"/>
                </a:lnTo>
                <a:lnTo>
                  <a:pt x="336" y="156"/>
                </a:lnTo>
                <a:lnTo>
                  <a:pt x="334" y="156"/>
                </a:lnTo>
                <a:lnTo>
                  <a:pt x="334" y="156"/>
                </a:lnTo>
                <a:lnTo>
                  <a:pt x="322" y="160"/>
                </a:lnTo>
                <a:lnTo>
                  <a:pt x="318" y="162"/>
                </a:lnTo>
                <a:lnTo>
                  <a:pt x="318" y="164"/>
                </a:lnTo>
                <a:lnTo>
                  <a:pt x="320" y="166"/>
                </a:lnTo>
                <a:lnTo>
                  <a:pt x="320" y="166"/>
                </a:lnTo>
                <a:lnTo>
                  <a:pt x="324" y="168"/>
                </a:lnTo>
                <a:lnTo>
                  <a:pt x="330" y="170"/>
                </a:lnTo>
                <a:lnTo>
                  <a:pt x="330" y="170"/>
                </a:lnTo>
                <a:lnTo>
                  <a:pt x="330" y="168"/>
                </a:lnTo>
                <a:lnTo>
                  <a:pt x="332" y="166"/>
                </a:lnTo>
                <a:lnTo>
                  <a:pt x="332" y="166"/>
                </a:lnTo>
                <a:lnTo>
                  <a:pt x="334" y="168"/>
                </a:lnTo>
                <a:lnTo>
                  <a:pt x="338" y="170"/>
                </a:lnTo>
                <a:lnTo>
                  <a:pt x="338" y="170"/>
                </a:lnTo>
                <a:lnTo>
                  <a:pt x="346" y="168"/>
                </a:lnTo>
                <a:lnTo>
                  <a:pt x="346" y="168"/>
                </a:lnTo>
                <a:lnTo>
                  <a:pt x="358" y="168"/>
                </a:lnTo>
                <a:lnTo>
                  <a:pt x="358" y="168"/>
                </a:lnTo>
                <a:lnTo>
                  <a:pt x="360" y="168"/>
                </a:lnTo>
                <a:lnTo>
                  <a:pt x="364" y="170"/>
                </a:lnTo>
                <a:lnTo>
                  <a:pt x="364" y="170"/>
                </a:lnTo>
                <a:lnTo>
                  <a:pt x="368" y="168"/>
                </a:lnTo>
                <a:lnTo>
                  <a:pt x="374" y="166"/>
                </a:lnTo>
                <a:lnTo>
                  <a:pt x="374" y="166"/>
                </a:lnTo>
                <a:lnTo>
                  <a:pt x="376" y="168"/>
                </a:lnTo>
                <a:lnTo>
                  <a:pt x="376" y="168"/>
                </a:lnTo>
                <a:lnTo>
                  <a:pt x="380" y="170"/>
                </a:lnTo>
                <a:lnTo>
                  <a:pt x="380" y="170"/>
                </a:lnTo>
                <a:lnTo>
                  <a:pt x="384" y="168"/>
                </a:lnTo>
                <a:lnTo>
                  <a:pt x="386" y="164"/>
                </a:lnTo>
                <a:lnTo>
                  <a:pt x="386" y="164"/>
                </a:lnTo>
                <a:lnTo>
                  <a:pt x="390" y="166"/>
                </a:lnTo>
                <a:lnTo>
                  <a:pt x="392" y="168"/>
                </a:lnTo>
                <a:lnTo>
                  <a:pt x="392" y="168"/>
                </a:lnTo>
                <a:lnTo>
                  <a:pt x="392" y="170"/>
                </a:lnTo>
                <a:lnTo>
                  <a:pt x="392" y="170"/>
                </a:lnTo>
                <a:lnTo>
                  <a:pt x="398" y="170"/>
                </a:lnTo>
                <a:lnTo>
                  <a:pt x="398" y="170"/>
                </a:lnTo>
                <a:lnTo>
                  <a:pt x="400" y="168"/>
                </a:lnTo>
                <a:lnTo>
                  <a:pt x="404" y="166"/>
                </a:lnTo>
                <a:lnTo>
                  <a:pt x="404" y="166"/>
                </a:lnTo>
                <a:lnTo>
                  <a:pt x="404" y="166"/>
                </a:lnTo>
                <a:lnTo>
                  <a:pt x="406" y="168"/>
                </a:lnTo>
                <a:lnTo>
                  <a:pt x="406" y="168"/>
                </a:lnTo>
                <a:lnTo>
                  <a:pt x="406" y="170"/>
                </a:lnTo>
                <a:lnTo>
                  <a:pt x="406" y="170"/>
                </a:lnTo>
                <a:lnTo>
                  <a:pt x="402" y="170"/>
                </a:lnTo>
                <a:lnTo>
                  <a:pt x="402" y="170"/>
                </a:lnTo>
                <a:lnTo>
                  <a:pt x="402" y="174"/>
                </a:lnTo>
                <a:lnTo>
                  <a:pt x="396" y="176"/>
                </a:lnTo>
                <a:lnTo>
                  <a:pt x="396" y="176"/>
                </a:lnTo>
                <a:lnTo>
                  <a:pt x="396" y="180"/>
                </a:lnTo>
                <a:lnTo>
                  <a:pt x="396" y="180"/>
                </a:lnTo>
                <a:lnTo>
                  <a:pt x="388" y="180"/>
                </a:lnTo>
                <a:lnTo>
                  <a:pt x="378" y="180"/>
                </a:lnTo>
                <a:lnTo>
                  <a:pt x="378" y="180"/>
                </a:lnTo>
                <a:lnTo>
                  <a:pt x="374" y="176"/>
                </a:lnTo>
                <a:lnTo>
                  <a:pt x="374" y="176"/>
                </a:lnTo>
                <a:lnTo>
                  <a:pt x="358" y="180"/>
                </a:lnTo>
                <a:lnTo>
                  <a:pt x="358" y="180"/>
                </a:lnTo>
                <a:lnTo>
                  <a:pt x="356" y="182"/>
                </a:lnTo>
                <a:lnTo>
                  <a:pt x="356" y="182"/>
                </a:lnTo>
                <a:lnTo>
                  <a:pt x="352" y="184"/>
                </a:lnTo>
                <a:lnTo>
                  <a:pt x="344" y="184"/>
                </a:lnTo>
                <a:lnTo>
                  <a:pt x="332" y="182"/>
                </a:lnTo>
                <a:lnTo>
                  <a:pt x="332" y="182"/>
                </a:lnTo>
                <a:lnTo>
                  <a:pt x="334" y="184"/>
                </a:lnTo>
                <a:lnTo>
                  <a:pt x="332" y="188"/>
                </a:lnTo>
                <a:lnTo>
                  <a:pt x="332" y="190"/>
                </a:lnTo>
                <a:lnTo>
                  <a:pt x="332" y="190"/>
                </a:lnTo>
                <a:lnTo>
                  <a:pt x="332" y="194"/>
                </a:lnTo>
                <a:lnTo>
                  <a:pt x="334" y="194"/>
                </a:lnTo>
                <a:lnTo>
                  <a:pt x="334" y="194"/>
                </a:lnTo>
                <a:lnTo>
                  <a:pt x="334" y="198"/>
                </a:lnTo>
                <a:lnTo>
                  <a:pt x="334" y="198"/>
                </a:lnTo>
                <a:lnTo>
                  <a:pt x="340" y="200"/>
                </a:lnTo>
                <a:lnTo>
                  <a:pt x="340" y="200"/>
                </a:lnTo>
                <a:lnTo>
                  <a:pt x="340" y="204"/>
                </a:lnTo>
                <a:lnTo>
                  <a:pt x="340" y="204"/>
                </a:lnTo>
                <a:lnTo>
                  <a:pt x="346" y="206"/>
                </a:lnTo>
                <a:lnTo>
                  <a:pt x="354" y="208"/>
                </a:lnTo>
                <a:lnTo>
                  <a:pt x="354" y="208"/>
                </a:lnTo>
                <a:lnTo>
                  <a:pt x="358" y="208"/>
                </a:lnTo>
                <a:lnTo>
                  <a:pt x="358" y="208"/>
                </a:lnTo>
                <a:lnTo>
                  <a:pt x="364" y="208"/>
                </a:lnTo>
                <a:lnTo>
                  <a:pt x="370" y="210"/>
                </a:lnTo>
                <a:lnTo>
                  <a:pt x="370" y="210"/>
                </a:lnTo>
                <a:lnTo>
                  <a:pt x="372" y="216"/>
                </a:lnTo>
                <a:lnTo>
                  <a:pt x="374" y="222"/>
                </a:lnTo>
                <a:lnTo>
                  <a:pt x="374" y="222"/>
                </a:lnTo>
                <a:lnTo>
                  <a:pt x="376" y="222"/>
                </a:lnTo>
                <a:lnTo>
                  <a:pt x="380" y="222"/>
                </a:lnTo>
                <a:lnTo>
                  <a:pt x="382" y="224"/>
                </a:lnTo>
                <a:lnTo>
                  <a:pt x="382" y="224"/>
                </a:lnTo>
                <a:lnTo>
                  <a:pt x="384" y="224"/>
                </a:lnTo>
                <a:lnTo>
                  <a:pt x="384" y="226"/>
                </a:lnTo>
                <a:lnTo>
                  <a:pt x="384" y="226"/>
                </a:lnTo>
                <a:lnTo>
                  <a:pt x="390" y="226"/>
                </a:lnTo>
                <a:lnTo>
                  <a:pt x="396" y="224"/>
                </a:lnTo>
                <a:lnTo>
                  <a:pt x="396" y="224"/>
                </a:lnTo>
                <a:lnTo>
                  <a:pt x="396" y="222"/>
                </a:lnTo>
                <a:lnTo>
                  <a:pt x="396" y="222"/>
                </a:lnTo>
                <a:lnTo>
                  <a:pt x="400" y="220"/>
                </a:lnTo>
                <a:lnTo>
                  <a:pt x="400" y="220"/>
                </a:lnTo>
                <a:lnTo>
                  <a:pt x="404" y="220"/>
                </a:lnTo>
                <a:lnTo>
                  <a:pt x="406" y="222"/>
                </a:lnTo>
                <a:lnTo>
                  <a:pt x="406" y="222"/>
                </a:lnTo>
                <a:lnTo>
                  <a:pt x="420" y="222"/>
                </a:lnTo>
                <a:lnTo>
                  <a:pt x="420" y="220"/>
                </a:lnTo>
                <a:lnTo>
                  <a:pt x="420" y="220"/>
                </a:lnTo>
                <a:lnTo>
                  <a:pt x="428" y="218"/>
                </a:lnTo>
                <a:lnTo>
                  <a:pt x="428" y="218"/>
                </a:lnTo>
                <a:lnTo>
                  <a:pt x="434" y="218"/>
                </a:lnTo>
                <a:lnTo>
                  <a:pt x="436" y="214"/>
                </a:lnTo>
                <a:lnTo>
                  <a:pt x="436" y="214"/>
                </a:lnTo>
                <a:lnTo>
                  <a:pt x="436" y="214"/>
                </a:lnTo>
                <a:lnTo>
                  <a:pt x="440" y="214"/>
                </a:lnTo>
                <a:lnTo>
                  <a:pt x="440" y="214"/>
                </a:lnTo>
                <a:lnTo>
                  <a:pt x="446" y="212"/>
                </a:lnTo>
                <a:lnTo>
                  <a:pt x="452" y="208"/>
                </a:lnTo>
                <a:lnTo>
                  <a:pt x="452" y="208"/>
                </a:lnTo>
                <a:lnTo>
                  <a:pt x="458" y="208"/>
                </a:lnTo>
                <a:lnTo>
                  <a:pt x="462" y="206"/>
                </a:lnTo>
                <a:lnTo>
                  <a:pt x="462" y="206"/>
                </a:lnTo>
                <a:lnTo>
                  <a:pt x="466" y="200"/>
                </a:lnTo>
                <a:lnTo>
                  <a:pt x="466" y="200"/>
                </a:lnTo>
                <a:lnTo>
                  <a:pt x="468" y="200"/>
                </a:lnTo>
                <a:lnTo>
                  <a:pt x="472" y="200"/>
                </a:lnTo>
                <a:lnTo>
                  <a:pt x="472" y="200"/>
                </a:lnTo>
                <a:lnTo>
                  <a:pt x="478" y="194"/>
                </a:lnTo>
                <a:lnTo>
                  <a:pt x="478" y="192"/>
                </a:lnTo>
                <a:lnTo>
                  <a:pt x="478" y="192"/>
                </a:lnTo>
                <a:lnTo>
                  <a:pt x="482" y="194"/>
                </a:lnTo>
                <a:lnTo>
                  <a:pt x="484" y="194"/>
                </a:lnTo>
                <a:lnTo>
                  <a:pt x="484" y="194"/>
                </a:lnTo>
                <a:lnTo>
                  <a:pt x="480" y="204"/>
                </a:lnTo>
                <a:lnTo>
                  <a:pt x="480" y="204"/>
                </a:lnTo>
                <a:lnTo>
                  <a:pt x="482" y="206"/>
                </a:lnTo>
                <a:lnTo>
                  <a:pt x="482" y="206"/>
                </a:lnTo>
                <a:lnTo>
                  <a:pt x="492" y="208"/>
                </a:lnTo>
                <a:lnTo>
                  <a:pt x="492" y="208"/>
                </a:lnTo>
                <a:lnTo>
                  <a:pt x="492" y="212"/>
                </a:lnTo>
                <a:lnTo>
                  <a:pt x="492" y="212"/>
                </a:lnTo>
                <a:lnTo>
                  <a:pt x="496" y="212"/>
                </a:lnTo>
                <a:lnTo>
                  <a:pt x="496" y="212"/>
                </a:lnTo>
                <a:lnTo>
                  <a:pt x="498" y="210"/>
                </a:lnTo>
                <a:lnTo>
                  <a:pt x="498" y="210"/>
                </a:lnTo>
                <a:lnTo>
                  <a:pt x="502" y="212"/>
                </a:lnTo>
                <a:lnTo>
                  <a:pt x="508" y="214"/>
                </a:lnTo>
                <a:lnTo>
                  <a:pt x="508" y="214"/>
                </a:lnTo>
                <a:lnTo>
                  <a:pt x="510" y="214"/>
                </a:lnTo>
                <a:lnTo>
                  <a:pt x="512" y="212"/>
                </a:lnTo>
                <a:lnTo>
                  <a:pt x="512" y="212"/>
                </a:lnTo>
                <a:lnTo>
                  <a:pt x="514" y="216"/>
                </a:lnTo>
                <a:lnTo>
                  <a:pt x="516" y="216"/>
                </a:lnTo>
                <a:lnTo>
                  <a:pt x="518" y="216"/>
                </a:lnTo>
                <a:lnTo>
                  <a:pt x="518" y="216"/>
                </a:lnTo>
                <a:lnTo>
                  <a:pt x="520" y="216"/>
                </a:lnTo>
                <a:lnTo>
                  <a:pt x="520" y="212"/>
                </a:lnTo>
                <a:lnTo>
                  <a:pt x="520" y="212"/>
                </a:lnTo>
                <a:lnTo>
                  <a:pt x="528" y="214"/>
                </a:lnTo>
                <a:lnTo>
                  <a:pt x="530" y="210"/>
                </a:lnTo>
                <a:lnTo>
                  <a:pt x="530" y="210"/>
                </a:lnTo>
                <a:lnTo>
                  <a:pt x="534" y="210"/>
                </a:lnTo>
                <a:lnTo>
                  <a:pt x="536" y="208"/>
                </a:lnTo>
                <a:lnTo>
                  <a:pt x="536" y="208"/>
                </a:lnTo>
                <a:lnTo>
                  <a:pt x="538" y="206"/>
                </a:lnTo>
                <a:lnTo>
                  <a:pt x="538" y="204"/>
                </a:lnTo>
                <a:lnTo>
                  <a:pt x="538" y="204"/>
                </a:lnTo>
                <a:lnTo>
                  <a:pt x="536" y="204"/>
                </a:lnTo>
                <a:lnTo>
                  <a:pt x="536" y="204"/>
                </a:lnTo>
                <a:lnTo>
                  <a:pt x="536" y="200"/>
                </a:lnTo>
                <a:lnTo>
                  <a:pt x="536" y="200"/>
                </a:lnTo>
                <a:lnTo>
                  <a:pt x="532" y="200"/>
                </a:lnTo>
                <a:lnTo>
                  <a:pt x="528" y="200"/>
                </a:lnTo>
                <a:lnTo>
                  <a:pt x="528" y="200"/>
                </a:lnTo>
                <a:lnTo>
                  <a:pt x="526" y="202"/>
                </a:lnTo>
                <a:lnTo>
                  <a:pt x="526" y="204"/>
                </a:lnTo>
                <a:lnTo>
                  <a:pt x="526" y="204"/>
                </a:lnTo>
                <a:lnTo>
                  <a:pt x="522" y="204"/>
                </a:lnTo>
                <a:lnTo>
                  <a:pt x="522" y="204"/>
                </a:lnTo>
                <a:lnTo>
                  <a:pt x="520" y="202"/>
                </a:lnTo>
                <a:lnTo>
                  <a:pt x="518" y="198"/>
                </a:lnTo>
                <a:lnTo>
                  <a:pt x="518" y="198"/>
                </a:lnTo>
                <a:lnTo>
                  <a:pt x="514" y="196"/>
                </a:lnTo>
                <a:lnTo>
                  <a:pt x="514" y="192"/>
                </a:lnTo>
                <a:lnTo>
                  <a:pt x="514" y="192"/>
                </a:lnTo>
                <a:lnTo>
                  <a:pt x="520" y="192"/>
                </a:lnTo>
                <a:lnTo>
                  <a:pt x="520" y="192"/>
                </a:lnTo>
                <a:lnTo>
                  <a:pt x="524" y="198"/>
                </a:lnTo>
                <a:lnTo>
                  <a:pt x="524" y="198"/>
                </a:lnTo>
                <a:lnTo>
                  <a:pt x="530" y="198"/>
                </a:lnTo>
                <a:lnTo>
                  <a:pt x="538" y="198"/>
                </a:lnTo>
                <a:lnTo>
                  <a:pt x="538" y="198"/>
                </a:lnTo>
                <a:lnTo>
                  <a:pt x="538" y="196"/>
                </a:lnTo>
                <a:lnTo>
                  <a:pt x="538" y="196"/>
                </a:lnTo>
                <a:lnTo>
                  <a:pt x="532" y="194"/>
                </a:lnTo>
                <a:lnTo>
                  <a:pt x="532" y="194"/>
                </a:lnTo>
                <a:lnTo>
                  <a:pt x="530" y="192"/>
                </a:lnTo>
                <a:lnTo>
                  <a:pt x="532" y="192"/>
                </a:lnTo>
                <a:lnTo>
                  <a:pt x="536" y="190"/>
                </a:lnTo>
                <a:lnTo>
                  <a:pt x="536" y="190"/>
                </a:lnTo>
                <a:lnTo>
                  <a:pt x="536" y="190"/>
                </a:lnTo>
                <a:lnTo>
                  <a:pt x="538" y="188"/>
                </a:lnTo>
                <a:lnTo>
                  <a:pt x="538" y="188"/>
                </a:lnTo>
                <a:lnTo>
                  <a:pt x="540" y="192"/>
                </a:lnTo>
                <a:lnTo>
                  <a:pt x="546" y="194"/>
                </a:lnTo>
                <a:lnTo>
                  <a:pt x="546" y="194"/>
                </a:lnTo>
                <a:lnTo>
                  <a:pt x="546" y="198"/>
                </a:lnTo>
                <a:lnTo>
                  <a:pt x="546" y="198"/>
                </a:lnTo>
                <a:lnTo>
                  <a:pt x="548" y="198"/>
                </a:lnTo>
                <a:lnTo>
                  <a:pt x="550" y="200"/>
                </a:lnTo>
                <a:lnTo>
                  <a:pt x="550" y="200"/>
                </a:lnTo>
                <a:lnTo>
                  <a:pt x="552" y="198"/>
                </a:lnTo>
                <a:lnTo>
                  <a:pt x="552" y="198"/>
                </a:lnTo>
                <a:lnTo>
                  <a:pt x="552" y="198"/>
                </a:lnTo>
                <a:lnTo>
                  <a:pt x="552" y="194"/>
                </a:lnTo>
                <a:lnTo>
                  <a:pt x="552" y="194"/>
                </a:lnTo>
                <a:close/>
                <a:moveTo>
                  <a:pt x="610" y="134"/>
                </a:moveTo>
                <a:lnTo>
                  <a:pt x="610" y="134"/>
                </a:lnTo>
                <a:lnTo>
                  <a:pt x="610" y="124"/>
                </a:lnTo>
                <a:lnTo>
                  <a:pt x="608" y="122"/>
                </a:lnTo>
                <a:lnTo>
                  <a:pt x="608" y="122"/>
                </a:lnTo>
                <a:lnTo>
                  <a:pt x="608" y="120"/>
                </a:lnTo>
                <a:lnTo>
                  <a:pt x="610" y="116"/>
                </a:lnTo>
                <a:lnTo>
                  <a:pt x="610" y="116"/>
                </a:lnTo>
                <a:lnTo>
                  <a:pt x="606" y="114"/>
                </a:lnTo>
                <a:lnTo>
                  <a:pt x="606" y="114"/>
                </a:lnTo>
                <a:lnTo>
                  <a:pt x="596" y="120"/>
                </a:lnTo>
                <a:lnTo>
                  <a:pt x="596" y="120"/>
                </a:lnTo>
                <a:lnTo>
                  <a:pt x="594" y="108"/>
                </a:lnTo>
                <a:lnTo>
                  <a:pt x="594" y="108"/>
                </a:lnTo>
                <a:lnTo>
                  <a:pt x="590" y="110"/>
                </a:lnTo>
                <a:lnTo>
                  <a:pt x="588" y="110"/>
                </a:lnTo>
                <a:lnTo>
                  <a:pt x="584" y="104"/>
                </a:lnTo>
                <a:lnTo>
                  <a:pt x="582" y="104"/>
                </a:lnTo>
                <a:lnTo>
                  <a:pt x="584" y="100"/>
                </a:lnTo>
                <a:lnTo>
                  <a:pt x="584" y="100"/>
                </a:lnTo>
                <a:lnTo>
                  <a:pt x="596" y="100"/>
                </a:lnTo>
                <a:lnTo>
                  <a:pt x="596" y="100"/>
                </a:lnTo>
                <a:lnTo>
                  <a:pt x="596" y="96"/>
                </a:lnTo>
                <a:lnTo>
                  <a:pt x="596" y="96"/>
                </a:lnTo>
                <a:lnTo>
                  <a:pt x="594" y="96"/>
                </a:lnTo>
                <a:lnTo>
                  <a:pt x="594" y="96"/>
                </a:lnTo>
                <a:lnTo>
                  <a:pt x="596" y="90"/>
                </a:lnTo>
                <a:lnTo>
                  <a:pt x="596" y="90"/>
                </a:lnTo>
                <a:lnTo>
                  <a:pt x="592" y="90"/>
                </a:lnTo>
                <a:lnTo>
                  <a:pt x="592" y="90"/>
                </a:lnTo>
                <a:lnTo>
                  <a:pt x="590" y="86"/>
                </a:lnTo>
                <a:lnTo>
                  <a:pt x="590" y="86"/>
                </a:lnTo>
                <a:lnTo>
                  <a:pt x="584" y="86"/>
                </a:lnTo>
                <a:lnTo>
                  <a:pt x="578" y="86"/>
                </a:lnTo>
                <a:lnTo>
                  <a:pt x="578" y="88"/>
                </a:lnTo>
                <a:lnTo>
                  <a:pt x="578" y="88"/>
                </a:lnTo>
                <a:lnTo>
                  <a:pt x="572" y="88"/>
                </a:lnTo>
                <a:lnTo>
                  <a:pt x="572" y="88"/>
                </a:lnTo>
                <a:lnTo>
                  <a:pt x="576" y="86"/>
                </a:lnTo>
                <a:lnTo>
                  <a:pt x="576" y="86"/>
                </a:lnTo>
                <a:lnTo>
                  <a:pt x="580" y="84"/>
                </a:lnTo>
                <a:lnTo>
                  <a:pt x="580" y="84"/>
                </a:lnTo>
                <a:lnTo>
                  <a:pt x="584" y="82"/>
                </a:lnTo>
                <a:lnTo>
                  <a:pt x="584" y="82"/>
                </a:lnTo>
                <a:lnTo>
                  <a:pt x="586" y="80"/>
                </a:lnTo>
                <a:lnTo>
                  <a:pt x="586" y="78"/>
                </a:lnTo>
                <a:lnTo>
                  <a:pt x="584" y="76"/>
                </a:lnTo>
                <a:lnTo>
                  <a:pt x="580" y="76"/>
                </a:lnTo>
                <a:lnTo>
                  <a:pt x="580" y="76"/>
                </a:lnTo>
                <a:lnTo>
                  <a:pt x="578" y="80"/>
                </a:lnTo>
                <a:lnTo>
                  <a:pt x="576" y="82"/>
                </a:lnTo>
                <a:lnTo>
                  <a:pt x="576" y="82"/>
                </a:lnTo>
                <a:lnTo>
                  <a:pt x="566" y="84"/>
                </a:lnTo>
                <a:lnTo>
                  <a:pt x="562" y="86"/>
                </a:lnTo>
                <a:lnTo>
                  <a:pt x="566" y="88"/>
                </a:lnTo>
                <a:lnTo>
                  <a:pt x="566" y="88"/>
                </a:lnTo>
                <a:lnTo>
                  <a:pt x="564" y="90"/>
                </a:lnTo>
                <a:lnTo>
                  <a:pt x="564" y="90"/>
                </a:lnTo>
                <a:lnTo>
                  <a:pt x="560" y="90"/>
                </a:lnTo>
                <a:lnTo>
                  <a:pt x="554" y="88"/>
                </a:lnTo>
                <a:lnTo>
                  <a:pt x="554" y="88"/>
                </a:lnTo>
                <a:lnTo>
                  <a:pt x="552" y="84"/>
                </a:lnTo>
                <a:lnTo>
                  <a:pt x="552" y="84"/>
                </a:lnTo>
                <a:lnTo>
                  <a:pt x="544" y="90"/>
                </a:lnTo>
                <a:lnTo>
                  <a:pt x="540" y="96"/>
                </a:lnTo>
                <a:lnTo>
                  <a:pt x="540" y="100"/>
                </a:lnTo>
                <a:lnTo>
                  <a:pt x="540" y="100"/>
                </a:lnTo>
                <a:lnTo>
                  <a:pt x="542" y="102"/>
                </a:lnTo>
                <a:lnTo>
                  <a:pt x="542" y="102"/>
                </a:lnTo>
                <a:lnTo>
                  <a:pt x="548" y="104"/>
                </a:lnTo>
                <a:lnTo>
                  <a:pt x="548" y="104"/>
                </a:lnTo>
                <a:lnTo>
                  <a:pt x="554" y="106"/>
                </a:lnTo>
                <a:lnTo>
                  <a:pt x="554" y="106"/>
                </a:lnTo>
                <a:lnTo>
                  <a:pt x="556" y="108"/>
                </a:lnTo>
                <a:lnTo>
                  <a:pt x="554" y="110"/>
                </a:lnTo>
                <a:lnTo>
                  <a:pt x="554" y="110"/>
                </a:lnTo>
                <a:lnTo>
                  <a:pt x="554" y="116"/>
                </a:lnTo>
                <a:lnTo>
                  <a:pt x="554" y="116"/>
                </a:lnTo>
                <a:lnTo>
                  <a:pt x="552" y="118"/>
                </a:lnTo>
                <a:lnTo>
                  <a:pt x="544" y="118"/>
                </a:lnTo>
                <a:lnTo>
                  <a:pt x="532" y="118"/>
                </a:lnTo>
                <a:lnTo>
                  <a:pt x="532" y="118"/>
                </a:lnTo>
                <a:lnTo>
                  <a:pt x="528" y="108"/>
                </a:lnTo>
                <a:lnTo>
                  <a:pt x="528" y="108"/>
                </a:lnTo>
                <a:lnTo>
                  <a:pt x="524" y="110"/>
                </a:lnTo>
                <a:lnTo>
                  <a:pt x="524" y="110"/>
                </a:lnTo>
                <a:lnTo>
                  <a:pt x="522" y="110"/>
                </a:lnTo>
                <a:lnTo>
                  <a:pt x="520" y="110"/>
                </a:lnTo>
                <a:lnTo>
                  <a:pt x="520" y="110"/>
                </a:lnTo>
                <a:lnTo>
                  <a:pt x="520" y="112"/>
                </a:lnTo>
                <a:lnTo>
                  <a:pt x="520" y="114"/>
                </a:lnTo>
                <a:lnTo>
                  <a:pt x="520" y="114"/>
                </a:lnTo>
                <a:lnTo>
                  <a:pt x="522" y="118"/>
                </a:lnTo>
                <a:lnTo>
                  <a:pt x="522" y="118"/>
                </a:lnTo>
                <a:lnTo>
                  <a:pt x="520" y="120"/>
                </a:lnTo>
                <a:lnTo>
                  <a:pt x="520" y="120"/>
                </a:lnTo>
                <a:lnTo>
                  <a:pt x="524" y="124"/>
                </a:lnTo>
                <a:lnTo>
                  <a:pt x="524" y="124"/>
                </a:lnTo>
                <a:lnTo>
                  <a:pt x="528" y="130"/>
                </a:lnTo>
                <a:lnTo>
                  <a:pt x="528" y="130"/>
                </a:lnTo>
                <a:lnTo>
                  <a:pt x="534" y="130"/>
                </a:lnTo>
                <a:lnTo>
                  <a:pt x="534" y="130"/>
                </a:lnTo>
                <a:lnTo>
                  <a:pt x="538" y="134"/>
                </a:lnTo>
                <a:lnTo>
                  <a:pt x="540" y="134"/>
                </a:lnTo>
                <a:lnTo>
                  <a:pt x="540" y="134"/>
                </a:lnTo>
                <a:lnTo>
                  <a:pt x="540" y="130"/>
                </a:lnTo>
                <a:lnTo>
                  <a:pt x="540" y="130"/>
                </a:lnTo>
                <a:lnTo>
                  <a:pt x="546" y="128"/>
                </a:lnTo>
                <a:lnTo>
                  <a:pt x="546" y="128"/>
                </a:lnTo>
                <a:lnTo>
                  <a:pt x="550" y="134"/>
                </a:lnTo>
                <a:lnTo>
                  <a:pt x="550" y="134"/>
                </a:lnTo>
                <a:lnTo>
                  <a:pt x="554" y="138"/>
                </a:lnTo>
                <a:lnTo>
                  <a:pt x="554" y="138"/>
                </a:lnTo>
                <a:lnTo>
                  <a:pt x="558" y="138"/>
                </a:lnTo>
                <a:lnTo>
                  <a:pt x="558" y="138"/>
                </a:lnTo>
                <a:lnTo>
                  <a:pt x="564" y="144"/>
                </a:lnTo>
                <a:lnTo>
                  <a:pt x="564" y="144"/>
                </a:lnTo>
                <a:lnTo>
                  <a:pt x="564" y="148"/>
                </a:lnTo>
                <a:lnTo>
                  <a:pt x="564" y="148"/>
                </a:lnTo>
                <a:lnTo>
                  <a:pt x="570" y="156"/>
                </a:lnTo>
                <a:lnTo>
                  <a:pt x="570" y="156"/>
                </a:lnTo>
                <a:lnTo>
                  <a:pt x="572" y="156"/>
                </a:lnTo>
                <a:lnTo>
                  <a:pt x="578" y="156"/>
                </a:lnTo>
                <a:lnTo>
                  <a:pt x="578" y="156"/>
                </a:lnTo>
                <a:lnTo>
                  <a:pt x="582" y="152"/>
                </a:lnTo>
                <a:lnTo>
                  <a:pt x="586" y="146"/>
                </a:lnTo>
                <a:lnTo>
                  <a:pt x="586" y="146"/>
                </a:lnTo>
                <a:lnTo>
                  <a:pt x="590" y="146"/>
                </a:lnTo>
                <a:lnTo>
                  <a:pt x="590" y="146"/>
                </a:lnTo>
                <a:lnTo>
                  <a:pt x="594" y="144"/>
                </a:lnTo>
                <a:lnTo>
                  <a:pt x="594" y="144"/>
                </a:lnTo>
                <a:lnTo>
                  <a:pt x="600" y="142"/>
                </a:lnTo>
                <a:lnTo>
                  <a:pt x="608" y="140"/>
                </a:lnTo>
                <a:lnTo>
                  <a:pt x="608" y="140"/>
                </a:lnTo>
                <a:lnTo>
                  <a:pt x="608" y="136"/>
                </a:lnTo>
                <a:lnTo>
                  <a:pt x="610" y="134"/>
                </a:lnTo>
                <a:close/>
                <a:moveTo>
                  <a:pt x="614" y="204"/>
                </a:moveTo>
                <a:lnTo>
                  <a:pt x="602" y="194"/>
                </a:lnTo>
                <a:lnTo>
                  <a:pt x="602" y="194"/>
                </a:lnTo>
                <a:lnTo>
                  <a:pt x="596" y="194"/>
                </a:lnTo>
                <a:lnTo>
                  <a:pt x="594" y="192"/>
                </a:lnTo>
                <a:lnTo>
                  <a:pt x="594" y="192"/>
                </a:lnTo>
                <a:lnTo>
                  <a:pt x="592" y="192"/>
                </a:lnTo>
                <a:lnTo>
                  <a:pt x="590" y="194"/>
                </a:lnTo>
                <a:lnTo>
                  <a:pt x="590" y="194"/>
                </a:lnTo>
                <a:lnTo>
                  <a:pt x="590" y="190"/>
                </a:lnTo>
                <a:lnTo>
                  <a:pt x="590" y="190"/>
                </a:lnTo>
                <a:lnTo>
                  <a:pt x="586" y="190"/>
                </a:lnTo>
                <a:lnTo>
                  <a:pt x="586" y="190"/>
                </a:lnTo>
                <a:lnTo>
                  <a:pt x="584" y="192"/>
                </a:lnTo>
                <a:lnTo>
                  <a:pt x="584" y="192"/>
                </a:lnTo>
                <a:lnTo>
                  <a:pt x="584" y="198"/>
                </a:lnTo>
                <a:lnTo>
                  <a:pt x="584" y="198"/>
                </a:lnTo>
                <a:lnTo>
                  <a:pt x="582" y="196"/>
                </a:lnTo>
                <a:lnTo>
                  <a:pt x="582" y="196"/>
                </a:lnTo>
                <a:lnTo>
                  <a:pt x="582" y="196"/>
                </a:lnTo>
                <a:lnTo>
                  <a:pt x="578" y="196"/>
                </a:lnTo>
                <a:lnTo>
                  <a:pt x="578" y="196"/>
                </a:lnTo>
                <a:lnTo>
                  <a:pt x="578" y="196"/>
                </a:lnTo>
                <a:lnTo>
                  <a:pt x="576" y="204"/>
                </a:lnTo>
                <a:lnTo>
                  <a:pt x="574" y="208"/>
                </a:lnTo>
                <a:lnTo>
                  <a:pt x="572" y="210"/>
                </a:lnTo>
                <a:lnTo>
                  <a:pt x="572" y="210"/>
                </a:lnTo>
                <a:lnTo>
                  <a:pt x="568" y="210"/>
                </a:lnTo>
                <a:lnTo>
                  <a:pt x="568" y="210"/>
                </a:lnTo>
                <a:lnTo>
                  <a:pt x="566" y="212"/>
                </a:lnTo>
                <a:lnTo>
                  <a:pt x="566" y="212"/>
                </a:lnTo>
                <a:lnTo>
                  <a:pt x="568" y="214"/>
                </a:lnTo>
                <a:lnTo>
                  <a:pt x="570" y="216"/>
                </a:lnTo>
                <a:lnTo>
                  <a:pt x="570" y="216"/>
                </a:lnTo>
                <a:lnTo>
                  <a:pt x="572" y="214"/>
                </a:lnTo>
                <a:lnTo>
                  <a:pt x="574" y="214"/>
                </a:lnTo>
                <a:lnTo>
                  <a:pt x="574" y="216"/>
                </a:lnTo>
                <a:lnTo>
                  <a:pt x="574" y="216"/>
                </a:lnTo>
                <a:lnTo>
                  <a:pt x="576" y="218"/>
                </a:lnTo>
                <a:lnTo>
                  <a:pt x="576" y="218"/>
                </a:lnTo>
                <a:lnTo>
                  <a:pt x="578" y="216"/>
                </a:lnTo>
                <a:lnTo>
                  <a:pt x="580" y="214"/>
                </a:lnTo>
                <a:lnTo>
                  <a:pt x="582" y="214"/>
                </a:lnTo>
                <a:lnTo>
                  <a:pt x="582" y="214"/>
                </a:lnTo>
                <a:lnTo>
                  <a:pt x="582" y="216"/>
                </a:lnTo>
                <a:lnTo>
                  <a:pt x="582" y="218"/>
                </a:lnTo>
                <a:lnTo>
                  <a:pt x="582" y="220"/>
                </a:lnTo>
                <a:lnTo>
                  <a:pt x="582" y="220"/>
                </a:lnTo>
                <a:lnTo>
                  <a:pt x="586" y="222"/>
                </a:lnTo>
                <a:lnTo>
                  <a:pt x="588" y="226"/>
                </a:lnTo>
                <a:lnTo>
                  <a:pt x="588" y="226"/>
                </a:lnTo>
                <a:lnTo>
                  <a:pt x="590" y="226"/>
                </a:lnTo>
                <a:lnTo>
                  <a:pt x="592" y="226"/>
                </a:lnTo>
                <a:lnTo>
                  <a:pt x="592" y="226"/>
                </a:lnTo>
                <a:lnTo>
                  <a:pt x="592" y="226"/>
                </a:lnTo>
                <a:lnTo>
                  <a:pt x="594" y="226"/>
                </a:lnTo>
                <a:lnTo>
                  <a:pt x="596" y="226"/>
                </a:lnTo>
                <a:lnTo>
                  <a:pt x="596" y="226"/>
                </a:lnTo>
                <a:lnTo>
                  <a:pt x="598" y="224"/>
                </a:lnTo>
                <a:lnTo>
                  <a:pt x="598" y="224"/>
                </a:lnTo>
                <a:lnTo>
                  <a:pt x="598" y="224"/>
                </a:lnTo>
                <a:lnTo>
                  <a:pt x="598" y="224"/>
                </a:lnTo>
                <a:lnTo>
                  <a:pt x="598" y="220"/>
                </a:lnTo>
                <a:lnTo>
                  <a:pt x="598" y="220"/>
                </a:lnTo>
                <a:lnTo>
                  <a:pt x="604" y="222"/>
                </a:lnTo>
                <a:lnTo>
                  <a:pt x="610" y="220"/>
                </a:lnTo>
                <a:lnTo>
                  <a:pt x="610" y="220"/>
                </a:lnTo>
                <a:lnTo>
                  <a:pt x="616" y="220"/>
                </a:lnTo>
                <a:lnTo>
                  <a:pt x="616" y="220"/>
                </a:lnTo>
                <a:lnTo>
                  <a:pt x="618" y="216"/>
                </a:lnTo>
                <a:lnTo>
                  <a:pt x="618" y="216"/>
                </a:lnTo>
                <a:lnTo>
                  <a:pt x="614" y="216"/>
                </a:lnTo>
                <a:lnTo>
                  <a:pt x="614" y="216"/>
                </a:lnTo>
                <a:lnTo>
                  <a:pt x="614" y="210"/>
                </a:lnTo>
                <a:lnTo>
                  <a:pt x="614" y="204"/>
                </a:lnTo>
                <a:lnTo>
                  <a:pt x="614" y="204"/>
                </a:lnTo>
                <a:close/>
                <a:moveTo>
                  <a:pt x="134" y="582"/>
                </a:moveTo>
                <a:lnTo>
                  <a:pt x="134" y="582"/>
                </a:lnTo>
                <a:lnTo>
                  <a:pt x="136" y="578"/>
                </a:lnTo>
                <a:lnTo>
                  <a:pt x="136" y="576"/>
                </a:lnTo>
                <a:lnTo>
                  <a:pt x="136" y="576"/>
                </a:lnTo>
                <a:lnTo>
                  <a:pt x="132" y="576"/>
                </a:lnTo>
                <a:lnTo>
                  <a:pt x="132" y="576"/>
                </a:lnTo>
                <a:lnTo>
                  <a:pt x="134" y="574"/>
                </a:lnTo>
                <a:lnTo>
                  <a:pt x="134" y="572"/>
                </a:lnTo>
                <a:lnTo>
                  <a:pt x="134" y="572"/>
                </a:lnTo>
                <a:lnTo>
                  <a:pt x="132" y="570"/>
                </a:lnTo>
                <a:lnTo>
                  <a:pt x="130" y="570"/>
                </a:lnTo>
                <a:lnTo>
                  <a:pt x="130" y="570"/>
                </a:lnTo>
                <a:lnTo>
                  <a:pt x="124" y="574"/>
                </a:lnTo>
                <a:lnTo>
                  <a:pt x="124" y="574"/>
                </a:lnTo>
                <a:lnTo>
                  <a:pt x="124" y="576"/>
                </a:lnTo>
                <a:lnTo>
                  <a:pt x="126" y="576"/>
                </a:lnTo>
                <a:lnTo>
                  <a:pt x="126" y="578"/>
                </a:lnTo>
                <a:lnTo>
                  <a:pt x="126" y="578"/>
                </a:lnTo>
                <a:lnTo>
                  <a:pt x="124" y="576"/>
                </a:lnTo>
                <a:lnTo>
                  <a:pt x="124" y="578"/>
                </a:lnTo>
                <a:lnTo>
                  <a:pt x="126" y="584"/>
                </a:lnTo>
                <a:lnTo>
                  <a:pt x="126" y="584"/>
                </a:lnTo>
                <a:lnTo>
                  <a:pt x="130" y="588"/>
                </a:lnTo>
                <a:lnTo>
                  <a:pt x="138" y="592"/>
                </a:lnTo>
                <a:lnTo>
                  <a:pt x="138" y="592"/>
                </a:lnTo>
                <a:lnTo>
                  <a:pt x="138" y="590"/>
                </a:lnTo>
                <a:lnTo>
                  <a:pt x="138" y="590"/>
                </a:lnTo>
                <a:lnTo>
                  <a:pt x="136" y="586"/>
                </a:lnTo>
                <a:lnTo>
                  <a:pt x="134" y="586"/>
                </a:lnTo>
                <a:lnTo>
                  <a:pt x="134" y="586"/>
                </a:lnTo>
                <a:lnTo>
                  <a:pt x="138" y="584"/>
                </a:lnTo>
                <a:lnTo>
                  <a:pt x="138" y="584"/>
                </a:lnTo>
                <a:lnTo>
                  <a:pt x="134" y="582"/>
                </a:lnTo>
                <a:lnTo>
                  <a:pt x="134" y="582"/>
                </a:lnTo>
                <a:close/>
                <a:moveTo>
                  <a:pt x="470" y="122"/>
                </a:moveTo>
                <a:lnTo>
                  <a:pt x="470" y="122"/>
                </a:lnTo>
                <a:lnTo>
                  <a:pt x="474" y="124"/>
                </a:lnTo>
                <a:lnTo>
                  <a:pt x="474" y="124"/>
                </a:lnTo>
                <a:lnTo>
                  <a:pt x="476" y="126"/>
                </a:lnTo>
                <a:lnTo>
                  <a:pt x="480" y="126"/>
                </a:lnTo>
                <a:lnTo>
                  <a:pt x="480" y="126"/>
                </a:lnTo>
                <a:lnTo>
                  <a:pt x="482" y="124"/>
                </a:lnTo>
                <a:lnTo>
                  <a:pt x="482" y="124"/>
                </a:lnTo>
                <a:lnTo>
                  <a:pt x="480" y="116"/>
                </a:lnTo>
                <a:lnTo>
                  <a:pt x="480" y="116"/>
                </a:lnTo>
                <a:lnTo>
                  <a:pt x="478" y="114"/>
                </a:lnTo>
                <a:lnTo>
                  <a:pt x="474" y="112"/>
                </a:lnTo>
                <a:lnTo>
                  <a:pt x="474" y="112"/>
                </a:lnTo>
                <a:lnTo>
                  <a:pt x="472" y="108"/>
                </a:lnTo>
                <a:lnTo>
                  <a:pt x="472" y="104"/>
                </a:lnTo>
                <a:lnTo>
                  <a:pt x="462" y="96"/>
                </a:lnTo>
                <a:lnTo>
                  <a:pt x="462" y="96"/>
                </a:lnTo>
                <a:lnTo>
                  <a:pt x="458" y="96"/>
                </a:lnTo>
                <a:lnTo>
                  <a:pt x="458" y="96"/>
                </a:lnTo>
                <a:lnTo>
                  <a:pt x="456" y="108"/>
                </a:lnTo>
                <a:lnTo>
                  <a:pt x="460" y="120"/>
                </a:lnTo>
                <a:lnTo>
                  <a:pt x="460" y="120"/>
                </a:lnTo>
                <a:lnTo>
                  <a:pt x="470" y="122"/>
                </a:lnTo>
                <a:lnTo>
                  <a:pt x="470" y="122"/>
                </a:lnTo>
                <a:close/>
                <a:moveTo>
                  <a:pt x="238" y="144"/>
                </a:moveTo>
                <a:lnTo>
                  <a:pt x="238" y="146"/>
                </a:lnTo>
                <a:lnTo>
                  <a:pt x="240" y="146"/>
                </a:lnTo>
                <a:lnTo>
                  <a:pt x="240" y="146"/>
                </a:lnTo>
                <a:lnTo>
                  <a:pt x="242" y="152"/>
                </a:lnTo>
                <a:lnTo>
                  <a:pt x="244" y="156"/>
                </a:lnTo>
                <a:lnTo>
                  <a:pt x="246" y="158"/>
                </a:lnTo>
                <a:lnTo>
                  <a:pt x="246" y="158"/>
                </a:lnTo>
                <a:lnTo>
                  <a:pt x="250" y="158"/>
                </a:lnTo>
                <a:lnTo>
                  <a:pt x="254" y="158"/>
                </a:lnTo>
                <a:lnTo>
                  <a:pt x="260" y="154"/>
                </a:lnTo>
                <a:lnTo>
                  <a:pt x="268" y="144"/>
                </a:lnTo>
                <a:lnTo>
                  <a:pt x="268" y="144"/>
                </a:lnTo>
                <a:lnTo>
                  <a:pt x="270" y="144"/>
                </a:lnTo>
                <a:lnTo>
                  <a:pt x="272" y="148"/>
                </a:lnTo>
                <a:lnTo>
                  <a:pt x="272" y="148"/>
                </a:lnTo>
                <a:lnTo>
                  <a:pt x="280" y="148"/>
                </a:lnTo>
                <a:lnTo>
                  <a:pt x="286" y="146"/>
                </a:lnTo>
                <a:lnTo>
                  <a:pt x="286" y="146"/>
                </a:lnTo>
                <a:lnTo>
                  <a:pt x="290" y="146"/>
                </a:lnTo>
                <a:lnTo>
                  <a:pt x="290" y="144"/>
                </a:lnTo>
                <a:lnTo>
                  <a:pt x="290" y="144"/>
                </a:lnTo>
                <a:lnTo>
                  <a:pt x="292" y="142"/>
                </a:lnTo>
                <a:lnTo>
                  <a:pt x="292" y="140"/>
                </a:lnTo>
                <a:lnTo>
                  <a:pt x="292" y="140"/>
                </a:lnTo>
                <a:lnTo>
                  <a:pt x="296" y="138"/>
                </a:lnTo>
                <a:lnTo>
                  <a:pt x="296" y="138"/>
                </a:lnTo>
                <a:lnTo>
                  <a:pt x="296" y="134"/>
                </a:lnTo>
                <a:lnTo>
                  <a:pt x="296" y="132"/>
                </a:lnTo>
                <a:lnTo>
                  <a:pt x="296" y="132"/>
                </a:lnTo>
                <a:lnTo>
                  <a:pt x="296" y="128"/>
                </a:lnTo>
                <a:lnTo>
                  <a:pt x="296" y="128"/>
                </a:lnTo>
                <a:lnTo>
                  <a:pt x="300" y="128"/>
                </a:lnTo>
                <a:lnTo>
                  <a:pt x="300" y="128"/>
                </a:lnTo>
                <a:lnTo>
                  <a:pt x="300" y="124"/>
                </a:lnTo>
                <a:lnTo>
                  <a:pt x="302" y="120"/>
                </a:lnTo>
                <a:lnTo>
                  <a:pt x="302" y="120"/>
                </a:lnTo>
                <a:lnTo>
                  <a:pt x="308" y="118"/>
                </a:lnTo>
                <a:lnTo>
                  <a:pt x="308" y="116"/>
                </a:lnTo>
                <a:lnTo>
                  <a:pt x="316" y="108"/>
                </a:lnTo>
                <a:lnTo>
                  <a:pt x="316" y="108"/>
                </a:lnTo>
                <a:lnTo>
                  <a:pt x="324" y="106"/>
                </a:lnTo>
                <a:lnTo>
                  <a:pt x="324" y="106"/>
                </a:lnTo>
                <a:lnTo>
                  <a:pt x="330" y="104"/>
                </a:lnTo>
                <a:lnTo>
                  <a:pt x="334" y="100"/>
                </a:lnTo>
                <a:lnTo>
                  <a:pt x="334" y="100"/>
                </a:lnTo>
                <a:lnTo>
                  <a:pt x="338" y="100"/>
                </a:lnTo>
                <a:lnTo>
                  <a:pt x="340" y="102"/>
                </a:lnTo>
                <a:lnTo>
                  <a:pt x="342" y="100"/>
                </a:lnTo>
                <a:lnTo>
                  <a:pt x="342" y="100"/>
                </a:lnTo>
                <a:lnTo>
                  <a:pt x="350" y="100"/>
                </a:lnTo>
                <a:lnTo>
                  <a:pt x="350" y="100"/>
                </a:lnTo>
                <a:lnTo>
                  <a:pt x="354" y="96"/>
                </a:lnTo>
                <a:lnTo>
                  <a:pt x="354" y="96"/>
                </a:lnTo>
                <a:lnTo>
                  <a:pt x="354" y="92"/>
                </a:lnTo>
                <a:lnTo>
                  <a:pt x="354" y="92"/>
                </a:lnTo>
                <a:lnTo>
                  <a:pt x="350" y="90"/>
                </a:lnTo>
                <a:lnTo>
                  <a:pt x="346" y="88"/>
                </a:lnTo>
                <a:lnTo>
                  <a:pt x="346" y="88"/>
                </a:lnTo>
                <a:lnTo>
                  <a:pt x="346" y="86"/>
                </a:lnTo>
                <a:lnTo>
                  <a:pt x="344" y="82"/>
                </a:lnTo>
                <a:lnTo>
                  <a:pt x="344" y="82"/>
                </a:lnTo>
                <a:lnTo>
                  <a:pt x="330" y="78"/>
                </a:lnTo>
                <a:lnTo>
                  <a:pt x="322" y="78"/>
                </a:lnTo>
                <a:lnTo>
                  <a:pt x="316" y="78"/>
                </a:lnTo>
                <a:lnTo>
                  <a:pt x="316" y="78"/>
                </a:lnTo>
                <a:lnTo>
                  <a:pt x="314" y="80"/>
                </a:lnTo>
                <a:lnTo>
                  <a:pt x="314" y="80"/>
                </a:lnTo>
                <a:lnTo>
                  <a:pt x="298" y="78"/>
                </a:lnTo>
                <a:lnTo>
                  <a:pt x="284" y="72"/>
                </a:lnTo>
                <a:lnTo>
                  <a:pt x="284" y="72"/>
                </a:lnTo>
                <a:lnTo>
                  <a:pt x="280" y="68"/>
                </a:lnTo>
                <a:lnTo>
                  <a:pt x="274" y="66"/>
                </a:lnTo>
                <a:lnTo>
                  <a:pt x="274" y="66"/>
                </a:lnTo>
                <a:lnTo>
                  <a:pt x="268" y="70"/>
                </a:lnTo>
                <a:lnTo>
                  <a:pt x="268" y="70"/>
                </a:lnTo>
                <a:lnTo>
                  <a:pt x="260" y="72"/>
                </a:lnTo>
                <a:lnTo>
                  <a:pt x="252" y="72"/>
                </a:lnTo>
                <a:lnTo>
                  <a:pt x="250" y="74"/>
                </a:lnTo>
                <a:lnTo>
                  <a:pt x="250" y="74"/>
                </a:lnTo>
                <a:lnTo>
                  <a:pt x="244" y="76"/>
                </a:lnTo>
                <a:lnTo>
                  <a:pt x="244" y="76"/>
                </a:lnTo>
                <a:lnTo>
                  <a:pt x="234" y="80"/>
                </a:lnTo>
                <a:lnTo>
                  <a:pt x="234" y="80"/>
                </a:lnTo>
                <a:lnTo>
                  <a:pt x="236" y="86"/>
                </a:lnTo>
                <a:lnTo>
                  <a:pt x="238" y="92"/>
                </a:lnTo>
                <a:lnTo>
                  <a:pt x="236" y="96"/>
                </a:lnTo>
                <a:lnTo>
                  <a:pt x="236" y="96"/>
                </a:lnTo>
                <a:lnTo>
                  <a:pt x="236" y="102"/>
                </a:lnTo>
                <a:lnTo>
                  <a:pt x="236" y="108"/>
                </a:lnTo>
                <a:lnTo>
                  <a:pt x="238" y="108"/>
                </a:lnTo>
                <a:lnTo>
                  <a:pt x="238" y="108"/>
                </a:lnTo>
                <a:lnTo>
                  <a:pt x="238" y="110"/>
                </a:lnTo>
                <a:lnTo>
                  <a:pt x="238" y="110"/>
                </a:lnTo>
                <a:lnTo>
                  <a:pt x="232" y="110"/>
                </a:lnTo>
                <a:lnTo>
                  <a:pt x="232" y="110"/>
                </a:lnTo>
                <a:lnTo>
                  <a:pt x="234" y="118"/>
                </a:lnTo>
                <a:lnTo>
                  <a:pt x="236" y="122"/>
                </a:lnTo>
                <a:lnTo>
                  <a:pt x="234" y="126"/>
                </a:lnTo>
                <a:lnTo>
                  <a:pt x="234" y="126"/>
                </a:lnTo>
                <a:lnTo>
                  <a:pt x="230" y="130"/>
                </a:lnTo>
                <a:lnTo>
                  <a:pt x="230" y="130"/>
                </a:lnTo>
                <a:lnTo>
                  <a:pt x="228" y="134"/>
                </a:lnTo>
                <a:lnTo>
                  <a:pt x="228" y="138"/>
                </a:lnTo>
                <a:lnTo>
                  <a:pt x="228" y="138"/>
                </a:lnTo>
                <a:lnTo>
                  <a:pt x="232" y="140"/>
                </a:lnTo>
                <a:lnTo>
                  <a:pt x="232" y="140"/>
                </a:lnTo>
                <a:lnTo>
                  <a:pt x="234" y="142"/>
                </a:lnTo>
                <a:lnTo>
                  <a:pt x="238" y="144"/>
                </a:lnTo>
                <a:lnTo>
                  <a:pt x="238" y="1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9" name="Freeform 238">
            <a:extLst>
              <a:ext uri="{FF2B5EF4-FFF2-40B4-BE49-F238E27FC236}">
                <a16:creationId xmlns:a16="http://schemas.microsoft.com/office/drawing/2014/main" id="{A004CC7C-0EB3-4984-9944-85B959584383}"/>
              </a:ext>
            </a:extLst>
          </p:cNvPr>
          <p:cNvSpPr>
            <a:spLocks/>
          </p:cNvSpPr>
          <p:nvPr userDrawn="1"/>
        </p:nvSpPr>
        <p:spPr bwMode="auto">
          <a:xfrm>
            <a:off x="6039503" y="3299698"/>
            <a:ext cx="185746" cy="319173"/>
          </a:xfrm>
          <a:custGeom>
            <a:avLst/>
            <a:gdLst>
              <a:gd name="T0" fmla="*/ 2 w 111"/>
              <a:gd name="T1" fmla="*/ 148 h 186"/>
              <a:gd name="T2" fmla="*/ 8 w 111"/>
              <a:gd name="T3" fmla="*/ 148 h 186"/>
              <a:gd name="T4" fmla="*/ 8 w 111"/>
              <a:gd name="T5" fmla="*/ 150 h 186"/>
              <a:gd name="T6" fmla="*/ 10 w 111"/>
              <a:gd name="T7" fmla="*/ 156 h 186"/>
              <a:gd name="T8" fmla="*/ 16 w 111"/>
              <a:gd name="T9" fmla="*/ 158 h 186"/>
              <a:gd name="T10" fmla="*/ 22 w 111"/>
              <a:gd name="T11" fmla="*/ 170 h 186"/>
              <a:gd name="T12" fmla="*/ 45 w 111"/>
              <a:gd name="T13" fmla="*/ 182 h 186"/>
              <a:gd name="T14" fmla="*/ 51 w 111"/>
              <a:gd name="T15" fmla="*/ 180 h 186"/>
              <a:gd name="T16" fmla="*/ 57 w 111"/>
              <a:gd name="T17" fmla="*/ 180 h 186"/>
              <a:gd name="T18" fmla="*/ 65 w 111"/>
              <a:gd name="T19" fmla="*/ 180 h 186"/>
              <a:gd name="T20" fmla="*/ 79 w 111"/>
              <a:gd name="T21" fmla="*/ 180 h 186"/>
              <a:gd name="T22" fmla="*/ 89 w 111"/>
              <a:gd name="T23" fmla="*/ 182 h 186"/>
              <a:gd name="T24" fmla="*/ 95 w 111"/>
              <a:gd name="T25" fmla="*/ 184 h 186"/>
              <a:gd name="T26" fmla="*/ 109 w 111"/>
              <a:gd name="T27" fmla="*/ 186 h 186"/>
              <a:gd name="T28" fmla="*/ 107 w 111"/>
              <a:gd name="T29" fmla="*/ 180 h 186"/>
              <a:gd name="T30" fmla="*/ 111 w 111"/>
              <a:gd name="T31" fmla="*/ 172 h 186"/>
              <a:gd name="T32" fmla="*/ 101 w 111"/>
              <a:gd name="T33" fmla="*/ 162 h 186"/>
              <a:gd name="T34" fmla="*/ 93 w 111"/>
              <a:gd name="T35" fmla="*/ 154 h 186"/>
              <a:gd name="T36" fmla="*/ 87 w 111"/>
              <a:gd name="T37" fmla="*/ 144 h 186"/>
              <a:gd name="T38" fmla="*/ 79 w 111"/>
              <a:gd name="T39" fmla="*/ 126 h 186"/>
              <a:gd name="T40" fmla="*/ 75 w 111"/>
              <a:gd name="T41" fmla="*/ 122 h 186"/>
              <a:gd name="T42" fmla="*/ 79 w 111"/>
              <a:gd name="T43" fmla="*/ 118 h 186"/>
              <a:gd name="T44" fmla="*/ 89 w 111"/>
              <a:gd name="T45" fmla="*/ 100 h 186"/>
              <a:gd name="T46" fmla="*/ 91 w 111"/>
              <a:gd name="T47" fmla="*/ 86 h 186"/>
              <a:gd name="T48" fmla="*/ 79 w 111"/>
              <a:gd name="T49" fmla="*/ 68 h 186"/>
              <a:gd name="T50" fmla="*/ 79 w 111"/>
              <a:gd name="T51" fmla="*/ 64 h 186"/>
              <a:gd name="T52" fmla="*/ 85 w 111"/>
              <a:gd name="T53" fmla="*/ 58 h 186"/>
              <a:gd name="T54" fmla="*/ 97 w 111"/>
              <a:gd name="T55" fmla="*/ 58 h 186"/>
              <a:gd name="T56" fmla="*/ 97 w 111"/>
              <a:gd name="T57" fmla="*/ 52 h 186"/>
              <a:gd name="T58" fmla="*/ 95 w 111"/>
              <a:gd name="T59" fmla="*/ 44 h 186"/>
              <a:gd name="T60" fmla="*/ 91 w 111"/>
              <a:gd name="T61" fmla="*/ 34 h 186"/>
              <a:gd name="T62" fmla="*/ 95 w 111"/>
              <a:gd name="T63" fmla="*/ 28 h 186"/>
              <a:gd name="T64" fmla="*/ 95 w 111"/>
              <a:gd name="T65" fmla="*/ 20 h 186"/>
              <a:gd name="T66" fmla="*/ 91 w 111"/>
              <a:gd name="T67" fmla="*/ 14 h 186"/>
              <a:gd name="T68" fmla="*/ 91 w 111"/>
              <a:gd name="T69" fmla="*/ 8 h 186"/>
              <a:gd name="T70" fmla="*/ 81 w 111"/>
              <a:gd name="T71" fmla="*/ 12 h 186"/>
              <a:gd name="T72" fmla="*/ 85 w 111"/>
              <a:gd name="T73" fmla="*/ 16 h 186"/>
              <a:gd name="T74" fmla="*/ 79 w 111"/>
              <a:gd name="T75" fmla="*/ 28 h 186"/>
              <a:gd name="T76" fmla="*/ 75 w 111"/>
              <a:gd name="T77" fmla="*/ 32 h 186"/>
              <a:gd name="T78" fmla="*/ 69 w 111"/>
              <a:gd name="T79" fmla="*/ 40 h 186"/>
              <a:gd name="T80" fmla="*/ 69 w 111"/>
              <a:gd name="T81" fmla="*/ 42 h 186"/>
              <a:gd name="T82" fmla="*/ 67 w 111"/>
              <a:gd name="T83" fmla="*/ 50 h 186"/>
              <a:gd name="T84" fmla="*/ 63 w 111"/>
              <a:gd name="T85" fmla="*/ 56 h 186"/>
              <a:gd name="T86" fmla="*/ 65 w 111"/>
              <a:gd name="T87" fmla="*/ 62 h 186"/>
              <a:gd name="T88" fmla="*/ 63 w 111"/>
              <a:gd name="T89" fmla="*/ 66 h 186"/>
              <a:gd name="T90" fmla="*/ 51 w 111"/>
              <a:gd name="T91" fmla="*/ 72 h 186"/>
              <a:gd name="T92" fmla="*/ 49 w 111"/>
              <a:gd name="T93" fmla="*/ 80 h 186"/>
              <a:gd name="T94" fmla="*/ 45 w 111"/>
              <a:gd name="T95" fmla="*/ 88 h 186"/>
              <a:gd name="T96" fmla="*/ 41 w 111"/>
              <a:gd name="T97" fmla="*/ 96 h 186"/>
              <a:gd name="T98" fmla="*/ 37 w 111"/>
              <a:gd name="T99" fmla="*/ 102 h 186"/>
              <a:gd name="T100" fmla="*/ 37 w 111"/>
              <a:gd name="T101" fmla="*/ 112 h 186"/>
              <a:gd name="T102" fmla="*/ 35 w 111"/>
              <a:gd name="T103" fmla="*/ 114 h 186"/>
              <a:gd name="T104" fmla="*/ 28 w 111"/>
              <a:gd name="T105" fmla="*/ 122 h 186"/>
              <a:gd name="T106" fmla="*/ 26 w 111"/>
              <a:gd name="T107" fmla="*/ 116 h 186"/>
              <a:gd name="T108" fmla="*/ 24 w 111"/>
              <a:gd name="T109" fmla="*/ 114 h 186"/>
              <a:gd name="T110" fmla="*/ 18 w 111"/>
              <a:gd name="T111" fmla="*/ 112 h 186"/>
              <a:gd name="T112" fmla="*/ 8 w 111"/>
              <a:gd name="T113" fmla="*/ 116 h 186"/>
              <a:gd name="T114" fmla="*/ 4 w 111"/>
              <a:gd name="T115" fmla="*/ 118 h 186"/>
              <a:gd name="T116" fmla="*/ 0 w 111"/>
              <a:gd name="T117" fmla="*/ 128 h 186"/>
              <a:gd name="T118" fmla="*/ 0 w 111"/>
              <a:gd name="T119" fmla="*/ 132 h 186"/>
              <a:gd name="T120" fmla="*/ 2 w 111"/>
              <a:gd name="T121" fmla="*/ 13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186">
                <a:moveTo>
                  <a:pt x="0" y="146"/>
                </a:moveTo>
                <a:lnTo>
                  <a:pt x="0" y="146"/>
                </a:lnTo>
                <a:lnTo>
                  <a:pt x="2" y="148"/>
                </a:lnTo>
                <a:lnTo>
                  <a:pt x="2" y="150"/>
                </a:lnTo>
                <a:lnTo>
                  <a:pt x="2" y="150"/>
                </a:lnTo>
                <a:lnTo>
                  <a:pt x="8" y="148"/>
                </a:lnTo>
                <a:lnTo>
                  <a:pt x="8" y="148"/>
                </a:lnTo>
                <a:lnTo>
                  <a:pt x="8" y="148"/>
                </a:lnTo>
                <a:lnTo>
                  <a:pt x="8" y="150"/>
                </a:lnTo>
                <a:lnTo>
                  <a:pt x="8" y="150"/>
                </a:lnTo>
                <a:lnTo>
                  <a:pt x="8" y="154"/>
                </a:lnTo>
                <a:lnTo>
                  <a:pt x="10" y="156"/>
                </a:lnTo>
                <a:lnTo>
                  <a:pt x="18" y="154"/>
                </a:lnTo>
                <a:lnTo>
                  <a:pt x="18" y="154"/>
                </a:lnTo>
                <a:lnTo>
                  <a:pt x="16" y="158"/>
                </a:lnTo>
                <a:lnTo>
                  <a:pt x="16" y="158"/>
                </a:lnTo>
                <a:lnTo>
                  <a:pt x="20" y="170"/>
                </a:lnTo>
                <a:lnTo>
                  <a:pt x="22" y="170"/>
                </a:lnTo>
                <a:lnTo>
                  <a:pt x="22" y="170"/>
                </a:lnTo>
                <a:lnTo>
                  <a:pt x="20" y="182"/>
                </a:lnTo>
                <a:lnTo>
                  <a:pt x="45" y="182"/>
                </a:lnTo>
                <a:lnTo>
                  <a:pt x="45" y="182"/>
                </a:lnTo>
                <a:lnTo>
                  <a:pt x="47" y="182"/>
                </a:lnTo>
                <a:lnTo>
                  <a:pt x="51" y="180"/>
                </a:lnTo>
                <a:lnTo>
                  <a:pt x="51" y="180"/>
                </a:lnTo>
                <a:lnTo>
                  <a:pt x="55" y="180"/>
                </a:lnTo>
                <a:lnTo>
                  <a:pt x="57" y="180"/>
                </a:lnTo>
                <a:lnTo>
                  <a:pt x="59" y="180"/>
                </a:lnTo>
                <a:lnTo>
                  <a:pt x="59" y="180"/>
                </a:lnTo>
                <a:lnTo>
                  <a:pt x="65" y="180"/>
                </a:lnTo>
                <a:lnTo>
                  <a:pt x="69" y="180"/>
                </a:lnTo>
                <a:lnTo>
                  <a:pt x="79" y="180"/>
                </a:lnTo>
                <a:lnTo>
                  <a:pt x="79" y="180"/>
                </a:lnTo>
                <a:lnTo>
                  <a:pt x="85" y="180"/>
                </a:lnTo>
                <a:lnTo>
                  <a:pt x="89" y="182"/>
                </a:lnTo>
                <a:lnTo>
                  <a:pt x="89" y="182"/>
                </a:lnTo>
                <a:lnTo>
                  <a:pt x="91" y="184"/>
                </a:lnTo>
                <a:lnTo>
                  <a:pt x="95" y="184"/>
                </a:lnTo>
                <a:lnTo>
                  <a:pt x="95" y="184"/>
                </a:lnTo>
                <a:lnTo>
                  <a:pt x="103" y="184"/>
                </a:lnTo>
                <a:lnTo>
                  <a:pt x="103" y="184"/>
                </a:lnTo>
                <a:lnTo>
                  <a:pt x="109" y="186"/>
                </a:lnTo>
                <a:lnTo>
                  <a:pt x="109" y="186"/>
                </a:lnTo>
                <a:lnTo>
                  <a:pt x="107" y="180"/>
                </a:lnTo>
                <a:lnTo>
                  <a:pt x="107" y="180"/>
                </a:lnTo>
                <a:lnTo>
                  <a:pt x="109" y="174"/>
                </a:lnTo>
                <a:lnTo>
                  <a:pt x="111" y="172"/>
                </a:lnTo>
                <a:lnTo>
                  <a:pt x="111" y="172"/>
                </a:lnTo>
                <a:lnTo>
                  <a:pt x="107" y="168"/>
                </a:lnTo>
                <a:lnTo>
                  <a:pt x="101" y="162"/>
                </a:lnTo>
                <a:lnTo>
                  <a:pt x="101" y="162"/>
                </a:lnTo>
                <a:lnTo>
                  <a:pt x="99" y="158"/>
                </a:lnTo>
                <a:lnTo>
                  <a:pt x="93" y="154"/>
                </a:lnTo>
                <a:lnTo>
                  <a:pt x="93" y="154"/>
                </a:lnTo>
                <a:lnTo>
                  <a:pt x="91" y="148"/>
                </a:lnTo>
                <a:lnTo>
                  <a:pt x="87" y="144"/>
                </a:lnTo>
                <a:lnTo>
                  <a:pt x="87" y="144"/>
                </a:lnTo>
                <a:lnTo>
                  <a:pt x="81" y="130"/>
                </a:lnTo>
                <a:lnTo>
                  <a:pt x="81" y="130"/>
                </a:lnTo>
                <a:lnTo>
                  <a:pt x="79" y="126"/>
                </a:lnTo>
                <a:lnTo>
                  <a:pt x="77" y="124"/>
                </a:lnTo>
                <a:lnTo>
                  <a:pt x="77" y="124"/>
                </a:lnTo>
                <a:lnTo>
                  <a:pt x="75" y="122"/>
                </a:lnTo>
                <a:lnTo>
                  <a:pt x="75" y="122"/>
                </a:lnTo>
                <a:lnTo>
                  <a:pt x="79" y="118"/>
                </a:lnTo>
                <a:lnTo>
                  <a:pt x="79" y="118"/>
                </a:lnTo>
                <a:lnTo>
                  <a:pt x="83" y="114"/>
                </a:lnTo>
                <a:lnTo>
                  <a:pt x="85" y="108"/>
                </a:lnTo>
                <a:lnTo>
                  <a:pt x="89" y="100"/>
                </a:lnTo>
                <a:lnTo>
                  <a:pt x="93" y="92"/>
                </a:lnTo>
                <a:lnTo>
                  <a:pt x="93" y="92"/>
                </a:lnTo>
                <a:lnTo>
                  <a:pt x="91" y="86"/>
                </a:lnTo>
                <a:lnTo>
                  <a:pt x="89" y="80"/>
                </a:lnTo>
                <a:lnTo>
                  <a:pt x="89" y="80"/>
                </a:lnTo>
                <a:lnTo>
                  <a:pt x="79" y="68"/>
                </a:lnTo>
                <a:lnTo>
                  <a:pt x="79" y="68"/>
                </a:lnTo>
                <a:lnTo>
                  <a:pt x="79" y="66"/>
                </a:lnTo>
                <a:lnTo>
                  <a:pt x="79" y="64"/>
                </a:lnTo>
                <a:lnTo>
                  <a:pt x="81" y="60"/>
                </a:lnTo>
                <a:lnTo>
                  <a:pt x="81" y="60"/>
                </a:lnTo>
                <a:lnTo>
                  <a:pt x="85" y="58"/>
                </a:lnTo>
                <a:lnTo>
                  <a:pt x="91" y="58"/>
                </a:lnTo>
                <a:lnTo>
                  <a:pt x="97" y="58"/>
                </a:lnTo>
                <a:lnTo>
                  <a:pt x="97" y="58"/>
                </a:lnTo>
                <a:lnTo>
                  <a:pt x="97" y="56"/>
                </a:lnTo>
                <a:lnTo>
                  <a:pt x="97" y="52"/>
                </a:lnTo>
                <a:lnTo>
                  <a:pt x="97" y="52"/>
                </a:lnTo>
                <a:lnTo>
                  <a:pt x="95" y="48"/>
                </a:lnTo>
                <a:lnTo>
                  <a:pt x="95" y="44"/>
                </a:lnTo>
                <a:lnTo>
                  <a:pt x="95" y="44"/>
                </a:lnTo>
                <a:lnTo>
                  <a:pt x="93" y="40"/>
                </a:lnTo>
                <a:lnTo>
                  <a:pt x="91" y="34"/>
                </a:lnTo>
                <a:lnTo>
                  <a:pt x="91" y="34"/>
                </a:lnTo>
                <a:lnTo>
                  <a:pt x="93" y="30"/>
                </a:lnTo>
                <a:lnTo>
                  <a:pt x="95" y="28"/>
                </a:lnTo>
                <a:lnTo>
                  <a:pt x="95" y="28"/>
                </a:lnTo>
                <a:lnTo>
                  <a:pt x="95" y="24"/>
                </a:lnTo>
                <a:lnTo>
                  <a:pt x="95" y="24"/>
                </a:lnTo>
                <a:lnTo>
                  <a:pt x="95" y="20"/>
                </a:lnTo>
                <a:lnTo>
                  <a:pt x="91" y="16"/>
                </a:lnTo>
                <a:lnTo>
                  <a:pt x="91" y="16"/>
                </a:lnTo>
                <a:lnTo>
                  <a:pt x="91" y="14"/>
                </a:lnTo>
                <a:lnTo>
                  <a:pt x="91" y="12"/>
                </a:lnTo>
                <a:lnTo>
                  <a:pt x="91" y="8"/>
                </a:lnTo>
                <a:lnTo>
                  <a:pt x="91" y="8"/>
                </a:lnTo>
                <a:lnTo>
                  <a:pt x="81" y="0"/>
                </a:lnTo>
                <a:lnTo>
                  <a:pt x="81" y="12"/>
                </a:lnTo>
                <a:lnTo>
                  <a:pt x="81" y="12"/>
                </a:lnTo>
                <a:lnTo>
                  <a:pt x="83" y="14"/>
                </a:lnTo>
                <a:lnTo>
                  <a:pt x="85" y="16"/>
                </a:lnTo>
                <a:lnTo>
                  <a:pt x="85" y="16"/>
                </a:lnTo>
                <a:lnTo>
                  <a:pt x="83" y="24"/>
                </a:lnTo>
                <a:lnTo>
                  <a:pt x="81" y="28"/>
                </a:lnTo>
                <a:lnTo>
                  <a:pt x="79" y="28"/>
                </a:lnTo>
                <a:lnTo>
                  <a:pt x="79" y="28"/>
                </a:lnTo>
                <a:lnTo>
                  <a:pt x="77" y="30"/>
                </a:lnTo>
                <a:lnTo>
                  <a:pt x="75" y="32"/>
                </a:lnTo>
                <a:lnTo>
                  <a:pt x="75" y="32"/>
                </a:lnTo>
                <a:lnTo>
                  <a:pt x="73" y="36"/>
                </a:lnTo>
                <a:lnTo>
                  <a:pt x="69" y="40"/>
                </a:lnTo>
                <a:lnTo>
                  <a:pt x="69" y="40"/>
                </a:lnTo>
                <a:lnTo>
                  <a:pt x="69" y="42"/>
                </a:lnTo>
                <a:lnTo>
                  <a:pt x="69" y="42"/>
                </a:lnTo>
                <a:lnTo>
                  <a:pt x="69" y="46"/>
                </a:lnTo>
                <a:lnTo>
                  <a:pt x="69" y="46"/>
                </a:lnTo>
                <a:lnTo>
                  <a:pt x="67" y="50"/>
                </a:lnTo>
                <a:lnTo>
                  <a:pt x="65" y="52"/>
                </a:lnTo>
                <a:lnTo>
                  <a:pt x="65" y="52"/>
                </a:lnTo>
                <a:lnTo>
                  <a:pt x="63" y="56"/>
                </a:lnTo>
                <a:lnTo>
                  <a:pt x="63" y="58"/>
                </a:lnTo>
                <a:lnTo>
                  <a:pt x="63" y="58"/>
                </a:lnTo>
                <a:lnTo>
                  <a:pt x="65" y="62"/>
                </a:lnTo>
                <a:lnTo>
                  <a:pt x="65" y="64"/>
                </a:lnTo>
                <a:lnTo>
                  <a:pt x="63" y="66"/>
                </a:lnTo>
                <a:lnTo>
                  <a:pt x="63" y="66"/>
                </a:lnTo>
                <a:lnTo>
                  <a:pt x="53" y="70"/>
                </a:lnTo>
                <a:lnTo>
                  <a:pt x="53" y="70"/>
                </a:lnTo>
                <a:lnTo>
                  <a:pt x="51" y="72"/>
                </a:lnTo>
                <a:lnTo>
                  <a:pt x="49" y="76"/>
                </a:lnTo>
                <a:lnTo>
                  <a:pt x="49" y="76"/>
                </a:lnTo>
                <a:lnTo>
                  <a:pt x="49" y="80"/>
                </a:lnTo>
                <a:lnTo>
                  <a:pt x="47" y="84"/>
                </a:lnTo>
                <a:lnTo>
                  <a:pt x="47" y="84"/>
                </a:lnTo>
                <a:lnTo>
                  <a:pt x="45" y="88"/>
                </a:lnTo>
                <a:lnTo>
                  <a:pt x="45" y="92"/>
                </a:lnTo>
                <a:lnTo>
                  <a:pt x="45" y="92"/>
                </a:lnTo>
                <a:lnTo>
                  <a:pt x="41" y="96"/>
                </a:lnTo>
                <a:lnTo>
                  <a:pt x="39" y="98"/>
                </a:lnTo>
                <a:lnTo>
                  <a:pt x="39" y="98"/>
                </a:lnTo>
                <a:lnTo>
                  <a:pt x="37" y="102"/>
                </a:lnTo>
                <a:lnTo>
                  <a:pt x="35" y="108"/>
                </a:lnTo>
                <a:lnTo>
                  <a:pt x="35" y="108"/>
                </a:lnTo>
                <a:lnTo>
                  <a:pt x="37" y="112"/>
                </a:lnTo>
                <a:lnTo>
                  <a:pt x="37" y="112"/>
                </a:lnTo>
                <a:lnTo>
                  <a:pt x="35" y="114"/>
                </a:lnTo>
                <a:lnTo>
                  <a:pt x="35" y="114"/>
                </a:lnTo>
                <a:lnTo>
                  <a:pt x="32" y="116"/>
                </a:lnTo>
                <a:lnTo>
                  <a:pt x="30" y="120"/>
                </a:lnTo>
                <a:lnTo>
                  <a:pt x="28" y="122"/>
                </a:lnTo>
                <a:lnTo>
                  <a:pt x="24" y="122"/>
                </a:lnTo>
                <a:lnTo>
                  <a:pt x="24" y="122"/>
                </a:lnTo>
                <a:lnTo>
                  <a:pt x="26" y="116"/>
                </a:lnTo>
                <a:lnTo>
                  <a:pt x="24" y="114"/>
                </a:lnTo>
                <a:lnTo>
                  <a:pt x="24" y="114"/>
                </a:lnTo>
                <a:lnTo>
                  <a:pt x="24" y="114"/>
                </a:lnTo>
                <a:lnTo>
                  <a:pt x="18" y="112"/>
                </a:lnTo>
                <a:lnTo>
                  <a:pt x="18" y="112"/>
                </a:lnTo>
                <a:lnTo>
                  <a:pt x="18" y="112"/>
                </a:lnTo>
                <a:lnTo>
                  <a:pt x="14" y="114"/>
                </a:lnTo>
                <a:lnTo>
                  <a:pt x="14" y="114"/>
                </a:lnTo>
                <a:lnTo>
                  <a:pt x="8" y="116"/>
                </a:lnTo>
                <a:lnTo>
                  <a:pt x="6" y="116"/>
                </a:lnTo>
                <a:lnTo>
                  <a:pt x="4" y="118"/>
                </a:lnTo>
                <a:lnTo>
                  <a:pt x="4" y="118"/>
                </a:lnTo>
                <a:lnTo>
                  <a:pt x="2" y="124"/>
                </a:lnTo>
                <a:lnTo>
                  <a:pt x="2" y="126"/>
                </a:lnTo>
                <a:lnTo>
                  <a:pt x="0" y="128"/>
                </a:lnTo>
                <a:lnTo>
                  <a:pt x="0" y="128"/>
                </a:lnTo>
                <a:lnTo>
                  <a:pt x="0" y="128"/>
                </a:lnTo>
                <a:lnTo>
                  <a:pt x="0" y="132"/>
                </a:lnTo>
                <a:lnTo>
                  <a:pt x="0" y="132"/>
                </a:lnTo>
                <a:lnTo>
                  <a:pt x="0" y="134"/>
                </a:lnTo>
                <a:lnTo>
                  <a:pt x="2" y="136"/>
                </a:lnTo>
                <a:lnTo>
                  <a:pt x="0" y="142"/>
                </a:lnTo>
                <a:lnTo>
                  <a:pt x="0" y="1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0" name="Freeform 239">
            <a:extLst>
              <a:ext uri="{FF2B5EF4-FFF2-40B4-BE49-F238E27FC236}">
                <a16:creationId xmlns:a16="http://schemas.microsoft.com/office/drawing/2014/main" id="{C1895643-827E-4E06-90EA-F143D3FACD8B}"/>
              </a:ext>
            </a:extLst>
          </p:cNvPr>
          <p:cNvSpPr>
            <a:spLocks/>
          </p:cNvSpPr>
          <p:nvPr userDrawn="1"/>
        </p:nvSpPr>
        <p:spPr bwMode="auto">
          <a:xfrm>
            <a:off x="8150826" y="3261947"/>
            <a:ext cx="117640" cy="137279"/>
          </a:xfrm>
          <a:custGeom>
            <a:avLst/>
            <a:gdLst>
              <a:gd name="T0" fmla="*/ 6 w 70"/>
              <a:gd name="T1" fmla="*/ 60 h 80"/>
              <a:gd name="T2" fmla="*/ 6 w 70"/>
              <a:gd name="T3" fmla="*/ 60 h 80"/>
              <a:gd name="T4" fmla="*/ 8 w 70"/>
              <a:gd name="T5" fmla="*/ 66 h 80"/>
              <a:gd name="T6" fmla="*/ 10 w 70"/>
              <a:gd name="T7" fmla="*/ 66 h 80"/>
              <a:gd name="T8" fmla="*/ 10 w 70"/>
              <a:gd name="T9" fmla="*/ 66 h 80"/>
              <a:gd name="T10" fmla="*/ 12 w 70"/>
              <a:gd name="T11" fmla="*/ 74 h 80"/>
              <a:gd name="T12" fmla="*/ 12 w 70"/>
              <a:gd name="T13" fmla="*/ 74 h 80"/>
              <a:gd name="T14" fmla="*/ 18 w 70"/>
              <a:gd name="T15" fmla="*/ 72 h 80"/>
              <a:gd name="T16" fmla="*/ 18 w 70"/>
              <a:gd name="T17" fmla="*/ 72 h 80"/>
              <a:gd name="T18" fmla="*/ 18 w 70"/>
              <a:gd name="T19" fmla="*/ 78 h 80"/>
              <a:gd name="T20" fmla="*/ 18 w 70"/>
              <a:gd name="T21" fmla="*/ 78 h 80"/>
              <a:gd name="T22" fmla="*/ 24 w 70"/>
              <a:gd name="T23" fmla="*/ 78 h 80"/>
              <a:gd name="T24" fmla="*/ 26 w 70"/>
              <a:gd name="T25" fmla="*/ 80 h 80"/>
              <a:gd name="T26" fmla="*/ 32 w 70"/>
              <a:gd name="T27" fmla="*/ 72 h 80"/>
              <a:gd name="T28" fmla="*/ 36 w 70"/>
              <a:gd name="T29" fmla="*/ 70 h 80"/>
              <a:gd name="T30" fmla="*/ 38 w 70"/>
              <a:gd name="T31" fmla="*/ 66 h 80"/>
              <a:gd name="T32" fmla="*/ 46 w 70"/>
              <a:gd name="T33" fmla="*/ 66 h 80"/>
              <a:gd name="T34" fmla="*/ 52 w 70"/>
              <a:gd name="T35" fmla="*/ 68 h 80"/>
              <a:gd name="T36" fmla="*/ 54 w 70"/>
              <a:gd name="T37" fmla="*/ 62 h 80"/>
              <a:gd name="T38" fmla="*/ 56 w 70"/>
              <a:gd name="T39" fmla="*/ 60 h 80"/>
              <a:gd name="T40" fmla="*/ 62 w 70"/>
              <a:gd name="T41" fmla="*/ 58 h 80"/>
              <a:gd name="T42" fmla="*/ 66 w 70"/>
              <a:gd name="T43" fmla="*/ 54 h 80"/>
              <a:gd name="T44" fmla="*/ 68 w 70"/>
              <a:gd name="T45" fmla="*/ 48 h 80"/>
              <a:gd name="T46" fmla="*/ 68 w 70"/>
              <a:gd name="T47" fmla="*/ 40 h 80"/>
              <a:gd name="T48" fmla="*/ 70 w 70"/>
              <a:gd name="T49" fmla="*/ 34 h 80"/>
              <a:gd name="T50" fmla="*/ 70 w 70"/>
              <a:gd name="T51" fmla="*/ 26 h 80"/>
              <a:gd name="T52" fmla="*/ 68 w 70"/>
              <a:gd name="T53" fmla="*/ 18 h 80"/>
              <a:gd name="T54" fmla="*/ 66 w 70"/>
              <a:gd name="T55" fmla="*/ 12 h 80"/>
              <a:gd name="T56" fmla="*/ 66 w 70"/>
              <a:gd name="T57" fmla="*/ 4 h 80"/>
              <a:gd name="T58" fmla="*/ 60 w 70"/>
              <a:gd name="T59" fmla="*/ 6 h 80"/>
              <a:gd name="T60" fmla="*/ 56 w 70"/>
              <a:gd name="T61" fmla="*/ 2 h 80"/>
              <a:gd name="T62" fmla="*/ 52 w 70"/>
              <a:gd name="T63" fmla="*/ 0 h 80"/>
              <a:gd name="T64" fmla="*/ 48 w 70"/>
              <a:gd name="T65" fmla="*/ 6 h 80"/>
              <a:gd name="T66" fmla="*/ 48 w 70"/>
              <a:gd name="T67" fmla="*/ 12 h 80"/>
              <a:gd name="T68" fmla="*/ 44 w 70"/>
              <a:gd name="T69" fmla="*/ 14 h 80"/>
              <a:gd name="T70" fmla="*/ 40 w 70"/>
              <a:gd name="T71" fmla="*/ 10 h 80"/>
              <a:gd name="T72" fmla="*/ 38 w 70"/>
              <a:gd name="T73" fmla="*/ 8 h 80"/>
              <a:gd name="T74" fmla="*/ 30 w 70"/>
              <a:gd name="T75" fmla="*/ 6 h 80"/>
              <a:gd name="T76" fmla="*/ 26 w 70"/>
              <a:gd name="T77" fmla="*/ 10 h 80"/>
              <a:gd name="T78" fmla="*/ 20 w 70"/>
              <a:gd name="T79" fmla="*/ 14 h 80"/>
              <a:gd name="T80" fmla="*/ 16 w 70"/>
              <a:gd name="T81" fmla="*/ 14 h 80"/>
              <a:gd name="T82" fmla="*/ 10 w 70"/>
              <a:gd name="T83" fmla="*/ 14 h 80"/>
              <a:gd name="T84" fmla="*/ 4 w 70"/>
              <a:gd name="T85" fmla="*/ 18 h 80"/>
              <a:gd name="T86" fmla="*/ 0 w 70"/>
              <a:gd name="T87" fmla="*/ 20 h 80"/>
              <a:gd name="T88" fmla="*/ 0 w 70"/>
              <a:gd name="T89" fmla="*/ 28 h 80"/>
              <a:gd name="T90" fmla="*/ 0 w 70"/>
              <a:gd name="T91" fmla="*/ 38 h 80"/>
              <a:gd name="T92" fmla="*/ 4 w 70"/>
              <a:gd name="T93" fmla="*/ 44 h 80"/>
              <a:gd name="T94" fmla="*/ 6 w 70"/>
              <a:gd name="T95" fmla="*/ 52 h 80"/>
              <a:gd name="T96" fmla="*/ 6 w 70"/>
              <a:gd name="T97"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80">
                <a:moveTo>
                  <a:pt x="6" y="60"/>
                </a:moveTo>
                <a:lnTo>
                  <a:pt x="6" y="60"/>
                </a:lnTo>
                <a:lnTo>
                  <a:pt x="8" y="66"/>
                </a:lnTo>
                <a:lnTo>
                  <a:pt x="10" y="66"/>
                </a:lnTo>
                <a:lnTo>
                  <a:pt x="10" y="66"/>
                </a:lnTo>
                <a:lnTo>
                  <a:pt x="12" y="74"/>
                </a:lnTo>
                <a:lnTo>
                  <a:pt x="12" y="74"/>
                </a:lnTo>
                <a:lnTo>
                  <a:pt x="18" y="72"/>
                </a:lnTo>
                <a:lnTo>
                  <a:pt x="18" y="72"/>
                </a:lnTo>
                <a:lnTo>
                  <a:pt x="18" y="78"/>
                </a:lnTo>
                <a:lnTo>
                  <a:pt x="18" y="78"/>
                </a:lnTo>
                <a:lnTo>
                  <a:pt x="24" y="78"/>
                </a:lnTo>
                <a:lnTo>
                  <a:pt x="26" y="80"/>
                </a:lnTo>
                <a:lnTo>
                  <a:pt x="32" y="72"/>
                </a:lnTo>
                <a:lnTo>
                  <a:pt x="36" y="70"/>
                </a:lnTo>
                <a:lnTo>
                  <a:pt x="38" y="66"/>
                </a:lnTo>
                <a:lnTo>
                  <a:pt x="46" y="66"/>
                </a:lnTo>
                <a:lnTo>
                  <a:pt x="52" y="68"/>
                </a:lnTo>
                <a:lnTo>
                  <a:pt x="54" y="62"/>
                </a:lnTo>
                <a:lnTo>
                  <a:pt x="56" y="60"/>
                </a:lnTo>
                <a:lnTo>
                  <a:pt x="62" y="58"/>
                </a:lnTo>
                <a:lnTo>
                  <a:pt x="66" y="54"/>
                </a:lnTo>
                <a:lnTo>
                  <a:pt x="68" y="48"/>
                </a:lnTo>
                <a:lnTo>
                  <a:pt x="68" y="40"/>
                </a:lnTo>
                <a:lnTo>
                  <a:pt x="70" y="34"/>
                </a:lnTo>
                <a:lnTo>
                  <a:pt x="70" y="26"/>
                </a:lnTo>
                <a:lnTo>
                  <a:pt x="68" y="18"/>
                </a:lnTo>
                <a:lnTo>
                  <a:pt x="66" y="12"/>
                </a:lnTo>
                <a:lnTo>
                  <a:pt x="66" y="4"/>
                </a:lnTo>
                <a:lnTo>
                  <a:pt x="60" y="6"/>
                </a:lnTo>
                <a:lnTo>
                  <a:pt x="56" y="2"/>
                </a:lnTo>
                <a:lnTo>
                  <a:pt x="52" y="0"/>
                </a:lnTo>
                <a:lnTo>
                  <a:pt x="48" y="6"/>
                </a:lnTo>
                <a:lnTo>
                  <a:pt x="48" y="12"/>
                </a:lnTo>
                <a:lnTo>
                  <a:pt x="44" y="14"/>
                </a:lnTo>
                <a:lnTo>
                  <a:pt x="40" y="10"/>
                </a:lnTo>
                <a:lnTo>
                  <a:pt x="38" y="8"/>
                </a:lnTo>
                <a:lnTo>
                  <a:pt x="30" y="6"/>
                </a:lnTo>
                <a:lnTo>
                  <a:pt x="26" y="10"/>
                </a:lnTo>
                <a:lnTo>
                  <a:pt x="20" y="14"/>
                </a:lnTo>
                <a:lnTo>
                  <a:pt x="16" y="14"/>
                </a:lnTo>
                <a:lnTo>
                  <a:pt x="10" y="14"/>
                </a:lnTo>
                <a:lnTo>
                  <a:pt x="4" y="18"/>
                </a:lnTo>
                <a:lnTo>
                  <a:pt x="0" y="20"/>
                </a:lnTo>
                <a:lnTo>
                  <a:pt x="0" y="28"/>
                </a:lnTo>
                <a:lnTo>
                  <a:pt x="0" y="38"/>
                </a:lnTo>
                <a:lnTo>
                  <a:pt x="4" y="44"/>
                </a:lnTo>
                <a:lnTo>
                  <a:pt x="6" y="52"/>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1" name="Freeform 240">
            <a:extLst>
              <a:ext uri="{FF2B5EF4-FFF2-40B4-BE49-F238E27FC236}">
                <a16:creationId xmlns:a16="http://schemas.microsoft.com/office/drawing/2014/main" id="{7A726683-8DBF-485E-B5E0-C5516FC574A7}"/>
              </a:ext>
            </a:extLst>
          </p:cNvPr>
          <p:cNvSpPr>
            <a:spLocks/>
          </p:cNvSpPr>
          <p:nvPr userDrawn="1"/>
        </p:nvSpPr>
        <p:spPr bwMode="auto">
          <a:xfrm>
            <a:off x="6506966" y="3769879"/>
            <a:ext cx="51081" cy="58344"/>
          </a:xfrm>
          <a:custGeom>
            <a:avLst/>
            <a:gdLst>
              <a:gd name="T0" fmla="*/ 0 w 30"/>
              <a:gd name="T1" fmla="*/ 2 h 34"/>
              <a:gd name="T2" fmla="*/ 0 w 30"/>
              <a:gd name="T3" fmla="*/ 2 h 34"/>
              <a:gd name="T4" fmla="*/ 2 w 30"/>
              <a:gd name="T5" fmla="*/ 2 h 34"/>
              <a:gd name="T6" fmla="*/ 4 w 30"/>
              <a:gd name="T7" fmla="*/ 0 h 34"/>
              <a:gd name="T8" fmla="*/ 6 w 30"/>
              <a:gd name="T9" fmla="*/ 2 h 34"/>
              <a:gd name="T10" fmla="*/ 6 w 30"/>
              <a:gd name="T11" fmla="*/ 2 h 34"/>
              <a:gd name="T12" fmla="*/ 8 w 30"/>
              <a:gd name="T13" fmla="*/ 8 h 34"/>
              <a:gd name="T14" fmla="*/ 8 w 30"/>
              <a:gd name="T15" fmla="*/ 8 h 34"/>
              <a:gd name="T16" fmla="*/ 12 w 30"/>
              <a:gd name="T17" fmla="*/ 6 h 34"/>
              <a:gd name="T18" fmla="*/ 12 w 30"/>
              <a:gd name="T19" fmla="*/ 6 h 34"/>
              <a:gd name="T20" fmla="*/ 14 w 30"/>
              <a:gd name="T21" fmla="*/ 4 h 34"/>
              <a:gd name="T22" fmla="*/ 14 w 30"/>
              <a:gd name="T23" fmla="*/ 2 h 34"/>
              <a:gd name="T24" fmla="*/ 14 w 30"/>
              <a:gd name="T25" fmla="*/ 0 h 34"/>
              <a:gd name="T26" fmla="*/ 16 w 30"/>
              <a:gd name="T27" fmla="*/ 0 h 34"/>
              <a:gd name="T28" fmla="*/ 16 w 30"/>
              <a:gd name="T29" fmla="*/ 0 h 34"/>
              <a:gd name="T30" fmla="*/ 22 w 30"/>
              <a:gd name="T31" fmla="*/ 2 h 34"/>
              <a:gd name="T32" fmla="*/ 24 w 30"/>
              <a:gd name="T33" fmla="*/ 2 h 34"/>
              <a:gd name="T34" fmla="*/ 24 w 30"/>
              <a:gd name="T35" fmla="*/ 2 h 34"/>
              <a:gd name="T36" fmla="*/ 24 w 30"/>
              <a:gd name="T37" fmla="*/ 6 h 34"/>
              <a:gd name="T38" fmla="*/ 24 w 30"/>
              <a:gd name="T39" fmla="*/ 8 h 34"/>
              <a:gd name="T40" fmla="*/ 26 w 30"/>
              <a:gd name="T41" fmla="*/ 12 h 34"/>
              <a:gd name="T42" fmla="*/ 26 w 30"/>
              <a:gd name="T43" fmla="*/ 12 h 34"/>
              <a:gd name="T44" fmla="*/ 30 w 30"/>
              <a:gd name="T45" fmla="*/ 12 h 34"/>
              <a:gd name="T46" fmla="*/ 30 w 30"/>
              <a:gd name="T47" fmla="*/ 12 h 34"/>
              <a:gd name="T48" fmla="*/ 30 w 30"/>
              <a:gd name="T49" fmla="*/ 12 h 34"/>
              <a:gd name="T50" fmla="*/ 28 w 30"/>
              <a:gd name="T51" fmla="*/ 18 h 34"/>
              <a:gd name="T52" fmla="*/ 28 w 30"/>
              <a:gd name="T53" fmla="*/ 18 h 34"/>
              <a:gd name="T54" fmla="*/ 22 w 30"/>
              <a:gd name="T55" fmla="*/ 22 h 34"/>
              <a:gd name="T56" fmla="*/ 20 w 30"/>
              <a:gd name="T57" fmla="*/ 30 h 34"/>
              <a:gd name="T58" fmla="*/ 20 w 30"/>
              <a:gd name="T59" fmla="*/ 30 h 34"/>
              <a:gd name="T60" fmla="*/ 14 w 30"/>
              <a:gd name="T61" fmla="*/ 34 h 34"/>
              <a:gd name="T62" fmla="*/ 14 w 30"/>
              <a:gd name="T63" fmla="*/ 34 h 34"/>
              <a:gd name="T64" fmla="*/ 8 w 30"/>
              <a:gd name="T65" fmla="*/ 32 h 34"/>
              <a:gd name="T66" fmla="*/ 8 w 30"/>
              <a:gd name="T67" fmla="*/ 32 h 34"/>
              <a:gd name="T68" fmla="*/ 8 w 30"/>
              <a:gd name="T69" fmla="*/ 10 h 34"/>
              <a:gd name="T70" fmla="*/ 8 w 30"/>
              <a:gd name="T71" fmla="*/ 10 h 34"/>
              <a:gd name="T72" fmla="*/ 2 w 30"/>
              <a:gd name="T73" fmla="*/ 8 h 34"/>
              <a:gd name="T74" fmla="*/ 2 w 30"/>
              <a:gd name="T75" fmla="*/ 8 h 34"/>
              <a:gd name="T76" fmla="*/ 0 w 30"/>
              <a:gd name="T77" fmla="*/ 4 h 34"/>
              <a:gd name="T78" fmla="*/ 0 w 30"/>
              <a:gd name="T7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34">
                <a:moveTo>
                  <a:pt x="0" y="2"/>
                </a:moveTo>
                <a:lnTo>
                  <a:pt x="0" y="2"/>
                </a:lnTo>
                <a:lnTo>
                  <a:pt x="2" y="2"/>
                </a:lnTo>
                <a:lnTo>
                  <a:pt x="4" y="0"/>
                </a:lnTo>
                <a:lnTo>
                  <a:pt x="6" y="2"/>
                </a:lnTo>
                <a:lnTo>
                  <a:pt x="6" y="2"/>
                </a:lnTo>
                <a:lnTo>
                  <a:pt x="8" y="8"/>
                </a:lnTo>
                <a:lnTo>
                  <a:pt x="8" y="8"/>
                </a:lnTo>
                <a:lnTo>
                  <a:pt x="12" y="6"/>
                </a:lnTo>
                <a:lnTo>
                  <a:pt x="12" y="6"/>
                </a:lnTo>
                <a:lnTo>
                  <a:pt x="14" y="4"/>
                </a:lnTo>
                <a:lnTo>
                  <a:pt x="14" y="2"/>
                </a:lnTo>
                <a:lnTo>
                  <a:pt x="14" y="0"/>
                </a:lnTo>
                <a:lnTo>
                  <a:pt x="16" y="0"/>
                </a:lnTo>
                <a:lnTo>
                  <a:pt x="16" y="0"/>
                </a:lnTo>
                <a:lnTo>
                  <a:pt x="22" y="2"/>
                </a:lnTo>
                <a:lnTo>
                  <a:pt x="24" y="2"/>
                </a:lnTo>
                <a:lnTo>
                  <a:pt x="24" y="2"/>
                </a:lnTo>
                <a:lnTo>
                  <a:pt x="24" y="6"/>
                </a:lnTo>
                <a:lnTo>
                  <a:pt x="24" y="8"/>
                </a:lnTo>
                <a:lnTo>
                  <a:pt x="26" y="12"/>
                </a:lnTo>
                <a:lnTo>
                  <a:pt x="26" y="12"/>
                </a:lnTo>
                <a:lnTo>
                  <a:pt x="30" y="12"/>
                </a:lnTo>
                <a:lnTo>
                  <a:pt x="30" y="12"/>
                </a:lnTo>
                <a:lnTo>
                  <a:pt x="30" y="12"/>
                </a:lnTo>
                <a:lnTo>
                  <a:pt x="28" y="18"/>
                </a:lnTo>
                <a:lnTo>
                  <a:pt x="28" y="18"/>
                </a:lnTo>
                <a:lnTo>
                  <a:pt x="22" y="22"/>
                </a:lnTo>
                <a:lnTo>
                  <a:pt x="20" y="30"/>
                </a:lnTo>
                <a:lnTo>
                  <a:pt x="20" y="30"/>
                </a:lnTo>
                <a:lnTo>
                  <a:pt x="14" y="34"/>
                </a:lnTo>
                <a:lnTo>
                  <a:pt x="14" y="34"/>
                </a:lnTo>
                <a:lnTo>
                  <a:pt x="8" y="32"/>
                </a:lnTo>
                <a:lnTo>
                  <a:pt x="8" y="32"/>
                </a:lnTo>
                <a:lnTo>
                  <a:pt x="8" y="10"/>
                </a:lnTo>
                <a:lnTo>
                  <a:pt x="8" y="10"/>
                </a:lnTo>
                <a:lnTo>
                  <a:pt x="2" y="8"/>
                </a:lnTo>
                <a:lnTo>
                  <a:pt x="2" y="8"/>
                </a:lnTo>
                <a:lnTo>
                  <a:pt x="0" y="4"/>
                </a:lnTo>
                <a:lnTo>
                  <a:pt x="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2" name="Freeform 241">
            <a:extLst>
              <a:ext uri="{FF2B5EF4-FFF2-40B4-BE49-F238E27FC236}">
                <a16:creationId xmlns:a16="http://schemas.microsoft.com/office/drawing/2014/main" id="{5DE2365D-8B23-4BA8-9D1F-E8D130C89235}"/>
              </a:ext>
            </a:extLst>
          </p:cNvPr>
          <p:cNvSpPr>
            <a:spLocks/>
          </p:cNvSpPr>
          <p:nvPr userDrawn="1"/>
        </p:nvSpPr>
        <p:spPr bwMode="auto">
          <a:xfrm>
            <a:off x="7932573" y="2905021"/>
            <a:ext cx="191938" cy="470181"/>
          </a:xfrm>
          <a:custGeom>
            <a:avLst/>
            <a:gdLst>
              <a:gd name="T0" fmla="*/ 90 w 114"/>
              <a:gd name="T1" fmla="*/ 260 h 274"/>
              <a:gd name="T2" fmla="*/ 92 w 114"/>
              <a:gd name="T3" fmla="*/ 234 h 274"/>
              <a:gd name="T4" fmla="*/ 76 w 114"/>
              <a:gd name="T5" fmla="*/ 202 h 274"/>
              <a:gd name="T6" fmla="*/ 78 w 114"/>
              <a:gd name="T7" fmla="*/ 186 h 274"/>
              <a:gd name="T8" fmla="*/ 72 w 114"/>
              <a:gd name="T9" fmla="*/ 158 h 274"/>
              <a:gd name="T10" fmla="*/ 72 w 114"/>
              <a:gd name="T11" fmla="*/ 138 h 274"/>
              <a:gd name="T12" fmla="*/ 84 w 114"/>
              <a:gd name="T13" fmla="*/ 132 h 274"/>
              <a:gd name="T14" fmla="*/ 90 w 114"/>
              <a:gd name="T15" fmla="*/ 122 h 274"/>
              <a:gd name="T16" fmla="*/ 106 w 114"/>
              <a:gd name="T17" fmla="*/ 122 h 274"/>
              <a:gd name="T18" fmla="*/ 114 w 114"/>
              <a:gd name="T19" fmla="*/ 104 h 274"/>
              <a:gd name="T20" fmla="*/ 100 w 114"/>
              <a:gd name="T21" fmla="*/ 88 h 274"/>
              <a:gd name="T22" fmla="*/ 90 w 114"/>
              <a:gd name="T23" fmla="*/ 82 h 274"/>
              <a:gd name="T24" fmla="*/ 90 w 114"/>
              <a:gd name="T25" fmla="*/ 72 h 274"/>
              <a:gd name="T26" fmla="*/ 86 w 114"/>
              <a:gd name="T27" fmla="*/ 58 h 274"/>
              <a:gd name="T28" fmla="*/ 74 w 114"/>
              <a:gd name="T29" fmla="*/ 64 h 274"/>
              <a:gd name="T30" fmla="*/ 70 w 114"/>
              <a:gd name="T31" fmla="*/ 56 h 274"/>
              <a:gd name="T32" fmla="*/ 72 w 114"/>
              <a:gd name="T33" fmla="*/ 42 h 274"/>
              <a:gd name="T34" fmla="*/ 78 w 114"/>
              <a:gd name="T35" fmla="*/ 22 h 274"/>
              <a:gd name="T36" fmla="*/ 76 w 114"/>
              <a:gd name="T37" fmla="*/ 6 h 274"/>
              <a:gd name="T38" fmla="*/ 66 w 114"/>
              <a:gd name="T39" fmla="*/ 0 h 274"/>
              <a:gd name="T40" fmla="*/ 56 w 114"/>
              <a:gd name="T41" fmla="*/ 16 h 274"/>
              <a:gd name="T42" fmla="*/ 44 w 114"/>
              <a:gd name="T43" fmla="*/ 30 h 274"/>
              <a:gd name="T44" fmla="*/ 28 w 114"/>
              <a:gd name="T45" fmla="*/ 44 h 274"/>
              <a:gd name="T46" fmla="*/ 30 w 114"/>
              <a:gd name="T47" fmla="*/ 52 h 274"/>
              <a:gd name="T48" fmla="*/ 14 w 114"/>
              <a:gd name="T49" fmla="*/ 64 h 274"/>
              <a:gd name="T50" fmla="*/ 16 w 114"/>
              <a:gd name="T51" fmla="*/ 88 h 274"/>
              <a:gd name="T52" fmla="*/ 10 w 114"/>
              <a:gd name="T53" fmla="*/ 98 h 274"/>
              <a:gd name="T54" fmla="*/ 4 w 114"/>
              <a:gd name="T55" fmla="*/ 104 h 274"/>
              <a:gd name="T56" fmla="*/ 6 w 114"/>
              <a:gd name="T57" fmla="*/ 114 h 274"/>
              <a:gd name="T58" fmla="*/ 0 w 114"/>
              <a:gd name="T59" fmla="*/ 120 h 274"/>
              <a:gd name="T60" fmla="*/ 4 w 114"/>
              <a:gd name="T61" fmla="*/ 128 h 274"/>
              <a:gd name="T62" fmla="*/ 6 w 114"/>
              <a:gd name="T63" fmla="*/ 124 h 274"/>
              <a:gd name="T64" fmla="*/ 8 w 114"/>
              <a:gd name="T65" fmla="*/ 122 h 274"/>
              <a:gd name="T66" fmla="*/ 14 w 114"/>
              <a:gd name="T67" fmla="*/ 122 h 274"/>
              <a:gd name="T68" fmla="*/ 16 w 114"/>
              <a:gd name="T69" fmla="*/ 132 h 274"/>
              <a:gd name="T70" fmla="*/ 20 w 114"/>
              <a:gd name="T71" fmla="*/ 140 h 274"/>
              <a:gd name="T72" fmla="*/ 18 w 114"/>
              <a:gd name="T73" fmla="*/ 148 h 274"/>
              <a:gd name="T74" fmla="*/ 24 w 114"/>
              <a:gd name="T75" fmla="*/ 154 h 274"/>
              <a:gd name="T76" fmla="*/ 26 w 114"/>
              <a:gd name="T77" fmla="*/ 162 h 274"/>
              <a:gd name="T78" fmla="*/ 20 w 114"/>
              <a:gd name="T79" fmla="*/ 190 h 274"/>
              <a:gd name="T80" fmla="*/ 22 w 114"/>
              <a:gd name="T81" fmla="*/ 192 h 274"/>
              <a:gd name="T82" fmla="*/ 26 w 114"/>
              <a:gd name="T83" fmla="*/ 192 h 274"/>
              <a:gd name="T84" fmla="*/ 38 w 114"/>
              <a:gd name="T85" fmla="*/ 194 h 274"/>
              <a:gd name="T86" fmla="*/ 40 w 114"/>
              <a:gd name="T87" fmla="*/ 188 h 274"/>
              <a:gd name="T88" fmla="*/ 42 w 114"/>
              <a:gd name="T89" fmla="*/ 188 h 274"/>
              <a:gd name="T90" fmla="*/ 50 w 114"/>
              <a:gd name="T91" fmla="*/ 176 h 274"/>
              <a:gd name="T92" fmla="*/ 60 w 114"/>
              <a:gd name="T93" fmla="*/ 180 h 274"/>
              <a:gd name="T94" fmla="*/ 60 w 114"/>
              <a:gd name="T95" fmla="*/ 184 h 274"/>
              <a:gd name="T96" fmla="*/ 66 w 114"/>
              <a:gd name="T97" fmla="*/ 186 h 274"/>
              <a:gd name="T98" fmla="*/ 68 w 114"/>
              <a:gd name="T99" fmla="*/ 200 h 274"/>
              <a:gd name="T100" fmla="*/ 74 w 114"/>
              <a:gd name="T101" fmla="*/ 224 h 274"/>
              <a:gd name="T102" fmla="*/ 78 w 114"/>
              <a:gd name="T103" fmla="*/ 230 h 274"/>
              <a:gd name="T104" fmla="*/ 82 w 114"/>
              <a:gd name="T105" fmla="*/ 258 h 274"/>
              <a:gd name="T106" fmla="*/ 80 w 114"/>
              <a:gd name="T107" fmla="*/ 260 h 274"/>
              <a:gd name="T108" fmla="*/ 86 w 114"/>
              <a:gd name="T10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74">
                <a:moveTo>
                  <a:pt x="86" y="274"/>
                </a:moveTo>
                <a:lnTo>
                  <a:pt x="88" y="268"/>
                </a:lnTo>
                <a:lnTo>
                  <a:pt x="90" y="260"/>
                </a:lnTo>
                <a:lnTo>
                  <a:pt x="96" y="252"/>
                </a:lnTo>
                <a:lnTo>
                  <a:pt x="96" y="244"/>
                </a:lnTo>
                <a:lnTo>
                  <a:pt x="92" y="234"/>
                </a:lnTo>
                <a:lnTo>
                  <a:pt x="84" y="226"/>
                </a:lnTo>
                <a:lnTo>
                  <a:pt x="80" y="214"/>
                </a:lnTo>
                <a:lnTo>
                  <a:pt x="76" y="202"/>
                </a:lnTo>
                <a:lnTo>
                  <a:pt x="84" y="198"/>
                </a:lnTo>
                <a:lnTo>
                  <a:pt x="84" y="192"/>
                </a:lnTo>
                <a:lnTo>
                  <a:pt x="78" y="186"/>
                </a:lnTo>
                <a:lnTo>
                  <a:pt x="72" y="178"/>
                </a:lnTo>
                <a:lnTo>
                  <a:pt x="70" y="166"/>
                </a:lnTo>
                <a:lnTo>
                  <a:pt x="72" y="158"/>
                </a:lnTo>
                <a:lnTo>
                  <a:pt x="72" y="152"/>
                </a:lnTo>
                <a:lnTo>
                  <a:pt x="70" y="144"/>
                </a:lnTo>
                <a:lnTo>
                  <a:pt x="72" y="138"/>
                </a:lnTo>
                <a:lnTo>
                  <a:pt x="76" y="138"/>
                </a:lnTo>
                <a:lnTo>
                  <a:pt x="80" y="132"/>
                </a:lnTo>
                <a:lnTo>
                  <a:pt x="84" y="132"/>
                </a:lnTo>
                <a:lnTo>
                  <a:pt x="84" y="128"/>
                </a:lnTo>
                <a:lnTo>
                  <a:pt x="86" y="122"/>
                </a:lnTo>
                <a:lnTo>
                  <a:pt x="90" y="122"/>
                </a:lnTo>
                <a:lnTo>
                  <a:pt x="94" y="124"/>
                </a:lnTo>
                <a:lnTo>
                  <a:pt x="104" y="124"/>
                </a:lnTo>
                <a:lnTo>
                  <a:pt x="106" y="122"/>
                </a:lnTo>
                <a:lnTo>
                  <a:pt x="106" y="116"/>
                </a:lnTo>
                <a:lnTo>
                  <a:pt x="112" y="108"/>
                </a:lnTo>
                <a:lnTo>
                  <a:pt x="114" y="104"/>
                </a:lnTo>
                <a:lnTo>
                  <a:pt x="104" y="102"/>
                </a:lnTo>
                <a:lnTo>
                  <a:pt x="102" y="96"/>
                </a:lnTo>
                <a:lnTo>
                  <a:pt x="100" y="88"/>
                </a:lnTo>
                <a:lnTo>
                  <a:pt x="96" y="88"/>
                </a:lnTo>
                <a:lnTo>
                  <a:pt x="90" y="86"/>
                </a:lnTo>
                <a:lnTo>
                  <a:pt x="90" y="82"/>
                </a:lnTo>
                <a:lnTo>
                  <a:pt x="94" y="76"/>
                </a:lnTo>
                <a:lnTo>
                  <a:pt x="94" y="72"/>
                </a:lnTo>
                <a:lnTo>
                  <a:pt x="90" y="72"/>
                </a:lnTo>
                <a:lnTo>
                  <a:pt x="88" y="66"/>
                </a:lnTo>
                <a:lnTo>
                  <a:pt x="88" y="62"/>
                </a:lnTo>
                <a:lnTo>
                  <a:pt x="86" y="58"/>
                </a:lnTo>
                <a:lnTo>
                  <a:pt x="82" y="58"/>
                </a:lnTo>
                <a:lnTo>
                  <a:pt x="76" y="60"/>
                </a:lnTo>
                <a:lnTo>
                  <a:pt x="74" y="64"/>
                </a:lnTo>
                <a:lnTo>
                  <a:pt x="72" y="64"/>
                </a:lnTo>
                <a:lnTo>
                  <a:pt x="70" y="62"/>
                </a:lnTo>
                <a:lnTo>
                  <a:pt x="70" y="56"/>
                </a:lnTo>
                <a:lnTo>
                  <a:pt x="68" y="52"/>
                </a:lnTo>
                <a:lnTo>
                  <a:pt x="68" y="48"/>
                </a:lnTo>
                <a:lnTo>
                  <a:pt x="72" y="42"/>
                </a:lnTo>
                <a:lnTo>
                  <a:pt x="76" y="36"/>
                </a:lnTo>
                <a:lnTo>
                  <a:pt x="78" y="26"/>
                </a:lnTo>
                <a:lnTo>
                  <a:pt x="78" y="22"/>
                </a:lnTo>
                <a:lnTo>
                  <a:pt x="76" y="18"/>
                </a:lnTo>
                <a:lnTo>
                  <a:pt x="78" y="10"/>
                </a:lnTo>
                <a:lnTo>
                  <a:pt x="76" y="6"/>
                </a:lnTo>
                <a:lnTo>
                  <a:pt x="74" y="0"/>
                </a:lnTo>
                <a:lnTo>
                  <a:pt x="70" y="0"/>
                </a:lnTo>
                <a:lnTo>
                  <a:pt x="66" y="0"/>
                </a:lnTo>
                <a:lnTo>
                  <a:pt x="66" y="10"/>
                </a:lnTo>
                <a:lnTo>
                  <a:pt x="60" y="18"/>
                </a:lnTo>
                <a:lnTo>
                  <a:pt x="56" y="16"/>
                </a:lnTo>
                <a:lnTo>
                  <a:pt x="48" y="16"/>
                </a:lnTo>
                <a:lnTo>
                  <a:pt x="44" y="26"/>
                </a:lnTo>
                <a:lnTo>
                  <a:pt x="44" y="30"/>
                </a:lnTo>
                <a:lnTo>
                  <a:pt x="38" y="36"/>
                </a:lnTo>
                <a:lnTo>
                  <a:pt x="34" y="40"/>
                </a:lnTo>
                <a:lnTo>
                  <a:pt x="28" y="44"/>
                </a:lnTo>
                <a:lnTo>
                  <a:pt x="26" y="46"/>
                </a:lnTo>
                <a:lnTo>
                  <a:pt x="30" y="48"/>
                </a:lnTo>
                <a:lnTo>
                  <a:pt x="30" y="52"/>
                </a:lnTo>
                <a:lnTo>
                  <a:pt x="24" y="60"/>
                </a:lnTo>
                <a:lnTo>
                  <a:pt x="22" y="68"/>
                </a:lnTo>
                <a:lnTo>
                  <a:pt x="14" y="64"/>
                </a:lnTo>
                <a:lnTo>
                  <a:pt x="14" y="76"/>
                </a:lnTo>
                <a:lnTo>
                  <a:pt x="16" y="82"/>
                </a:lnTo>
                <a:lnTo>
                  <a:pt x="16" y="88"/>
                </a:lnTo>
                <a:lnTo>
                  <a:pt x="16" y="92"/>
                </a:lnTo>
                <a:lnTo>
                  <a:pt x="14" y="96"/>
                </a:lnTo>
                <a:lnTo>
                  <a:pt x="10" y="98"/>
                </a:lnTo>
                <a:lnTo>
                  <a:pt x="6" y="96"/>
                </a:lnTo>
                <a:lnTo>
                  <a:pt x="2" y="96"/>
                </a:lnTo>
                <a:lnTo>
                  <a:pt x="4" y="104"/>
                </a:lnTo>
                <a:lnTo>
                  <a:pt x="6" y="108"/>
                </a:lnTo>
                <a:lnTo>
                  <a:pt x="6" y="114"/>
                </a:lnTo>
                <a:lnTo>
                  <a:pt x="6" y="114"/>
                </a:lnTo>
                <a:lnTo>
                  <a:pt x="2" y="112"/>
                </a:lnTo>
                <a:lnTo>
                  <a:pt x="0" y="116"/>
                </a:lnTo>
                <a:lnTo>
                  <a:pt x="0" y="120"/>
                </a:lnTo>
                <a:lnTo>
                  <a:pt x="0" y="120"/>
                </a:lnTo>
                <a:lnTo>
                  <a:pt x="2" y="128"/>
                </a:lnTo>
                <a:lnTo>
                  <a:pt x="4" y="128"/>
                </a:lnTo>
                <a:lnTo>
                  <a:pt x="4" y="128"/>
                </a:lnTo>
                <a:lnTo>
                  <a:pt x="6" y="126"/>
                </a:lnTo>
                <a:lnTo>
                  <a:pt x="6" y="124"/>
                </a:lnTo>
                <a:lnTo>
                  <a:pt x="6" y="124"/>
                </a:lnTo>
                <a:lnTo>
                  <a:pt x="8" y="124"/>
                </a:lnTo>
                <a:lnTo>
                  <a:pt x="8" y="122"/>
                </a:lnTo>
                <a:lnTo>
                  <a:pt x="8" y="122"/>
                </a:lnTo>
                <a:lnTo>
                  <a:pt x="14" y="122"/>
                </a:lnTo>
                <a:lnTo>
                  <a:pt x="14" y="122"/>
                </a:lnTo>
                <a:lnTo>
                  <a:pt x="14" y="130"/>
                </a:lnTo>
                <a:lnTo>
                  <a:pt x="16" y="132"/>
                </a:lnTo>
                <a:lnTo>
                  <a:pt x="16" y="132"/>
                </a:lnTo>
                <a:lnTo>
                  <a:pt x="16" y="138"/>
                </a:lnTo>
                <a:lnTo>
                  <a:pt x="16" y="138"/>
                </a:lnTo>
                <a:lnTo>
                  <a:pt x="20" y="140"/>
                </a:lnTo>
                <a:lnTo>
                  <a:pt x="20" y="140"/>
                </a:lnTo>
                <a:lnTo>
                  <a:pt x="18" y="146"/>
                </a:lnTo>
                <a:lnTo>
                  <a:pt x="18" y="148"/>
                </a:lnTo>
                <a:lnTo>
                  <a:pt x="20" y="152"/>
                </a:lnTo>
                <a:lnTo>
                  <a:pt x="20" y="152"/>
                </a:lnTo>
                <a:lnTo>
                  <a:pt x="24" y="154"/>
                </a:lnTo>
                <a:lnTo>
                  <a:pt x="24" y="154"/>
                </a:lnTo>
                <a:lnTo>
                  <a:pt x="26" y="162"/>
                </a:lnTo>
                <a:lnTo>
                  <a:pt x="26" y="162"/>
                </a:lnTo>
                <a:lnTo>
                  <a:pt x="24" y="168"/>
                </a:lnTo>
                <a:lnTo>
                  <a:pt x="22" y="174"/>
                </a:lnTo>
                <a:lnTo>
                  <a:pt x="20" y="190"/>
                </a:lnTo>
                <a:lnTo>
                  <a:pt x="20" y="190"/>
                </a:lnTo>
                <a:lnTo>
                  <a:pt x="22" y="192"/>
                </a:lnTo>
                <a:lnTo>
                  <a:pt x="22" y="192"/>
                </a:lnTo>
                <a:lnTo>
                  <a:pt x="24" y="192"/>
                </a:lnTo>
                <a:lnTo>
                  <a:pt x="26" y="192"/>
                </a:lnTo>
                <a:lnTo>
                  <a:pt x="26" y="192"/>
                </a:lnTo>
                <a:lnTo>
                  <a:pt x="28" y="194"/>
                </a:lnTo>
                <a:lnTo>
                  <a:pt x="28" y="194"/>
                </a:lnTo>
                <a:lnTo>
                  <a:pt x="38" y="194"/>
                </a:lnTo>
                <a:lnTo>
                  <a:pt x="38" y="194"/>
                </a:lnTo>
                <a:lnTo>
                  <a:pt x="38" y="190"/>
                </a:lnTo>
                <a:lnTo>
                  <a:pt x="40" y="188"/>
                </a:lnTo>
                <a:lnTo>
                  <a:pt x="40" y="188"/>
                </a:lnTo>
                <a:lnTo>
                  <a:pt x="42" y="188"/>
                </a:lnTo>
                <a:lnTo>
                  <a:pt x="42" y="188"/>
                </a:lnTo>
                <a:lnTo>
                  <a:pt x="46" y="186"/>
                </a:lnTo>
                <a:lnTo>
                  <a:pt x="48" y="184"/>
                </a:lnTo>
                <a:lnTo>
                  <a:pt x="50" y="176"/>
                </a:lnTo>
                <a:lnTo>
                  <a:pt x="52" y="174"/>
                </a:lnTo>
                <a:lnTo>
                  <a:pt x="52" y="174"/>
                </a:lnTo>
                <a:lnTo>
                  <a:pt x="60" y="180"/>
                </a:lnTo>
                <a:lnTo>
                  <a:pt x="60" y="180"/>
                </a:lnTo>
                <a:lnTo>
                  <a:pt x="60" y="182"/>
                </a:lnTo>
                <a:lnTo>
                  <a:pt x="60" y="184"/>
                </a:lnTo>
                <a:lnTo>
                  <a:pt x="60" y="184"/>
                </a:lnTo>
                <a:lnTo>
                  <a:pt x="66" y="186"/>
                </a:lnTo>
                <a:lnTo>
                  <a:pt x="66" y="186"/>
                </a:lnTo>
                <a:lnTo>
                  <a:pt x="64" y="196"/>
                </a:lnTo>
                <a:lnTo>
                  <a:pt x="64" y="196"/>
                </a:lnTo>
                <a:lnTo>
                  <a:pt x="68" y="200"/>
                </a:lnTo>
                <a:lnTo>
                  <a:pt x="68" y="200"/>
                </a:lnTo>
                <a:lnTo>
                  <a:pt x="74" y="224"/>
                </a:lnTo>
                <a:lnTo>
                  <a:pt x="74" y="224"/>
                </a:lnTo>
                <a:lnTo>
                  <a:pt x="74" y="228"/>
                </a:lnTo>
                <a:lnTo>
                  <a:pt x="74" y="228"/>
                </a:lnTo>
                <a:lnTo>
                  <a:pt x="78" y="230"/>
                </a:lnTo>
                <a:lnTo>
                  <a:pt x="78" y="230"/>
                </a:lnTo>
                <a:lnTo>
                  <a:pt x="80" y="244"/>
                </a:lnTo>
                <a:lnTo>
                  <a:pt x="82" y="258"/>
                </a:lnTo>
                <a:lnTo>
                  <a:pt x="82" y="258"/>
                </a:lnTo>
                <a:lnTo>
                  <a:pt x="80" y="260"/>
                </a:lnTo>
                <a:lnTo>
                  <a:pt x="80" y="260"/>
                </a:lnTo>
                <a:lnTo>
                  <a:pt x="82" y="262"/>
                </a:lnTo>
                <a:lnTo>
                  <a:pt x="82" y="262"/>
                </a:lnTo>
                <a:lnTo>
                  <a:pt x="86" y="274"/>
                </a:lnTo>
                <a:lnTo>
                  <a:pt x="86" y="27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3" name="Freeform 242">
            <a:extLst>
              <a:ext uri="{FF2B5EF4-FFF2-40B4-BE49-F238E27FC236}">
                <a16:creationId xmlns:a16="http://schemas.microsoft.com/office/drawing/2014/main" id="{C5D8CA88-F38E-4CEB-AFD9-BBDF22973190}"/>
              </a:ext>
            </a:extLst>
          </p:cNvPr>
          <p:cNvSpPr>
            <a:spLocks/>
          </p:cNvSpPr>
          <p:nvPr userDrawn="1"/>
        </p:nvSpPr>
        <p:spPr bwMode="auto">
          <a:xfrm>
            <a:off x="5725281" y="3227627"/>
            <a:ext cx="164076" cy="168167"/>
          </a:xfrm>
          <a:custGeom>
            <a:avLst/>
            <a:gdLst>
              <a:gd name="T0" fmla="*/ 64 w 98"/>
              <a:gd name="T1" fmla="*/ 70 h 98"/>
              <a:gd name="T2" fmla="*/ 64 w 98"/>
              <a:gd name="T3" fmla="*/ 72 h 98"/>
              <a:gd name="T4" fmla="*/ 44 w 98"/>
              <a:gd name="T5" fmla="*/ 72 h 98"/>
              <a:gd name="T6" fmla="*/ 40 w 98"/>
              <a:gd name="T7" fmla="*/ 74 h 98"/>
              <a:gd name="T8" fmla="*/ 40 w 98"/>
              <a:gd name="T9" fmla="*/ 78 h 98"/>
              <a:gd name="T10" fmla="*/ 42 w 98"/>
              <a:gd name="T11" fmla="*/ 88 h 98"/>
              <a:gd name="T12" fmla="*/ 40 w 98"/>
              <a:gd name="T13" fmla="*/ 96 h 98"/>
              <a:gd name="T14" fmla="*/ 30 w 98"/>
              <a:gd name="T15" fmla="*/ 98 h 98"/>
              <a:gd name="T16" fmla="*/ 28 w 98"/>
              <a:gd name="T17" fmla="*/ 96 h 98"/>
              <a:gd name="T18" fmla="*/ 28 w 98"/>
              <a:gd name="T19" fmla="*/ 90 h 98"/>
              <a:gd name="T20" fmla="*/ 18 w 98"/>
              <a:gd name="T21" fmla="*/ 94 h 98"/>
              <a:gd name="T22" fmla="*/ 12 w 98"/>
              <a:gd name="T23" fmla="*/ 88 h 98"/>
              <a:gd name="T24" fmla="*/ 0 w 98"/>
              <a:gd name="T25" fmla="*/ 88 h 98"/>
              <a:gd name="T26" fmla="*/ 0 w 98"/>
              <a:gd name="T27" fmla="*/ 78 h 98"/>
              <a:gd name="T28" fmla="*/ 2 w 98"/>
              <a:gd name="T29" fmla="*/ 76 h 98"/>
              <a:gd name="T30" fmla="*/ 4 w 98"/>
              <a:gd name="T31" fmla="*/ 72 h 98"/>
              <a:gd name="T32" fmla="*/ 4 w 98"/>
              <a:gd name="T33" fmla="*/ 68 h 98"/>
              <a:gd name="T34" fmla="*/ 4 w 98"/>
              <a:gd name="T35" fmla="*/ 62 h 98"/>
              <a:gd name="T36" fmla="*/ 6 w 98"/>
              <a:gd name="T37" fmla="*/ 60 h 98"/>
              <a:gd name="T38" fmla="*/ 10 w 98"/>
              <a:gd name="T39" fmla="*/ 56 h 98"/>
              <a:gd name="T40" fmla="*/ 12 w 98"/>
              <a:gd name="T41" fmla="*/ 58 h 98"/>
              <a:gd name="T42" fmla="*/ 16 w 98"/>
              <a:gd name="T43" fmla="*/ 48 h 98"/>
              <a:gd name="T44" fmla="*/ 18 w 98"/>
              <a:gd name="T45" fmla="*/ 42 h 98"/>
              <a:gd name="T46" fmla="*/ 20 w 98"/>
              <a:gd name="T47" fmla="*/ 40 h 98"/>
              <a:gd name="T48" fmla="*/ 32 w 98"/>
              <a:gd name="T49" fmla="*/ 36 h 98"/>
              <a:gd name="T50" fmla="*/ 34 w 98"/>
              <a:gd name="T51" fmla="*/ 34 h 98"/>
              <a:gd name="T52" fmla="*/ 36 w 98"/>
              <a:gd name="T53" fmla="*/ 30 h 98"/>
              <a:gd name="T54" fmla="*/ 42 w 98"/>
              <a:gd name="T55" fmla="*/ 22 h 98"/>
              <a:gd name="T56" fmla="*/ 46 w 98"/>
              <a:gd name="T57" fmla="*/ 20 h 98"/>
              <a:gd name="T58" fmla="*/ 48 w 98"/>
              <a:gd name="T59" fmla="*/ 18 h 98"/>
              <a:gd name="T60" fmla="*/ 50 w 98"/>
              <a:gd name="T61" fmla="*/ 12 h 98"/>
              <a:gd name="T62" fmla="*/ 54 w 98"/>
              <a:gd name="T63" fmla="*/ 8 h 98"/>
              <a:gd name="T64" fmla="*/ 58 w 98"/>
              <a:gd name="T65" fmla="*/ 8 h 98"/>
              <a:gd name="T66" fmla="*/ 60 w 98"/>
              <a:gd name="T67" fmla="*/ 4 h 98"/>
              <a:gd name="T68" fmla="*/ 64 w 98"/>
              <a:gd name="T69" fmla="*/ 0 h 98"/>
              <a:gd name="T70" fmla="*/ 66 w 98"/>
              <a:gd name="T71" fmla="*/ 2 h 98"/>
              <a:gd name="T72" fmla="*/ 68 w 98"/>
              <a:gd name="T73" fmla="*/ 2 h 98"/>
              <a:gd name="T74" fmla="*/ 70 w 98"/>
              <a:gd name="T75" fmla="*/ 2 h 98"/>
              <a:gd name="T76" fmla="*/ 74 w 98"/>
              <a:gd name="T77" fmla="*/ 6 h 98"/>
              <a:gd name="T78" fmla="*/ 76 w 98"/>
              <a:gd name="T79" fmla="*/ 18 h 98"/>
              <a:gd name="T80" fmla="*/ 86 w 98"/>
              <a:gd name="T81" fmla="*/ 28 h 98"/>
              <a:gd name="T82" fmla="*/ 92 w 98"/>
              <a:gd name="T83" fmla="*/ 42 h 98"/>
              <a:gd name="T84" fmla="*/ 96 w 98"/>
              <a:gd name="T85" fmla="*/ 42 h 98"/>
              <a:gd name="T86" fmla="*/ 96 w 98"/>
              <a:gd name="T87" fmla="*/ 42 h 98"/>
              <a:gd name="T88" fmla="*/ 94 w 98"/>
              <a:gd name="T89" fmla="*/ 48 h 98"/>
              <a:gd name="T90" fmla="*/ 98 w 98"/>
              <a:gd name="T91" fmla="*/ 62 h 98"/>
              <a:gd name="T92" fmla="*/ 98 w 98"/>
              <a:gd name="T93" fmla="*/ 66 h 98"/>
              <a:gd name="T94" fmla="*/ 92 w 98"/>
              <a:gd name="T95" fmla="*/ 68 h 98"/>
              <a:gd name="T96" fmla="*/ 92 w 98"/>
              <a:gd name="T97" fmla="*/ 70 h 98"/>
              <a:gd name="T98" fmla="*/ 90 w 98"/>
              <a:gd name="T99" fmla="*/ 72 h 98"/>
              <a:gd name="T100" fmla="*/ 86 w 98"/>
              <a:gd name="T101" fmla="*/ 72 h 98"/>
              <a:gd name="T102" fmla="*/ 80 w 98"/>
              <a:gd name="T103" fmla="*/ 72 h 98"/>
              <a:gd name="T104" fmla="*/ 74 w 98"/>
              <a:gd name="T105" fmla="*/ 7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 h="98">
                <a:moveTo>
                  <a:pt x="74" y="70"/>
                </a:moveTo>
                <a:lnTo>
                  <a:pt x="64" y="70"/>
                </a:lnTo>
                <a:lnTo>
                  <a:pt x="64" y="72"/>
                </a:lnTo>
                <a:lnTo>
                  <a:pt x="64" y="72"/>
                </a:lnTo>
                <a:lnTo>
                  <a:pt x="54" y="72"/>
                </a:lnTo>
                <a:lnTo>
                  <a:pt x="44" y="72"/>
                </a:lnTo>
                <a:lnTo>
                  <a:pt x="44" y="72"/>
                </a:lnTo>
                <a:lnTo>
                  <a:pt x="40" y="74"/>
                </a:lnTo>
                <a:lnTo>
                  <a:pt x="40" y="78"/>
                </a:lnTo>
                <a:lnTo>
                  <a:pt x="40" y="78"/>
                </a:lnTo>
                <a:lnTo>
                  <a:pt x="40" y="84"/>
                </a:lnTo>
                <a:lnTo>
                  <a:pt x="42" y="88"/>
                </a:lnTo>
                <a:lnTo>
                  <a:pt x="42" y="88"/>
                </a:lnTo>
                <a:lnTo>
                  <a:pt x="40" y="96"/>
                </a:lnTo>
                <a:lnTo>
                  <a:pt x="40" y="96"/>
                </a:lnTo>
                <a:lnTo>
                  <a:pt x="30" y="98"/>
                </a:lnTo>
                <a:lnTo>
                  <a:pt x="30" y="98"/>
                </a:lnTo>
                <a:lnTo>
                  <a:pt x="28" y="96"/>
                </a:lnTo>
                <a:lnTo>
                  <a:pt x="28" y="94"/>
                </a:lnTo>
                <a:lnTo>
                  <a:pt x="28" y="90"/>
                </a:lnTo>
                <a:lnTo>
                  <a:pt x="22" y="90"/>
                </a:lnTo>
                <a:lnTo>
                  <a:pt x="18" y="94"/>
                </a:lnTo>
                <a:lnTo>
                  <a:pt x="12" y="92"/>
                </a:lnTo>
                <a:lnTo>
                  <a:pt x="12" y="88"/>
                </a:lnTo>
                <a:lnTo>
                  <a:pt x="0" y="88"/>
                </a:lnTo>
                <a:lnTo>
                  <a:pt x="0" y="88"/>
                </a:lnTo>
                <a:lnTo>
                  <a:pt x="0" y="82"/>
                </a:lnTo>
                <a:lnTo>
                  <a:pt x="0" y="78"/>
                </a:lnTo>
                <a:lnTo>
                  <a:pt x="2" y="76"/>
                </a:lnTo>
                <a:lnTo>
                  <a:pt x="2" y="76"/>
                </a:lnTo>
                <a:lnTo>
                  <a:pt x="4" y="74"/>
                </a:lnTo>
                <a:lnTo>
                  <a:pt x="4" y="72"/>
                </a:lnTo>
                <a:lnTo>
                  <a:pt x="4" y="68"/>
                </a:lnTo>
                <a:lnTo>
                  <a:pt x="4" y="68"/>
                </a:lnTo>
                <a:lnTo>
                  <a:pt x="4" y="64"/>
                </a:lnTo>
                <a:lnTo>
                  <a:pt x="4" y="62"/>
                </a:lnTo>
                <a:lnTo>
                  <a:pt x="4" y="62"/>
                </a:lnTo>
                <a:lnTo>
                  <a:pt x="6" y="60"/>
                </a:lnTo>
                <a:lnTo>
                  <a:pt x="10" y="56"/>
                </a:lnTo>
                <a:lnTo>
                  <a:pt x="10" y="56"/>
                </a:lnTo>
                <a:lnTo>
                  <a:pt x="12" y="58"/>
                </a:lnTo>
                <a:lnTo>
                  <a:pt x="12" y="58"/>
                </a:lnTo>
                <a:lnTo>
                  <a:pt x="12" y="58"/>
                </a:lnTo>
                <a:lnTo>
                  <a:pt x="16" y="48"/>
                </a:lnTo>
                <a:lnTo>
                  <a:pt x="16" y="48"/>
                </a:lnTo>
                <a:lnTo>
                  <a:pt x="18" y="42"/>
                </a:lnTo>
                <a:lnTo>
                  <a:pt x="20" y="40"/>
                </a:lnTo>
                <a:lnTo>
                  <a:pt x="20" y="40"/>
                </a:lnTo>
                <a:lnTo>
                  <a:pt x="26" y="38"/>
                </a:lnTo>
                <a:lnTo>
                  <a:pt x="32" y="36"/>
                </a:lnTo>
                <a:lnTo>
                  <a:pt x="32" y="36"/>
                </a:lnTo>
                <a:lnTo>
                  <a:pt x="34" y="34"/>
                </a:lnTo>
                <a:lnTo>
                  <a:pt x="36" y="30"/>
                </a:lnTo>
                <a:lnTo>
                  <a:pt x="36" y="30"/>
                </a:lnTo>
                <a:lnTo>
                  <a:pt x="38" y="26"/>
                </a:lnTo>
                <a:lnTo>
                  <a:pt x="42" y="22"/>
                </a:lnTo>
                <a:lnTo>
                  <a:pt x="42" y="22"/>
                </a:lnTo>
                <a:lnTo>
                  <a:pt x="46" y="20"/>
                </a:lnTo>
                <a:lnTo>
                  <a:pt x="48" y="18"/>
                </a:lnTo>
                <a:lnTo>
                  <a:pt x="48" y="18"/>
                </a:lnTo>
                <a:lnTo>
                  <a:pt x="48" y="18"/>
                </a:lnTo>
                <a:lnTo>
                  <a:pt x="50" y="12"/>
                </a:lnTo>
                <a:lnTo>
                  <a:pt x="50" y="10"/>
                </a:lnTo>
                <a:lnTo>
                  <a:pt x="54" y="8"/>
                </a:lnTo>
                <a:lnTo>
                  <a:pt x="54" y="8"/>
                </a:lnTo>
                <a:lnTo>
                  <a:pt x="58" y="8"/>
                </a:lnTo>
                <a:lnTo>
                  <a:pt x="60" y="4"/>
                </a:lnTo>
                <a:lnTo>
                  <a:pt x="60" y="4"/>
                </a:lnTo>
                <a:lnTo>
                  <a:pt x="62" y="0"/>
                </a:lnTo>
                <a:lnTo>
                  <a:pt x="64" y="0"/>
                </a:lnTo>
                <a:lnTo>
                  <a:pt x="66" y="2"/>
                </a:lnTo>
                <a:lnTo>
                  <a:pt x="66" y="2"/>
                </a:lnTo>
                <a:lnTo>
                  <a:pt x="66" y="2"/>
                </a:lnTo>
                <a:lnTo>
                  <a:pt x="68" y="2"/>
                </a:lnTo>
                <a:lnTo>
                  <a:pt x="70" y="0"/>
                </a:lnTo>
                <a:lnTo>
                  <a:pt x="70" y="2"/>
                </a:lnTo>
                <a:lnTo>
                  <a:pt x="70" y="2"/>
                </a:lnTo>
                <a:lnTo>
                  <a:pt x="74" y="6"/>
                </a:lnTo>
                <a:lnTo>
                  <a:pt x="72" y="12"/>
                </a:lnTo>
                <a:lnTo>
                  <a:pt x="76" y="18"/>
                </a:lnTo>
                <a:lnTo>
                  <a:pt x="86" y="24"/>
                </a:lnTo>
                <a:lnTo>
                  <a:pt x="86" y="28"/>
                </a:lnTo>
                <a:lnTo>
                  <a:pt x="92" y="42"/>
                </a:lnTo>
                <a:lnTo>
                  <a:pt x="92" y="42"/>
                </a:lnTo>
                <a:lnTo>
                  <a:pt x="94" y="40"/>
                </a:lnTo>
                <a:lnTo>
                  <a:pt x="96" y="42"/>
                </a:lnTo>
                <a:lnTo>
                  <a:pt x="96" y="42"/>
                </a:lnTo>
                <a:lnTo>
                  <a:pt x="96" y="42"/>
                </a:lnTo>
                <a:lnTo>
                  <a:pt x="96" y="46"/>
                </a:lnTo>
                <a:lnTo>
                  <a:pt x="94" y="48"/>
                </a:lnTo>
                <a:lnTo>
                  <a:pt x="98" y="62"/>
                </a:lnTo>
                <a:lnTo>
                  <a:pt x="98" y="62"/>
                </a:lnTo>
                <a:lnTo>
                  <a:pt x="98" y="62"/>
                </a:lnTo>
                <a:lnTo>
                  <a:pt x="98" y="66"/>
                </a:lnTo>
                <a:lnTo>
                  <a:pt x="98" y="66"/>
                </a:lnTo>
                <a:lnTo>
                  <a:pt x="92" y="68"/>
                </a:lnTo>
                <a:lnTo>
                  <a:pt x="92" y="68"/>
                </a:lnTo>
                <a:lnTo>
                  <a:pt x="92" y="70"/>
                </a:lnTo>
                <a:lnTo>
                  <a:pt x="92" y="72"/>
                </a:lnTo>
                <a:lnTo>
                  <a:pt x="90" y="72"/>
                </a:lnTo>
                <a:lnTo>
                  <a:pt x="90" y="72"/>
                </a:lnTo>
                <a:lnTo>
                  <a:pt x="86" y="72"/>
                </a:lnTo>
                <a:lnTo>
                  <a:pt x="86" y="72"/>
                </a:lnTo>
                <a:lnTo>
                  <a:pt x="80" y="72"/>
                </a:lnTo>
                <a:lnTo>
                  <a:pt x="80" y="72"/>
                </a:lnTo>
                <a:lnTo>
                  <a:pt x="74" y="70"/>
                </a:lnTo>
                <a:lnTo>
                  <a:pt x="74"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4" name="Freeform 243">
            <a:extLst>
              <a:ext uri="{FF2B5EF4-FFF2-40B4-BE49-F238E27FC236}">
                <a16:creationId xmlns:a16="http://schemas.microsoft.com/office/drawing/2014/main" id="{5C02506E-9192-48EF-86A5-8E8663146C03}"/>
              </a:ext>
            </a:extLst>
          </p:cNvPr>
          <p:cNvSpPr>
            <a:spLocks/>
          </p:cNvSpPr>
          <p:nvPr userDrawn="1"/>
        </p:nvSpPr>
        <p:spPr bwMode="auto">
          <a:xfrm>
            <a:off x="6366108" y="2366201"/>
            <a:ext cx="134667" cy="99528"/>
          </a:xfrm>
          <a:custGeom>
            <a:avLst/>
            <a:gdLst>
              <a:gd name="T0" fmla="*/ 80 w 80"/>
              <a:gd name="T1" fmla="*/ 4 h 58"/>
              <a:gd name="T2" fmla="*/ 74 w 80"/>
              <a:gd name="T3" fmla="*/ 0 h 58"/>
              <a:gd name="T4" fmla="*/ 66 w 80"/>
              <a:gd name="T5" fmla="*/ 2 h 58"/>
              <a:gd name="T6" fmla="*/ 62 w 80"/>
              <a:gd name="T7" fmla="*/ 4 h 58"/>
              <a:gd name="T8" fmla="*/ 56 w 80"/>
              <a:gd name="T9" fmla="*/ 0 h 58"/>
              <a:gd name="T10" fmla="*/ 52 w 80"/>
              <a:gd name="T11" fmla="*/ 0 h 58"/>
              <a:gd name="T12" fmla="*/ 48 w 80"/>
              <a:gd name="T13" fmla="*/ 4 h 58"/>
              <a:gd name="T14" fmla="*/ 40 w 80"/>
              <a:gd name="T15" fmla="*/ 8 h 58"/>
              <a:gd name="T16" fmla="*/ 34 w 80"/>
              <a:gd name="T17" fmla="*/ 8 h 58"/>
              <a:gd name="T18" fmla="*/ 28 w 80"/>
              <a:gd name="T19" fmla="*/ 8 h 58"/>
              <a:gd name="T20" fmla="*/ 24 w 80"/>
              <a:gd name="T21" fmla="*/ 8 h 58"/>
              <a:gd name="T22" fmla="*/ 20 w 80"/>
              <a:gd name="T23" fmla="*/ 8 h 58"/>
              <a:gd name="T24" fmla="*/ 16 w 80"/>
              <a:gd name="T25" fmla="*/ 8 h 58"/>
              <a:gd name="T26" fmla="*/ 14 w 80"/>
              <a:gd name="T27" fmla="*/ 6 h 58"/>
              <a:gd name="T28" fmla="*/ 16 w 80"/>
              <a:gd name="T29" fmla="*/ 4 h 58"/>
              <a:gd name="T30" fmla="*/ 14 w 80"/>
              <a:gd name="T31" fmla="*/ 2 h 58"/>
              <a:gd name="T32" fmla="*/ 10 w 80"/>
              <a:gd name="T33" fmla="*/ 0 h 58"/>
              <a:gd name="T34" fmla="*/ 6 w 80"/>
              <a:gd name="T35" fmla="*/ 8 h 58"/>
              <a:gd name="T36" fmla="*/ 2 w 80"/>
              <a:gd name="T37" fmla="*/ 10 h 58"/>
              <a:gd name="T38" fmla="*/ 2 w 80"/>
              <a:gd name="T39" fmla="*/ 12 h 58"/>
              <a:gd name="T40" fmla="*/ 2 w 80"/>
              <a:gd name="T41" fmla="*/ 20 h 58"/>
              <a:gd name="T42" fmla="*/ 4 w 80"/>
              <a:gd name="T43" fmla="*/ 22 h 58"/>
              <a:gd name="T44" fmla="*/ 10 w 80"/>
              <a:gd name="T45" fmla="*/ 24 h 58"/>
              <a:gd name="T46" fmla="*/ 10 w 80"/>
              <a:gd name="T47" fmla="*/ 26 h 58"/>
              <a:gd name="T48" fmla="*/ 6 w 80"/>
              <a:gd name="T49" fmla="*/ 32 h 58"/>
              <a:gd name="T50" fmla="*/ 4 w 80"/>
              <a:gd name="T51" fmla="*/ 36 h 58"/>
              <a:gd name="T52" fmla="*/ 8 w 80"/>
              <a:gd name="T53" fmla="*/ 40 h 58"/>
              <a:gd name="T54" fmla="*/ 8 w 80"/>
              <a:gd name="T55" fmla="*/ 42 h 58"/>
              <a:gd name="T56" fmla="*/ 8 w 80"/>
              <a:gd name="T57" fmla="*/ 44 h 58"/>
              <a:gd name="T58" fmla="*/ 8 w 80"/>
              <a:gd name="T59" fmla="*/ 46 h 58"/>
              <a:gd name="T60" fmla="*/ 10 w 80"/>
              <a:gd name="T61" fmla="*/ 50 h 58"/>
              <a:gd name="T62" fmla="*/ 10 w 80"/>
              <a:gd name="T63" fmla="*/ 56 h 58"/>
              <a:gd name="T64" fmla="*/ 20 w 80"/>
              <a:gd name="T65" fmla="*/ 58 h 58"/>
              <a:gd name="T66" fmla="*/ 24 w 80"/>
              <a:gd name="T67" fmla="*/ 58 h 58"/>
              <a:gd name="T68" fmla="*/ 26 w 80"/>
              <a:gd name="T69" fmla="*/ 54 h 58"/>
              <a:gd name="T70" fmla="*/ 30 w 80"/>
              <a:gd name="T71" fmla="*/ 50 h 58"/>
              <a:gd name="T72" fmla="*/ 36 w 80"/>
              <a:gd name="T73" fmla="*/ 52 h 58"/>
              <a:gd name="T74" fmla="*/ 40 w 80"/>
              <a:gd name="T75" fmla="*/ 54 h 58"/>
              <a:gd name="T76" fmla="*/ 40 w 80"/>
              <a:gd name="T77" fmla="*/ 56 h 58"/>
              <a:gd name="T78" fmla="*/ 46 w 80"/>
              <a:gd name="T79" fmla="*/ 56 h 58"/>
              <a:gd name="T80" fmla="*/ 52 w 80"/>
              <a:gd name="T81" fmla="*/ 56 h 58"/>
              <a:gd name="T82" fmla="*/ 50 w 80"/>
              <a:gd name="T83" fmla="*/ 54 h 58"/>
              <a:gd name="T84" fmla="*/ 52 w 80"/>
              <a:gd name="T85" fmla="*/ 50 h 58"/>
              <a:gd name="T86" fmla="*/ 56 w 80"/>
              <a:gd name="T87" fmla="*/ 50 h 58"/>
              <a:gd name="T88" fmla="*/ 56 w 80"/>
              <a:gd name="T89" fmla="*/ 48 h 58"/>
              <a:gd name="T90" fmla="*/ 60 w 80"/>
              <a:gd name="T91" fmla="*/ 46 h 58"/>
              <a:gd name="T92" fmla="*/ 64 w 80"/>
              <a:gd name="T93" fmla="*/ 48 h 58"/>
              <a:gd name="T94" fmla="*/ 72 w 80"/>
              <a:gd name="T95" fmla="*/ 48 h 58"/>
              <a:gd name="T96" fmla="*/ 70 w 80"/>
              <a:gd name="T97" fmla="*/ 42 h 58"/>
              <a:gd name="T98" fmla="*/ 66 w 80"/>
              <a:gd name="T99" fmla="*/ 40 h 58"/>
              <a:gd name="T100" fmla="*/ 70 w 80"/>
              <a:gd name="T101" fmla="*/ 34 h 58"/>
              <a:gd name="T102" fmla="*/ 70 w 80"/>
              <a:gd name="T103" fmla="*/ 34 h 58"/>
              <a:gd name="T104" fmla="*/ 70 w 80"/>
              <a:gd name="T105" fmla="*/ 28 h 58"/>
              <a:gd name="T106" fmla="*/ 80 w 80"/>
              <a:gd name="T107" fmla="*/ 20 h 58"/>
              <a:gd name="T108" fmla="*/ 80 w 80"/>
              <a:gd name="T109" fmla="*/ 16 h 58"/>
              <a:gd name="T110" fmla="*/ 80 w 80"/>
              <a:gd name="T111"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 h="58">
                <a:moveTo>
                  <a:pt x="80" y="4"/>
                </a:moveTo>
                <a:lnTo>
                  <a:pt x="80" y="4"/>
                </a:lnTo>
                <a:lnTo>
                  <a:pt x="74" y="0"/>
                </a:lnTo>
                <a:lnTo>
                  <a:pt x="74" y="0"/>
                </a:lnTo>
                <a:lnTo>
                  <a:pt x="70" y="0"/>
                </a:lnTo>
                <a:lnTo>
                  <a:pt x="66" y="2"/>
                </a:lnTo>
                <a:lnTo>
                  <a:pt x="66" y="2"/>
                </a:lnTo>
                <a:lnTo>
                  <a:pt x="62" y="4"/>
                </a:lnTo>
                <a:lnTo>
                  <a:pt x="60" y="2"/>
                </a:lnTo>
                <a:lnTo>
                  <a:pt x="56" y="0"/>
                </a:lnTo>
                <a:lnTo>
                  <a:pt x="56" y="0"/>
                </a:lnTo>
                <a:lnTo>
                  <a:pt x="52" y="0"/>
                </a:lnTo>
                <a:lnTo>
                  <a:pt x="48" y="4"/>
                </a:lnTo>
                <a:lnTo>
                  <a:pt x="48" y="4"/>
                </a:lnTo>
                <a:lnTo>
                  <a:pt x="44" y="6"/>
                </a:lnTo>
                <a:lnTo>
                  <a:pt x="40" y="8"/>
                </a:lnTo>
                <a:lnTo>
                  <a:pt x="40" y="8"/>
                </a:lnTo>
                <a:lnTo>
                  <a:pt x="34" y="8"/>
                </a:lnTo>
                <a:lnTo>
                  <a:pt x="28" y="8"/>
                </a:lnTo>
                <a:lnTo>
                  <a:pt x="28" y="8"/>
                </a:lnTo>
                <a:lnTo>
                  <a:pt x="26" y="6"/>
                </a:lnTo>
                <a:lnTo>
                  <a:pt x="24" y="8"/>
                </a:lnTo>
                <a:lnTo>
                  <a:pt x="24" y="8"/>
                </a:lnTo>
                <a:lnTo>
                  <a:pt x="20" y="8"/>
                </a:lnTo>
                <a:lnTo>
                  <a:pt x="20" y="8"/>
                </a:lnTo>
                <a:lnTo>
                  <a:pt x="16" y="8"/>
                </a:lnTo>
                <a:lnTo>
                  <a:pt x="14" y="8"/>
                </a:lnTo>
                <a:lnTo>
                  <a:pt x="14" y="6"/>
                </a:lnTo>
                <a:lnTo>
                  <a:pt x="16" y="4"/>
                </a:lnTo>
                <a:lnTo>
                  <a:pt x="16" y="4"/>
                </a:lnTo>
                <a:lnTo>
                  <a:pt x="16" y="2"/>
                </a:lnTo>
                <a:lnTo>
                  <a:pt x="14" y="2"/>
                </a:lnTo>
                <a:lnTo>
                  <a:pt x="10" y="0"/>
                </a:lnTo>
                <a:lnTo>
                  <a:pt x="10" y="0"/>
                </a:lnTo>
                <a:lnTo>
                  <a:pt x="10" y="4"/>
                </a:lnTo>
                <a:lnTo>
                  <a:pt x="6" y="8"/>
                </a:lnTo>
                <a:lnTo>
                  <a:pt x="6" y="8"/>
                </a:lnTo>
                <a:lnTo>
                  <a:pt x="2" y="10"/>
                </a:lnTo>
                <a:lnTo>
                  <a:pt x="2" y="12"/>
                </a:lnTo>
                <a:lnTo>
                  <a:pt x="2" y="12"/>
                </a:lnTo>
                <a:lnTo>
                  <a:pt x="0" y="16"/>
                </a:lnTo>
                <a:lnTo>
                  <a:pt x="2" y="20"/>
                </a:lnTo>
                <a:lnTo>
                  <a:pt x="2" y="20"/>
                </a:lnTo>
                <a:lnTo>
                  <a:pt x="4" y="22"/>
                </a:lnTo>
                <a:lnTo>
                  <a:pt x="10" y="24"/>
                </a:lnTo>
                <a:lnTo>
                  <a:pt x="10" y="24"/>
                </a:lnTo>
                <a:lnTo>
                  <a:pt x="10" y="24"/>
                </a:lnTo>
                <a:lnTo>
                  <a:pt x="10" y="26"/>
                </a:lnTo>
                <a:lnTo>
                  <a:pt x="6" y="32"/>
                </a:lnTo>
                <a:lnTo>
                  <a:pt x="6" y="32"/>
                </a:lnTo>
                <a:lnTo>
                  <a:pt x="4" y="36"/>
                </a:lnTo>
                <a:lnTo>
                  <a:pt x="4" y="36"/>
                </a:lnTo>
                <a:lnTo>
                  <a:pt x="4" y="36"/>
                </a:lnTo>
                <a:lnTo>
                  <a:pt x="8" y="40"/>
                </a:lnTo>
                <a:lnTo>
                  <a:pt x="8" y="40"/>
                </a:lnTo>
                <a:lnTo>
                  <a:pt x="8" y="42"/>
                </a:lnTo>
                <a:lnTo>
                  <a:pt x="8" y="44"/>
                </a:lnTo>
                <a:lnTo>
                  <a:pt x="8" y="44"/>
                </a:lnTo>
                <a:lnTo>
                  <a:pt x="8" y="46"/>
                </a:lnTo>
                <a:lnTo>
                  <a:pt x="8" y="46"/>
                </a:lnTo>
                <a:lnTo>
                  <a:pt x="12" y="50"/>
                </a:lnTo>
                <a:lnTo>
                  <a:pt x="10" y="50"/>
                </a:lnTo>
                <a:lnTo>
                  <a:pt x="10" y="56"/>
                </a:lnTo>
                <a:lnTo>
                  <a:pt x="10" y="56"/>
                </a:lnTo>
                <a:lnTo>
                  <a:pt x="14" y="56"/>
                </a:lnTo>
                <a:lnTo>
                  <a:pt x="20" y="58"/>
                </a:lnTo>
                <a:lnTo>
                  <a:pt x="20" y="58"/>
                </a:lnTo>
                <a:lnTo>
                  <a:pt x="24" y="58"/>
                </a:lnTo>
                <a:lnTo>
                  <a:pt x="26" y="54"/>
                </a:lnTo>
                <a:lnTo>
                  <a:pt x="26" y="54"/>
                </a:lnTo>
                <a:lnTo>
                  <a:pt x="28" y="52"/>
                </a:lnTo>
                <a:lnTo>
                  <a:pt x="30" y="50"/>
                </a:lnTo>
                <a:lnTo>
                  <a:pt x="36" y="52"/>
                </a:lnTo>
                <a:lnTo>
                  <a:pt x="36" y="52"/>
                </a:lnTo>
                <a:lnTo>
                  <a:pt x="38" y="52"/>
                </a:lnTo>
                <a:lnTo>
                  <a:pt x="40" y="54"/>
                </a:lnTo>
                <a:lnTo>
                  <a:pt x="40" y="56"/>
                </a:lnTo>
                <a:lnTo>
                  <a:pt x="40" y="56"/>
                </a:lnTo>
                <a:lnTo>
                  <a:pt x="46" y="56"/>
                </a:lnTo>
                <a:lnTo>
                  <a:pt x="46" y="56"/>
                </a:lnTo>
                <a:lnTo>
                  <a:pt x="50" y="56"/>
                </a:lnTo>
                <a:lnTo>
                  <a:pt x="52" y="56"/>
                </a:lnTo>
                <a:lnTo>
                  <a:pt x="50" y="54"/>
                </a:lnTo>
                <a:lnTo>
                  <a:pt x="50" y="54"/>
                </a:lnTo>
                <a:lnTo>
                  <a:pt x="50" y="52"/>
                </a:lnTo>
                <a:lnTo>
                  <a:pt x="52" y="50"/>
                </a:lnTo>
                <a:lnTo>
                  <a:pt x="56" y="50"/>
                </a:lnTo>
                <a:lnTo>
                  <a:pt x="56" y="50"/>
                </a:lnTo>
                <a:lnTo>
                  <a:pt x="56" y="50"/>
                </a:lnTo>
                <a:lnTo>
                  <a:pt x="56" y="48"/>
                </a:lnTo>
                <a:lnTo>
                  <a:pt x="56" y="48"/>
                </a:lnTo>
                <a:lnTo>
                  <a:pt x="60" y="46"/>
                </a:lnTo>
                <a:lnTo>
                  <a:pt x="64" y="48"/>
                </a:lnTo>
                <a:lnTo>
                  <a:pt x="64" y="48"/>
                </a:lnTo>
                <a:lnTo>
                  <a:pt x="68" y="48"/>
                </a:lnTo>
                <a:lnTo>
                  <a:pt x="72" y="48"/>
                </a:lnTo>
                <a:lnTo>
                  <a:pt x="72" y="48"/>
                </a:lnTo>
                <a:lnTo>
                  <a:pt x="70" y="42"/>
                </a:lnTo>
                <a:lnTo>
                  <a:pt x="70" y="42"/>
                </a:lnTo>
                <a:lnTo>
                  <a:pt x="66" y="40"/>
                </a:lnTo>
                <a:lnTo>
                  <a:pt x="66" y="40"/>
                </a:lnTo>
                <a:lnTo>
                  <a:pt x="70" y="34"/>
                </a:lnTo>
                <a:lnTo>
                  <a:pt x="70" y="34"/>
                </a:lnTo>
                <a:lnTo>
                  <a:pt x="70" y="34"/>
                </a:lnTo>
                <a:lnTo>
                  <a:pt x="70" y="34"/>
                </a:lnTo>
                <a:lnTo>
                  <a:pt x="70" y="28"/>
                </a:lnTo>
                <a:lnTo>
                  <a:pt x="70" y="28"/>
                </a:lnTo>
                <a:lnTo>
                  <a:pt x="80" y="20"/>
                </a:lnTo>
                <a:lnTo>
                  <a:pt x="80" y="20"/>
                </a:lnTo>
                <a:lnTo>
                  <a:pt x="80" y="16"/>
                </a:lnTo>
                <a:lnTo>
                  <a:pt x="80" y="12"/>
                </a:lnTo>
                <a:lnTo>
                  <a:pt x="80" y="4"/>
                </a:lnTo>
                <a:lnTo>
                  <a:pt x="80"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5" name="Freeform 244">
            <a:extLst>
              <a:ext uri="{FF2B5EF4-FFF2-40B4-BE49-F238E27FC236}">
                <a16:creationId xmlns:a16="http://schemas.microsoft.com/office/drawing/2014/main" id="{C2E2F660-D874-4E5B-BD7E-E172773DC40C}"/>
              </a:ext>
            </a:extLst>
          </p:cNvPr>
          <p:cNvSpPr>
            <a:spLocks/>
          </p:cNvSpPr>
          <p:nvPr userDrawn="1"/>
        </p:nvSpPr>
        <p:spPr bwMode="auto">
          <a:xfrm>
            <a:off x="8409324" y="3553665"/>
            <a:ext cx="34053" cy="24024"/>
          </a:xfrm>
          <a:custGeom>
            <a:avLst/>
            <a:gdLst>
              <a:gd name="T0" fmla="*/ 0 w 20"/>
              <a:gd name="T1" fmla="*/ 8 h 14"/>
              <a:gd name="T2" fmla="*/ 6 w 20"/>
              <a:gd name="T3" fmla="*/ 14 h 14"/>
              <a:gd name="T4" fmla="*/ 10 w 20"/>
              <a:gd name="T5" fmla="*/ 14 h 14"/>
              <a:gd name="T6" fmla="*/ 12 w 20"/>
              <a:gd name="T7" fmla="*/ 12 h 14"/>
              <a:gd name="T8" fmla="*/ 14 w 20"/>
              <a:gd name="T9" fmla="*/ 8 h 14"/>
              <a:gd name="T10" fmla="*/ 18 w 20"/>
              <a:gd name="T11" fmla="*/ 10 h 14"/>
              <a:gd name="T12" fmla="*/ 20 w 20"/>
              <a:gd name="T13" fmla="*/ 10 h 14"/>
              <a:gd name="T14" fmla="*/ 16 w 20"/>
              <a:gd name="T15" fmla="*/ 0 h 14"/>
              <a:gd name="T16" fmla="*/ 16 w 20"/>
              <a:gd name="T17" fmla="*/ 0 h 14"/>
              <a:gd name="T18" fmla="*/ 12 w 20"/>
              <a:gd name="T19" fmla="*/ 0 h 14"/>
              <a:gd name="T20" fmla="*/ 12 w 20"/>
              <a:gd name="T21" fmla="*/ 0 h 14"/>
              <a:gd name="T22" fmla="*/ 10 w 20"/>
              <a:gd name="T23" fmla="*/ 4 h 14"/>
              <a:gd name="T24" fmla="*/ 8 w 20"/>
              <a:gd name="T25" fmla="*/ 8 h 14"/>
              <a:gd name="T26" fmla="*/ 8 w 20"/>
              <a:gd name="T27" fmla="*/ 8 h 14"/>
              <a:gd name="T28" fmla="*/ 0 w 20"/>
              <a:gd name="T29" fmla="*/ 6 h 14"/>
              <a:gd name="T30" fmla="*/ 0 w 20"/>
              <a:gd name="T3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4">
                <a:moveTo>
                  <a:pt x="0" y="8"/>
                </a:moveTo>
                <a:lnTo>
                  <a:pt x="6" y="14"/>
                </a:lnTo>
                <a:lnTo>
                  <a:pt x="10" y="14"/>
                </a:lnTo>
                <a:lnTo>
                  <a:pt x="12" y="12"/>
                </a:lnTo>
                <a:lnTo>
                  <a:pt x="14" y="8"/>
                </a:lnTo>
                <a:lnTo>
                  <a:pt x="18" y="10"/>
                </a:lnTo>
                <a:lnTo>
                  <a:pt x="20" y="10"/>
                </a:lnTo>
                <a:lnTo>
                  <a:pt x="16" y="0"/>
                </a:lnTo>
                <a:lnTo>
                  <a:pt x="16" y="0"/>
                </a:lnTo>
                <a:lnTo>
                  <a:pt x="12" y="0"/>
                </a:lnTo>
                <a:lnTo>
                  <a:pt x="12" y="0"/>
                </a:lnTo>
                <a:lnTo>
                  <a:pt x="10" y="4"/>
                </a:lnTo>
                <a:lnTo>
                  <a:pt x="8" y="8"/>
                </a:lnTo>
                <a:lnTo>
                  <a:pt x="8" y="8"/>
                </a:lnTo>
                <a:lnTo>
                  <a:pt x="0" y="6"/>
                </a:lnTo>
                <a:lnTo>
                  <a:pt x="0"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6" name="Freeform 249">
            <a:extLst>
              <a:ext uri="{FF2B5EF4-FFF2-40B4-BE49-F238E27FC236}">
                <a16:creationId xmlns:a16="http://schemas.microsoft.com/office/drawing/2014/main" id="{236F8436-38E2-43B6-81E5-C59687B42F9B}"/>
              </a:ext>
            </a:extLst>
          </p:cNvPr>
          <p:cNvSpPr>
            <a:spLocks/>
          </p:cNvSpPr>
          <p:nvPr userDrawn="1"/>
        </p:nvSpPr>
        <p:spPr bwMode="auto">
          <a:xfrm>
            <a:off x="6293357" y="4202307"/>
            <a:ext cx="221349" cy="264262"/>
          </a:xfrm>
          <a:custGeom>
            <a:avLst/>
            <a:gdLst>
              <a:gd name="T0" fmla="*/ 4 w 132"/>
              <a:gd name="T1" fmla="*/ 128 h 154"/>
              <a:gd name="T2" fmla="*/ 10 w 132"/>
              <a:gd name="T3" fmla="*/ 134 h 154"/>
              <a:gd name="T4" fmla="*/ 10 w 132"/>
              <a:gd name="T5" fmla="*/ 146 h 154"/>
              <a:gd name="T6" fmla="*/ 14 w 132"/>
              <a:gd name="T7" fmla="*/ 154 h 154"/>
              <a:gd name="T8" fmla="*/ 16 w 132"/>
              <a:gd name="T9" fmla="*/ 154 h 154"/>
              <a:gd name="T10" fmla="*/ 20 w 132"/>
              <a:gd name="T11" fmla="*/ 152 h 154"/>
              <a:gd name="T12" fmla="*/ 32 w 132"/>
              <a:gd name="T13" fmla="*/ 146 h 154"/>
              <a:gd name="T14" fmla="*/ 46 w 132"/>
              <a:gd name="T15" fmla="*/ 136 h 154"/>
              <a:gd name="T16" fmla="*/ 48 w 132"/>
              <a:gd name="T17" fmla="*/ 130 h 154"/>
              <a:gd name="T18" fmla="*/ 54 w 132"/>
              <a:gd name="T19" fmla="*/ 128 h 154"/>
              <a:gd name="T20" fmla="*/ 58 w 132"/>
              <a:gd name="T21" fmla="*/ 132 h 154"/>
              <a:gd name="T22" fmla="*/ 64 w 132"/>
              <a:gd name="T23" fmla="*/ 132 h 154"/>
              <a:gd name="T24" fmla="*/ 70 w 132"/>
              <a:gd name="T25" fmla="*/ 132 h 154"/>
              <a:gd name="T26" fmla="*/ 78 w 132"/>
              <a:gd name="T27" fmla="*/ 134 h 154"/>
              <a:gd name="T28" fmla="*/ 82 w 132"/>
              <a:gd name="T29" fmla="*/ 132 h 154"/>
              <a:gd name="T30" fmla="*/ 84 w 132"/>
              <a:gd name="T31" fmla="*/ 112 h 154"/>
              <a:gd name="T32" fmla="*/ 90 w 132"/>
              <a:gd name="T33" fmla="*/ 108 h 154"/>
              <a:gd name="T34" fmla="*/ 94 w 132"/>
              <a:gd name="T35" fmla="*/ 96 h 154"/>
              <a:gd name="T36" fmla="*/ 100 w 132"/>
              <a:gd name="T37" fmla="*/ 90 h 154"/>
              <a:gd name="T38" fmla="*/ 106 w 132"/>
              <a:gd name="T39" fmla="*/ 86 h 154"/>
              <a:gd name="T40" fmla="*/ 118 w 132"/>
              <a:gd name="T41" fmla="*/ 80 h 154"/>
              <a:gd name="T42" fmla="*/ 122 w 132"/>
              <a:gd name="T43" fmla="*/ 78 h 154"/>
              <a:gd name="T44" fmla="*/ 128 w 132"/>
              <a:gd name="T45" fmla="*/ 76 h 154"/>
              <a:gd name="T46" fmla="*/ 132 w 132"/>
              <a:gd name="T47" fmla="*/ 72 h 154"/>
              <a:gd name="T48" fmla="*/ 126 w 132"/>
              <a:gd name="T49" fmla="*/ 68 h 154"/>
              <a:gd name="T50" fmla="*/ 122 w 132"/>
              <a:gd name="T51" fmla="*/ 66 h 154"/>
              <a:gd name="T52" fmla="*/ 116 w 132"/>
              <a:gd name="T53" fmla="*/ 64 h 154"/>
              <a:gd name="T54" fmla="*/ 116 w 132"/>
              <a:gd name="T55" fmla="*/ 62 h 154"/>
              <a:gd name="T56" fmla="*/ 116 w 132"/>
              <a:gd name="T57" fmla="*/ 52 h 154"/>
              <a:gd name="T58" fmla="*/ 112 w 132"/>
              <a:gd name="T59" fmla="*/ 48 h 154"/>
              <a:gd name="T60" fmla="*/ 110 w 132"/>
              <a:gd name="T61" fmla="*/ 44 h 154"/>
              <a:gd name="T62" fmla="*/ 106 w 132"/>
              <a:gd name="T63" fmla="*/ 36 h 154"/>
              <a:gd name="T64" fmla="*/ 100 w 132"/>
              <a:gd name="T65" fmla="*/ 32 h 154"/>
              <a:gd name="T66" fmla="*/ 98 w 132"/>
              <a:gd name="T67" fmla="*/ 28 h 154"/>
              <a:gd name="T68" fmla="*/ 94 w 132"/>
              <a:gd name="T69" fmla="*/ 30 h 154"/>
              <a:gd name="T70" fmla="*/ 92 w 132"/>
              <a:gd name="T71" fmla="*/ 28 h 154"/>
              <a:gd name="T72" fmla="*/ 90 w 132"/>
              <a:gd name="T73" fmla="*/ 26 h 154"/>
              <a:gd name="T74" fmla="*/ 82 w 132"/>
              <a:gd name="T75" fmla="*/ 16 h 154"/>
              <a:gd name="T76" fmla="*/ 78 w 132"/>
              <a:gd name="T77" fmla="*/ 8 h 154"/>
              <a:gd name="T78" fmla="*/ 76 w 132"/>
              <a:gd name="T79" fmla="*/ 4 h 154"/>
              <a:gd name="T80" fmla="*/ 72 w 132"/>
              <a:gd name="T81" fmla="*/ 0 h 154"/>
              <a:gd name="T82" fmla="*/ 68 w 132"/>
              <a:gd name="T83" fmla="*/ 2 h 154"/>
              <a:gd name="T84" fmla="*/ 62 w 132"/>
              <a:gd name="T85" fmla="*/ 2 h 154"/>
              <a:gd name="T86" fmla="*/ 60 w 132"/>
              <a:gd name="T87" fmla="*/ 6 h 154"/>
              <a:gd name="T88" fmla="*/ 26 w 132"/>
              <a:gd name="T89" fmla="*/ 8 h 154"/>
              <a:gd name="T90" fmla="*/ 0 w 132"/>
              <a:gd name="T91" fmla="*/ 6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54">
                <a:moveTo>
                  <a:pt x="0" y="126"/>
                </a:moveTo>
                <a:lnTo>
                  <a:pt x="0" y="126"/>
                </a:lnTo>
                <a:lnTo>
                  <a:pt x="4" y="128"/>
                </a:lnTo>
                <a:lnTo>
                  <a:pt x="6" y="130"/>
                </a:lnTo>
                <a:lnTo>
                  <a:pt x="10" y="134"/>
                </a:lnTo>
                <a:lnTo>
                  <a:pt x="10" y="134"/>
                </a:lnTo>
                <a:lnTo>
                  <a:pt x="12" y="142"/>
                </a:lnTo>
                <a:lnTo>
                  <a:pt x="10" y="146"/>
                </a:lnTo>
                <a:lnTo>
                  <a:pt x="10" y="146"/>
                </a:lnTo>
                <a:lnTo>
                  <a:pt x="10" y="152"/>
                </a:lnTo>
                <a:lnTo>
                  <a:pt x="12" y="154"/>
                </a:lnTo>
                <a:lnTo>
                  <a:pt x="14" y="154"/>
                </a:lnTo>
                <a:lnTo>
                  <a:pt x="14" y="154"/>
                </a:lnTo>
                <a:lnTo>
                  <a:pt x="16" y="154"/>
                </a:lnTo>
                <a:lnTo>
                  <a:pt x="16" y="154"/>
                </a:lnTo>
                <a:lnTo>
                  <a:pt x="18" y="152"/>
                </a:lnTo>
                <a:lnTo>
                  <a:pt x="20" y="152"/>
                </a:lnTo>
                <a:lnTo>
                  <a:pt x="20" y="152"/>
                </a:lnTo>
                <a:lnTo>
                  <a:pt x="28" y="148"/>
                </a:lnTo>
                <a:lnTo>
                  <a:pt x="32" y="146"/>
                </a:lnTo>
                <a:lnTo>
                  <a:pt x="32" y="146"/>
                </a:lnTo>
                <a:lnTo>
                  <a:pt x="40" y="142"/>
                </a:lnTo>
                <a:lnTo>
                  <a:pt x="44" y="138"/>
                </a:lnTo>
                <a:lnTo>
                  <a:pt x="46" y="136"/>
                </a:lnTo>
                <a:lnTo>
                  <a:pt x="46" y="136"/>
                </a:lnTo>
                <a:lnTo>
                  <a:pt x="46" y="132"/>
                </a:lnTo>
                <a:lnTo>
                  <a:pt x="48" y="130"/>
                </a:lnTo>
                <a:lnTo>
                  <a:pt x="50" y="128"/>
                </a:lnTo>
                <a:lnTo>
                  <a:pt x="50" y="128"/>
                </a:lnTo>
                <a:lnTo>
                  <a:pt x="54" y="128"/>
                </a:lnTo>
                <a:lnTo>
                  <a:pt x="56" y="132"/>
                </a:lnTo>
                <a:lnTo>
                  <a:pt x="56" y="132"/>
                </a:lnTo>
                <a:lnTo>
                  <a:pt x="58" y="132"/>
                </a:lnTo>
                <a:lnTo>
                  <a:pt x="60" y="130"/>
                </a:lnTo>
                <a:lnTo>
                  <a:pt x="62" y="130"/>
                </a:lnTo>
                <a:lnTo>
                  <a:pt x="64" y="132"/>
                </a:lnTo>
                <a:lnTo>
                  <a:pt x="64" y="132"/>
                </a:lnTo>
                <a:lnTo>
                  <a:pt x="66" y="132"/>
                </a:lnTo>
                <a:lnTo>
                  <a:pt x="70" y="132"/>
                </a:lnTo>
                <a:lnTo>
                  <a:pt x="74" y="132"/>
                </a:lnTo>
                <a:lnTo>
                  <a:pt x="74" y="132"/>
                </a:lnTo>
                <a:lnTo>
                  <a:pt x="78" y="134"/>
                </a:lnTo>
                <a:lnTo>
                  <a:pt x="80" y="134"/>
                </a:lnTo>
                <a:lnTo>
                  <a:pt x="82" y="132"/>
                </a:lnTo>
                <a:lnTo>
                  <a:pt x="82" y="132"/>
                </a:lnTo>
                <a:lnTo>
                  <a:pt x="82" y="112"/>
                </a:lnTo>
                <a:lnTo>
                  <a:pt x="82" y="112"/>
                </a:lnTo>
                <a:lnTo>
                  <a:pt x="84" y="112"/>
                </a:lnTo>
                <a:lnTo>
                  <a:pt x="90" y="110"/>
                </a:lnTo>
                <a:lnTo>
                  <a:pt x="90" y="110"/>
                </a:lnTo>
                <a:lnTo>
                  <a:pt x="90" y="108"/>
                </a:lnTo>
                <a:lnTo>
                  <a:pt x="92" y="104"/>
                </a:lnTo>
                <a:lnTo>
                  <a:pt x="92" y="98"/>
                </a:lnTo>
                <a:lnTo>
                  <a:pt x="94" y="96"/>
                </a:lnTo>
                <a:lnTo>
                  <a:pt x="94" y="96"/>
                </a:lnTo>
                <a:lnTo>
                  <a:pt x="98" y="94"/>
                </a:lnTo>
                <a:lnTo>
                  <a:pt x="100" y="90"/>
                </a:lnTo>
                <a:lnTo>
                  <a:pt x="102" y="88"/>
                </a:lnTo>
                <a:lnTo>
                  <a:pt x="106" y="86"/>
                </a:lnTo>
                <a:lnTo>
                  <a:pt x="106" y="86"/>
                </a:lnTo>
                <a:lnTo>
                  <a:pt x="112" y="84"/>
                </a:lnTo>
                <a:lnTo>
                  <a:pt x="118" y="80"/>
                </a:lnTo>
                <a:lnTo>
                  <a:pt x="118" y="80"/>
                </a:lnTo>
                <a:lnTo>
                  <a:pt x="120" y="80"/>
                </a:lnTo>
                <a:lnTo>
                  <a:pt x="120" y="78"/>
                </a:lnTo>
                <a:lnTo>
                  <a:pt x="122" y="78"/>
                </a:lnTo>
                <a:lnTo>
                  <a:pt x="124" y="78"/>
                </a:lnTo>
                <a:lnTo>
                  <a:pt x="124" y="78"/>
                </a:lnTo>
                <a:lnTo>
                  <a:pt x="128" y="76"/>
                </a:lnTo>
                <a:lnTo>
                  <a:pt x="130" y="74"/>
                </a:lnTo>
                <a:lnTo>
                  <a:pt x="132" y="72"/>
                </a:lnTo>
                <a:lnTo>
                  <a:pt x="132" y="72"/>
                </a:lnTo>
                <a:lnTo>
                  <a:pt x="130" y="70"/>
                </a:lnTo>
                <a:lnTo>
                  <a:pt x="126" y="68"/>
                </a:lnTo>
                <a:lnTo>
                  <a:pt x="126" y="68"/>
                </a:lnTo>
                <a:lnTo>
                  <a:pt x="124" y="66"/>
                </a:lnTo>
                <a:lnTo>
                  <a:pt x="124" y="66"/>
                </a:lnTo>
                <a:lnTo>
                  <a:pt x="122" y="66"/>
                </a:lnTo>
                <a:lnTo>
                  <a:pt x="120" y="66"/>
                </a:lnTo>
                <a:lnTo>
                  <a:pt x="120" y="66"/>
                </a:lnTo>
                <a:lnTo>
                  <a:pt x="116" y="64"/>
                </a:lnTo>
                <a:lnTo>
                  <a:pt x="116" y="64"/>
                </a:lnTo>
                <a:lnTo>
                  <a:pt x="116" y="62"/>
                </a:lnTo>
                <a:lnTo>
                  <a:pt x="116" y="62"/>
                </a:lnTo>
                <a:lnTo>
                  <a:pt x="114" y="56"/>
                </a:lnTo>
                <a:lnTo>
                  <a:pt x="116" y="52"/>
                </a:lnTo>
                <a:lnTo>
                  <a:pt x="116" y="52"/>
                </a:lnTo>
                <a:lnTo>
                  <a:pt x="116" y="50"/>
                </a:lnTo>
                <a:lnTo>
                  <a:pt x="114" y="50"/>
                </a:lnTo>
                <a:lnTo>
                  <a:pt x="112" y="48"/>
                </a:lnTo>
                <a:lnTo>
                  <a:pt x="112" y="48"/>
                </a:lnTo>
                <a:lnTo>
                  <a:pt x="112" y="48"/>
                </a:lnTo>
                <a:lnTo>
                  <a:pt x="110" y="44"/>
                </a:lnTo>
                <a:lnTo>
                  <a:pt x="108" y="42"/>
                </a:lnTo>
                <a:lnTo>
                  <a:pt x="108" y="42"/>
                </a:lnTo>
                <a:lnTo>
                  <a:pt x="106" y="36"/>
                </a:lnTo>
                <a:lnTo>
                  <a:pt x="106" y="36"/>
                </a:lnTo>
                <a:lnTo>
                  <a:pt x="102" y="34"/>
                </a:lnTo>
                <a:lnTo>
                  <a:pt x="100" y="32"/>
                </a:lnTo>
                <a:lnTo>
                  <a:pt x="98" y="30"/>
                </a:lnTo>
                <a:lnTo>
                  <a:pt x="98" y="30"/>
                </a:lnTo>
                <a:lnTo>
                  <a:pt x="98" y="28"/>
                </a:lnTo>
                <a:lnTo>
                  <a:pt x="98" y="30"/>
                </a:lnTo>
                <a:lnTo>
                  <a:pt x="96" y="30"/>
                </a:lnTo>
                <a:lnTo>
                  <a:pt x="94" y="30"/>
                </a:lnTo>
                <a:lnTo>
                  <a:pt x="94" y="30"/>
                </a:lnTo>
                <a:lnTo>
                  <a:pt x="92" y="30"/>
                </a:lnTo>
                <a:lnTo>
                  <a:pt x="92" y="28"/>
                </a:lnTo>
                <a:lnTo>
                  <a:pt x="90" y="26"/>
                </a:lnTo>
                <a:lnTo>
                  <a:pt x="90" y="26"/>
                </a:lnTo>
                <a:lnTo>
                  <a:pt x="90" y="26"/>
                </a:lnTo>
                <a:lnTo>
                  <a:pt x="84" y="20"/>
                </a:lnTo>
                <a:lnTo>
                  <a:pt x="82" y="16"/>
                </a:lnTo>
                <a:lnTo>
                  <a:pt x="82" y="16"/>
                </a:lnTo>
                <a:lnTo>
                  <a:pt x="82" y="12"/>
                </a:lnTo>
                <a:lnTo>
                  <a:pt x="80" y="10"/>
                </a:lnTo>
                <a:lnTo>
                  <a:pt x="78" y="8"/>
                </a:lnTo>
                <a:lnTo>
                  <a:pt x="78" y="8"/>
                </a:lnTo>
                <a:lnTo>
                  <a:pt x="76" y="6"/>
                </a:lnTo>
                <a:lnTo>
                  <a:pt x="76" y="4"/>
                </a:lnTo>
                <a:lnTo>
                  <a:pt x="74" y="0"/>
                </a:lnTo>
                <a:lnTo>
                  <a:pt x="74" y="0"/>
                </a:lnTo>
                <a:lnTo>
                  <a:pt x="72" y="0"/>
                </a:lnTo>
                <a:lnTo>
                  <a:pt x="70" y="0"/>
                </a:lnTo>
                <a:lnTo>
                  <a:pt x="68" y="2"/>
                </a:lnTo>
                <a:lnTo>
                  <a:pt x="68" y="2"/>
                </a:lnTo>
                <a:lnTo>
                  <a:pt x="66" y="4"/>
                </a:lnTo>
                <a:lnTo>
                  <a:pt x="64" y="4"/>
                </a:lnTo>
                <a:lnTo>
                  <a:pt x="62" y="2"/>
                </a:lnTo>
                <a:lnTo>
                  <a:pt x="60" y="4"/>
                </a:lnTo>
                <a:lnTo>
                  <a:pt x="60" y="4"/>
                </a:lnTo>
                <a:lnTo>
                  <a:pt x="60" y="6"/>
                </a:lnTo>
                <a:lnTo>
                  <a:pt x="58" y="6"/>
                </a:lnTo>
                <a:lnTo>
                  <a:pt x="56" y="6"/>
                </a:lnTo>
                <a:lnTo>
                  <a:pt x="26" y="8"/>
                </a:lnTo>
                <a:lnTo>
                  <a:pt x="16" y="8"/>
                </a:lnTo>
                <a:lnTo>
                  <a:pt x="16" y="66"/>
                </a:lnTo>
                <a:lnTo>
                  <a:pt x="0" y="66"/>
                </a:lnTo>
                <a:lnTo>
                  <a:pt x="0" y="1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7" name="Freeform 250">
            <a:extLst>
              <a:ext uri="{FF2B5EF4-FFF2-40B4-BE49-F238E27FC236}">
                <a16:creationId xmlns:a16="http://schemas.microsoft.com/office/drawing/2014/main" id="{7BC32D96-8033-4BE4-A22F-F9F72602FD4F}"/>
              </a:ext>
            </a:extLst>
          </p:cNvPr>
          <p:cNvSpPr>
            <a:spLocks/>
          </p:cNvSpPr>
          <p:nvPr userDrawn="1"/>
        </p:nvSpPr>
        <p:spPr bwMode="auto">
          <a:xfrm>
            <a:off x="6209771" y="2338746"/>
            <a:ext cx="86682" cy="92663"/>
          </a:xfrm>
          <a:custGeom>
            <a:avLst/>
            <a:gdLst>
              <a:gd name="T0" fmla="*/ 48 w 52"/>
              <a:gd name="T1" fmla="*/ 10 h 54"/>
              <a:gd name="T2" fmla="*/ 38 w 52"/>
              <a:gd name="T3" fmla="*/ 10 h 54"/>
              <a:gd name="T4" fmla="*/ 36 w 52"/>
              <a:gd name="T5" fmla="*/ 8 h 54"/>
              <a:gd name="T6" fmla="*/ 34 w 52"/>
              <a:gd name="T7" fmla="*/ 6 h 54"/>
              <a:gd name="T8" fmla="*/ 28 w 52"/>
              <a:gd name="T9" fmla="*/ 4 h 54"/>
              <a:gd name="T10" fmla="*/ 24 w 52"/>
              <a:gd name="T11" fmla="*/ 4 h 54"/>
              <a:gd name="T12" fmla="*/ 18 w 52"/>
              <a:gd name="T13" fmla="*/ 6 h 54"/>
              <a:gd name="T14" fmla="*/ 16 w 52"/>
              <a:gd name="T15" fmla="*/ 6 h 54"/>
              <a:gd name="T16" fmla="*/ 10 w 52"/>
              <a:gd name="T17" fmla="*/ 2 h 54"/>
              <a:gd name="T18" fmla="*/ 10 w 52"/>
              <a:gd name="T19" fmla="*/ 4 h 54"/>
              <a:gd name="T20" fmla="*/ 6 w 52"/>
              <a:gd name="T21" fmla="*/ 4 h 54"/>
              <a:gd name="T22" fmla="*/ 4 w 52"/>
              <a:gd name="T23" fmla="*/ 0 h 54"/>
              <a:gd name="T24" fmla="*/ 0 w 52"/>
              <a:gd name="T25" fmla="*/ 0 h 54"/>
              <a:gd name="T26" fmla="*/ 0 w 52"/>
              <a:gd name="T27" fmla="*/ 2 h 54"/>
              <a:gd name="T28" fmla="*/ 0 w 52"/>
              <a:gd name="T29" fmla="*/ 6 h 54"/>
              <a:gd name="T30" fmla="*/ 8 w 52"/>
              <a:gd name="T31" fmla="*/ 18 h 54"/>
              <a:gd name="T32" fmla="*/ 8 w 52"/>
              <a:gd name="T33" fmla="*/ 20 h 54"/>
              <a:gd name="T34" fmla="*/ 8 w 52"/>
              <a:gd name="T35" fmla="*/ 22 h 54"/>
              <a:gd name="T36" fmla="*/ 14 w 52"/>
              <a:gd name="T37" fmla="*/ 30 h 54"/>
              <a:gd name="T38" fmla="*/ 20 w 52"/>
              <a:gd name="T39" fmla="*/ 36 h 54"/>
              <a:gd name="T40" fmla="*/ 24 w 52"/>
              <a:gd name="T41" fmla="*/ 42 h 54"/>
              <a:gd name="T42" fmla="*/ 30 w 52"/>
              <a:gd name="T43" fmla="*/ 46 h 54"/>
              <a:gd name="T44" fmla="*/ 34 w 52"/>
              <a:gd name="T45" fmla="*/ 50 h 54"/>
              <a:gd name="T46" fmla="*/ 38 w 52"/>
              <a:gd name="T47" fmla="*/ 54 h 54"/>
              <a:gd name="T48" fmla="*/ 36 w 52"/>
              <a:gd name="T49" fmla="*/ 50 h 54"/>
              <a:gd name="T50" fmla="*/ 36 w 52"/>
              <a:gd name="T51" fmla="*/ 46 h 54"/>
              <a:gd name="T52" fmla="*/ 38 w 52"/>
              <a:gd name="T53" fmla="*/ 38 h 54"/>
              <a:gd name="T54" fmla="*/ 44 w 52"/>
              <a:gd name="T55" fmla="*/ 36 h 54"/>
              <a:gd name="T56" fmla="*/ 46 w 52"/>
              <a:gd name="T57" fmla="*/ 32 h 54"/>
              <a:gd name="T58" fmla="*/ 50 w 52"/>
              <a:gd name="T59" fmla="*/ 30 h 54"/>
              <a:gd name="T60" fmla="*/ 52 w 52"/>
              <a:gd name="T61" fmla="*/ 28 h 54"/>
              <a:gd name="T62" fmla="*/ 50 w 52"/>
              <a:gd name="T63" fmla="*/ 26 h 54"/>
              <a:gd name="T64" fmla="*/ 46 w 52"/>
              <a:gd name="T65" fmla="*/ 22 h 54"/>
              <a:gd name="T66" fmla="*/ 50 w 52"/>
              <a:gd name="T67" fmla="*/ 22 h 54"/>
              <a:gd name="T68" fmla="*/ 52 w 52"/>
              <a:gd name="T69" fmla="*/ 20 h 54"/>
              <a:gd name="T70" fmla="*/ 50 w 52"/>
              <a:gd name="T71" fmla="*/ 18 h 54"/>
              <a:gd name="T72" fmla="*/ 48 w 52"/>
              <a:gd name="T73" fmla="*/ 14 h 54"/>
              <a:gd name="T74" fmla="*/ 48 w 52"/>
              <a:gd name="T75"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48" y="10"/>
                </a:moveTo>
                <a:lnTo>
                  <a:pt x="48" y="10"/>
                </a:lnTo>
                <a:lnTo>
                  <a:pt x="42" y="10"/>
                </a:lnTo>
                <a:lnTo>
                  <a:pt x="38" y="10"/>
                </a:lnTo>
                <a:lnTo>
                  <a:pt x="36" y="8"/>
                </a:lnTo>
                <a:lnTo>
                  <a:pt x="36" y="8"/>
                </a:lnTo>
                <a:lnTo>
                  <a:pt x="34" y="6"/>
                </a:lnTo>
                <a:lnTo>
                  <a:pt x="34" y="6"/>
                </a:lnTo>
                <a:lnTo>
                  <a:pt x="34" y="6"/>
                </a:lnTo>
                <a:lnTo>
                  <a:pt x="28" y="4"/>
                </a:lnTo>
                <a:lnTo>
                  <a:pt x="28" y="4"/>
                </a:lnTo>
                <a:lnTo>
                  <a:pt x="24" y="4"/>
                </a:lnTo>
                <a:lnTo>
                  <a:pt x="20" y="4"/>
                </a:lnTo>
                <a:lnTo>
                  <a:pt x="18" y="6"/>
                </a:lnTo>
                <a:lnTo>
                  <a:pt x="16" y="6"/>
                </a:lnTo>
                <a:lnTo>
                  <a:pt x="16" y="6"/>
                </a:lnTo>
                <a:lnTo>
                  <a:pt x="12" y="4"/>
                </a:lnTo>
                <a:lnTo>
                  <a:pt x="10" y="2"/>
                </a:lnTo>
                <a:lnTo>
                  <a:pt x="10" y="4"/>
                </a:lnTo>
                <a:lnTo>
                  <a:pt x="10" y="4"/>
                </a:lnTo>
                <a:lnTo>
                  <a:pt x="8" y="4"/>
                </a:lnTo>
                <a:lnTo>
                  <a:pt x="6" y="4"/>
                </a:lnTo>
                <a:lnTo>
                  <a:pt x="4" y="0"/>
                </a:lnTo>
                <a:lnTo>
                  <a:pt x="4" y="0"/>
                </a:lnTo>
                <a:lnTo>
                  <a:pt x="2" y="0"/>
                </a:lnTo>
                <a:lnTo>
                  <a:pt x="0" y="0"/>
                </a:lnTo>
                <a:lnTo>
                  <a:pt x="0" y="2"/>
                </a:lnTo>
                <a:lnTo>
                  <a:pt x="0" y="2"/>
                </a:lnTo>
                <a:lnTo>
                  <a:pt x="0" y="6"/>
                </a:lnTo>
                <a:lnTo>
                  <a:pt x="0" y="6"/>
                </a:lnTo>
                <a:lnTo>
                  <a:pt x="4" y="10"/>
                </a:lnTo>
                <a:lnTo>
                  <a:pt x="8" y="18"/>
                </a:lnTo>
                <a:lnTo>
                  <a:pt x="8" y="18"/>
                </a:lnTo>
                <a:lnTo>
                  <a:pt x="8" y="20"/>
                </a:lnTo>
                <a:lnTo>
                  <a:pt x="6" y="20"/>
                </a:lnTo>
                <a:lnTo>
                  <a:pt x="8" y="22"/>
                </a:lnTo>
                <a:lnTo>
                  <a:pt x="8" y="22"/>
                </a:lnTo>
                <a:lnTo>
                  <a:pt x="14" y="30"/>
                </a:lnTo>
                <a:lnTo>
                  <a:pt x="20" y="36"/>
                </a:lnTo>
                <a:lnTo>
                  <a:pt x="20" y="36"/>
                </a:lnTo>
                <a:lnTo>
                  <a:pt x="24" y="42"/>
                </a:lnTo>
                <a:lnTo>
                  <a:pt x="24" y="42"/>
                </a:lnTo>
                <a:lnTo>
                  <a:pt x="28" y="44"/>
                </a:lnTo>
                <a:lnTo>
                  <a:pt x="30" y="46"/>
                </a:lnTo>
                <a:lnTo>
                  <a:pt x="30" y="46"/>
                </a:lnTo>
                <a:lnTo>
                  <a:pt x="34" y="50"/>
                </a:lnTo>
                <a:lnTo>
                  <a:pt x="34" y="50"/>
                </a:lnTo>
                <a:lnTo>
                  <a:pt x="38" y="54"/>
                </a:lnTo>
                <a:lnTo>
                  <a:pt x="38" y="54"/>
                </a:lnTo>
                <a:lnTo>
                  <a:pt x="36" y="50"/>
                </a:lnTo>
                <a:lnTo>
                  <a:pt x="36" y="46"/>
                </a:lnTo>
                <a:lnTo>
                  <a:pt x="36" y="46"/>
                </a:lnTo>
                <a:lnTo>
                  <a:pt x="36" y="42"/>
                </a:lnTo>
                <a:lnTo>
                  <a:pt x="38" y="38"/>
                </a:lnTo>
                <a:lnTo>
                  <a:pt x="38" y="38"/>
                </a:lnTo>
                <a:lnTo>
                  <a:pt x="44" y="36"/>
                </a:lnTo>
                <a:lnTo>
                  <a:pt x="44" y="36"/>
                </a:lnTo>
                <a:lnTo>
                  <a:pt x="46" y="32"/>
                </a:lnTo>
                <a:lnTo>
                  <a:pt x="46" y="32"/>
                </a:lnTo>
                <a:lnTo>
                  <a:pt x="50" y="30"/>
                </a:lnTo>
                <a:lnTo>
                  <a:pt x="52" y="28"/>
                </a:lnTo>
                <a:lnTo>
                  <a:pt x="52" y="28"/>
                </a:lnTo>
                <a:lnTo>
                  <a:pt x="52" y="26"/>
                </a:lnTo>
                <a:lnTo>
                  <a:pt x="50" y="26"/>
                </a:lnTo>
                <a:lnTo>
                  <a:pt x="48" y="24"/>
                </a:lnTo>
                <a:lnTo>
                  <a:pt x="46" y="22"/>
                </a:lnTo>
                <a:lnTo>
                  <a:pt x="46" y="22"/>
                </a:lnTo>
                <a:lnTo>
                  <a:pt x="50" y="22"/>
                </a:lnTo>
                <a:lnTo>
                  <a:pt x="52" y="20"/>
                </a:lnTo>
                <a:lnTo>
                  <a:pt x="52" y="20"/>
                </a:lnTo>
                <a:lnTo>
                  <a:pt x="52" y="18"/>
                </a:lnTo>
                <a:lnTo>
                  <a:pt x="50" y="18"/>
                </a:lnTo>
                <a:lnTo>
                  <a:pt x="48" y="14"/>
                </a:lnTo>
                <a:lnTo>
                  <a:pt x="48" y="14"/>
                </a:lnTo>
                <a:lnTo>
                  <a:pt x="48" y="10"/>
                </a:lnTo>
                <a:lnTo>
                  <a:pt x="48"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8" name="Freeform 252">
            <a:extLst>
              <a:ext uri="{FF2B5EF4-FFF2-40B4-BE49-F238E27FC236}">
                <a16:creationId xmlns:a16="http://schemas.microsoft.com/office/drawing/2014/main" id="{C87ABFF1-F62C-4DDD-9494-2E8474B43E01}"/>
              </a:ext>
            </a:extLst>
          </p:cNvPr>
          <p:cNvSpPr>
            <a:spLocks/>
          </p:cNvSpPr>
          <p:nvPr userDrawn="1"/>
        </p:nvSpPr>
        <p:spPr bwMode="auto">
          <a:xfrm>
            <a:off x="7859822" y="2874133"/>
            <a:ext cx="66559" cy="37751"/>
          </a:xfrm>
          <a:custGeom>
            <a:avLst/>
            <a:gdLst>
              <a:gd name="T0" fmla="*/ 0 w 40"/>
              <a:gd name="T1" fmla="*/ 12 h 22"/>
              <a:gd name="T2" fmla="*/ 0 w 40"/>
              <a:gd name="T3" fmla="*/ 18 h 22"/>
              <a:gd name="T4" fmla="*/ 4 w 40"/>
              <a:gd name="T5" fmla="*/ 22 h 22"/>
              <a:gd name="T6" fmla="*/ 10 w 40"/>
              <a:gd name="T7" fmla="*/ 22 h 22"/>
              <a:gd name="T8" fmla="*/ 16 w 40"/>
              <a:gd name="T9" fmla="*/ 20 h 22"/>
              <a:gd name="T10" fmla="*/ 24 w 40"/>
              <a:gd name="T11" fmla="*/ 22 h 22"/>
              <a:gd name="T12" fmla="*/ 36 w 40"/>
              <a:gd name="T13" fmla="*/ 22 h 22"/>
              <a:gd name="T14" fmla="*/ 40 w 40"/>
              <a:gd name="T15" fmla="*/ 20 h 22"/>
              <a:gd name="T16" fmla="*/ 40 w 40"/>
              <a:gd name="T17" fmla="*/ 14 h 22"/>
              <a:gd name="T18" fmla="*/ 38 w 40"/>
              <a:gd name="T19" fmla="*/ 4 h 22"/>
              <a:gd name="T20" fmla="*/ 28 w 40"/>
              <a:gd name="T21" fmla="*/ 4 h 22"/>
              <a:gd name="T22" fmla="*/ 22 w 40"/>
              <a:gd name="T23" fmla="*/ 4 h 22"/>
              <a:gd name="T24" fmla="*/ 16 w 40"/>
              <a:gd name="T25" fmla="*/ 0 h 22"/>
              <a:gd name="T26" fmla="*/ 8 w 40"/>
              <a:gd name="T27" fmla="*/ 2 h 22"/>
              <a:gd name="T28" fmla="*/ 4 w 40"/>
              <a:gd name="T29" fmla="*/ 4 h 22"/>
              <a:gd name="T30" fmla="*/ 0 w 40"/>
              <a:gd name="T31"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2">
                <a:moveTo>
                  <a:pt x="0" y="12"/>
                </a:moveTo>
                <a:lnTo>
                  <a:pt x="0" y="18"/>
                </a:lnTo>
                <a:lnTo>
                  <a:pt x="4" y="22"/>
                </a:lnTo>
                <a:lnTo>
                  <a:pt x="10" y="22"/>
                </a:lnTo>
                <a:lnTo>
                  <a:pt x="16" y="20"/>
                </a:lnTo>
                <a:lnTo>
                  <a:pt x="24" y="22"/>
                </a:lnTo>
                <a:lnTo>
                  <a:pt x="36" y="22"/>
                </a:lnTo>
                <a:lnTo>
                  <a:pt x="40" y="20"/>
                </a:lnTo>
                <a:lnTo>
                  <a:pt x="40" y="14"/>
                </a:lnTo>
                <a:lnTo>
                  <a:pt x="38" y="4"/>
                </a:lnTo>
                <a:lnTo>
                  <a:pt x="28" y="4"/>
                </a:lnTo>
                <a:lnTo>
                  <a:pt x="22" y="4"/>
                </a:lnTo>
                <a:lnTo>
                  <a:pt x="16" y="0"/>
                </a:lnTo>
                <a:lnTo>
                  <a:pt x="8" y="2"/>
                </a:lnTo>
                <a:lnTo>
                  <a:pt x="4" y="4"/>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9" name="Freeform 253">
            <a:extLst>
              <a:ext uri="{FF2B5EF4-FFF2-40B4-BE49-F238E27FC236}">
                <a16:creationId xmlns:a16="http://schemas.microsoft.com/office/drawing/2014/main" id="{5669964A-03EE-4599-93DA-42D14CB811F0}"/>
              </a:ext>
            </a:extLst>
          </p:cNvPr>
          <p:cNvSpPr>
            <a:spLocks/>
          </p:cNvSpPr>
          <p:nvPr userDrawn="1"/>
        </p:nvSpPr>
        <p:spPr bwMode="auto">
          <a:xfrm>
            <a:off x="5869235" y="3320290"/>
            <a:ext cx="63464" cy="195623"/>
          </a:xfrm>
          <a:custGeom>
            <a:avLst/>
            <a:gdLst>
              <a:gd name="T0" fmla="*/ 26 w 38"/>
              <a:gd name="T1" fmla="*/ 106 h 114"/>
              <a:gd name="T2" fmla="*/ 28 w 38"/>
              <a:gd name="T3" fmla="*/ 96 h 114"/>
              <a:gd name="T4" fmla="*/ 26 w 38"/>
              <a:gd name="T5" fmla="*/ 86 h 114"/>
              <a:gd name="T6" fmla="*/ 24 w 38"/>
              <a:gd name="T7" fmla="*/ 82 h 114"/>
              <a:gd name="T8" fmla="*/ 26 w 38"/>
              <a:gd name="T9" fmla="*/ 72 h 114"/>
              <a:gd name="T10" fmla="*/ 26 w 38"/>
              <a:gd name="T11" fmla="*/ 68 h 114"/>
              <a:gd name="T12" fmla="*/ 26 w 38"/>
              <a:gd name="T13" fmla="*/ 62 h 114"/>
              <a:gd name="T14" fmla="*/ 28 w 38"/>
              <a:gd name="T15" fmla="*/ 62 h 114"/>
              <a:gd name="T16" fmla="*/ 30 w 38"/>
              <a:gd name="T17" fmla="*/ 62 h 114"/>
              <a:gd name="T18" fmla="*/ 30 w 38"/>
              <a:gd name="T19" fmla="*/ 58 h 114"/>
              <a:gd name="T20" fmla="*/ 32 w 38"/>
              <a:gd name="T21" fmla="*/ 52 h 114"/>
              <a:gd name="T22" fmla="*/ 34 w 38"/>
              <a:gd name="T23" fmla="*/ 48 h 114"/>
              <a:gd name="T24" fmla="*/ 34 w 38"/>
              <a:gd name="T25" fmla="*/ 44 h 114"/>
              <a:gd name="T26" fmla="*/ 36 w 38"/>
              <a:gd name="T27" fmla="*/ 38 h 114"/>
              <a:gd name="T28" fmla="*/ 38 w 38"/>
              <a:gd name="T29" fmla="*/ 38 h 114"/>
              <a:gd name="T30" fmla="*/ 36 w 38"/>
              <a:gd name="T31" fmla="*/ 34 h 114"/>
              <a:gd name="T32" fmla="*/ 36 w 38"/>
              <a:gd name="T33" fmla="*/ 30 h 114"/>
              <a:gd name="T34" fmla="*/ 36 w 38"/>
              <a:gd name="T35" fmla="*/ 22 h 114"/>
              <a:gd name="T36" fmla="*/ 32 w 38"/>
              <a:gd name="T37" fmla="*/ 20 h 114"/>
              <a:gd name="T38" fmla="*/ 34 w 38"/>
              <a:gd name="T39" fmla="*/ 18 h 114"/>
              <a:gd name="T40" fmla="*/ 34 w 38"/>
              <a:gd name="T41" fmla="*/ 12 h 114"/>
              <a:gd name="T42" fmla="*/ 26 w 38"/>
              <a:gd name="T43" fmla="*/ 6 h 114"/>
              <a:gd name="T44" fmla="*/ 26 w 38"/>
              <a:gd name="T45" fmla="*/ 4 h 114"/>
              <a:gd name="T46" fmla="*/ 24 w 38"/>
              <a:gd name="T47" fmla="*/ 2 h 114"/>
              <a:gd name="T48" fmla="*/ 18 w 38"/>
              <a:gd name="T49" fmla="*/ 0 h 114"/>
              <a:gd name="T50" fmla="*/ 12 w 38"/>
              <a:gd name="T51" fmla="*/ 8 h 114"/>
              <a:gd name="T52" fmla="*/ 12 w 38"/>
              <a:gd name="T53" fmla="*/ 12 h 114"/>
              <a:gd name="T54" fmla="*/ 6 w 38"/>
              <a:gd name="T55" fmla="*/ 14 h 114"/>
              <a:gd name="T56" fmla="*/ 6 w 38"/>
              <a:gd name="T57" fmla="*/ 16 h 114"/>
              <a:gd name="T58" fmla="*/ 4 w 38"/>
              <a:gd name="T59" fmla="*/ 18 h 114"/>
              <a:gd name="T60" fmla="*/ 0 w 38"/>
              <a:gd name="T61" fmla="*/ 18 h 114"/>
              <a:gd name="T62" fmla="*/ 10 w 38"/>
              <a:gd name="T63" fmla="*/ 36 h 114"/>
              <a:gd name="T64" fmla="*/ 10 w 38"/>
              <a:gd name="T65" fmla="*/ 38 h 114"/>
              <a:gd name="T66" fmla="*/ 10 w 38"/>
              <a:gd name="T67" fmla="*/ 44 h 114"/>
              <a:gd name="T68" fmla="*/ 12 w 38"/>
              <a:gd name="T69" fmla="*/ 52 h 114"/>
              <a:gd name="T70" fmla="*/ 12 w 38"/>
              <a:gd name="T71" fmla="*/ 54 h 114"/>
              <a:gd name="T72" fmla="*/ 12 w 38"/>
              <a:gd name="T73" fmla="*/ 62 h 114"/>
              <a:gd name="T74" fmla="*/ 12 w 38"/>
              <a:gd name="T75" fmla="*/ 74 h 114"/>
              <a:gd name="T76" fmla="*/ 12 w 38"/>
              <a:gd name="T77" fmla="*/ 80 h 114"/>
              <a:gd name="T78" fmla="*/ 12 w 38"/>
              <a:gd name="T79" fmla="*/ 84 h 114"/>
              <a:gd name="T80" fmla="*/ 10 w 38"/>
              <a:gd name="T81" fmla="*/ 94 h 114"/>
              <a:gd name="T82" fmla="*/ 12 w 38"/>
              <a:gd name="T83" fmla="*/ 100 h 114"/>
              <a:gd name="T84" fmla="*/ 12 w 38"/>
              <a:gd name="T85" fmla="*/ 102 h 114"/>
              <a:gd name="T86" fmla="*/ 12 w 38"/>
              <a:gd name="T87" fmla="*/ 106 h 114"/>
              <a:gd name="T88" fmla="*/ 14 w 38"/>
              <a:gd name="T89" fmla="*/ 114 h 114"/>
              <a:gd name="T90" fmla="*/ 16 w 38"/>
              <a:gd name="T91" fmla="*/ 114 h 114"/>
              <a:gd name="T92" fmla="*/ 18 w 38"/>
              <a:gd name="T93" fmla="*/ 108 h 114"/>
              <a:gd name="T94" fmla="*/ 26 w 38"/>
              <a:gd name="T95"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 h="114">
                <a:moveTo>
                  <a:pt x="26" y="106"/>
                </a:moveTo>
                <a:lnTo>
                  <a:pt x="26" y="106"/>
                </a:lnTo>
                <a:lnTo>
                  <a:pt x="28" y="96"/>
                </a:lnTo>
                <a:lnTo>
                  <a:pt x="28" y="96"/>
                </a:lnTo>
                <a:lnTo>
                  <a:pt x="28" y="90"/>
                </a:lnTo>
                <a:lnTo>
                  <a:pt x="26" y="86"/>
                </a:lnTo>
                <a:lnTo>
                  <a:pt x="26" y="86"/>
                </a:lnTo>
                <a:lnTo>
                  <a:pt x="24" y="82"/>
                </a:lnTo>
                <a:lnTo>
                  <a:pt x="26" y="76"/>
                </a:lnTo>
                <a:lnTo>
                  <a:pt x="26" y="72"/>
                </a:lnTo>
                <a:lnTo>
                  <a:pt x="26" y="68"/>
                </a:lnTo>
                <a:lnTo>
                  <a:pt x="26" y="68"/>
                </a:lnTo>
                <a:lnTo>
                  <a:pt x="26" y="64"/>
                </a:lnTo>
                <a:lnTo>
                  <a:pt x="26" y="62"/>
                </a:lnTo>
                <a:lnTo>
                  <a:pt x="28" y="62"/>
                </a:lnTo>
                <a:lnTo>
                  <a:pt x="28" y="62"/>
                </a:lnTo>
                <a:lnTo>
                  <a:pt x="30" y="62"/>
                </a:lnTo>
                <a:lnTo>
                  <a:pt x="30" y="62"/>
                </a:lnTo>
                <a:lnTo>
                  <a:pt x="30" y="58"/>
                </a:lnTo>
                <a:lnTo>
                  <a:pt x="30" y="58"/>
                </a:lnTo>
                <a:lnTo>
                  <a:pt x="30" y="54"/>
                </a:lnTo>
                <a:lnTo>
                  <a:pt x="32" y="52"/>
                </a:lnTo>
                <a:lnTo>
                  <a:pt x="32" y="52"/>
                </a:lnTo>
                <a:lnTo>
                  <a:pt x="34" y="48"/>
                </a:lnTo>
                <a:lnTo>
                  <a:pt x="34" y="44"/>
                </a:lnTo>
                <a:lnTo>
                  <a:pt x="34" y="44"/>
                </a:lnTo>
                <a:lnTo>
                  <a:pt x="34" y="40"/>
                </a:lnTo>
                <a:lnTo>
                  <a:pt x="36" y="38"/>
                </a:lnTo>
                <a:lnTo>
                  <a:pt x="36" y="38"/>
                </a:lnTo>
                <a:lnTo>
                  <a:pt x="38" y="38"/>
                </a:lnTo>
                <a:lnTo>
                  <a:pt x="36" y="36"/>
                </a:lnTo>
                <a:lnTo>
                  <a:pt x="36" y="34"/>
                </a:lnTo>
                <a:lnTo>
                  <a:pt x="36" y="30"/>
                </a:lnTo>
                <a:lnTo>
                  <a:pt x="36" y="30"/>
                </a:lnTo>
                <a:lnTo>
                  <a:pt x="38" y="26"/>
                </a:lnTo>
                <a:lnTo>
                  <a:pt x="36" y="22"/>
                </a:lnTo>
                <a:lnTo>
                  <a:pt x="36" y="22"/>
                </a:lnTo>
                <a:lnTo>
                  <a:pt x="32" y="20"/>
                </a:lnTo>
                <a:lnTo>
                  <a:pt x="34" y="18"/>
                </a:lnTo>
                <a:lnTo>
                  <a:pt x="34" y="18"/>
                </a:lnTo>
                <a:lnTo>
                  <a:pt x="34" y="16"/>
                </a:lnTo>
                <a:lnTo>
                  <a:pt x="34" y="12"/>
                </a:lnTo>
                <a:lnTo>
                  <a:pt x="34" y="10"/>
                </a:lnTo>
                <a:lnTo>
                  <a:pt x="26" y="6"/>
                </a:lnTo>
                <a:lnTo>
                  <a:pt x="26" y="6"/>
                </a:lnTo>
                <a:lnTo>
                  <a:pt x="26" y="4"/>
                </a:lnTo>
                <a:lnTo>
                  <a:pt x="24" y="2"/>
                </a:lnTo>
                <a:lnTo>
                  <a:pt x="24" y="2"/>
                </a:lnTo>
                <a:lnTo>
                  <a:pt x="20" y="0"/>
                </a:lnTo>
                <a:lnTo>
                  <a:pt x="18" y="0"/>
                </a:lnTo>
                <a:lnTo>
                  <a:pt x="12" y="8"/>
                </a:lnTo>
                <a:lnTo>
                  <a:pt x="12" y="8"/>
                </a:lnTo>
                <a:lnTo>
                  <a:pt x="12" y="8"/>
                </a:lnTo>
                <a:lnTo>
                  <a:pt x="12" y="12"/>
                </a:lnTo>
                <a:lnTo>
                  <a:pt x="12" y="12"/>
                </a:lnTo>
                <a:lnTo>
                  <a:pt x="6" y="14"/>
                </a:lnTo>
                <a:lnTo>
                  <a:pt x="6" y="14"/>
                </a:lnTo>
                <a:lnTo>
                  <a:pt x="6" y="16"/>
                </a:lnTo>
                <a:lnTo>
                  <a:pt x="6" y="18"/>
                </a:lnTo>
                <a:lnTo>
                  <a:pt x="4" y="18"/>
                </a:lnTo>
                <a:lnTo>
                  <a:pt x="4" y="18"/>
                </a:lnTo>
                <a:lnTo>
                  <a:pt x="0" y="18"/>
                </a:lnTo>
                <a:lnTo>
                  <a:pt x="0" y="32"/>
                </a:lnTo>
                <a:lnTo>
                  <a:pt x="10" y="36"/>
                </a:lnTo>
                <a:lnTo>
                  <a:pt x="10" y="36"/>
                </a:lnTo>
                <a:lnTo>
                  <a:pt x="10" y="38"/>
                </a:lnTo>
                <a:lnTo>
                  <a:pt x="10" y="44"/>
                </a:lnTo>
                <a:lnTo>
                  <a:pt x="10" y="44"/>
                </a:lnTo>
                <a:lnTo>
                  <a:pt x="10" y="50"/>
                </a:lnTo>
                <a:lnTo>
                  <a:pt x="12" y="52"/>
                </a:lnTo>
                <a:lnTo>
                  <a:pt x="12" y="52"/>
                </a:lnTo>
                <a:lnTo>
                  <a:pt x="12" y="54"/>
                </a:lnTo>
                <a:lnTo>
                  <a:pt x="12" y="62"/>
                </a:lnTo>
                <a:lnTo>
                  <a:pt x="12" y="62"/>
                </a:lnTo>
                <a:lnTo>
                  <a:pt x="10" y="68"/>
                </a:lnTo>
                <a:lnTo>
                  <a:pt x="12" y="74"/>
                </a:lnTo>
                <a:lnTo>
                  <a:pt x="12" y="74"/>
                </a:lnTo>
                <a:lnTo>
                  <a:pt x="12" y="80"/>
                </a:lnTo>
                <a:lnTo>
                  <a:pt x="12" y="84"/>
                </a:lnTo>
                <a:lnTo>
                  <a:pt x="12" y="84"/>
                </a:lnTo>
                <a:lnTo>
                  <a:pt x="10" y="90"/>
                </a:lnTo>
                <a:lnTo>
                  <a:pt x="10" y="94"/>
                </a:lnTo>
                <a:lnTo>
                  <a:pt x="10" y="94"/>
                </a:lnTo>
                <a:lnTo>
                  <a:pt x="12" y="100"/>
                </a:lnTo>
                <a:lnTo>
                  <a:pt x="12" y="102"/>
                </a:lnTo>
                <a:lnTo>
                  <a:pt x="12" y="102"/>
                </a:lnTo>
                <a:lnTo>
                  <a:pt x="12" y="106"/>
                </a:lnTo>
                <a:lnTo>
                  <a:pt x="12" y="106"/>
                </a:lnTo>
                <a:lnTo>
                  <a:pt x="14" y="112"/>
                </a:lnTo>
                <a:lnTo>
                  <a:pt x="14" y="114"/>
                </a:lnTo>
                <a:lnTo>
                  <a:pt x="16" y="114"/>
                </a:lnTo>
                <a:lnTo>
                  <a:pt x="16" y="114"/>
                </a:lnTo>
                <a:lnTo>
                  <a:pt x="18" y="108"/>
                </a:lnTo>
                <a:lnTo>
                  <a:pt x="18" y="108"/>
                </a:lnTo>
                <a:lnTo>
                  <a:pt x="26" y="106"/>
                </a:lnTo>
                <a:lnTo>
                  <a:pt x="26" y="10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0" name="Freeform 254">
            <a:extLst>
              <a:ext uri="{FF2B5EF4-FFF2-40B4-BE49-F238E27FC236}">
                <a16:creationId xmlns:a16="http://schemas.microsoft.com/office/drawing/2014/main" id="{4B027A23-5EFE-4D83-8ABC-E8A2390E5700}"/>
              </a:ext>
            </a:extLst>
          </p:cNvPr>
          <p:cNvSpPr>
            <a:spLocks/>
          </p:cNvSpPr>
          <p:nvPr userDrawn="1"/>
        </p:nvSpPr>
        <p:spPr bwMode="auto">
          <a:xfrm>
            <a:off x="3849237" y="3155555"/>
            <a:ext cx="27862" cy="75504"/>
          </a:xfrm>
          <a:custGeom>
            <a:avLst/>
            <a:gdLst>
              <a:gd name="T0" fmla="*/ 4 w 16"/>
              <a:gd name="T1" fmla="*/ 44 h 44"/>
              <a:gd name="T2" fmla="*/ 4 w 16"/>
              <a:gd name="T3" fmla="*/ 44 h 44"/>
              <a:gd name="T4" fmla="*/ 12 w 16"/>
              <a:gd name="T5" fmla="*/ 32 h 44"/>
              <a:gd name="T6" fmla="*/ 14 w 16"/>
              <a:gd name="T7" fmla="*/ 26 h 44"/>
              <a:gd name="T8" fmla="*/ 14 w 16"/>
              <a:gd name="T9" fmla="*/ 24 h 44"/>
              <a:gd name="T10" fmla="*/ 12 w 16"/>
              <a:gd name="T11" fmla="*/ 22 h 44"/>
              <a:gd name="T12" fmla="*/ 12 w 16"/>
              <a:gd name="T13" fmla="*/ 22 h 44"/>
              <a:gd name="T14" fmla="*/ 16 w 16"/>
              <a:gd name="T15" fmla="*/ 18 h 44"/>
              <a:gd name="T16" fmla="*/ 16 w 16"/>
              <a:gd name="T17" fmla="*/ 18 h 44"/>
              <a:gd name="T18" fmla="*/ 16 w 16"/>
              <a:gd name="T19" fmla="*/ 10 h 44"/>
              <a:gd name="T20" fmla="*/ 16 w 16"/>
              <a:gd name="T21" fmla="*/ 4 h 44"/>
              <a:gd name="T22" fmla="*/ 16 w 16"/>
              <a:gd name="T23" fmla="*/ 4 h 44"/>
              <a:gd name="T24" fmla="*/ 12 w 16"/>
              <a:gd name="T25" fmla="*/ 2 h 44"/>
              <a:gd name="T26" fmla="*/ 12 w 16"/>
              <a:gd name="T27" fmla="*/ 2 h 44"/>
              <a:gd name="T28" fmla="*/ 12 w 16"/>
              <a:gd name="T29" fmla="*/ 2 h 44"/>
              <a:gd name="T30" fmla="*/ 8 w 16"/>
              <a:gd name="T31" fmla="*/ 0 h 44"/>
              <a:gd name="T32" fmla="*/ 8 w 16"/>
              <a:gd name="T33" fmla="*/ 2 h 44"/>
              <a:gd name="T34" fmla="*/ 6 w 16"/>
              <a:gd name="T35" fmla="*/ 4 h 44"/>
              <a:gd name="T36" fmla="*/ 0 w 16"/>
              <a:gd name="T37" fmla="*/ 6 h 44"/>
              <a:gd name="T38" fmla="*/ 0 w 16"/>
              <a:gd name="T39" fmla="*/ 44 h 44"/>
              <a:gd name="T40" fmla="*/ 4 w 16"/>
              <a:gd name="T4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44">
                <a:moveTo>
                  <a:pt x="4" y="44"/>
                </a:moveTo>
                <a:lnTo>
                  <a:pt x="4" y="44"/>
                </a:lnTo>
                <a:lnTo>
                  <a:pt x="12" y="32"/>
                </a:lnTo>
                <a:lnTo>
                  <a:pt x="14" y="26"/>
                </a:lnTo>
                <a:lnTo>
                  <a:pt x="14" y="24"/>
                </a:lnTo>
                <a:lnTo>
                  <a:pt x="12" y="22"/>
                </a:lnTo>
                <a:lnTo>
                  <a:pt x="12" y="22"/>
                </a:lnTo>
                <a:lnTo>
                  <a:pt x="16" y="18"/>
                </a:lnTo>
                <a:lnTo>
                  <a:pt x="16" y="18"/>
                </a:lnTo>
                <a:lnTo>
                  <a:pt x="16" y="10"/>
                </a:lnTo>
                <a:lnTo>
                  <a:pt x="16" y="4"/>
                </a:lnTo>
                <a:lnTo>
                  <a:pt x="16" y="4"/>
                </a:lnTo>
                <a:lnTo>
                  <a:pt x="12" y="2"/>
                </a:lnTo>
                <a:lnTo>
                  <a:pt x="12" y="2"/>
                </a:lnTo>
                <a:lnTo>
                  <a:pt x="12" y="2"/>
                </a:lnTo>
                <a:lnTo>
                  <a:pt x="8" y="0"/>
                </a:lnTo>
                <a:lnTo>
                  <a:pt x="8" y="2"/>
                </a:lnTo>
                <a:lnTo>
                  <a:pt x="6" y="4"/>
                </a:lnTo>
                <a:lnTo>
                  <a:pt x="0" y="6"/>
                </a:lnTo>
                <a:lnTo>
                  <a:pt x="0" y="44"/>
                </a:lnTo>
                <a:lnTo>
                  <a:pt x="4" y="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1" name="Freeform 255">
            <a:extLst>
              <a:ext uri="{FF2B5EF4-FFF2-40B4-BE49-F238E27FC236}">
                <a16:creationId xmlns:a16="http://schemas.microsoft.com/office/drawing/2014/main" id="{76C89422-605E-4C72-893A-84FD5B3FA82F}"/>
              </a:ext>
            </a:extLst>
          </p:cNvPr>
          <p:cNvSpPr>
            <a:spLocks/>
          </p:cNvSpPr>
          <p:nvPr userDrawn="1"/>
        </p:nvSpPr>
        <p:spPr bwMode="auto">
          <a:xfrm>
            <a:off x="5901740" y="2119100"/>
            <a:ext cx="88229" cy="65208"/>
          </a:xfrm>
          <a:custGeom>
            <a:avLst/>
            <a:gdLst>
              <a:gd name="T0" fmla="*/ 16 w 52"/>
              <a:gd name="T1" fmla="*/ 0 h 38"/>
              <a:gd name="T2" fmla="*/ 10 w 52"/>
              <a:gd name="T3" fmla="*/ 4 h 38"/>
              <a:gd name="T4" fmla="*/ 4 w 52"/>
              <a:gd name="T5" fmla="*/ 10 h 38"/>
              <a:gd name="T6" fmla="*/ 4 w 52"/>
              <a:gd name="T7" fmla="*/ 10 h 38"/>
              <a:gd name="T8" fmla="*/ 6 w 52"/>
              <a:gd name="T9" fmla="*/ 12 h 38"/>
              <a:gd name="T10" fmla="*/ 8 w 52"/>
              <a:gd name="T11" fmla="*/ 18 h 38"/>
              <a:gd name="T12" fmla="*/ 14 w 52"/>
              <a:gd name="T13" fmla="*/ 22 h 38"/>
              <a:gd name="T14" fmla="*/ 16 w 52"/>
              <a:gd name="T15" fmla="*/ 24 h 38"/>
              <a:gd name="T16" fmla="*/ 20 w 52"/>
              <a:gd name="T17" fmla="*/ 22 h 38"/>
              <a:gd name="T18" fmla="*/ 20 w 52"/>
              <a:gd name="T19" fmla="*/ 24 h 38"/>
              <a:gd name="T20" fmla="*/ 22 w 52"/>
              <a:gd name="T21" fmla="*/ 28 h 38"/>
              <a:gd name="T22" fmla="*/ 30 w 52"/>
              <a:gd name="T23" fmla="*/ 32 h 38"/>
              <a:gd name="T24" fmla="*/ 32 w 52"/>
              <a:gd name="T25" fmla="*/ 32 h 38"/>
              <a:gd name="T26" fmla="*/ 36 w 52"/>
              <a:gd name="T27" fmla="*/ 30 h 38"/>
              <a:gd name="T28" fmla="*/ 36 w 52"/>
              <a:gd name="T29" fmla="*/ 32 h 38"/>
              <a:gd name="T30" fmla="*/ 38 w 52"/>
              <a:gd name="T31" fmla="*/ 38 h 38"/>
              <a:gd name="T32" fmla="*/ 42 w 52"/>
              <a:gd name="T33" fmla="*/ 38 h 38"/>
              <a:gd name="T34" fmla="*/ 48 w 52"/>
              <a:gd name="T35" fmla="*/ 36 h 38"/>
              <a:gd name="T36" fmla="*/ 48 w 52"/>
              <a:gd name="T37" fmla="*/ 34 h 38"/>
              <a:gd name="T38" fmla="*/ 50 w 52"/>
              <a:gd name="T39" fmla="*/ 30 h 38"/>
              <a:gd name="T40" fmla="*/ 52 w 52"/>
              <a:gd name="T41" fmla="*/ 28 h 38"/>
              <a:gd name="T42" fmla="*/ 52 w 52"/>
              <a:gd name="T43" fmla="*/ 22 h 38"/>
              <a:gd name="T44" fmla="*/ 50 w 52"/>
              <a:gd name="T45" fmla="*/ 20 h 38"/>
              <a:gd name="T46" fmla="*/ 50 w 52"/>
              <a:gd name="T47" fmla="*/ 16 h 38"/>
              <a:gd name="T48" fmla="*/ 52 w 52"/>
              <a:gd name="T49" fmla="*/ 16 h 38"/>
              <a:gd name="T50" fmla="*/ 48 w 52"/>
              <a:gd name="T51" fmla="*/ 14 h 38"/>
              <a:gd name="T52" fmla="*/ 46 w 52"/>
              <a:gd name="T53" fmla="*/ 12 h 38"/>
              <a:gd name="T54" fmla="*/ 42 w 52"/>
              <a:gd name="T55" fmla="*/ 10 h 38"/>
              <a:gd name="T56" fmla="*/ 40 w 52"/>
              <a:gd name="T57" fmla="*/ 8 h 38"/>
              <a:gd name="T58" fmla="*/ 38 w 52"/>
              <a:gd name="T59" fmla="*/ 6 h 38"/>
              <a:gd name="T60" fmla="*/ 34 w 52"/>
              <a:gd name="T61" fmla="*/ 6 h 38"/>
              <a:gd name="T62" fmla="*/ 28 w 52"/>
              <a:gd name="T63" fmla="*/ 10 h 38"/>
              <a:gd name="T64" fmla="*/ 26 w 52"/>
              <a:gd name="T65" fmla="*/ 10 h 38"/>
              <a:gd name="T66" fmla="*/ 18 w 52"/>
              <a:gd name="T67" fmla="*/ 4 h 38"/>
              <a:gd name="T68" fmla="*/ 16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16" y="0"/>
                </a:moveTo>
                <a:lnTo>
                  <a:pt x="16" y="0"/>
                </a:lnTo>
                <a:lnTo>
                  <a:pt x="10" y="4"/>
                </a:lnTo>
                <a:lnTo>
                  <a:pt x="10" y="4"/>
                </a:lnTo>
                <a:lnTo>
                  <a:pt x="0" y="6"/>
                </a:lnTo>
                <a:lnTo>
                  <a:pt x="4" y="10"/>
                </a:lnTo>
                <a:lnTo>
                  <a:pt x="4" y="10"/>
                </a:lnTo>
                <a:lnTo>
                  <a:pt x="4" y="10"/>
                </a:lnTo>
                <a:lnTo>
                  <a:pt x="6" y="12"/>
                </a:lnTo>
                <a:lnTo>
                  <a:pt x="6" y="12"/>
                </a:lnTo>
                <a:lnTo>
                  <a:pt x="8" y="18"/>
                </a:lnTo>
                <a:lnTo>
                  <a:pt x="8" y="18"/>
                </a:lnTo>
                <a:lnTo>
                  <a:pt x="10" y="18"/>
                </a:lnTo>
                <a:lnTo>
                  <a:pt x="14" y="22"/>
                </a:lnTo>
                <a:lnTo>
                  <a:pt x="14" y="22"/>
                </a:lnTo>
                <a:lnTo>
                  <a:pt x="16" y="24"/>
                </a:lnTo>
                <a:lnTo>
                  <a:pt x="18" y="24"/>
                </a:lnTo>
                <a:lnTo>
                  <a:pt x="20" y="22"/>
                </a:lnTo>
                <a:lnTo>
                  <a:pt x="20" y="22"/>
                </a:lnTo>
                <a:lnTo>
                  <a:pt x="20" y="24"/>
                </a:lnTo>
                <a:lnTo>
                  <a:pt x="22" y="28"/>
                </a:lnTo>
                <a:lnTo>
                  <a:pt x="22" y="28"/>
                </a:lnTo>
                <a:lnTo>
                  <a:pt x="26" y="30"/>
                </a:lnTo>
                <a:lnTo>
                  <a:pt x="30" y="32"/>
                </a:lnTo>
                <a:lnTo>
                  <a:pt x="30" y="32"/>
                </a:lnTo>
                <a:lnTo>
                  <a:pt x="32" y="32"/>
                </a:lnTo>
                <a:lnTo>
                  <a:pt x="34" y="32"/>
                </a:lnTo>
                <a:lnTo>
                  <a:pt x="36" y="30"/>
                </a:lnTo>
                <a:lnTo>
                  <a:pt x="36" y="32"/>
                </a:lnTo>
                <a:lnTo>
                  <a:pt x="36" y="32"/>
                </a:lnTo>
                <a:lnTo>
                  <a:pt x="36" y="36"/>
                </a:lnTo>
                <a:lnTo>
                  <a:pt x="38" y="38"/>
                </a:lnTo>
                <a:lnTo>
                  <a:pt x="38" y="38"/>
                </a:lnTo>
                <a:lnTo>
                  <a:pt x="42" y="38"/>
                </a:lnTo>
                <a:lnTo>
                  <a:pt x="48" y="36"/>
                </a:lnTo>
                <a:lnTo>
                  <a:pt x="48" y="36"/>
                </a:lnTo>
                <a:lnTo>
                  <a:pt x="48" y="34"/>
                </a:lnTo>
                <a:lnTo>
                  <a:pt x="48" y="34"/>
                </a:lnTo>
                <a:lnTo>
                  <a:pt x="48" y="30"/>
                </a:lnTo>
                <a:lnTo>
                  <a:pt x="50" y="30"/>
                </a:lnTo>
                <a:lnTo>
                  <a:pt x="52" y="28"/>
                </a:lnTo>
                <a:lnTo>
                  <a:pt x="52" y="28"/>
                </a:lnTo>
                <a:lnTo>
                  <a:pt x="52" y="24"/>
                </a:lnTo>
                <a:lnTo>
                  <a:pt x="52" y="22"/>
                </a:lnTo>
                <a:lnTo>
                  <a:pt x="50" y="20"/>
                </a:lnTo>
                <a:lnTo>
                  <a:pt x="50" y="20"/>
                </a:lnTo>
                <a:lnTo>
                  <a:pt x="50" y="18"/>
                </a:lnTo>
                <a:lnTo>
                  <a:pt x="50" y="16"/>
                </a:lnTo>
                <a:lnTo>
                  <a:pt x="52" y="16"/>
                </a:lnTo>
                <a:lnTo>
                  <a:pt x="52" y="16"/>
                </a:lnTo>
                <a:lnTo>
                  <a:pt x="52" y="16"/>
                </a:lnTo>
                <a:lnTo>
                  <a:pt x="48" y="14"/>
                </a:lnTo>
                <a:lnTo>
                  <a:pt x="46" y="12"/>
                </a:lnTo>
                <a:lnTo>
                  <a:pt x="46" y="12"/>
                </a:lnTo>
                <a:lnTo>
                  <a:pt x="44" y="12"/>
                </a:lnTo>
                <a:lnTo>
                  <a:pt x="42" y="10"/>
                </a:lnTo>
                <a:lnTo>
                  <a:pt x="40" y="8"/>
                </a:lnTo>
                <a:lnTo>
                  <a:pt x="40" y="8"/>
                </a:lnTo>
                <a:lnTo>
                  <a:pt x="40" y="6"/>
                </a:lnTo>
                <a:lnTo>
                  <a:pt x="38" y="6"/>
                </a:lnTo>
                <a:lnTo>
                  <a:pt x="34" y="6"/>
                </a:lnTo>
                <a:lnTo>
                  <a:pt x="34" y="6"/>
                </a:lnTo>
                <a:lnTo>
                  <a:pt x="30" y="8"/>
                </a:lnTo>
                <a:lnTo>
                  <a:pt x="28" y="10"/>
                </a:lnTo>
                <a:lnTo>
                  <a:pt x="26" y="10"/>
                </a:lnTo>
                <a:lnTo>
                  <a:pt x="26" y="10"/>
                </a:lnTo>
                <a:lnTo>
                  <a:pt x="22" y="8"/>
                </a:lnTo>
                <a:lnTo>
                  <a:pt x="18" y="4"/>
                </a:lnTo>
                <a:lnTo>
                  <a:pt x="16" y="0"/>
                </a:lnTo>
                <a:lnTo>
                  <a:pt x="16"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2" name="Freeform 256">
            <a:extLst>
              <a:ext uri="{FF2B5EF4-FFF2-40B4-BE49-F238E27FC236}">
                <a16:creationId xmlns:a16="http://schemas.microsoft.com/office/drawing/2014/main" id="{BD3F2E82-1CC5-4A28-B681-2A0EF6FD2E4E}"/>
              </a:ext>
            </a:extLst>
          </p:cNvPr>
          <p:cNvSpPr>
            <a:spLocks/>
          </p:cNvSpPr>
          <p:nvPr userDrawn="1"/>
        </p:nvSpPr>
        <p:spPr bwMode="auto">
          <a:xfrm>
            <a:off x="6406353" y="1950933"/>
            <a:ext cx="168720" cy="157870"/>
          </a:xfrm>
          <a:custGeom>
            <a:avLst/>
            <a:gdLst>
              <a:gd name="T0" fmla="*/ 28 w 100"/>
              <a:gd name="T1" fmla="*/ 18 h 92"/>
              <a:gd name="T2" fmla="*/ 34 w 100"/>
              <a:gd name="T3" fmla="*/ 12 h 92"/>
              <a:gd name="T4" fmla="*/ 38 w 100"/>
              <a:gd name="T5" fmla="*/ 12 h 92"/>
              <a:gd name="T6" fmla="*/ 44 w 100"/>
              <a:gd name="T7" fmla="*/ 8 h 92"/>
              <a:gd name="T8" fmla="*/ 44 w 100"/>
              <a:gd name="T9" fmla="*/ 2 h 92"/>
              <a:gd name="T10" fmla="*/ 46 w 100"/>
              <a:gd name="T11" fmla="*/ 0 h 92"/>
              <a:gd name="T12" fmla="*/ 54 w 100"/>
              <a:gd name="T13" fmla="*/ 2 h 92"/>
              <a:gd name="T14" fmla="*/ 56 w 100"/>
              <a:gd name="T15" fmla="*/ 0 h 92"/>
              <a:gd name="T16" fmla="*/ 58 w 100"/>
              <a:gd name="T17" fmla="*/ 2 h 92"/>
              <a:gd name="T18" fmla="*/ 60 w 100"/>
              <a:gd name="T19" fmla="*/ 4 h 92"/>
              <a:gd name="T20" fmla="*/ 64 w 100"/>
              <a:gd name="T21" fmla="*/ 2 h 92"/>
              <a:gd name="T22" fmla="*/ 66 w 100"/>
              <a:gd name="T23" fmla="*/ 2 h 92"/>
              <a:gd name="T24" fmla="*/ 72 w 100"/>
              <a:gd name="T25" fmla="*/ 4 h 92"/>
              <a:gd name="T26" fmla="*/ 78 w 100"/>
              <a:gd name="T27" fmla="*/ 6 h 92"/>
              <a:gd name="T28" fmla="*/ 80 w 100"/>
              <a:gd name="T29" fmla="*/ 8 h 92"/>
              <a:gd name="T30" fmla="*/ 82 w 100"/>
              <a:gd name="T31" fmla="*/ 12 h 92"/>
              <a:gd name="T32" fmla="*/ 84 w 100"/>
              <a:gd name="T33" fmla="*/ 16 h 92"/>
              <a:gd name="T34" fmla="*/ 86 w 100"/>
              <a:gd name="T35" fmla="*/ 20 h 92"/>
              <a:gd name="T36" fmla="*/ 88 w 100"/>
              <a:gd name="T37" fmla="*/ 26 h 92"/>
              <a:gd name="T38" fmla="*/ 88 w 100"/>
              <a:gd name="T39" fmla="*/ 36 h 92"/>
              <a:gd name="T40" fmla="*/ 90 w 100"/>
              <a:gd name="T41" fmla="*/ 38 h 92"/>
              <a:gd name="T42" fmla="*/ 98 w 100"/>
              <a:gd name="T43" fmla="*/ 46 h 92"/>
              <a:gd name="T44" fmla="*/ 100 w 100"/>
              <a:gd name="T45" fmla="*/ 52 h 92"/>
              <a:gd name="T46" fmla="*/ 98 w 100"/>
              <a:gd name="T47" fmla="*/ 56 h 92"/>
              <a:gd name="T48" fmla="*/ 96 w 100"/>
              <a:gd name="T49" fmla="*/ 56 h 92"/>
              <a:gd name="T50" fmla="*/ 90 w 100"/>
              <a:gd name="T51" fmla="*/ 54 h 92"/>
              <a:gd name="T52" fmla="*/ 88 w 100"/>
              <a:gd name="T53" fmla="*/ 56 h 92"/>
              <a:gd name="T54" fmla="*/ 90 w 100"/>
              <a:gd name="T55" fmla="*/ 60 h 92"/>
              <a:gd name="T56" fmla="*/ 94 w 100"/>
              <a:gd name="T57" fmla="*/ 64 h 92"/>
              <a:gd name="T58" fmla="*/ 94 w 100"/>
              <a:gd name="T59" fmla="*/ 80 h 92"/>
              <a:gd name="T60" fmla="*/ 88 w 100"/>
              <a:gd name="T61" fmla="*/ 80 h 92"/>
              <a:gd name="T62" fmla="*/ 86 w 100"/>
              <a:gd name="T63" fmla="*/ 82 h 92"/>
              <a:gd name="T64" fmla="*/ 86 w 100"/>
              <a:gd name="T65" fmla="*/ 86 h 92"/>
              <a:gd name="T66" fmla="*/ 82 w 100"/>
              <a:gd name="T67" fmla="*/ 90 h 92"/>
              <a:gd name="T68" fmla="*/ 76 w 100"/>
              <a:gd name="T69" fmla="*/ 90 h 92"/>
              <a:gd name="T70" fmla="*/ 70 w 100"/>
              <a:gd name="T71" fmla="*/ 90 h 92"/>
              <a:gd name="T72" fmla="*/ 64 w 100"/>
              <a:gd name="T73" fmla="*/ 90 h 92"/>
              <a:gd name="T74" fmla="*/ 62 w 100"/>
              <a:gd name="T75" fmla="*/ 90 h 92"/>
              <a:gd name="T76" fmla="*/ 58 w 100"/>
              <a:gd name="T77" fmla="*/ 88 h 92"/>
              <a:gd name="T78" fmla="*/ 56 w 100"/>
              <a:gd name="T79" fmla="*/ 92 h 92"/>
              <a:gd name="T80" fmla="*/ 54 w 100"/>
              <a:gd name="T81" fmla="*/ 88 h 92"/>
              <a:gd name="T82" fmla="*/ 50 w 100"/>
              <a:gd name="T83" fmla="*/ 88 h 92"/>
              <a:gd name="T84" fmla="*/ 38 w 100"/>
              <a:gd name="T85" fmla="*/ 88 h 92"/>
              <a:gd name="T86" fmla="*/ 24 w 100"/>
              <a:gd name="T87" fmla="*/ 86 h 92"/>
              <a:gd name="T88" fmla="*/ 14 w 100"/>
              <a:gd name="T89" fmla="*/ 86 h 92"/>
              <a:gd name="T90" fmla="*/ 12 w 100"/>
              <a:gd name="T91" fmla="*/ 90 h 92"/>
              <a:gd name="T92" fmla="*/ 8 w 100"/>
              <a:gd name="T93" fmla="*/ 90 h 92"/>
              <a:gd name="T94" fmla="*/ 6 w 100"/>
              <a:gd name="T95" fmla="*/ 86 h 92"/>
              <a:gd name="T96" fmla="*/ 2 w 100"/>
              <a:gd name="T97" fmla="*/ 88 h 92"/>
              <a:gd name="T98" fmla="*/ 0 w 100"/>
              <a:gd name="T99" fmla="*/ 78 h 92"/>
              <a:gd name="T100" fmla="*/ 4 w 100"/>
              <a:gd name="T101" fmla="*/ 72 h 92"/>
              <a:gd name="T102" fmla="*/ 4 w 100"/>
              <a:gd name="T103" fmla="*/ 66 h 92"/>
              <a:gd name="T104" fmla="*/ 2 w 100"/>
              <a:gd name="T105" fmla="*/ 62 h 92"/>
              <a:gd name="T106" fmla="*/ 0 w 100"/>
              <a:gd name="T107" fmla="*/ 54 h 92"/>
              <a:gd name="T108" fmla="*/ 6 w 100"/>
              <a:gd name="T109" fmla="*/ 52 h 92"/>
              <a:gd name="T110" fmla="*/ 14 w 100"/>
              <a:gd name="T111" fmla="*/ 52 h 92"/>
              <a:gd name="T112" fmla="*/ 16 w 100"/>
              <a:gd name="T113" fmla="*/ 50 h 92"/>
              <a:gd name="T114" fmla="*/ 22 w 100"/>
              <a:gd name="T115" fmla="*/ 46 h 92"/>
              <a:gd name="T116" fmla="*/ 22 w 100"/>
              <a:gd name="T117" fmla="*/ 38 h 92"/>
              <a:gd name="T118" fmla="*/ 22 w 100"/>
              <a:gd name="T119" fmla="*/ 32 h 92"/>
              <a:gd name="T120" fmla="*/ 26 w 100"/>
              <a:gd name="T121" fmla="*/ 26 h 92"/>
              <a:gd name="T122" fmla="*/ 30 w 100"/>
              <a:gd name="T123" fmla="*/ 22 h 92"/>
              <a:gd name="T124" fmla="*/ 28 w 100"/>
              <a:gd name="T125"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92">
                <a:moveTo>
                  <a:pt x="28" y="18"/>
                </a:moveTo>
                <a:lnTo>
                  <a:pt x="28" y="18"/>
                </a:lnTo>
                <a:lnTo>
                  <a:pt x="32" y="14"/>
                </a:lnTo>
                <a:lnTo>
                  <a:pt x="34" y="12"/>
                </a:lnTo>
                <a:lnTo>
                  <a:pt x="38" y="12"/>
                </a:lnTo>
                <a:lnTo>
                  <a:pt x="38" y="12"/>
                </a:lnTo>
                <a:lnTo>
                  <a:pt x="42" y="14"/>
                </a:lnTo>
                <a:lnTo>
                  <a:pt x="44" y="8"/>
                </a:lnTo>
                <a:lnTo>
                  <a:pt x="44" y="8"/>
                </a:lnTo>
                <a:lnTo>
                  <a:pt x="44" y="2"/>
                </a:lnTo>
                <a:lnTo>
                  <a:pt x="46" y="0"/>
                </a:lnTo>
                <a:lnTo>
                  <a:pt x="46" y="0"/>
                </a:lnTo>
                <a:lnTo>
                  <a:pt x="50" y="2"/>
                </a:lnTo>
                <a:lnTo>
                  <a:pt x="54" y="2"/>
                </a:lnTo>
                <a:lnTo>
                  <a:pt x="56" y="0"/>
                </a:lnTo>
                <a:lnTo>
                  <a:pt x="56" y="0"/>
                </a:lnTo>
                <a:lnTo>
                  <a:pt x="56" y="0"/>
                </a:lnTo>
                <a:lnTo>
                  <a:pt x="58" y="2"/>
                </a:lnTo>
                <a:lnTo>
                  <a:pt x="58" y="4"/>
                </a:lnTo>
                <a:lnTo>
                  <a:pt x="60" y="4"/>
                </a:lnTo>
                <a:lnTo>
                  <a:pt x="60" y="4"/>
                </a:lnTo>
                <a:lnTo>
                  <a:pt x="64" y="2"/>
                </a:lnTo>
                <a:lnTo>
                  <a:pt x="66" y="2"/>
                </a:lnTo>
                <a:lnTo>
                  <a:pt x="66" y="2"/>
                </a:lnTo>
                <a:lnTo>
                  <a:pt x="72" y="4"/>
                </a:lnTo>
                <a:lnTo>
                  <a:pt x="72" y="4"/>
                </a:lnTo>
                <a:lnTo>
                  <a:pt x="76" y="6"/>
                </a:lnTo>
                <a:lnTo>
                  <a:pt x="78" y="6"/>
                </a:lnTo>
                <a:lnTo>
                  <a:pt x="80" y="8"/>
                </a:lnTo>
                <a:lnTo>
                  <a:pt x="80" y="8"/>
                </a:lnTo>
                <a:lnTo>
                  <a:pt x="80" y="10"/>
                </a:lnTo>
                <a:lnTo>
                  <a:pt x="82" y="12"/>
                </a:lnTo>
                <a:lnTo>
                  <a:pt x="84" y="12"/>
                </a:lnTo>
                <a:lnTo>
                  <a:pt x="84" y="16"/>
                </a:lnTo>
                <a:lnTo>
                  <a:pt x="84" y="16"/>
                </a:lnTo>
                <a:lnTo>
                  <a:pt x="86" y="20"/>
                </a:lnTo>
                <a:lnTo>
                  <a:pt x="88" y="26"/>
                </a:lnTo>
                <a:lnTo>
                  <a:pt x="88" y="26"/>
                </a:lnTo>
                <a:lnTo>
                  <a:pt x="88" y="34"/>
                </a:lnTo>
                <a:lnTo>
                  <a:pt x="88" y="36"/>
                </a:lnTo>
                <a:lnTo>
                  <a:pt x="90" y="38"/>
                </a:lnTo>
                <a:lnTo>
                  <a:pt x="90" y="38"/>
                </a:lnTo>
                <a:lnTo>
                  <a:pt x="94" y="42"/>
                </a:lnTo>
                <a:lnTo>
                  <a:pt x="98" y="46"/>
                </a:lnTo>
                <a:lnTo>
                  <a:pt x="98" y="46"/>
                </a:lnTo>
                <a:lnTo>
                  <a:pt x="100" y="52"/>
                </a:lnTo>
                <a:lnTo>
                  <a:pt x="100" y="54"/>
                </a:lnTo>
                <a:lnTo>
                  <a:pt x="98" y="56"/>
                </a:lnTo>
                <a:lnTo>
                  <a:pt x="98" y="56"/>
                </a:lnTo>
                <a:lnTo>
                  <a:pt x="96" y="56"/>
                </a:lnTo>
                <a:lnTo>
                  <a:pt x="92" y="54"/>
                </a:lnTo>
                <a:lnTo>
                  <a:pt x="90" y="54"/>
                </a:lnTo>
                <a:lnTo>
                  <a:pt x="88" y="56"/>
                </a:lnTo>
                <a:lnTo>
                  <a:pt x="88" y="56"/>
                </a:lnTo>
                <a:lnTo>
                  <a:pt x="88" y="60"/>
                </a:lnTo>
                <a:lnTo>
                  <a:pt x="90" y="60"/>
                </a:lnTo>
                <a:lnTo>
                  <a:pt x="92" y="62"/>
                </a:lnTo>
                <a:lnTo>
                  <a:pt x="94" y="64"/>
                </a:lnTo>
                <a:lnTo>
                  <a:pt x="94" y="64"/>
                </a:lnTo>
                <a:lnTo>
                  <a:pt x="94" y="80"/>
                </a:lnTo>
                <a:lnTo>
                  <a:pt x="94" y="80"/>
                </a:lnTo>
                <a:lnTo>
                  <a:pt x="88" y="80"/>
                </a:lnTo>
                <a:lnTo>
                  <a:pt x="88" y="80"/>
                </a:lnTo>
                <a:lnTo>
                  <a:pt x="86" y="82"/>
                </a:lnTo>
                <a:lnTo>
                  <a:pt x="86" y="86"/>
                </a:lnTo>
                <a:lnTo>
                  <a:pt x="86" y="86"/>
                </a:lnTo>
                <a:lnTo>
                  <a:pt x="84" y="90"/>
                </a:lnTo>
                <a:lnTo>
                  <a:pt x="82" y="90"/>
                </a:lnTo>
                <a:lnTo>
                  <a:pt x="82" y="90"/>
                </a:lnTo>
                <a:lnTo>
                  <a:pt x="76" y="90"/>
                </a:lnTo>
                <a:lnTo>
                  <a:pt x="70" y="90"/>
                </a:lnTo>
                <a:lnTo>
                  <a:pt x="70" y="90"/>
                </a:lnTo>
                <a:lnTo>
                  <a:pt x="66" y="88"/>
                </a:lnTo>
                <a:lnTo>
                  <a:pt x="64" y="90"/>
                </a:lnTo>
                <a:lnTo>
                  <a:pt x="64" y="90"/>
                </a:lnTo>
                <a:lnTo>
                  <a:pt x="62" y="90"/>
                </a:lnTo>
                <a:lnTo>
                  <a:pt x="60" y="90"/>
                </a:lnTo>
                <a:lnTo>
                  <a:pt x="58" y="88"/>
                </a:lnTo>
                <a:lnTo>
                  <a:pt x="58" y="88"/>
                </a:lnTo>
                <a:lnTo>
                  <a:pt x="56" y="92"/>
                </a:lnTo>
                <a:lnTo>
                  <a:pt x="54" y="88"/>
                </a:lnTo>
                <a:lnTo>
                  <a:pt x="54" y="88"/>
                </a:lnTo>
                <a:lnTo>
                  <a:pt x="50" y="88"/>
                </a:lnTo>
                <a:lnTo>
                  <a:pt x="50" y="88"/>
                </a:lnTo>
                <a:lnTo>
                  <a:pt x="44" y="90"/>
                </a:lnTo>
                <a:lnTo>
                  <a:pt x="38" y="88"/>
                </a:lnTo>
                <a:lnTo>
                  <a:pt x="38" y="88"/>
                </a:lnTo>
                <a:lnTo>
                  <a:pt x="24" y="86"/>
                </a:lnTo>
                <a:lnTo>
                  <a:pt x="24" y="86"/>
                </a:lnTo>
                <a:lnTo>
                  <a:pt x="14" y="86"/>
                </a:lnTo>
                <a:lnTo>
                  <a:pt x="14" y="86"/>
                </a:lnTo>
                <a:lnTo>
                  <a:pt x="12" y="90"/>
                </a:lnTo>
                <a:lnTo>
                  <a:pt x="10" y="92"/>
                </a:lnTo>
                <a:lnTo>
                  <a:pt x="8" y="90"/>
                </a:lnTo>
                <a:lnTo>
                  <a:pt x="8" y="90"/>
                </a:lnTo>
                <a:lnTo>
                  <a:pt x="6" y="86"/>
                </a:lnTo>
                <a:lnTo>
                  <a:pt x="4" y="86"/>
                </a:lnTo>
                <a:lnTo>
                  <a:pt x="2" y="88"/>
                </a:lnTo>
                <a:lnTo>
                  <a:pt x="2" y="88"/>
                </a:lnTo>
                <a:lnTo>
                  <a:pt x="0" y="78"/>
                </a:lnTo>
                <a:lnTo>
                  <a:pt x="0" y="78"/>
                </a:lnTo>
                <a:lnTo>
                  <a:pt x="4" y="72"/>
                </a:lnTo>
                <a:lnTo>
                  <a:pt x="4" y="68"/>
                </a:lnTo>
                <a:lnTo>
                  <a:pt x="4" y="66"/>
                </a:lnTo>
                <a:lnTo>
                  <a:pt x="4" y="66"/>
                </a:lnTo>
                <a:lnTo>
                  <a:pt x="2" y="62"/>
                </a:lnTo>
                <a:lnTo>
                  <a:pt x="0" y="58"/>
                </a:lnTo>
                <a:lnTo>
                  <a:pt x="0" y="54"/>
                </a:lnTo>
                <a:lnTo>
                  <a:pt x="6" y="52"/>
                </a:lnTo>
                <a:lnTo>
                  <a:pt x="6" y="52"/>
                </a:lnTo>
                <a:lnTo>
                  <a:pt x="14" y="52"/>
                </a:lnTo>
                <a:lnTo>
                  <a:pt x="14" y="52"/>
                </a:lnTo>
                <a:lnTo>
                  <a:pt x="14" y="52"/>
                </a:lnTo>
                <a:lnTo>
                  <a:pt x="16" y="50"/>
                </a:lnTo>
                <a:lnTo>
                  <a:pt x="16" y="48"/>
                </a:lnTo>
                <a:lnTo>
                  <a:pt x="22" y="46"/>
                </a:lnTo>
                <a:lnTo>
                  <a:pt x="22" y="46"/>
                </a:lnTo>
                <a:lnTo>
                  <a:pt x="22" y="38"/>
                </a:lnTo>
                <a:lnTo>
                  <a:pt x="22" y="38"/>
                </a:lnTo>
                <a:lnTo>
                  <a:pt x="22" y="32"/>
                </a:lnTo>
                <a:lnTo>
                  <a:pt x="26" y="26"/>
                </a:lnTo>
                <a:lnTo>
                  <a:pt x="26" y="26"/>
                </a:lnTo>
                <a:lnTo>
                  <a:pt x="28" y="24"/>
                </a:lnTo>
                <a:lnTo>
                  <a:pt x="30" y="22"/>
                </a:lnTo>
                <a:lnTo>
                  <a:pt x="28" y="18"/>
                </a:lnTo>
                <a:lnTo>
                  <a:pt x="28"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3" name="Freeform 257">
            <a:extLst>
              <a:ext uri="{FF2B5EF4-FFF2-40B4-BE49-F238E27FC236}">
                <a16:creationId xmlns:a16="http://schemas.microsoft.com/office/drawing/2014/main" id="{151B4A9F-BB4F-4509-9522-F14E7A86241F}"/>
              </a:ext>
            </a:extLst>
          </p:cNvPr>
          <p:cNvSpPr>
            <a:spLocks/>
          </p:cNvSpPr>
          <p:nvPr userDrawn="1"/>
        </p:nvSpPr>
        <p:spPr bwMode="auto">
          <a:xfrm>
            <a:off x="7819578" y="2932477"/>
            <a:ext cx="123832" cy="181894"/>
          </a:xfrm>
          <a:custGeom>
            <a:avLst/>
            <a:gdLst>
              <a:gd name="T0" fmla="*/ 14 w 74"/>
              <a:gd name="T1" fmla="*/ 82 h 106"/>
              <a:gd name="T2" fmla="*/ 14 w 74"/>
              <a:gd name="T3" fmla="*/ 86 h 106"/>
              <a:gd name="T4" fmla="*/ 20 w 74"/>
              <a:gd name="T5" fmla="*/ 84 h 106"/>
              <a:gd name="T6" fmla="*/ 22 w 74"/>
              <a:gd name="T7" fmla="*/ 82 h 106"/>
              <a:gd name="T8" fmla="*/ 26 w 74"/>
              <a:gd name="T9" fmla="*/ 80 h 106"/>
              <a:gd name="T10" fmla="*/ 28 w 74"/>
              <a:gd name="T11" fmla="*/ 80 h 106"/>
              <a:gd name="T12" fmla="*/ 30 w 74"/>
              <a:gd name="T13" fmla="*/ 78 h 106"/>
              <a:gd name="T14" fmla="*/ 32 w 74"/>
              <a:gd name="T15" fmla="*/ 78 h 106"/>
              <a:gd name="T16" fmla="*/ 34 w 74"/>
              <a:gd name="T17" fmla="*/ 80 h 106"/>
              <a:gd name="T18" fmla="*/ 38 w 74"/>
              <a:gd name="T19" fmla="*/ 78 h 106"/>
              <a:gd name="T20" fmla="*/ 40 w 74"/>
              <a:gd name="T21" fmla="*/ 76 h 106"/>
              <a:gd name="T22" fmla="*/ 40 w 74"/>
              <a:gd name="T23" fmla="*/ 74 h 106"/>
              <a:gd name="T24" fmla="*/ 38 w 74"/>
              <a:gd name="T25" fmla="*/ 70 h 106"/>
              <a:gd name="T26" fmla="*/ 38 w 74"/>
              <a:gd name="T27" fmla="*/ 70 h 106"/>
              <a:gd name="T28" fmla="*/ 38 w 74"/>
              <a:gd name="T29" fmla="*/ 68 h 106"/>
              <a:gd name="T30" fmla="*/ 36 w 74"/>
              <a:gd name="T31" fmla="*/ 68 h 106"/>
              <a:gd name="T32" fmla="*/ 36 w 74"/>
              <a:gd name="T33" fmla="*/ 66 h 106"/>
              <a:gd name="T34" fmla="*/ 42 w 74"/>
              <a:gd name="T35" fmla="*/ 64 h 106"/>
              <a:gd name="T36" fmla="*/ 38 w 74"/>
              <a:gd name="T37" fmla="*/ 56 h 106"/>
              <a:gd name="T38" fmla="*/ 38 w 74"/>
              <a:gd name="T39" fmla="*/ 54 h 106"/>
              <a:gd name="T40" fmla="*/ 42 w 74"/>
              <a:gd name="T41" fmla="*/ 58 h 106"/>
              <a:gd name="T42" fmla="*/ 46 w 74"/>
              <a:gd name="T43" fmla="*/ 62 h 106"/>
              <a:gd name="T44" fmla="*/ 52 w 74"/>
              <a:gd name="T45" fmla="*/ 62 h 106"/>
              <a:gd name="T46" fmla="*/ 52 w 74"/>
              <a:gd name="T47" fmla="*/ 64 h 106"/>
              <a:gd name="T48" fmla="*/ 52 w 74"/>
              <a:gd name="T49" fmla="*/ 66 h 106"/>
              <a:gd name="T50" fmla="*/ 58 w 74"/>
              <a:gd name="T51" fmla="*/ 72 h 106"/>
              <a:gd name="T52" fmla="*/ 60 w 74"/>
              <a:gd name="T53" fmla="*/ 78 h 106"/>
              <a:gd name="T54" fmla="*/ 60 w 74"/>
              <a:gd name="T55" fmla="*/ 86 h 106"/>
              <a:gd name="T56" fmla="*/ 62 w 74"/>
              <a:gd name="T57" fmla="*/ 94 h 106"/>
              <a:gd name="T58" fmla="*/ 64 w 74"/>
              <a:gd name="T59" fmla="*/ 96 h 106"/>
              <a:gd name="T60" fmla="*/ 68 w 74"/>
              <a:gd name="T61" fmla="*/ 100 h 106"/>
              <a:gd name="T62" fmla="*/ 74 w 74"/>
              <a:gd name="T63" fmla="*/ 98 h 106"/>
              <a:gd name="T64" fmla="*/ 74 w 74"/>
              <a:gd name="T65" fmla="*/ 92 h 106"/>
              <a:gd name="T66" fmla="*/ 70 w 74"/>
              <a:gd name="T67" fmla="*/ 80 h 106"/>
              <a:gd name="T68" fmla="*/ 70 w 74"/>
              <a:gd name="T69" fmla="*/ 68 h 106"/>
              <a:gd name="T70" fmla="*/ 62 w 74"/>
              <a:gd name="T71" fmla="*/ 64 h 106"/>
              <a:gd name="T72" fmla="*/ 54 w 74"/>
              <a:gd name="T73" fmla="*/ 60 h 106"/>
              <a:gd name="T74" fmla="*/ 60 w 74"/>
              <a:gd name="T75" fmla="*/ 42 h 106"/>
              <a:gd name="T76" fmla="*/ 62 w 74"/>
              <a:gd name="T77" fmla="*/ 40 h 106"/>
              <a:gd name="T78" fmla="*/ 62 w 74"/>
              <a:gd name="T79" fmla="*/ 30 h 106"/>
              <a:gd name="T80" fmla="*/ 60 w 74"/>
              <a:gd name="T81" fmla="*/ 24 h 106"/>
              <a:gd name="T82" fmla="*/ 44 w 74"/>
              <a:gd name="T83" fmla="*/ 28 h 106"/>
              <a:gd name="T84" fmla="*/ 32 w 74"/>
              <a:gd name="T85" fmla="*/ 28 h 106"/>
              <a:gd name="T86" fmla="*/ 32 w 74"/>
              <a:gd name="T87" fmla="*/ 8 h 106"/>
              <a:gd name="T88" fmla="*/ 20 w 74"/>
              <a:gd name="T89" fmla="*/ 6 h 106"/>
              <a:gd name="T90" fmla="*/ 8 w 74"/>
              <a:gd name="T91" fmla="*/ 6 h 106"/>
              <a:gd name="T92" fmla="*/ 12 w 74"/>
              <a:gd name="T93" fmla="*/ 20 h 106"/>
              <a:gd name="T94" fmla="*/ 0 w 74"/>
              <a:gd name="T95" fmla="*/ 26 h 106"/>
              <a:gd name="T96" fmla="*/ 4 w 74"/>
              <a:gd name="T97" fmla="*/ 38 h 106"/>
              <a:gd name="T98" fmla="*/ 14 w 74"/>
              <a:gd name="T99" fmla="*/ 48 h 106"/>
              <a:gd name="T100" fmla="*/ 16 w 74"/>
              <a:gd name="T101" fmla="*/ 62 h 106"/>
              <a:gd name="T102" fmla="*/ 14 w 74"/>
              <a:gd name="T103" fmla="*/ 78 h 106"/>
              <a:gd name="T104" fmla="*/ 14 w 74"/>
              <a:gd name="T105" fmla="*/ 8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106">
                <a:moveTo>
                  <a:pt x="14" y="82"/>
                </a:moveTo>
                <a:lnTo>
                  <a:pt x="14" y="82"/>
                </a:lnTo>
                <a:lnTo>
                  <a:pt x="14" y="86"/>
                </a:lnTo>
                <a:lnTo>
                  <a:pt x="14" y="86"/>
                </a:lnTo>
                <a:lnTo>
                  <a:pt x="18" y="86"/>
                </a:lnTo>
                <a:lnTo>
                  <a:pt x="20" y="84"/>
                </a:lnTo>
                <a:lnTo>
                  <a:pt x="22" y="82"/>
                </a:lnTo>
                <a:lnTo>
                  <a:pt x="22" y="82"/>
                </a:lnTo>
                <a:lnTo>
                  <a:pt x="26" y="82"/>
                </a:lnTo>
                <a:lnTo>
                  <a:pt x="26" y="80"/>
                </a:lnTo>
                <a:lnTo>
                  <a:pt x="26" y="80"/>
                </a:lnTo>
                <a:lnTo>
                  <a:pt x="28" y="80"/>
                </a:lnTo>
                <a:lnTo>
                  <a:pt x="30" y="80"/>
                </a:lnTo>
                <a:lnTo>
                  <a:pt x="30" y="78"/>
                </a:lnTo>
                <a:lnTo>
                  <a:pt x="30" y="78"/>
                </a:lnTo>
                <a:lnTo>
                  <a:pt x="32" y="78"/>
                </a:lnTo>
                <a:lnTo>
                  <a:pt x="32" y="78"/>
                </a:lnTo>
                <a:lnTo>
                  <a:pt x="34" y="80"/>
                </a:lnTo>
                <a:lnTo>
                  <a:pt x="34" y="80"/>
                </a:lnTo>
                <a:lnTo>
                  <a:pt x="38" y="78"/>
                </a:lnTo>
                <a:lnTo>
                  <a:pt x="38" y="78"/>
                </a:lnTo>
                <a:lnTo>
                  <a:pt x="40" y="76"/>
                </a:lnTo>
                <a:lnTo>
                  <a:pt x="40" y="74"/>
                </a:lnTo>
                <a:lnTo>
                  <a:pt x="40" y="74"/>
                </a:lnTo>
                <a:lnTo>
                  <a:pt x="38" y="72"/>
                </a:lnTo>
                <a:lnTo>
                  <a:pt x="38" y="70"/>
                </a:lnTo>
                <a:lnTo>
                  <a:pt x="38" y="70"/>
                </a:lnTo>
                <a:lnTo>
                  <a:pt x="38" y="70"/>
                </a:lnTo>
                <a:lnTo>
                  <a:pt x="38" y="68"/>
                </a:lnTo>
                <a:lnTo>
                  <a:pt x="38" y="68"/>
                </a:lnTo>
                <a:lnTo>
                  <a:pt x="36" y="68"/>
                </a:lnTo>
                <a:lnTo>
                  <a:pt x="36" y="68"/>
                </a:lnTo>
                <a:lnTo>
                  <a:pt x="36" y="66"/>
                </a:lnTo>
                <a:lnTo>
                  <a:pt x="36" y="66"/>
                </a:lnTo>
                <a:lnTo>
                  <a:pt x="42" y="64"/>
                </a:lnTo>
                <a:lnTo>
                  <a:pt x="42" y="64"/>
                </a:lnTo>
                <a:lnTo>
                  <a:pt x="38" y="56"/>
                </a:lnTo>
                <a:lnTo>
                  <a:pt x="38" y="56"/>
                </a:lnTo>
                <a:lnTo>
                  <a:pt x="38" y="56"/>
                </a:lnTo>
                <a:lnTo>
                  <a:pt x="38" y="54"/>
                </a:lnTo>
                <a:lnTo>
                  <a:pt x="38" y="54"/>
                </a:lnTo>
                <a:lnTo>
                  <a:pt x="42" y="58"/>
                </a:lnTo>
                <a:lnTo>
                  <a:pt x="46" y="62"/>
                </a:lnTo>
                <a:lnTo>
                  <a:pt x="46" y="62"/>
                </a:lnTo>
                <a:lnTo>
                  <a:pt x="48" y="64"/>
                </a:lnTo>
                <a:lnTo>
                  <a:pt x="52" y="62"/>
                </a:lnTo>
                <a:lnTo>
                  <a:pt x="52" y="62"/>
                </a:lnTo>
                <a:lnTo>
                  <a:pt x="52" y="64"/>
                </a:lnTo>
                <a:lnTo>
                  <a:pt x="52" y="66"/>
                </a:lnTo>
                <a:lnTo>
                  <a:pt x="52" y="66"/>
                </a:lnTo>
                <a:lnTo>
                  <a:pt x="58" y="72"/>
                </a:lnTo>
                <a:lnTo>
                  <a:pt x="58" y="72"/>
                </a:lnTo>
                <a:lnTo>
                  <a:pt x="58" y="76"/>
                </a:lnTo>
                <a:lnTo>
                  <a:pt x="60" y="78"/>
                </a:lnTo>
                <a:lnTo>
                  <a:pt x="60" y="78"/>
                </a:lnTo>
                <a:lnTo>
                  <a:pt x="60" y="86"/>
                </a:lnTo>
                <a:lnTo>
                  <a:pt x="62" y="94"/>
                </a:lnTo>
                <a:lnTo>
                  <a:pt x="62" y="94"/>
                </a:lnTo>
                <a:lnTo>
                  <a:pt x="64" y="96"/>
                </a:lnTo>
                <a:lnTo>
                  <a:pt x="64" y="96"/>
                </a:lnTo>
                <a:lnTo>
                  <a:pt x="68" y="106"/>
                </a:lnTo>
                <a:lnTo>
                  <a:pt x="68" y="100"/>
                </a:lnTo>
                <a:lnTo>
                  <a:pt x="70" y="96"/>
                </a:lnTo>
                <a:lnTo>
                  <a:pt x="74" y="98"/>
                </a:lnTo>
                <a:lnTo>
                  <a:pt x="74" y="98"/>
                </a:lnTo>
                <a:lnTo>
                  <a:pt x="74" y="92"/>
                </a:lnTo>
                <a:lnTo>
                  <a:pt x="72" y="88"/>
                </a:lnTo>
                <a:lnTo>
                  <a:pt x="70" y="80"/>
                </a:lnTo>
                <a:lnTo>
                  <a:pt x="70" y="74"/>
                </a:lnTo>
                <a:lnTo>
                  <a:pt x="70" y="68"/>
                </a:lnTo>
                <a:lnTo>
                  <a:pt x="64" y="58"/>
                </a:lnTo>
                <a:lnTo>
                  <a:pt x="62" y="64"/>
                </a:lnTo>
                <a:lnTo>
                  <a:pt x="56" y="64"/>
                </a:lnTo>
                <a:lnTo>
                  <a:pt x="54" y="60"/>
                </a:lnTo>
                <a:lnTo>
                  <a:pt x="56" y="50"/>
                </a:lnTo>
                <a:lnTo>
                  <a:pt x="60" y="42"/>
                </a:lnTo>
                <a:lnTo>
                  <a:pt x="60" y="42"/>
                </a:lnTo>
                <a:lnTo>
                  <a:pt x="62" y="40"/>
                </a:lnTo>
                <a:lnTo>
                  <a:pt x="64" y="36"/>
                </a:lnTo>
                <a:lnTo>
                  <a:pt x="62" y="30"/>
                </a:lnTo>
                <a:lnTo>
                  <a:pt x="70" y="24"/>
                </a:lnTo>
                <a:lnTo>
                  <a:pt x="60" y="24"/>
                </a:lnTo>
                <a:lnTo>
                  <a:pt x="52" y="26"/>
                </a:lnTo>
                <a:lnTo>
                  <a:pt x="44" y="28"/>
                </a:lnTo>
                <a:lnTo>
                  <a:pt x="36" y="28"/>
                </a:lnTo>
                <a:lnTo>
                  <a:pt x="32" y="28"/>
                </a:lnTo>
                <a:lnTo>
                  <a:pt x="30" y="16"/>
                </a:lnTo>
                <a:lnTo>
                  <a:pt x="32" y="8"/>
                </a:lnTo>
                <a:lnTo>
                  <a:pt x="26" y="6"/>
                </a:lnTo>
                <a:lnTo>
                  <a:pt x="20" y="6"/>
                </a:lnTo>
                <a:lnTo>
                  <a:pt x="12" y="0"/>
                </a:lnTo>
                <a:lnTo>
                  <a:pt x="8" y="6"/>
                </a:lnTo>
                <a:lnTo>
                  <a:pt x="14" y="14"/>
                </a:lnTo>
                <a:lnTo>
                  <a:pt x="12" y="20"/>
                </a:lnTo>
                <a:lnTo>
                  <a:pt x="6" y="22"/>
                </a:lnTo>
                <a:lnTo>
                  <a:pt x="0" y="26"/>
                </a:lnTo>
                <a:lnTo>
                  <a:pt x="2" y="36"/>
                </a:lnTo>
                <a:lnTo>
                  <a:pt x="4" y="38"/>
                </a:lnTo>
                <a:lnTo>
                  <a:pt x="12" y="42"/>
                </a:lnTo>
                <a:lnTo>
                  <a:pt x="14" y="48"/>
                </a:lnTo>
                <a:lnTo>
                  <a:pt x="12" y="58"/>
                </a:lnTo>
                <a:lnTo>
                  <a:pt x="16" y="62"/>
                </a:lnTo>
                <a:lnTo>
                  <a:pt x="16" y="72"/>
                </a:lnTo>
                <a:lnTo>
                  <a:pt x="14" y="78"/>
                </a:lnTo>
                <a:lnTo>
                  <a:pt x="14" y="82"/>
                </a:lnTo>
                <a:lnTo>
                  <a:pt x="14" y="8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4" name="Freeform 258">
            <a:extLst>
              <a:ext uri="{FF2B5EF4-FFF2-40B4-BE49-F238E27FC236}">
                <a16:creationId xmlns:a16="http://schemas.microsoft.com/office/drawing/2014/main" id="{77F99352-7CD8-41D8-BFAD-FCC819BC9B10}"/>
              </a:ext>
            </a:extLst>
          </p:cNvPr>
          <p:cNvSpPr>
            <a:spLocks noEditPoints="1"/>
          </p:cNvSpPr>
          <p:nvPr userDrawn="1"/>
        </p:nvSpPr>
        <p:spPr bwMode="auto">
          <a:xfrm>
            <a:off x="6869172" y="2441705"/>
            <a:ext cx="111448" cy="106391"/>
          </a:xfrm>
          <a:custGeom>
            <a:avLst/>
            <a:gdLst>
              <a:gd name="T0" fmla="*/ 48 w 66"/>
              <a:gd name="T1" fmla="*/ 14 h 62"/>
              <a:gd name="T2" fmla="*/ 40 w 66"/>
              <a:gd name="T3" fmla="*/ 16 h 62"/>
              <a:gd name="T4" fmla="*/ 36 w 66"/>
              <a:gd name="T5" fmla="*/ 8 h 62"/>
              <a:gd name="T6" fmla="*/ 26 w 66"/>
              <a:gd name="T7" fmla="*/ 0 h 62"/>
              <a:gd name="T8" fmla="*/ 22 w 66"/>
              <a:gd name="T9" fmla="*/ 4 h 62"/>
              <a:gd name="T10" fmla="*/ 26 w 66"/>
              <a:gd name="T11" fmla="*/ 8 h 62"/>
              <a:gd name="T12" fmla="*/ 22 w 66"/>
              <a:gd name="T13" fmla="*/ 12 h 62"/>
              <a:gd name="T14" fmla="*/ 18 w 66"/>
              <a:gd name="T15" fmla="*/ 8 h 62"/>
              <a:gd name="T16" fmla="*/ 12 w 66"/>
              <a:gd name="T17" fmla="*/ 4 h 62"/>
              <a:gd name="T18" fmla="*/ 6 w 66"/>
              <a:gd name="T19" fmla="*/ 6 h 62"/>
              <a:gd name="T20" fmla="*/ 2 w 66"/>
              <a:gd name="T21" fmla="*/ 16 h 62"/>
              <a:gd name="T22" fmla="*/ 6 w 66"/>
              <a:gd name="T23" fmla="*/ 18 h 62"/>
              <a:gd name="T24" fmla="*/ 8 w 66"/>
              <a:gd name="T25" fmla="*/ 16 h 62"/>
              <a:gd name="T26" fmla="*/ 12 w 66"/>
              <a:gd name="T27" fmla="*/ 20 h 62"/>
              <a:gd name="T28" fmla="*/ 8 w 66"/>
              <a:gd name="T29" fmla="*/ 26 h 62"/>
              <a:gd name="T30" fmla="*/ 16 w 66"/>
              <a:gd name="T31" fmla="*/ 30 h 62"/>
              <a:gd name="T32" fmla="*/ 16 w 66"/>
              <a:gd name="T33" fmla="*/ 36 h 62"/>
              <a:gd name="T34" fmla="*/ 20 w 66"/>
              <a:gd name="T35" fmla="*/ 42 h 62"/>
              <a:gd name="T36" fmla="*/ 24 w 66"/>
              <a:gd name="T37" fmla="*/ 42 h 62"/>
              <a:gd name="T38" fmla="*/ 26 w 66"/>
              <a:gd name="T39" fmla="*/ 50 h 62"/>
              <a:gd name="T40" fmla="*/ 32 w 66"/>
              <a:gd name="T41" fmla="*/ 44 h 62"/>
              <a:gd name="T42" fmla="*/ 36 w 66"/>
              <a:gd name="T43" fmla="*/ 42 h 62"/>
              <a:gd name="T44" fmla="*/ 36 w 66"/>
              <a:gd name="T45" fmla="*/ 42 h 62"/>
              <a:gd name="T46" fmla="*/ 40 w 66"/>
              <a:gd name="T47" fmla="*/ 48 h 62"/>
              <a:gd name="T48" fmla="*/ 38 w 66"/>
              <a:gd name="T49" fmla="*/ 52 h 62"/>
              <a:gd name="T50" fmla="*/ 40 w 66"/>
              <a:gd name="T51" fmla="*/ 56 h 62"/>
              <a:gd name="T52" fmla="*/ 46 w 66"/>
              <a:gd name="T53" fmla="*/ 62 h 62"/>
              <a:gd name="T54" fmla="*/ 46 w 66"/>
              <a:gd name="T55" fmla="*/ 54 h 62"/>
              <a:gd name="T56" fmla="*/ 52 w 66"/>
              <a:gd name="T57" fmla="*/ 48 h 62"/>
              <a:gd name="T58" fmla="*/ 54 w 66"/>
              <a:gd name="T59" fmla="*/ 40 h 62"/>
              <a:gd name="T60" fmla="*/ 54 w 66"/>
              <a:gd name="T61" fmla="*/ 32 h 62"/>
              <a:gd name="T62" fmla="*/ 58 w 66"/>
              <a:gd name="T63" fmla="*/ 28 h 62"/>
              <a:gd name="T64" fmla="*/ 64 w 66"/>
              <a:gd name="T65" fmla="*/ 22 h 62"/>
              <a:gd name="T66" fmla="*/ 62 w 66"/>
              <a:gd name="T67" fmla="*/ 22 h 62"/>
              <a:gd name="T68" fmla="*/ 52 w 66"/>
              <a:gd name="T69" fmla="*/ 16 h 62"/>
              <a:gd name="T70" fmla="*/ 0 w 66"/>
              <a:gd name="T71" fmla="*/ 44 h 62"/>
              <a:gd name="T72" fmla="*/ 2 w 66"/>
              <a:gd name="T73" fmla="*/ 48 h 62"/>
              <a:gd name="T74" fmla="*/ 8 w 66"/>
              <a:gd name="T75" fmla="*/ 54 h 62"/>
              <a:gd name="T76" fmla="*/ 12 w 66"/>
              <a:gd name="T77" fmla="*/ 58 h 62"/>
              <a:gd name="T78" fmla="*/ 18 w 66"/>
              <a:gd name="T79" fmla="*/ 56 h 62"/>
              <a:gd name="T80" fmla="*/ 14 w 66"/>
              <a:gd name="T81" fmla="*/ 50 h 62"/>
              <a:gd name="T82" fmla="*/ 8 w 66"/>
              <a:gd name="T83" fmla="*/ 44 h 62"/>
              <a:gd name="T84" fmla="*/ 0 w 66"/>
              <a:gd name="T85"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62">
                <a:moveTo>
                  <a:pt x="50" y="8"/>
                </a:moveTo>
                <a:lnTo>
                  <a:pt x="50" y="8"/>
                </a:lnTo>
                <a:lnTo>
                  <a:pt x="48" y="14"/>
                </a:lnTo>
                <a:lnTo>
                  <a:pt x="42" y="18"/>
                </a:lnTo>
                <a:lnTo>
                  <a:pt x="42" y="18"/>
                </a:lnTo>
                <a:lnTo>
                  <a:pt x="40" y="16"/>
                </a:lnTo>
                <a:lnTo>
                  <a:pt x="38" y="12"/>
                </a:lnTo>
                <a:lnTo>
                  <a:pt x="38" y="12"/>
                </a:lnTo>
                <a:lnTo>
                  <a:pt x="36" y="8"/>
                </a:lnTo>
                <a:lnTo>
                  <a:pt x="32" y="6"/>
                </a:lnTo>
                <a:lnTo>
                  <a:pt x="32" y="6"/>
                </a:lnTo>
                <a:lnTo>
                  <a:pt x="26" y="0"/>
                </a:lnTo>
                <a:lnTo>
                  <a:pt x="26" y="0"/>
                </a:lnTo>
                <a:lnTo>
                  <a:pt x="24" y="2"/>
                </a:lnTo>
                <a:lnTo>
                  <a:pt x="22" y="4"/>
                </a:lnTo>
                <a:lnTo>
                  <a:pt x="22" y="6"/>
                </a:lnTo>
                <a:lnTo>
                  <a:pt x="22" y="6"/>
                </a:lnTo>
                <a:lnTo>
                  <a:pt x="26" y="8"/>
                </a:lnTo>
                <a:lnTo>
                  <a:pt x="24" y="12"/>
                </a:lnTo>
                <a:lnTo>
                  <a:pt x="24" y="12"/>
                </a:lnTo>
                <a:lnTo>
                  <a:pt x="22" y="12"/>
                </a:lnTo>
                <a:lnTo>
                  <a:pt x="20" y="12"/>
                </a:lnTo>
                <a:lnTo>
                  <a:pt x="18" y="8"/>
                </a:lnTo>
                <a:lnTo>
                  <a:pt x="18" y="8"/>
                </a:lnTo>
                <a:lnTo>
                  <a:pt x="16" y="6"/>
                </a:lnTo>
                <a:lnTo>
                  <a:pt x="12" y="4"/>
                </a:lnTo>
                <a:lnTo>
                  <a:pt x="12" y="4"/>
                </a:lnTo>
                <a:lnTo>
                  <a:pt x="8" y="4"/>
                </a:lnTo>
                <a:lnTo>
                  <a:pt x="6" y="6"/>
                </a:lnTo>
                <a:lnTo>
                  <a:pt x="6" y="6"/>
                </a:lnTo>
                <a:lnTo>
                  <a:pt x="4" y="10"/>
                </a:lnTo>
                <a:lnTo>
                  <a:pt x="2" y="12"/>
                </a:lnTo>
                <a:lnTo>
                  <a:pt x="2" y="16"/>
                </a:lnTo>
                <a:lnTo>
                  <a:pt x="2" y="16"/>
                </a:lnTo>
                <a:lnTo>
                  <a:pt x="4" y="18"/>
                </a:lnTo>
                <a:lnTo>
                  <a:pt x="6" y="18"/>
                </a:lnTo>
                <a:lnTo>
                  <a:pt x="6" y="16"/>
                </a:lnTo>
                <a:lnTo>
                  <a:pt x="6" y="16"/>
                </a:lnTo>
                <a:lnTo>
                  <a:pt x="8" y="16"/>
                </a:lnTo>
                <a:lnTo>
                  <a:pt x="8" y="18"/>
                </a:lnTo>
                <a:lnTo>
                  <a:pt x="12" y="20"/>
                </a:lnTo>
                <a:lnTo>
                  <a:pt x="12" y="20"/>
                </a:lnTo>
                <a:lnTo>
                  <a:pt x="12" y="22"/>
                </a:lnTo>
                <a:lnTo>
                  <a:pt x="12" y="24"/>
                </a:lnTo>
                <a:lnTo>
                  <a:pt x="8" y="26"/>
                </a:lnTo>
                <a:lnTo>
                  <a:pt x="8" y="26"/>
                </a:lnTo>
                <a:lnTo>
                  <a:pt x="16" y="30"/>
                </a:lnTo>
                <a:lnTo>
                  <a:pt x="16" y="30"/>
                </a:lnTo>
                <a:lnTo>
                  <a:pt x="18" y="34"/>
                </a:lnTo>
                <a:lnTo>
                  <a:pt x="16" y="36"/>
                </a:lnTo>
                <a:lnTo>
                  <a:pt x="16" y="36"/>
                </a:lnTo>
                <a:lnTo>
                  <a:pt x="16" y="38"/>
                </a:lnTo>
                <a:lnTo>
                  <a:pt x="20" y="42"/>
                </a:lnTo>
                <a:lnTo>
                  <a:pt x="20" y="42"/>
                </a:lnTo>
                <a:lnTo>
                  <a:pt x="24" y="42"/>
                </a:lnTo>
                <a:lnTo>
                  <a:pt x="24" y="42"/>
                </a:lnTo>
                <a:lnTo>
                  <a:pt x="24" y="42"/>
                </a:lnTo>
                <a:lnTo>
                  <a:pt x="24" y="42"/>
                </a:lnTo>
                <a:lnTo>
                  <a:pt x="26" y="48"/>
                </a:lnTo>
                <a:lnTo>
                  <a:pt x="26" y="50"/>
                </a:lnTo>
                <a:lnTo>
                  <a:pt x="26" y="50"/>
                </a:lnTo>
                <a:lnTo>
                  <a:pt x="28" y="48"/>
                </a:lnTo>
                <a:lnTo>
                  <a:pt x="32" y="44"/>
                </a:lnTo>
                <a:lnTo>
                  <a:pt x="32" y="44"/>
                </a:lnTo>
                <a:lnTo>
                  <a:pt x="34" y="44"/>
                </a:lnTo>
                <a:lnTo>
                  <a:pt x="36" y="42"/>
                </a:lnTo>
                <a:lnTo>
                  <a:pt x="36" y="42"/>
                </a:lnTo>
                <a:lnTo>
                  <a:pt x="36" y="42"/>
                </a:lnTo>
                <a:lnTo>
                  <a:pt x="36" y="42"/>
                </a:lnTo>
                <a:lnTo>
                  <a:pt x="40" y="46"/>
                </a:lnTo>
                <a:lnTo>
                  <a:pt x="40" y="48"/>
                </a:lnTo>
                <a:lnTo>
                  <a:pt x="40" y="48"/>
                </a:lnTo>
                <a:lnTo>
                  <a:pt x="38" y="50"/>
                </a:lnTo>
                <a:lnTo>
                  <a:pt x="38" y="50"/>
                </a:lnTo>
                <a:lnTo>
                  <a:pt x="38" y="52"/>
                </a:lnTo>
                <a:lnTo>
                  <a:pt x="38" y="54"/>
                </a:lnTo>
                <a:lnTo>
                  <a:pt x="38" y="54"/>
                </a:lnTo>
                <a:lnTo>
                  <a:pt x="40" y="56"/>
                </a:lnTo>
                <a:lnTo>
                  <a:pt x="42" y="58"/>
                </a:lnTo>
                <a:lnTo>
                  <a:pt x="42" y="58"/>
                </a:lnTo>
                <a:lnTo>
                  <a:pt x="46" y="62"/>
                </a:lnTo>
                <a:lnTo>
                  <a:pt x="46" y="62"/>
                </a:lnTo>
                <a:lnTo>
                  <a:pt x="46" y="54"/>
                </a:lnTo>
                <a:lnTo>
                  <a:pt x="46" y="54"/>
                </a:lnTo>
                <a:lnTo>
                  <a:pt x="52" y="52"/>
                </a:lnTo>
                <a:lnTo>
                  <a:pt x="52" y="52"/>
                </a:lnTo>
                <a:lnTo>
                  <a:pt x="52" y="48"/>
                </a:lnTo>
                <a:lnTo>
                  <a:pt x="50" y="48"/>
                </a:lnTo>
                <a:lnTo>
                  <a:pt x="50" y="48"/>
                </a:lnTo>
                <a:lnTo>
                  <a:pt x="54" y="40"/>
                </a:lnTo>
                <a:lnTo>
                  <a:pt x="54" y="40"/>
                </a:lnTo>
                <a:lnTo>
                  <a:pt x="54" y="36"/>
                </a:lnTo>
                <a:lnTo>
                  <a:pt x="54" y="32"/>
                </a:lnTo>
                <a:lnTo>
                  <a:pt x="54" y="32"/>
                </a:lnTo>
                <a:lnTo>
                  <a:pt x="56" y="30"/>
                </a:lnTo>
                <a:lnTo>
                  <a:pt x="58" y="28"/>
                </a:lnTo>
                <a:lnTo>
                  <a:pt x="66" y="26"/>
                </a:lnTo>
                <a:lnTo>
                  <a:pt x="66" y="26"/>
                </a:lnTo>
                <a:lnTo>
                  <a:pt x="64" y="22"/>
                </a:lnTo>
                <a:lnTo>
                  <a:pt x="64" y="22"/>
                </a:lnTo>
                <a:lnTo>
                  <a:pt x="62" y="22"/>
                </a:lnTo>
                <a:lnTo>
                  <a:pt x="62" y="22"/>
                </a:lnTo>
                <a:lnTo>
                  <a:pt x="56" y="20"/>
                </a:lnTo>
                <a:lnTo>
                  <a:pt x="52" y="16"/>
                </a:lnTo>
                <a:lnTo>
                  <a:pt x="52" y="16"/>
                </a:lnTo>
                <a:lnTo>
                  <a:pt x="50" y="8"/>
                </a:lnTo>
                <a:lnTo>
                  <a:pt x="50" y="8"/>
                </a:lnTo>
                <a:close/>
                <a:moveTo>
                  <a:pt x="0" y="44"/>
                </a:moveTo>
                <a:lnTo>
                  <a:pt x="0" y="44"/>
                </a:lnTo>
                <a:lnTo>
                  <a:pt x="0" y="46"/>
                </a:lnTo>
                <a:lnTo>
                  <a:pt x="2" y="48"/>
                </a:lnTo>
                <a:lnTo>
                  <a:pt x="2" y="48"/>
                </a:lnTo>
                <a:lnTo>
                  <a:pt x="4" y="52"/>
                </a:lnTo>
                <a:lnTo>
                  <a:pt x="8" y="54"/>
                </a:lnTo>
                <a:lnTo>
                  <a:pt x="8" y="54"/>
                </a:lnTo>
                <a:lnTo>
                  <a:pt x="10" y="56"/>
                </a:lnTo>
                <a:lnTo>
                  <a:pt x="12" y="58"/>
                </a:lnTo>
                <a:lnTo>
                  <a:pt x="12" y="58"/>
                </a:lnTo>
                <a:lnTo>
                  <a:pt x="18" y="56"/>
                </a:lnTo>
                <a:lnTo>
                  <a:pt x="18" y="56"/>
                </a:lnTo>
                <a:lnTo>
                  <a:pt x="18" y="54"/>
                </a:lnTo>
                <a:lnTo>
                  <a:pt x="14" y="50"/>
                </a:lnTo>
                <a:lnTo>
                  <a:pt x="14" y="50"/>
                </a:lnTo>
                <a:lnTo>
                  <a:pt x="10" y="44"/>
                </a:lnTo>
                <a:lnTo>
                  <a:pt x="10" y="44"/>
                </a:lnTo>
                <a:lnTo>
                  <a:pt x="8" y="44"/>
                </a:lnTo>
                <a:lnTo>
                  <a:pt x="4" y="44"/>
                </a:lnTo>
                <a:lnTo>
                  <a:pt x="4" y="44"/>
                </a:lnTo>
                <a:lnTo>
                  <a:pt x="0" y="44"/>
                </a:lnTo>
                <a:lnTo>
                  <a:pt x="0" y="4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5" name="Freeform 259">
            <a:extLst>
              <a:ext uri="{FF2B5EF4-FFF2-40B4-BE49-F238E27FC236}">
                <a16:creationId xmlns:a16="http://schemas.microsoft.com/office/drawing/2014/main" id="{9785963A-D2A3-46EF-96C9-0109003B2B7C}"/>
              </a:ext>
            </a:extLst>
          </p:cNvPr>
          <p:cNvSpPr>
            <a:spLocks/>
          </p:cNvSpPr>
          <p:nvPr userDrawn="1"/>
        </p:nvSpPr>
        <p:spPr bwMode="auto">
          <a:xfrm>
            <a:off x="6079748" y="2201467"/>
            <a:ext cx="159433" cy="85799"/>
          </a:xfrm>
          <a:custGeom>
            <a:avLst/>
            <a:gdLst>
              <a:gd name="T0" fmla="*/ 0 w 95"/>
              <a:gd name="T1" fmla="*/ 36 h 50"/>
              <a:gd name="T2" fmla="*/ 4 w 95"/>
              <a:gd name="T3" fmla="*/ 38 h 50"/>
              <a:gd name="T4" fmla="*/ 4 w 95"/>
              <a:gd name="T5" fmla="*/ 44 h 50"/>
              <a:gd name="T6" fmla="*/ 13 w 95"/>
              <a:gd name="T7" fmla="*/ 46 h 50"/>
              <a:gd name="T8" fmla="*/ 13 w 95"/>
              <a:gd name="T9" fmla="*/ 46 h 50"/>
              <a:gd name="T10" fmla="*/ 17 w 95"/>
              <a:gd name="T11" fmla="*/ 44 h 50"/>
              <a:gd name="T12" fmla="*/ 19 w 95"/>
              <a:gd name="T13" fmla="*/ 46 h 50"/>
              <a:gd name="T14" fmla="*/ 23 w 95"/>
              <a:gd name="T15" fmla="*/ 46 h 50"/>
              <a:gd name="T16" fmla="*/ 27 w 95"/>
              <a:gd name="T17" fmla="*/ 48 h 50"/>
              <a:gd name="T18" fmla="*/ 29 w 95"/>
              <a:gd name="T19" fmla="*/ 50 h 50"/>
              <a:gd name="T20" fmla="*/ 31 w 95"/>
              <a:gd name="T21" fmla="*/ 50 h 50"/>
              <a:gd name="T22" fmla="*/ 35 w 95"/>
              <a:gd name="T23" fmla="*/ 48 h 50"/>
              <a:gd name="T24" fmla="*/ 43 w 95"/>
              <a:gd name="T25" fmla="*/ 48 h 50"/>
              <a:gd name="T26" fmla="*/ 47 w 95"/>
              <a:gd name="T27" fmla="*/ 48 h 50"/>
              <a:gd name="T28" fmla="*/ 49 w 95"/>
              <a:gd name="T29" fmla="*/ 46 h 50"/>
              <a:gd name="T30" fmla="*/ 55 w 95"/>
              <a:gd name="T31" fmla="*/ 44 h 50"/>
              <a:gd name="T32" fmla="*/ 61 w 95"/>
              <a:gd name="T33" fmla="*/ 46 h 50"/>
              <a:gd name="T34" fmla="*/ 63 w 95"/>
              <a:gd name="T35" fmla="*/ 42 h 50"/>
              <a:gd name="T36" fmla="*/ 71 w 95"/>
              <a:gd name="T37" fmla="*/ 38 h 50"/>
              <a:gd name="T38" fmla="*/ 75 w 95"/>
              <a:gd name="T39" fmla="*/ 40 h 50"/>
              <a:gd name="T40" fmla="*/ 79 w 95"/>
              <a:gd name="T41" fmla="*/ 40 h 50"/>
              <a:gd name="T42" fmla="*/ 85 w 95"/>
              <a:gd name="T43" fmla="*/ 36 h 50"/>
              <a:gd name="T44" fmla="*/ 87 w 95"/>
              <a:gd name="T45" fmla="*/ 32 h 50"/>
              <a:gd name="T46" fmla="*/ 89 w 95"/>
              <a:gd name="T47" fmla="*/ 32 h 50"/>
              <a:gd name="T48" fmla="*/ 91 w 95"/>
              <a:gd name="T49" fmla="*/ 28 h 50"/>
              <a:gd name="T50" fmla="*/ 93 w 95"/>
              <a:gd name="T51" fmla="*/ 24 h 50"/>
              <a:gd name="T52" fmla="*/ 93 w 95"/>
              <a:gd name="T53" fmla="*/ 18 h 50"/>
              <a:gd name="T54" fmla="*/ 93 w 95"/>
              <a:gd name="T55" fmla="*/ 12 h 50"/>
              <a:gd name="T56" fmla="*/ 89 w 95"/>
              <a:gd name="T57" fmla="*/ 10 h 50"/>
              <a:gd name="T58" fmla="*/ 93 w 95"/>
              <a:gd name="T59" fmla="*/ 4 h 50"/>
              <a:gd name="T60" fmla="*/ 83 w 95"/>
              <a:gd name="T61" fmla="*/ 6 h 50"/>
              <a:gd name="T62" fmla="*/ 77 w 95"/>
              <a:gd name="T63" fmla="*/ 4 h 50"/>
              <a:gd name="T64" fmla="*/ 73 w 95"/>
              <a:gd name="T65" fmla="*/ 2 h 50"/>
              <a:gd name="T66" fmla="*/ 67 w 95"/>
              <a:gd name="T67" fmla="*/ 0 h 50"/>
              <a:gd name="T68" fmla="*/ 65 w 95"/>
              <a:gd name="T69" fmla="*/ 0 h 50"/>
              <a:gd name="T70" fmla="*/ 59 w 95"/>
              <a:gd name="T71" fmla="*/ 8 h 50"/>
              <a:gd name="T72" fmla="*/ 59 w 95"/>
              <a:gd name="T73" fmla="*/ 8 h 50"/>
              <a:gd name="T74" fmla="*/ 53 w 95"/>
              <a:gd name="T75" fmla="*/ 8 h 50"/>
              <a:gd name="T76" fmla="*/ 49 w 95"/>
              <a:gd name="T77" fmla="*/ 4 h 50"/>
              <a:gd name="T78" fmla="*/ 45 w 95"/>
              <a:gd name="T79" fmla="*/ 8 h 50"/>
              <a:gd name="T80" fmla="*/ 43 w 95"/>
              <a:gd name="T81" fmla="*/ 12 h 50"/>
              <a:gd name="T82" fmla="*/ 39 w 95"/>
              <a:gd name="T83" fmla="*/ 16 h 50"/>
              <a:gd name="T84" fmla="*/ 35 w 95"/>
              <a:gd name="T85" fmla="*/ 18 h 50"/>
              <a:gd name="T86" fmla="*/ 35 w 95"/>
              <a:gd name="T87" fmla="*/ 20 h 50"/>
              <a:gd name="T88" fmla="*/ 37 w 95"/>
              <a:gd name="T89" fmla="*/ 22 h 50"/>
              <a:gd name="T90" fmla="*/ 39 w 95"/>
              <a:gd name="T91" fmla="*/ 24 h 50"/>
              <a:gd name="T92" fmla="*/ 35 w 95"/>
              <a:gd name="T93" fmla="*/ 30 h 50"/>
              <a:gd name="T94" fmla="*/ 33 w 95"/>
              <a:gd name="T95" fmla="*/ 26 h 50"/>
              <a:gd name="T96" fmla="*/ 29 w 95"/>
              <a:gd name="T97" fmla="*/ 26 h 50"/>
              <a:gd name="T98" fmla="*/ 25 w 95"/>
              <a:gd name="T99" fmla="*/ 26 h 50"/>
              <a:gd name="T100" fmla="*/ 21 w 95"/>
              <a:gd name="T101" fmla="*/ 24 h 50"/>
              <a:gd name="T102" fmla="*/ 19 w 95"/>
              <a:gd name="T103" fmla="*/ 28 h 50"/>
              <a:gd name="T104" fmla="*/ 15 w 95"/>
              <a:gd name="T105" fmla="*/ 30 h 50"/>
              <a:gd name="T106" fmla="*/ 8 w 95"/>
              <a:gd name="T107" fmla="*/ 30 h 50"/>
              <a:gd name="T108" fmla="*/ 4 w 95"/>
              <a:gd name="T109" fmla="*/ 34 h 50"/>
              <a:gd name="T110" fmla="*/ 0 w 95"/>
              <a:gd name="T111"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 h="50">
                <a:moveTo>
                  <a:pt x="0" y="36"/>
                </a:moveTo>
                <a:lnTo>
                  <a:pt x="0" y="36"/>
                </a:lnTo>
                <a:lnTo>
                  <a:pt x="4" y="36"/>
                </a:lnTo>
                <a:lnTo>
                  <a:pt x="4" y="38"/>
                </a:lnTo>
                <a:lnTo>
                  <a:pt x="4" y="44"/>
                </a:lnTo>
                <a:lnTo>
                  <a:pt x="4" y="44"/>
                </a:lnTo>
                <a:lnTo>
                  <a:pt x="8" y="46"/>
                </a:lnTo>
                <a:lnTo>
                  <a:pt x="13" y="46"/>
                </a:lnTo>
                <a:lnTo>
                  <a:pt x="13" y="46"/>
                </a:lnTo>
                <a:lnTo>
                  <a:pt x="13" y="46"/>
                </a:lnTo>
                <a:lnTo>
                  <a:pt x="13" y="44"/>
                </a:lnTo>
                <a:lnTo>
                  <a:pt x="17" y="44"/>
                </a:lnTo>
                <a:lnTo>
                  <a:pt x="17" y="44"/>
                </a:lnTo>
                <a:lnTo>
                  <a:pt x="19" y="46"/>
                </a:lnTo>
                <a:lnTo>
                  <a:pt x="23" y="46"/>
                </a:lnTo>
                <a:lnTo>
                  <a:pt x="23" y="46"/>
                </a:lnTo>
                <a:lnTo>
                  <a:pt x="25" y="46"/>
                </a:lnTo>
                <a:lnTo>
                  <a:pt x="27" y="48"/>
                </a:lnTo>
                <a:lnTo>
                  <a:pt x="27" y="48"/>
                </a:lnTo>
                <a:lnTo>
                  <a:pt x="29" y="50"/>
                </a:lnTo>
                <a:lnTo>
                  <a:pt x="29" y="50"/>
                </a:lnTo>
                <a:lnTo>
                  <a:pt x="31" y="50"/>
                </a:lnTo>
                <a:lnTo>
                  <a:pt x="35" y="48"/>
                </a:lnTo>
                <a:lnTo>
                  <a:pt x="35" y="48"/>
                </a:lnTo>
                <a:lnTo>
                  <a:pt x="43" y="48"/>
                </a:lnTo>
                <a:lnTo>
                  <a:pt x="43" y="48"/>
                </a:lnTo>
                <a:lnTo>
                  <a:pt x="47" y="48"/>
                </a:lnTo>
                <a:lnTo>
                  <a:pt x="47" y="48"/>
                </a:lnTo>
                <a:lnTo>
                  <a:pt x="49" y="46"/>
                </a:lnTo>
                <a:lnTo>
                  <a:pt x="49" y="46"/>
                </a:lnTo>
                <a:lnTo>
                  <a:pt x="49" y="44"/>
                </a:lnTo>
                <a:lnTo>
                  <a:pt x="55" y="44"/>
                </a:lnTo>
                <a:lnTo>
                  <a:pt x="55" y="44"/>
                </a:lnTo>
                <a:lnTo>
                  <a:pt x="61" y="46"/>
                </a:lnTo>
                <a:lnTo>
                  <a:pt x="63" y="42"/>
                </a:lnTo>
                <a:lnTo>
                  <a:pt x="63" y="42"/>
                </a:lnTo>
                <a:lnTo>
                  <a:pt x="67" y="40"/>
                </a:lnTo>
                <a:lnTo>
                  <a:pt x="71" y="38"/>
                </a:lnTo>
                <a:lnTo>
                  <a:pt x="71" y="38"/>
                </a:lnTo>
                <a:lnTo>
                  <a:pt x="75" y="40"/>
                </a:lnTo>
                <a:lnTo>
                  <a:pt x="79" y="40"/>
                </a:lnTo>
                <a:lnTo>
                  <a:pt x="79" y="40"/>
                </a:lnTo>
                <a:lnTo>
                  <a:pt x="85" y="36"/>
                </a:lnTo>
                <a:lnTo>
                  <a:pt x="85" y="36"/>
                </a:lnTo>
                <a:lnTo>
                  <a:pt x="85" y="34"/>
                </a:lnTo>
                <a:lnTo>
                  <a:pt x="87" y="32"/>
                </a:lnTo>
                <a:lnTo>
                  <a:pt x="89" y="32"/>
                </a:lnTo>
                <a:lnTo>
                  <a:pt x="89" y="32"/>
                </a:lnTo>
                <a:lnTo>
                  <a:pt x="91" y="32"/>
                </a:lnTo>
                <a:lnTo>
                  <a:pt x="91" y="28"/>
                </a:lnTo>
                <a:lnTo>
                  <a:pt x="93" y="24"/>
                </a:lnTo>
                <a:lnTo>
                  <a:pt x="93" y="24"/>
                </a:lnTo>
                <a:lnTo>
                  <a:pt x="91" y="20"/>
                </a:lnTo>
                <a:lnTo>
                  <a:pt x="93" y="18"/>
                </a:lnTo>
                <a:lnTo>
                  <a:pt x="95" y="18"/>
                </a:lnTo>
                <a:lnTo>
                  <a:pt x="93" y="12"/>
                </a:lnTo>
                <a:lnTo>
                  <a:pt x="93" y="12"/>
                </a:lnTo>
                <a:lnTo>
                  <a:pt x="89" y="10"/>
                </a:lnTo>
                <a:lnTo>
                  <a:pt x="89" y="8"/>
                </a:lnTo>
                <a:lnTo>
                  <a:pt x="93" y="4"/>
                </a:lnTo>
                <a:lnTo>
                  <a:pt x="93" y="4"/>
                </a:lnTo>
                <a:lnTo>
                  <a:pt x="83" y="6"/>
                </a:lnTo>
                <a:lnTo>
                  <a:pt x="83" y="6"/>
                </a:lnTo>
                <a:lnTo>
                  <a:pt x="77" y="4"/>
                </a:lnTo>
                <a:lnTo>
                  <a:pt x="73" y="2"/>
                </a:lnTo>
                <a:lnTo>
                  <a:pt x="73" y="2"/>
                </a:lnTo>
                <a:lnTo>
                  <a:pt x="71" y="0"/>
                </a:lnTo>
                <a:lnTo>
                  <a:pt x="67" y="0"/>
                </a:lnTo>
                <a:lnTo>
                  <a:pt x="65" y="0"/>
                </a:lnTo>
                <a:lnTo>
                  <a:pt x="65" y="0"/>
                </a:lnTo>
                <a:lnTo>
                  <a:pt x="63" y="2"/>
                </a:lnTo>
                <a:lnTo>
                  <a:pt x="59" y="8"/>
                </a:lnTo>
                <a:lnTo>
                  <a:pt x="59" y="8"/>
                </a:lnTo>
                <a:lnTo>
                  <a:pt x="59" y="8"/>
                </a:lnTo>
                <a:lnTo>
                  <a:pt x="57" y="10"/>
                </a:lnTo>
                <a:lnTo>
                  <a:pt x="53" y="8"/>
                </a:lnTo>
                <a:lnTo>
                  <a:pt x="49" y="4"/>
                </a:lnTo>
                <a:lnTo>
                  <a:pt x="49" y="4"/>
                </a:lnTo>
                <a:lnTo>
                  <a:pt x="47" y="6"/>
                </a:lnTo>
                <a:lnTo>
                  <a:pt x="45" y="8"/>
                </a:lnTo>
                <a:lnTo>
                  <a:pt x="43" y="12"/>
                </a:lnTo>
                <a:lnTo>
                  <a:pt x="43" y="12"/>
                </a:lnTo>
                <a:lnTo>
                  <a:pt x="43" y="14"/>
                </a:lnTo>
                <a:lnTo>
                  <a:pt x="39" y="16"/>
                </a:lnTo>
                <a:lnTo>
                  <a:pt x="39" y="16"/>
                </a:lnTo>
                <a:lnTo>
                  <a:pt x="35" y="18"/>
                </a:lnTo>
                <a:lnTo>
                  <a:pt x="35" y="20"/>
                </a:lnTo>
                <a:lnTo>
                  <a:pt x="35" y="20"/>
                </a:lnTo>
                <a:lnTo>
                  <a:pt x="37" y="20"/>
                </a:lnTo>
                <a:lnTo>
                  <a:pt x="37" y="22"/>
                </a:lnTo>
                <a:lnTo>
                  <a:pt x="39" y="24"/>
                </a:lnTo>
                <a:lnTo>
                  <a:pt x="39" y="24"/>
                </a:lnTo>
                <a:lnTo>
                  <a:pt x="39" y="30"/>
                </a:lnTo>
                <a:lnTo>
                  <a:pt x="35" y="30"/>
                </a:lnTo>
                <a:lnTo>
                  <a:pt x="35" y="30"/>
                </a:lnTo>
                <a:lnTo>
                  <a:pt x="33" y="26"/>
                </a:lnTo>
                <a:lnTo>
                  <a:pt x="31" y="26"/>
                </a:lnTo>
                <a:lnTo>
                  <a:pt x="29" y="26"/>
                </a:lnTo>
                <a:lnTo>
                  <a:pt x="29" y="26"/>
                </a:lnTo>
                <a:lnTo>
                  <a:pt x="25" y="26"/>
                </a:lnTo>
                <a:lnTo>
                  <a:pt x="23" y="24"/>
                </a:lnTo>
                <a:lnTo>
                  <a:pt x="21" y="24"/>
                </a:lnTo>
                <a:lnTo>
                  <a:pt x="21" y="24"/>
                </a:lnTo>
                <a:lnTo>
                  <a:pt x="19" y="28"/>
                </a:lnTo>
                <a:lnTo>
                  <a:pt x="15" y="30"/>
                </a:lnTo>
                <a:lnTo>
                  <a:pt x="15" y="30"/>
                </a:lnTo>
                <a:lnTo>
                  <a:pt x="11" y="30"/>
                </a:lnTo>
                <a:lnTo>
                  <a:pt x="8" y="30"/>
                </a:lnTo>
                <a:lnTo>
                  <a:pt x="8" y="30"/>
                </a:lnTo>
                <a:lnTo>
                  <a:pt x="4" y="34"/>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6" name="Freeform 260">
            <a:extLst>
              <a:ext uri="{FF2B5EF4-FFF2-40B4-BE49-F238E27FC236}">
                <a16:creationId xmlns:a16="http://schemas.microsoft.com/office/drawing/2014/main" id="{D241F481-86AA-4DBB-A770-016601CCF89F}"/>
              </a:ext>
            </a:extLst>
          </p:cNvPr>
          <p:cNvSpPr>
            <a:spLocks noEditPoints="1"/>
          </p:cNvSpPr>
          <p:nvPr userDrawn="1"/>
        </p:nvSpPr>
        <p:spPr bwMode="auto">
          <a:xfrm>
            <a:off x="8383010" y="4016980"/>
            <a:ext cx="897776" cy="981544"/>
          </a:xfrm>
          <a:custGeom>
            <a:avLst/>
            <a:gdLst>
              <a:gd name="T0" fmla="*/ 406 w 536"/>
              <a:gd name="T1" fmla="*/ 482 h 572"/>
              <a:gd name="T2" fmla="*/ 420 w 536"/>
              <a:gd name="T3" fmla="*/ 462 h 572"/>
              <a:gd name="T4" fmla="*/ 426 w 536"/>
              <a:gd name="T5" fmla="*/ 474 h 572"/>
              <a:gd name="T6" fmla="*/ 446 w 536"/>
              <a:gd name="T7" fmla="*/ 484 h 572"/>
              <a:gd name="T8" fmla="*/ 484 w 536"/>
              <a:gd name="T9" fmla="*/ 458 h 572"/>
              <a:gd name="T10" fmla="*/ 492 w 536"/>
              <a:gd name="T11" fmla="*/ 426 h 572"/>
              <a:gd name="T12" fmla="*/ 502 w 536"/>
              <a:gd name="T13" fmla="*/ 382 h 572"/>
              <a:gd name="T14" fmla="*/ 526 w 536"/>
              <a:gd name="T15" fmla="*/ 354 h 572"/>
              <a:gd name="T16" fmla="*/ 528 w 536"/>
              <a:gd name="T17" fmla="*/ 312 h 572"/>
              <a:gd name="T18" fmla="*/ 528 w 536"/>
              <a:gd name="T19" fmla="*/ 254 h 572"/>
              <a:gd name="T20" fmla="*/ 514 w 536"/>
              <a:gd name="T21" fmla="*/ 232 h 572"/>
              <a:gd name="T22" fmla="*/ 486 w 536"/>
              <a:gd name="T23" fmla="*/ 192 h 572"/>
              <a:gd name="T24" fmla="*/ 468 w 536"/>
              <a:gd name="T25" fmla="*/ 148 h 572"/>
              <a:gd name="T26" fmla="*/ 442 w 536"/>
              <a:gd name="T27" fmla="*/ 134 h 572"/>
              <a:gd name="T28" fmla="*/ 430 w 536"/>
              <a:gd name="T29" fmla="*/ 64 h 572"/>
              <a:gd name="T30" fmla="*/ 408 w 536"/>
              <a:gd name="T31" fmla="*/ 40 h 572"/>
              <a:gd name="T32" fmla="*/ 390 w 536"/>
              <a:gd name="T33" fmla="*/ 0 h 572"/>
              <a:gd name="T34" fmla="*/ 380 w 536"/>
              <a:gd name="T35" fmla="*/ 42 h 572"/>
              <a:gd name="T36" fmla="*/ 374 w 536"/>
              <a:gd name="T37" fmla="*/ 96 h 572"/>
              <a:gd name="T38" fmla="*/ 336 w 536"/>
              <a:gd name="T39" fmla="*/ 92 h 572"/>
              <a:gd name="T40" fmla="*/ 300 w 536"/>
              <a:gd name="T41" fmla="*/ 66 h 572"/>
              <a:gd name="T42" fmla="*/ 318 w 536"/>
              <a:gd name="T43" fmla="*/ 22 h 572"/>
              <a:gd name="T44" fmla="*/ 296 w 536"/>
              <a:gd name="T45" fmla="*/ 18 h 572"/>
              <a:gd name="T46" fmla="*/ 264 w 536"/>
              <a:gd name="T47" fmla="*/ 12 h 572"/>
              <a:gd name="T48" fmla="*/ 262 w 536"/>
              <a:gd name="T49" fmla="*/ 22 h 572"/>
              <a:gd name="T50" fmla="*/ 234 w 536"/>
              <a:gd name="T51" fmla="*/ 28 h 572"/>
              <a:gd name="T52" fmla="*/ 218 w 536"/>
              <a:gd name="T53" fmla="*/ 60 h 572"/>
              <a:gd name="T54" fmla="*/ 200 w 536"/>
              <a:gd name="T55" fmla="*/ 72 h 572"/>
              <a:gd name="T56" fmla="*/ 184 w 536"/>
              <a:gd name="T57" fmla="*/ 46 h 572"/>
              <a:gd name="T58" fmla="*/ 166 w 536"/>
              <a:gd name="T59" fmla="*/ 58 h 572"/>
              <a:gd name="T60" fmla="*/ 160 w 536"/>
              <a:gd name="T61" fmla="*/ 70 h 572"/>
              <a:gd name="T62" fmla="*/ 142 w 536"/>
              <a:gd name="T63" fmla="*/ 96 h 572"/>
              <a:gd name="T64" fmla="*/ 132 w 536"/>
              <a:gd name="T65" fmla="*/ 92 h 572"/>
              <a:gd name="T66" fmla="*/ 116 w 536"/>
              <a:gd name="T67" fmla="*/ 128 h 572"/>
              <a:gd name="T68" fmla="*/ 74 w 536"/>
              <a:gd name="T69" fmla="*/ 154 h 572"/>
              <a:gd name="T70" fmla="*/ 36 w 536"/>
              <a:gd name="T71" fmla="*/ 170 h 572"/>
              <a:gd name="T72" fmla="*/ 12 w 536"/>
              <a:gd name="T73" fmla="*/ 182 h 572"/>
              <a:gd name="T74" fmla="*/ 10 w 536"/>
              <a:gd name="T75" fmla="*/ 206 h 572"/>
              <a:gd name="T76" fmla="*/ 14 w 536"/>
              <a:gd name="T77" fmla="*/ 252 h 572"/>
              <a:gd name="T78" fmla="*/ 2 w 536"/>
              <a:gd name="T79" fmla="*/ 260 h 572"/>
              <a:gd name="T80" fmla="*/ 24 w 536"/>
              <a:gd name="T81" fmla="*/ 292 h 572"/>
              <a:gd name="T82" fmla="*/ 32 w 536"/>
              <a:gd name="T83" fmla="*/ 340 h 572"/>
              <a:gd name="T84" fmla="*/ 34 w 536"/>
              <a:gd name="T85" fmla="*/ 384 h 572"/>
              <a:gd name="T86" fmla="*/ 42 w 536"/>
              <a:gd name="T87" fmla="*/ 404 h 572"/>
              <a:gd name="T88" fmla="*/ 78 w 536"/>
              <a:gd name="T89" fmla="*/ 394 h 572"/>
              <a:gd name="T90" fmla="*/ 100 w 536"/>
              <a:gd name="T91" fmla="*/ 388 h 572"/>
              <a:gd name="T92" fmla="*/ 128 w 536"/>
              <a:gd name="T93" fmla="*/ 386 h 572"/>
              <a:gd name="T94" fmla="*/ 148 w 536"/>
              <a:gd name="T95" fmla="*/ 372 h 572"/>
              <a:gd name="T96" fmla="*/ 210 w 536"/>
              <a:gd name="T97" fmla="*/ 352 h 572"/>
              <a:gd name="T98" fmla="*/ 250 w 536"/>
              <a:gd name="T99" fmla="*/ 350 h 572"/>
              <a:gd name="T100" fmla="*/ 282 w 536"/>
              <a:gd name="T101" fmla="*/ 366 h 572"/>
              <a:gd name="T102" fmla="*/ 298 w 536"/>
              <a:gd name="T103" fmla="*/ 400 h 572"/>
              <a:gd name="T104" fmla="*/ 326 w 536"/>
              <a:gd name="T105" fmla="*/ 384 h 572"/>
              <a:gd name="T106" fmla="*/ 318 w 536"/>
              <a:gd name="T107" fmla="*/ 410 h 572"/>
              <a:gd name="T108" fmla="*/ 336 w 536"/>
              <a:gd name="T109" fmla="*/ 412 h 572"/>
              <a:gd name="T110" fmla="*/ 352 w 536"/>
              <a:gd name="T111" fmla="*/ 452 h 572"/>
              <a:gd name="T112" fmla="*/ 384 w 536"/>
              <a:gd name="T113" fmla="*/ 470 h 572"/>
              <a:gd name="T114" fmla="*/ 432 w 536"/>
              <a:gd name="T115" fmla="*/ 560 h 572"/>
              <a:gd name="T116" fmla="*/ 448 w 536"/>
              <a:gd name="T117" fmla="*/ 570 h 572"/>
              <a:gd name="T118" fmla="*/ 454 w 536"/>
              <a:gd name="T119" fmla="*/ 560 h 572"/>
              <a:gd name="T120" fmla="*/ 464 w 536"/>
              <a:gd name="T121" fmla="*/ 530 h 572"/>
              <a:gd name="T122" fmla="*/ 416 w 536"/>
              <a:gd name="T123" fmla="*/ 516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6" h="572">
                <a:moveTo>
                  <a:pt x="384" y="470"/>
                </a:moveTo>
                <a:lnTo>
                  <a:pt x="384" y="470"/>
                </a:lnTo>
                <a:lnTo>
                  <a:pt x="386" y="474"/>
                </a:lnTo>
                <a:lnTo>
                  <a:pt x="386" y="474"/>
                </a:lnTo>
                <a:lnTo>
                  <a:pt x="390" y="474"/>
                </a:lnTo>
                <a:lnTo>
                  <a:pt x="390" y="474"/>
                </a:lnTo>
                <a:lnTo>
                  <a:pt x="390" y="478"/>
                </a:lnTo>
                <a:lnTo>
                  <a:pt x="392" y="480"/>
                </a:lnTo>
                <a:lnTo>
                  <a:pt x="392" y="480"/>
                </a:lnTo>
                <a:lnTo>
                  <a:pt x="396" y="480"/>
                </a:lnTo>
                <a:lnTo>
                  <a:pt x="396" y="480"/>
                </a:lnTo>
                <a:lnTo>
                  <a:pt x="398" y="482"/>
                </a:lnTo>
                <a:lnTo>
                  <a:pt x="400" y="484"/>
                </a:lnTo>
                <a:lnTo>
                  <a:pt x="400" y="484"/>
                </a:lnTo>
                <a:lnTo>
                  <a:pt x="406" y="482"/>
                </a:lnTo>
                <a:lnTo>
                  <a:pt x="406" y="482"/>
                </a:lnTo>
                <a:lnTo>
                  <a:pt x="408" y="478"/>
                </a:lnTo>
                <a:lnTo>
                  <a:pt x="410" y="478"/>
                </a:lnTo>
                <a:lnTo>
                  <a:pt x="410" y="478"/>
                </a:lnTo>
                <a:lnTo>
                  <a:pt x="412" y="472"/>
                </a:lnTo>
                <a:lnTo>
                  <a:pt x="412" y="472"/>
                </a:lnTo>
                <a:lnTo>
                  <a:pt x="414" y="472"/>
                </a:lnTo>
                <a:lnTo>
                  <a:pt x="416" y="470"/>
                </a:lnTo>
                <a:lnTo>
                  <a:pt x="416" y="470"/>
                </a:lnTo>
                <a:lnTo>
                  <a:pt x="416" y="468"/>
                </a:lnTo>
                <a:lnTo>
                  <a:pt x="416" y="468"/>
                </a:lnTo>
                <a:lnTo>
                  <a:pt x="416" y="468"/>
                </a:lnTo>
                <a:lnTo>
                  <a:pt x="416" y="466"/>
                </a:lnTo>
                <a:lnTo>
                  <a:pt x="416" y="466"/>
                </a:lnTo>
                <a:lnTo>
                  <a:pt x="420" y="464"/>
                </a:lnTo>
                <a:lnTo>
                  <a:pt x="420" y="462"/>
                </a:lnTo>
                <a:lnTo>
                  <a:pt x="420" y="462"/>
                </a:lnTo>
                <a:lnTo>
                  <a:pt x="424" y="464"/>
                </a:lnTo>
                <a:lnTo>
                  <a:pt x="424" y="464"/>
                </a:lnTo>
                <a:lnTo>
                  <a:pt x="426" y="466"/>
                </a:lnTo>
                <a:lnTo>
                  <a:pt x="426" y="468"/>
                </a:lnTo>
                <a:lnTo>
                  <a:pt x="426" y="468"/>
                </a:lnTo>
                <a:lnTo>
                  <a:pt x="420" y="470"/>
                </a:lnTo>
                <a:lnTo>
                  <a:pt x="420" y="470"/>
                </a:lnTo>
                <a:lnTo>
                  <a:pt x="420" y="474"/>
                </a:lnTo>
                <a:lnTo>
                  <a:pt x="420" y="474"/>
                </a:lnTo>
                <a:lnTo>
                  <a:pt x="424" y="474"/>
                </a:lnTo>
                <a:lnTo>
                  <a:pt x="424" y="474"/>
                </a:lnTo>
                <a:lnTo>
                  <a:pt x="430" y="470"/>
                </a:lnTo>
                <a:lnTo>
                  <a:pt x="430" y="470"/>
                </a:lnTo>
                <a:lnTo>
                  <a:pt x="430" y="474"/>
                </a:lnTo>
                <a:lnTo>
                  <a:pt x="430" y="474"/>
                </a:lnTo>
                <a:lnTo>
                  <a:pt x="426" y="474"/>
                </a:lnTo>
                <a:lnTo>
                  <a:pt x="426" y="476"/>
                </a:lnTo>
                <a:lnTo>
                  <a:pt x="426" y="476"/>
                </a:lnTo>
                <a:lnTo>
                  <a:pt x="434" y="480"/>
                </a:lnTo>
                <a:lnTo>
                  <a:pt x="436" y="484"/>
                </a:lnTo>
                <a:lnTo>
                  <a:pt x="436" y="484"/>
                </a:lnTo>
                <a:lnTo>
                  <a:pt x="436" y="484"/>
                </a:lnTo>
                <a:lnTo>
                  <a:pt x="438" y="484"/>
                </a:lnTo>
                <a:lnTo>
                  <a:pt x="438" y="484"/>
                </a:lnTo>
                <a:lnTo>
                  <a:pt x="438" y="486"/>
                </a:lnTo>
                <a:lnTo>
                  <a:pt x="440" y="488"/>
                </a:lnTo>
                <a:lnTo>
                  <a:pt x="440" y="488"/>
                </a:lnTo>
                <a:lnTo>
                  <a:pt x="442" y="490"/>
                </a:lnTo>
                <a:lnTo>
                  <a:pt x="442" y="490"/>
                </a:lnTo>
                <a:lnTo>
                  <a:pt x="444" y="486"/>
                </a:lnTo>
                <a:lnTo>
                  <a:pt x="446" y="484"/>
                </a:lnTo>
                <a:lnTo>
                  <a:pt x="446" y="484"/>
                </a:lnTo>
                <a:lnTo>
                  <a:pt x="450" y="482"/>
                </a:lnTo>
                <a:lnTo>
                  <a:pt x="450" y="482"/>
                </a:lnTo>
                <a:lnTo>
                  <a:pt x="450" y="478"/>
                </a:lnTo>
                <a:lnTo>
                  <a:pt x="450" y="478"/>
                </a:lnTo>
                <a:lnTo>
                  <a:pt x="454" y="474"/>
                </a:lnTo>
                <a:lnTo>
                  <a:pt x="458" y="470"/>
                </a:lnTo>
                <a:lnTo>
                  <a:pt x="458" y="470"/>
                </a:lnTo>
                <a:lnTo>
                  <a:pt x="458" y="468"/>
                </a:lnTo>
                <a:lnTo>
                  <a:pt x="456" y="466"/>
                </a:lnTo>
                <a:lnTo>
                  <a:pt x="456" y="466"/>
                </a:lnTo>
                <a:lnTo>
                  <a:pt x="460" y="462"/>
                </a:lnTo>
                <a:lnTo>
                  <a:pt x="460" y="462"/>
                </a:lnTo>
                <a:lnTo>
                  <a:pt x="472" y="462"/>
                </a:lnTo>
                <a:lnTo>
                  <a:pt x="482" y="464"/>
                </a:lnTo>
                <a:lnTo>
                  <a:pt x="484" y="458"/>
                </a:lnTo>
                <a:lnTo>
                  <a:pt x="484" y="458"/>
                </a:lnTo>
                <a:lnTo>
                  <a:pt x="488" y="458"/>
                </a:lnTo>
                <a:lnTo>
                  <a:pt x="488" y="458"/>
                </a:lnTo>
                <a:lnTo>
                  <a:pt x="488" y="456"/>
                </a:lnTo>
                <a:lnTo>
                  <a:pt x="486" y="454"/>
                </a:lnTo>
                <a:lnTo>
                  <a:pt x="486" y="454"/>
                </a:lnTo>
                <a:lnTo>
                  <a:pt x="488" y="452"/>
                </a:lnTo>
                <a:lnTo>
                  <a:pt x="490" y="450"/>
                </a:lnTo>
                <a:lnTo>
                  <a:pt x="490" y="450"/>
                </a:lnTo>
                <a:lnTo>
                  <a:pt x="486" y="450"/>
                </a:lnTo>
                <a:lnTo>
                  <a:pt x="486" y="450"/>
                </a:lnTo>
                <a:lnTo>
                  <a:pt x="484" y="446"/>
                </a:lnTo>
                <a:lnTo>
                  <a:pt x="484" y="446"/>
                </a:lnTo>
                <a:lnTo>
                  <a:pt x="488" y="438"/>
                </a:lnTo>
                <a:lnTo>
                  <a:pt x="492" y="430"/>
                </a:lnTo>
                <a:lnTo>
                  <a:pt x="492" y="430"/>
                </a:lnTo>
                <a:lnTo>
                  <a:pt x="492" y="426"/>
                </a:lnTo>
                <a:lnTo>
                  <a:pt x="492" y="418"/>
                </a:lnTo>
                <a:lnTo>
                  <a:pt x="492" y="418"/>
                </a:lnTo>
                <a:lnTo>
                  <a:pt x="492" y="418"/>
                </a:lnTo>
                <a:lnTo>
                  <a:pt x="496" y="412"/>
                </a:lnTo>
                <a:lnTo>
                  <a:pt x="498" y="412"/>
                </a:lnTo>
                <a:lnTo>
                  <a:pt x="498" y="412"/>
                </a:lnTo>
                <a:lnTo>
                  <a:pt x="498" y="408"/>
                </a:lnTo>
                <a:lnTo>
                  <a:pt x="498" y="406"/>
                </a:lnTo>
                <a:lnTo>
                  <a:pt x="500" y="404"/>
                </a:lnTo>
                <a:lnTo>
                  <a:pt x="500" y="404"/>
                </a:lnTo>
                <a:lnTo>
                  <a:pt x="500" y="400"/>
                </a:lnTo>
                <a:lnTo>
                  <a:pt x="502" y="398"/>
                </a:lnTo>
                <a:lnTo>
                  <a:pt x="502" y="398"/>
                </a:lnTo>
                <a:lnTo>
                  <a:pt x="504" y="390"/>
                </a:lnTo>
                <a:lnTo>
                  <a:pt x="502" y="382"/>
                </a:lnTo>
                <a:lnTo>
                  <a:pt x="502" y="382"/>
                </a:lnTo>
                <a:lnTo>
                  <a:pt x="508" y="380"/>
                </a:lnTo>
                <a:lnTo>
                  <a:pt x="508" y="380"/>
                </a:lnTo>
                <a:lnTo>
                  <a:pt x="508" y="376"/>
                </a:lnTo>
                <a:lnTo>
                  <a:pt x="508" y="376"/>
                </a:lnTo>
                <a:lnTo>
                  <a:pt x="510" y="374"/>
                </a:lnTo>
                <a:lnTo>
                  <a:pt x="514" y="372"/>
                </a:lnTo>
                <a:lnTo>
                  <a:pt x="514" y="372"/>
                </a:lnTo>
                <a:lnTo>
                  <a:pt x="516" y="368"/>
                </a:lnTo>
                <a:lnTo>
                  <a:pt x="516" y="368"/>
                </a:lnTo>
                <a:lnTo>
                  <a:pt x="516" y="368"/>
                </a:lnTo>
                <a:lnTo>
                  <a:pt x="522" y="366"/>
                </a:lnTo>
                <a:lnTo>
                  <a:pt x="522" y="366"/>
                </a:lnTo>
                <a:lnTo>
                  <a:pt x="522" y="358"/>
                </a:lnTo>
                <a:lnTo>
                  <a:pt x="522" y="358"/>
                </a:lnTo>
                <a:lnTo>
                  <a:pt x="524" y="354"/>
                </a:lnTo>
                <a:lnTo>
                  <a:pt x="526" y="354"/>
                </a:lnTo>
                <a:lnTo>
                  <a:pt x="526" y="354"/>
                </a:lnTo>
                <a:lnTo>
                  <a:pt x="526" y="350"/>
                </a:lnTo>
                <a:lnTo>
                  <a:pt x="526" y="350"/>
                </a:lnTo>
                <a:lnTo>
                  <a:pt x="530" y="342"/>
                </a:lnTo>
                <a:lnTo>
                  <a:pt x="530" y="342"/>
                </a:lnTo>
                <a:lnTo>
                  <a:pt x="530" y="338"/>
                </a:lnTo>
                <a:lnTo>
                  <a:pt x="528" y="334"/>
                </a:lnTo>
                <a:lnTo>
                  <a:pt x="528" y="334"/>
                </a:lnTo>
                <a:lnTo>
                  <a:pt x="530" y="332"/>
                </a:lnTo>
                <a:lnTo>
                  <a:pt x="530" y="332"/>
                </a:lnTo>
                <a:lnTo>
                  <a:pt x="530" y="324"/>
                </a:lnTo>
                <a:lnTo>
                  <a:pt x="532" y="314"/>
                </a:lnTo>
                <a:lnTo>
                  <a:pt x="532" y="314"/>
                </a:lnTo>
                <a:lnTo>
                  <a:pt x="530" y="314"/>
                </a:lnTo>
                <a:lnTo>
                  <a:pt x="528" y="312"/>
                </a:lnTo>
                <a:lnTo>
                  <a:pt x="528" y="312"/>
                </a:lnTo>
                <a:lnTo>
                  <a:pt x="534" y="308"/>
                </a:lnTo>
                <a:lnTo>
                  <a:pt x="534" y="308"/>
                </a:lnTo>
                <a:lnTo>
                  <a:pt x="530" y="304"/>
                </a:lnTo>
                <a:lnTo>
                  <a:pt x="530" y="304"/>
                </a:lnTo>
                <a:lnTo>
                  <a:pt x="534" y="300"/>
                </a:lnTo>
                <a:lnTo>
                  <a:pt x="536" y="296"/>
                </a:lnTo>
                <a:lnTo>
                  <a:pt x="536" y="292"/>
                </a:lnTo>
                <a:lnTo>
                  <a:pt x="536" y="292"/>
                </a:lnTo>
                <a:lnTo>
                  <a:pt x="532" y="288"/>
                </a:lnTo>
                <a:lnTo>
                  <a:pt x="530" y="286"/>
                </a:lnTo>
                <a:lnTo>
                  <a:pt x="530" y="286"/>
                </a:lnTo>
                <a:lnTo>
                  <a:pt x="526" y="276"/>
                </a:lnTo>
                <a:lnTo>
                  <a:pt x="526" y="276"/>
                </a:lnTo>
                <a:lnTo>
                  <a:pt x="526" y="266"/>
                </a:lnTo>
                <a:lnTo>
                  <a:pt x="528" y="258"/>
                </a:lnTo>
                <a:lnTo>
                  <a:pt x="528" y="254"/>
                </a:lnTo>
                <a:lnTo>
                  <a:pt x="528" y="254"/>
                </a:lnTo>
                <a:lnTo>
                  <a:pt x="528" y="254"/>
                </a:lnTo>
                <a:lnTo>
                  <a:pt x="528" y="252"/>
                </a:lnTo>
                <a:lnTo>
                  <a:pt x="528" y="248"/>
                </a:lnTo>
                <a:lnTo>
                  <a:pt x="526" y="246"/>
                </a:lnTo>
                <a:lnTo>
                  <a:pt x="526" y="246"/>
                </a:lnTo>
                <a:lnTo>
                  <a:pt x="526" y="242"/>
                </a:lnTo>
                <a:lnTo>
                  <a:pt x="526" y="242"/>
                </a:lnTo>
                <a:lnTo>
                  <a:pt x="524" y="242"/>
                </a:lnTo>
                <a:lnTo>
                  <a:pt x="522" y="240"/>
                </a:lnTo>
                <a:lnTo>
                  <a:pt x="522" y="240"/>
                </a:lnTo>
                <a:lnTo>
                  <a:pt x="522" y="238"/>
                </a:lnTo>
                <a:lnTo>
                  <a:pt x="520" y="234"/>
                </a:lnTo>
                <a:lnTo>
                  <a:pt x="520" y="234"/>
                </a:lnTo>
                <a:lnTo>
                  <a:pt x="514" y="232"/>
                </a:lnTo>
                <a:lnTo>
                  <a:pt x="514" y="232"/>
                </a:lnTo>
                <a:lnTo>
                  <a:pt x="514" y="226"/>
                </a:lnTo>
                <a:lnTo>
                  <a:pt x="514" y="226"/>
                </a:lnTo>
                <a:lnTo>
                  <a:pt x="510" y="220"/>
                </a:lnTo>
                <a:lnTo>
                  <a:pt x="510" y="220"/>
                </a:lnTo>
                <a:lnTo>
                  <a:pt x="504" y="218"/>
                </a:lnTo>
                <a:lnTo>
                  <a:pt x="502" y="214"/>
                </a:lnTo>
                <a:lnTo>
                  <a:pt x="502" y="214"/>
                </a:lnTo>
                <a:lnTo>
                  <a:pt x="500" y="210"/>
                </a:lnTo>
                <a:lnTo>
                  <a:pt x="500" y="204"/>
                </a:lnTo>
                <a:lnTo>
                  <a:pt x="500" y="200"/>
                </a:lnTo>
                <a:lnTo>
                  <a:pt x="500" y="196"/>
                </a:lnTo>
                <a:lnTo>
                  <a:pt x="498" y="196"/>
                </a:lnTo>
                <a:lnTo>
                  <a:pt x="492" y="190"/>
                </a:lnTo>
                <a:lnTo>
                  <a:pt x="492" y="190"/>
                </a:lnTo>
                <a:lnTo>
                  <a:pt x="490" y="192"/>
                </a:lnTo>
                <a:lnTo>
                  <a:pt x="486" y="192"/>
                </a:lnTo>
                <a:lnTo>
                  <a:pt x="484" y="190"/>
                </a:lnTo>
                <a:lnTo>
                  <a:pt x="484" y="190"/>
                </a:lnTo>
                <a:lnTo>
                  <a:pt x="484" y="186"/>
                </a:lnTo>
                <a:lnTo>
                  <a:pt x="484" y="182"/>
                </a:lnTo>
                <a:lnTo>
                  <a:pt x="486" y="180"/>
                </a:lnTo>
                <a:lnTo>
                  <a:pt x="486" y="176"/>
                </a:lnTo>
                <a:lnTo>
                  <a:pt x="484" y="174"/>
                </a:lnTo>
                <a:lnTo>
                  <a:pt x="484" y="174"/>
                </a:lnTo>
                <a:lnTo>
                  <a:pt x="482" y="168"/>
                </a:lnTo>
                <a:lnTo>
                  <a:pt x="482" y="168"/>
                </a:lnTo>
                <a:lnTo>
                  <a:pt x="480" y="166"/>
                </a:lnTo>
                <a:lnTo>
                  <a:pt x="476" y="164"/>
                </a:lnTo>
                <a:lnTo>
                  <a:pt x="474" y="162"/>
                </a:lnTo>
                <a:lnTo>
                  <a:pt x="476" y="154"/>
                </a:lnTo>
                <a:lnTo>
                  <a:pt x="476" y="154"/>
                </a:lnTo>
                <a:lnTo>
                  <a:pt x="468" y="148"/>
                </a:lnTo>
                <a:lnTo>
                  <a:pt x="468" y="148"/>
                </a:lnTo>
                <a:lnTo>
                  <a:pt x="468" y="144"/>
                </a:lnTo>
                <a:lnTo>
                  <a:pt x="460" y="142"/>
                </a:lnTo>
                <a:lnTo>
                  <a:pt x="460" y="142"/>
                </a:lnTo>
                <a:lnTo>
                  <a:pt x="460" y="142"/>
                </a:lnTo>
                <a:lnTo>
                  <a:pt x="458" y="144"/>
                </a:lnTo>
                <a:lnTo>
                  <a:pt x="458" y="144"/>
                </a:lnTo>
                <a:lnTo>
                  <a:pt x="456" y="142"/>
                </a:lnTo>
                <a:lnTo>
                  <a:pt x="456" y="142"/>
                </a:lnTo>
                <a:lnTo>
                  <a:pt x="456" y="138"/>
                </a:lnTo>
                <a:lnTo>
                  <a:pt x="456" y="138"/>
                </a:lnTo>
                <a:lnTo>
                  <a:pt x="450" y="138"/>
                </a:lnTo>
                <a:lnTo>
                  <a:pt x="450" y="138"/>
                </a:lnTo>
                <a:lnTo>
                  <a:pt x="444" y="134"/>
                </a:lnTo>
                <a:lnTo>
                  <a:pt x="442" y="134"/>
                </a:lnTo>
                <a:lnTo>
                  <a:pt x="442" y="134"/>
                </a:lnTo>
                <a:lnTo>
                  <a:pt x="442" y="128"/>
                </a:lnTo>
                <a:lnTo>
                  <a:pt x="442" y="126"/>
                </a:lnTo>
                <a:lnTo>
                  <a:pt x="442" y="126"/>
                </a:lnTo>
                <a:lnTo>
                  <a:pt x="442" y="116"/>
                </a:lnTo>
                <a:lnTo>
                  <a:pt x="440" y="104"/>
                </a:lnTo>
                <a:lnTo>
                  <a:pt x="440" y="104"/>
                </a:lnTo>
                <a:lnTo>
                  <a:pt x="438" y="100"/>
                </a:lnTo>
                <a:lnTo>
                  <a:pt x="438" y="100"/>
                </a:lnTo>
                <a:lnTo>
                  <a:pt x="438" y="96"/>
                </a:lnTo>
                <a:lnTo>
                  <a:pt x="438" y="96"/>
                </a:lnTo>
                <a:lnTo>
                  <a:pt x="434" y="90"/>
                </a:lnTo>
                <a:lnTo>
                  <a:pt x="430" y="86"/>
                </a:lnTo>
                <a:lnTo>
                  <a:pt x="430" y="86"/>
                </a:lnTo>
                <a:lnTo>
                  <a:pt x="430" y="76"/>
                </a:lnTo>
                <a:lnTo>
                  <a:pt x="430" y="64"/>
                </a:lnTo>
                <a:lnTo>
                  <a:pt x="430" y="64"/>
                </a:lnTo>
                <a:lnTo>
                  <a:pt x="430" y="64"/>
                </a:lnTo>
                <a:lnTo>
                  <a:pt x="430" y="62"/>
                </a:lnTo>
                <a:lnTo>
                  <a:pt x="430" y="62"/>
                </a:lnTo>
                <a:lnTo>
                  <a:pt x="428" y="62"/>
                </a:lnTo>
                <a:lnTo>
                  <a:pt x="426" y="64"/>
                </a:lnTo>
                <a:lnTo>
                  <a:pt x="426" y="64"/>
                </a:lnTo>
                <a:lnTo>
                  <a:pt x="418" y="52"/>
                </a:lnTo>
                <a:lnTo>
                  <a:pt x="418" y="52"/>
                </a:lnTo>
                <a:lnTo>
                  <a:pt x="410" y="60"/>
                </a:lnTo>
                <a:lnTo>
                  <a:pt x="410" y="60"/>
                </a:lnTo>
                <a:lnTo>
                  <a:pt x="406" y="56"/>
                </a:lnTo>
                <a:lnTo>
                  <a:pt x="406" y="56"/>
                </a:lnTo>
                <a:lnTo>
                  <a:pt x="406" y="48"/>
                </a:lnTo>
                <a:lnTo>
                  <a:pt x="408" y="42"/>
                </a:lnTo>
                <a:lnTo>
                  <a:pt x="408" y="40"/>
                </a:lnTo>
                <a:lnTo>
                  <a:pt x="408" y="40"/>
                </a:lnTo>
                <a:lnTo>
                  <a:pt x="408" y="38"/>
                </a:lnTo>
                <a:lnTo>
                  <a:pt x="406" y="34"/>
                </a:lnTo>
                <a:lnTo>
                  <a:pt x="406" y="28"/>
                </a:lnTo>
                <a:lnTo>
                  <a:pt x="406" y="28"/>
                </a:lnTo>
                <a:lnTo>
                  <a:pt x="402" y="26"/>
                </a:lnTo>
                <a:lnTo>
                  <a:pt x="400" y="24"/>
                </a:lnTo>
                <a:lnTo>
                  <a:pt x="400" y="24"/>
                </a:lnTo>
                <a:lnTo>
                  <a:pt x="400" y="18"/>
                </a:lnTo>
                <a:lnTo>
                  <a:pt x="400" y="18"/>
                </a:lnTo>
                <a:lnTo>
                  <a:pt x="396" y="16"/>
                </a:lnTo>
                <a:lnTo>
                  <a:pt x="396" y="16"/>
                </a:lnTo>
                <a:lnTo>
                  <a:pt x="396" y="10"/>
                </a:lnTo>
                <a:lnTo>
                  <a:pt x="396" y="10"/>
                </a:lnTo>
                <a:lnTo>
                  <a:pt x="392" y="6"/>
                </a:lnTo>
                <a:lnTo>
                  <a:pt x="392" y="6"/>
                </a:lnTo>
                <a:lnTo>
                  <a:pt x="390" y="0"/>
                </a:lnTo>
                <a:lnTo>
                  <a:pt x="388" y="0"/>
                </a:lnTo>
                <a:lnTo>
                  <a:pt x="388" y="0"/>
                </a:lnTo>
                <a:lnTo>
                  <a:pt x="386" y="0"/>
                </a:lnTo>
                <a:lnTo>
                  <a:pt x="384" y="0"/>
                </a:lnTo>
                <a:lnTo>
                  <a:pt x="384" y="0"/>
                </a:lnTo>
                <a:lnTo>
                  <a:pt x="384" y="8"/>
                </a:lnTo>
                <a:lnTo>
                  <a:pt x="384" y="16"/>
                </a:lnTo>
                <a:lnTo>
                  <a:pt x="384" y="16"/>
                </a:lnTo>
                <a:lnTo>
                  <a:pt x="382" y="18"/>
                </a:lnTo>
                <a:lnTo>
                  <a:pt x="380" y="22"/>
                </a:lnTo>
                <a:lnTo>
                  <a:pt x="380" y="22"/>
                </a:lnTo>
                <a:lnTo>
                  <a:pt x="380" y="24"/>
                </a:lnTo>
                <a:lnTo>
                  <a:pt x="382" y="24"/>
                </a:lnTo>
                <a:lnTo>
                  <a:pt x="382" y="40"/>
                </a:lnTo>
                <a:lnTo>
                  <a:pt x="382" y="40"/>
                </a:lnTo>
                <a:lnTo>
                  <a:pt x="380" y="42"/>
                </a:lnTo>
                <a:lnTo>
                  <a:pt x="378" y="48"/>
                </a:lnTo>
                <a:lnTo>
                  <a:pt x="378" y="48"/>
                </a:lnTo>
                <a:lnTo>
                  <a:pt x="380" y="66"/>
                </a:lnTo>
                <a:lnTo>
                  <a:pt x="380" y="66"/>
                </a:lnTo>
                <a:lnTo>
                  <a:pt x="382" y="70"/>
                </a:lnTo>
                <a:lnTo>
                  <a:pt x="382" y="70"/>
                </a:lnTo>
                <a:lnTo>
                  <a:pt x="378" y="72"/>
                </a:lnTo>
                <a:lnTo>
                  <a:pt x="378" y="72"/>
                </a:lnTo>
                <a:lnTo>
                  <a:pt x="378" y="78"/>
                </a:lnTo>
                <a:lnTo>
                  <a:pt x="378" y="82"/>
                </a:lnTo>
                <a:lnTo>
                  <a:pt x="378" y="82"/>
                </a:lnTo>
                <a:lnTo>
                  <a:pt x="376" y="86"/>
                </a:lnTo>
                <a:lnTo>
                  <a:pt x="374" y="90"/>
                </a:lnTo>
                <a:lnTo>
                  <a:pt x="374" y="90"/>
                </a:lnTo>
                <a:lnTo>
                  <a:pt x="374" y="92"/>
                </a:lnTo>
                <a:lnTo>
                  <a:pt x="374" y="96"/>
                </a:lnTo>
                <a:lnTo>
                  <a:pt x="370" y="102"/>
                </a:lnTo>
                <a:lnTo>
                  <a:pt x="370" y="102"/>
                </a:lnTo>
                <a:lnTo>
                  <a:pt x="370" y="110"/>
                </a:lnTo>
                <a:lnTo>
                  <a:pt x="370" y="110"/>
                </a:lnTo>
                <a:lnTo>
                  <a:pt x="364" y="112"/>
                </a:lnTo>
                <a:lnTo>
                  <a:pt x="358" y="112"/>
                </a:lnTo>
                <a:lnTo>
                  <a:pt x="354" y="112"/>
                </a:lnTo>
                <a:lnTo>
                  <a:pt x="354" y="110"/>
                </a:lnTo>
                <a:lnTo>
                  <a:pt x="354" y="110"/>
                </a:lnTo>
                <a:lnTo>
                  <a:pt x="354" y="110"/>
                </a:lnTo>
                <a:lnTo>
                  <a:pt x="348" y="100"/>
                </a:lnTo>
                <a:lnTo>
                  <a:pt x="348" y="100"/>
                </a:lnTo>
                <a:lnTo>
                  <a:pt x="346" y="98"/>
                </a:lnTo>
                <a:lnTo>
                  <a:pt x="342" y="98"/>
                </a:lnTo>
                <a:lnTo>
                  <a:pt x="342" y="98"/>
                </a:lnTo>
                <a:lnTo>
                  <a:pt x="336" y="92"/>
                </a:lnTo>
                <a:lnTo>
                  <a:pt x="332" y="86"/>
                </a:lnTo>
                <a:lnTo>
                  <a:pt x="332" y="86"/>
                </a:lnTo>
                <a:lnTo>
                  <a:pt x="328" y="84"/>
                </a:lnTo>
                <a:lnTo>
                  <a:pt x="324" y="84"/>
                </a:lnTo>
                <a:lnTo>
                  <a:pt x="324" y="84"/>
                </a:lnTo>
                <a:lnTo>
                  <a:pt x="322" y="82"/>
                </a:lnTo>
                <a:lnTo>
                  <a:pt x="318" y="78"/>
                </a:lnTo>
                <a:lnTo>
                  <a:pt x="318" y="78"/>
                </a:lnTo>
                <a:lnTo>
                  <a:pt x="314" y="78"/>
                </a:lnTo>
                <a:lnTo>
                  <a:pt x="314" y="78"/>
                </a:lnTo>
                <a:lnTo>
                  <a:pt x="310" y="72"/>
                </a:lnTo>
                <a:lnTo>
                  <a:pt x="310" y="72"/>
                </a:lnTo>
                <a:lnTo>
                  <a:pt x="306" y="72"/>
                </a:lnTo>
                <a:lnTo>
                  <a:pt x="306" y="72"/>
                </a:lnTo>
                <a:lnTo>
                  <a:pt x="300" y="66"/>
                </a:lnTo>
                <a:lnTo>
                  <a:pt x="300" y="66"/>
                </a:lnTo>
                <a:lnTo>
                  <a:pt x="300" y="60"/>
                </a:lnTo>
                <a:lnTo>
                  <a:pt x="302" y="52"/>
                </a:lnTo>
                <a:lnTo>
                  <a:pt x="302" y="52"/>
                </a:lnTo>
                <a:lnTo>
                  <a:pt x="304" y="50"/>
                </a:lnTo>
                <a:lnTo>
                  <a:pt x="304" y="50"/>
                </a:lnTo>
                <a:lnTo>
                  <a:pt x="304" y="44"/>
                </a:lnTo>
                <a:lnTo>
                  <a:pt x="304" y="38"/>
                </a:lnTo>
                <a:lnTo>
                  <a:pt x="304" y="38"/>
                </a:lnTo>
                <a:lnTo>
                  <a:pt x="310" y="40"/>
                </a:lnTo>
                <a:lnTo>
                  <a:pt x="312" y="38"/>
                </a:lnTo>
                <a:lnTo>
                  <a:pt x="312" y="36"/>
                </a:lnTo>
                <a:lnTo>
                  <a:pt x="310" y="30"/>
                </a:lnTo>
                <a:lnTo>
                  <a:pt x="310" y="30"/>
                </a:lnTo>
                <a:lnTo>
                  <a:pt x="318" y="26"/>
                </a:lnTo>
                <a:lnTo>
                  <a:pt x="318" y="26"/>
                </a:lnTo>
                <a:lnTo>
                  <a:pt x="318" y="22"/>
                </a:lnTo>
                <a:lnTo>
                  <a:pt x="318" y="22"/>
                </a:lnTo>
                <a:lnTo>
                  <a:pt x="316" y="22"/>
                </a:lnTo>
                <a:lnTo>
                  <a:pt x="316" y="22"/>
                </a:lnTo>
                <a:lnTo>
                  <a:pt x="316" y="20"/>
                </a:lnTo>
                <a:lnTo>
                  <a:pt x="314" y="20"/>
                </a:lnTo>
                <a:lnTo>
                  <a:pt x="314" y="20"/>
                </a:lnTo>
                <a:lnTo>
                  <a:pt x="316" y="16"/>
                </a:lnTo>
                <a:lnTo>
                  <a:pt x="316" y="16"/>
                </a:lnTo>
                <a:lnTo>
                  <a:pt x="308" y="20"/>
                </a:lnTo>
                <a:lnTo>
                  <a:pt x="308" y="20"/>
                </a:lnTo>
                <a:lnTo>
                  <a:pt x="308" y="22"/>
                </a:lnTo>
                <a:lnTo>
                  <a:pt x="308" y="22"/>
                </a:lnTo>
                <a:lnTo>
                  <a:pt x="302" y="16"/>
                </a:lnTo>
                <a:lnTo>
                  <a:pt x="302" y="16"/>
                </a:lnTo>
                <a:lnTo>
                  <a:pt x="298" y="16"/>
                </a:lnTo>
                <a:lnTo>
                  <a:pt x="296" y="18"/>
                </a:lnTo>
                <a:lnTo>
                  <a:pt x="296" y="18"/>
                </a:lnTo>
                <a:lnTo>
                  <a:pt x="292" y="18"/>
                </a:lnTo>
                <a:lnTo>
                  <a:pt x="290" y="16"/>
                </a:lnTo>
                <a:lnTo>
                  <a:pt x="290" y="16"/>
                </a:lnTo>
                <a:lnTo>
                  <a:pt x="286" y="16"/>
                </a:lnTo>
                <a:lnTo>
                  <a:pt x="282" y="18"/>
                </a:lnTo>
                <a:lnTo>
                  <a:pt x="280" y="14"/>
                </a:lnTo>
                <a:lnTo>
                  <a:pt x="280" y="14"/>
                </a:lnTo>
                <a:lnTo>
                  <a:pt x="278" y="14"/>
                </a:lnTo>
                <a:lnTo>
                  <a:pt x="274" y="16"/>
                </a:lnTo>
                <a:lnTo>
                  <a:pt x="274" y="16"/>
                </a:lnTo>
                <a:lnTo>
                  <a:pt x="272" y="12"/>
                </a:lnTo>
                <a:lnTo>
                  <a:pt x="272" y="10"/>
                </a:lnTo>
                <a:lnTo>
                  <a:pt x="272" y="10"/>
                </a:lnTo>
                <a:lnTo>
                  <a:pt x="264" y="12"/>
                </a:lnTo>
                <a:lnTo>
                  <a:pt x="264" y="12"/>
                </a:lnTo>
                <a:lnTo>
                  <a:pt x="260" y="8"/>
                </a:lnTo>
                <a:lnTo>
                  <a:pt x="258" y="6"/>
                </a:lnTo>
                <a:lnTo>
                  <a:pt x="256" y="6"/>
                </a:lnTo>
                <a:lnTo>
                  <a:pt x="250" y="4"/>
                </a:lnTo>
                <a:lnTo>
                  <a:pt x="250" y="4"/>
                </a:lnTo>
                <a:lnTo>
                  <a:pt x="250" y="6"/>
                </a:lnTo>
                <a:lnTo>
                  <a:pt x="250" y="6"/>
                </a:lnTo>
                <a:lnTo>
                  <a:pt x="254" y="12"/>
                </a:lnTo>
                <a:lnTo>
                  <a:pt x="254" y="12"/>
                </a:lnTo>
                <a:lnTo>
                  <a:pt x="260" y="12"/>
                </a:lnTo>
                <a:lnTo>
                  <a:pt x="260" y="12"/>
                </a:lnTo>
                <a:lnTo>
                  <a:pt x="262" y="14"/>
                </a:lnTo>
                <a:lnTo>
                  <a:pt x="262" y="16"/>
                </a:lnTo>
                <a:lnTo>
                  <a:pt x="264" y="22"/>
                </a:lnTo>
                <a:lnTo>
                  <a:pt x="262" y="22"/>
                </a:lnTo>
                <a:lnTo>
                  <a:pt x="262" y="22"/>
                </a:lnTo>
                <a:lnTo>
                  <a:pt x="260" y="26"/>
                </a:lnTo>
                <a:lnTo>
                  <a:pt x="260" y="26"/>
                </a:lnTo>
                <a:lnTo>
                  <a:pt x="254" y="22"/>
                </a:lnTo>
                <a:lnTo>
                  <a:pt x="250" y="20"/>
                </a:lnTo>
                <a:lnTo>
                  <a:pt x="246" y="22"/>
                </a:lnTo>
                <a:lnTo>
                  <a:pt x="246" y="22"/>
                </a:lnTo>
                <a:lnTo>
                  <a:pt x="244" y="24"/>
                </a:lnTo>
                <a:lnTo>
                  <a:pt x="244" y="24"/>
                </a:lnTo>
                <a:lnTo>
                  <a:pt x="244" y="20"/>
                </a:lnTo>
                <a:lnTo>
                  <a:pt x="242" y="20"/>
                </a:lnTo>
                <a:lnTo>
                  <a:pt x="242" y="20"/>
                </a:lnTo>
                <a:lnTo>
                  <a:pt x="238" y="24"/>
                </a:lnTo>
                <a:lnTo>
                  <a:pt x="232" y="22"/>
                </a:lnTo>
                <a:lnTo>
                  <a:pt x="232" y="22"/>
                </a:lnTo>
                <a:lnTo>
                  <a:pt x="234" y="28"/>
                </a:lnTo>
                <a:lnTo>
                  <a:pt x="234" y="28"/>
                </a:lnTo>
                <a:lnTo>
                  <a:pt x="228" y="30"/>
                </a:lnTo>
                <a:lnTo>
                  <a:pt x="228" y="30"/>
                </a:lnTo>
                <a:lnTo>
                  <a:pt x="228" y="32"/>
                </a:lnTo>
                <a:lnTo>
                  <a:pt x="228" y="32"/>
                </a:lnTo>
                <a:lnTo>
                  <a:pt x="228" y="32"/>
                </a:lnTo>
                <a:lnTo>
                  <a:pt x="228" y="32"/>
                </a:lnTo>
                <a:lnTo>
                  <a:pt x="232" y="40"/>
                </a:lnTo>
                <a:lnTo>
                  <a:pt x="232" y="40"/>
                </a:lnTo>
                <a:lnTo>
                  <a:pt x="228" y="40"/>
                </a:lnTo>
                <a:lnTo>
                  <a:pt x="224" y="42"/>
                </a:lnTo>
                <a:lnTo>
                  <a:pt x="224" y="50"/>
                </a:lnTo>
                <a:lnTo>
                  <a:pt x="224" y="50"/>
                </a:lnTo>
                <a:lnTo>
                  <a:pt x="218" y="50"/>
                </a:lnTo>
                <a:lnTo>
                  <a:pt x="218" y="50"/>
                </a:lnTo>
                <a:lnTo>
                  <a:pt x="218" y="56"/>
                </a:lnTo>
                <a:lnTo>
                  <a:pt x="218" y="60"/>
                </a:lnTo>
                <a:lnTo>
                  <a:pt x="220" y="62"/>
                </a:lnTo>
                <a:lnTo>
                  <a:pt x="220" y="62"/>
                </a:lnTo>
                <a:lnTo>
                  <a:pt x="222" y="62"/>
                </a:lnTo>
                <a:lnTo>
                  <a:pt x="224" y="64"/>
                </a:lnTo>
                <a:lnTo>
                  <a:pt x="224" y="64"/>
                </a:lnTo>
                <a:lnTo>
                  <a:pt x="224" y="68"/>
                </a:lnTo>
                <a:lnTo>
                  <a:pt x="224" y="68"/>
                </a:lnTo>
                <a:lnTo>
                  <a:pt x="214" y="66"/>
                </a:lnTo>
                <a:lnTo>
                  <a:pt x="214" y="64"/>
                </a:lnTo>
                <a:lnTo>
                  <a:pt x="214" y="64"/>
                </a:lnTo>
                <a:lnTo>
                  <a:pt x="208" y="62"/>
                </a:lnTo>
                <a:lnTo>
                  <a:pt x="204" y="62"/>
                </a:lnTo>
                <a:lnTo>
                  <a:pt x="204" y="64"/>
                </a:lnTo>
                <a:lnTo>
                  <a:pt x="202" y="72"/>
                </a:lnTo>
                <a:lnTo>
                  <a:pt x="202" y="72"/>
                </a:lnTo>
                <a:lnTo>
                  <a:pt x="200" y="72"/>
                </a:lnTo>
                <a:lnTo>
                  <a:pt x="200" y="72"/>
                </a:lnTo>
                <a:lnTo>
                  <a:pt x="200" y="72"/>
                </a:lnTo>
                <a:lnTo>
                  <a:pt x="198" y="72"/>
                </a:lnTo>
                <a:lnTo>
                  <a:pt x="198" y="70"/>
                </a:lnTo>
                <a:lnTo>
                  <a:pt x="200" y="66"/>
                </a:lnTo>
                <a:lnTo>
                  <a:pt x="200" y="66"/>
                </a:lnTo>
                <a:lnTo>
                  <a:pt x="200" y="58"/>
                </a:lnTo>
                <a:lnTo>
                  <a:pt x="198" y="58"/>
                </a:lnTo>
                <a:lnTo>
                  <a:pt x="198" y="58"/>
                </a:lnTo>
                <a:lnTo>
                  <a:pt x="196" y="54"/>
                </a:lnTo>
                <a:lnTo>
                  <a:pt x="194" y="54"/>
                </a:lnTo>
                <a:lnTo>
                  <a:pt x="194" y="54"/>
                </a:lnTo>
                <a:lnTo>
                  <a:pt x="194" y="48"/>
                </a:lnTo>
                <a:lnTo>
                  <a:pt x="194" y="48"/>
                </a:lnTo>
                <a:lnTo>
                  <a:pt x="190" y="46"/>
                </a:lnTo>
                <a:lnTo>
                  <a:pt x="184" y="46"/>
                </a:lnTo>
                <a:lnTo>
                  <a:pt x="180" y="48"/>
                </a:lnTo>
                <a:lnTo>
                  <a:pt x="176" y="50"/>
                </a:lnTo>
                <a:lnTo>
                  <a:pt x="176" y="50"/>
                </a:lnTo>
                <a:lnTo>
                  <a:pt x="176" y="48"/>
                </a:lnTo>
                <a:lnTo>
                  <a:pt x="176" y="46"/>
                </a:lnTo>
                <a:lnTo>
                  <a:pt x="176" y="46"/>
                </a:lnTo>
                <a:lnTo>
                  <a:pt x="174" y="58"/>
                </a:lnTo>
                <a:lnTo>
                  <a:pt x="174" y="58"/>
                </a:lnTo>
                <a:lnTo>
                  <a:pt x="172" y="56"/>
                </a:lnTo>
                <a:lnTo>
                  <a:pt x="172" y="56"/>
                </a:lnTo>
                <a:lnTo>
                  <a:pt x="172" y="54"/>
                </a:lnTo>
                <a:lnTo>
                  <a:pt x="172" y="54"/>
                </a:lnTo>
                <a:lnTo>
                  <a:pt x="170" y="58"/>
                </a:lnTo>
                <a:lnTo>
                  <a:pt x="170" y="58"/>
                </a:lnTo>
                <a:lnTo>
                  <a:pt x="168" y="58"/>
                </a:lnTo>
                <a:lnTo>
                  <a:pt x="166" y="58"/>
                </a:lnTo>
                <a:lnTo>
                  <a:pt x="166" y="58"/>
                </a:lnTo>
                <a:lnTo>
                  <a:pt x="164" y="60"/>
                </a:lnTo>
                <a:lnTo>
                  <a:pt x="164" y="62"/>
                </a:lnTo>
                <a:lnTo>
                  <a:pt x="166" y="62"/>
                </a:lnTo>
                <a:lnTo>
                  <a:pt x="166" y="62"/>
                </a:lnTo>
                <a:lnTo>
                  <a:pt x="166" y="62"/>
                </a:lnTo>
                <a:lnTo>
                  <a:pt x="168" y="62"/>
                </a:lnTo>
                <a:lnTo>
                  <a:pt x="168" y="62"/>
                </a:lnTo>
                <a:lnTo>
                  <a:pt x="168" y="66"/>
                </a:lnTo>
                <a:lnTo>
                  <a:pt x="168" y="66"/>
                </a:lnTo>
                <a:lnTo>
                  <a:pt x="164" y="66"/>
                </a:lnTo>
                <a:lnTo>
                  <a:pt x="162" y="66"/>
                </a:lnTo>
                <a:lnTo>
                  <a:pt x="162" y="66"/>
                </a:lnTo>
                <a:lnTo>
                  <a:pt x="164" y="72"/>
                </a:lnTo>
                <a:lnTo>
                  <a:pt x="164" y="72"/>
                </a:lnTo>
                <a:lnTo>
                  <a:pt x="160" y="70"/>
                </a:lnTo>
                <a:lnTo>
                  <a:pt x="154" y="72"/>
                </a:lnTo>
                <a:lnTo>
                  <a:pt x="154" y="72"/>
                </a:lnTo>
                <a:lnTo>
                  <a:pt x="154" y="80"/>
                </a:lnTo>
                <a:lnTo>
                  <a:pt x="152" y="86"/>
                </a:lnTo>
                <a:lnTo>
                  <a:pt x="152" y="86"/>
                </a:lnTo>
                <a:lnTo>
                  <a:pt x="146" y="84"/>
                </a:lnTo>
                <a:lnTo>
                  <a:pt x="146" y="84"/>
                </a:lnTo>
                <a:lnTo>
                  <a:pt x="146" y="80"/>
                </a:lnTo>
                <a:lnTo>
                  <a:pt x="144" y="80"/>
                </a:lnTo>
                <a:lnTo>
                  <a:pt x="144" y="80"/>
                </a:lnTo>
                <a:lnTo>
                  <a:pt x="144" y="82"/>
                </a:lnTo>
                <a:lnTo>
                  <a:pt x="142" y="82"/>
                </a:lnTo>
                <a:lnTo>
                  <a:pt x="142" y="82"/>
                </a:lnTo>
                <a:lnTo>
                  <a:pt x="140" y="90"/>
                </a:lnTo>
                <a:lnTo>
                  <a:pt x="142" y="96"/>
                </a:lnTo>
                <a:lnTo>
                  <a:pt x="142" y="96"/>
                </a:lnTo>
                <a:lnTo>
                  <a:pt x="144" y="98"/>
                </a:lnTo>
                <a:lnTo>
                  <a:pt x="144" y="98"/>
                </a:lnTo>
                <a:lnTo>
                  <a:pt x="140" y="100"/>
                </a:lnTo>
                <a:lnTo>
                  <a:pt x="140" y="100"/>
                </a:lnTo>
                <a:lnTo>
                  <a:pt x="140" y="104"/>
                </a:lnTo>
                <a:lnTo>
                  <a:pt x="140" y="104"/>
                </a:lnTo>
                <a:lnTo>
                  <a:pt x="138" y="100"/>
                </a:lnTo>
                <a:lnTo>
                  <a:pt x="136" y="98"/>
                </a:lnTo>
                <a:lnTo>
                  <a:pt x="136" y="98"/>
                </a:lnTo>
                <a:lnTo>
                  <a:pt x="136" y="94"/>
                </a:lnTo>
                <a:lnTo>
                  <a:pt x="134" y="90"/>
                </a:lnTo>
                <a:lnTo>
                  <a:pt x="134" y="90"/>
                </a:lnTo>
                <a:lnTo>
                  <a:pt x="132" y="88"/>
                </a:lnTo>
                <a:lnTo>
                  <a:pt x="132" y="88"/>
                </a:lnTo>
                <a:lnTo>
                  <a:pt x="132" y="92"/>
                </a:lnTo>
                <a:lnTo>
                  <a:pt x="132" y="92"/>
                </a:lnTo>
                <a:lnTo>
                  <a:pt x="126" y="96"/>
                </a:lnTo>
                <a:lnTo>
                  <a:pt x="126" y="96"/>
                </a:lnTo>
                <a:lnTo>
                  <a:pt x="124" y="100"/>
                </a:lnTo>
                <a:lnTo>
                  <a:pt x="124" y="104"/>
                </a:lnTo>
                <a:lnTo>
                  <a:pt x="124" y="110"/>
                </a:lnTo>
                <a:lnTo>
                  <a:pt x="122" y="110"/>
                </a:lnTo>
                <a:lnTo>
                  <a:pt x="122" y="110"/>
                </a:lnTo>
                <a:lnTo>
                  <a:pt x="122" y="114"/>
                </a:lnTo>
                <a:lnTo>
                  <a:pt x="124" y="114"/>
                </a:lnTo>
                <a:lnTo>
                  <a:pt x="124" y="114"/>
                </a:lnTo>
                <a:lnTo>
                  <a:pt x="124" y="120"/>
                </a:lnTo>
                <a:lnTo>
                  <a:pt x="124" y="120"/>
                </a:lnTo>
                <a:lnTo>
                  <a:pt x="120" y="122"/>
                </a:lnTo>
                <a:lnTo>
                  <a:pt x="116" y="124"/>
                </a:lnTo>
                <a:lnTo>
                  <a:pt x="116" y="124"/>
                </a:lnTo>
                <a:lnTo>
                  <a:pt x="116" y="128"/>
                </a:lnTo>
                <a:lnTo>
                  <a:pt x="116" y="128"/>
                </a:lnTo>
                <a:lnTo>
                  <a:pt x="106" y="138"/>
                </a:lnTo>
                <a:lnTo>
                  <a:pt x="106" y="138"/>
                </a:lnTo>
                <a:lnTo>
                  <a:pt x="100" y="140"/>
                </a:lnTo>
                <a:lnTo>
                  <a:pt x="92" y="142"/>
                </a:lnTo>
                <a:lnTo>
                  <a:pt x="92" y="142"/>
                </a:lnTo>
                <a:lnTo>
                  <a:pt x="86" y="146"/>
                </a:lnTo>
                <a:lnTo>
                  <a:pt x="86" y="146"/>
                </a:lnTo>
                <a:lnTo>
                  <a:pt x="82" y="146"/>
                </a:lnTo>
                <a:lnTo>
                  <a:pt x="80" y="144"/>
                </a:lnTo>
                <a:lnTo>
                  <a:pt x="80" y="144"/>
                </a:lnTo>
                <a:lnTo>
                  <a:pt x="78" y="146"/>
                </a:lnTo>
                <a:lnTo>
                  <a:pt x="76" y="150"/>
                </a:lnTo>
                <a:lnTo>
                  <a:pt x="76" y="152"/>
                </a:lnTo>
                <a:lnTo>
                  <a:pt x="74" y="154"/>
                </a:lnTo>
                <a:lnTo>
                  <a:pt x="74" y="154"/>
                </a:lnTo>
                <a:lnTo>
                  <a:pt x="70" y="154"/>
                </a:lnTo>
                <a:lnTo>
                  <a:pt x="66" y="156"/>
                </a:lnTo>
                <a:lnTo>
                  <a:pt x="66" y="156"/>
                </a:lnTo>
                <a:lnTo>
                  <a:pt x="64" y="158"/>
                </a:lnTo>
                <a:lnTo>
                  <a:pt x="64" y="158"/>
                </a:lnTo>
                <a:lnTo>
                  <a:pt x="60" y="160"/>
                </a:lnTo>
                <a:lnTo>
                  <a:pt x="58" y="160"/>
                </a:lnTo>
                <a:lnTo>
                  <a:pt x="52" y="158"/>
                </a:lnTo>
                <a:lnTo>
                  <a:pt x="52" y="158"/>
                </a:lnTo>
                <a:lnTo>
                  <a:pt x="48" y="162"/>
                </a:lnTo>
                <a:lnTo>
                  <a:pt x="48" y="162"/>
                </a:lnTo>
                <a:lnTo>
                  <a:pt x="42" y="162"/>
                </a:lnTo>
                <a:lnTo>
                  <a:pt x="42" y="162"/>
                </a:lnTo>
                <a:lnTo>
                  <a:pt x="40" y="164"/>
                </a:lnTo>
                <a:lnTo>
                  <a:pt x="38" y="168"/>
                </a:lnTo>
                <a:lnTo>
                  <a:pt x="36" y="170"/>
                </a:lnTo>
                <a:lnTo>
                  <a:pt x="34" y="172"/>
                </a:lnTo>
                <a:lnTo>
                  <a:pt x="32" y="172"/>
                </a:lnTo>
                <a:lnTo>
                  <a:pt x="32" y="172"/>
                </a:lnTo>
                <a:lnTo>
                  <a:pt x="32" y="176"/>
                </a:lnTo>
                <a:lnTo>
                  <a:pt x="32" y="176"/>
                </a:lnTo>
                <a:lnTo>
                  <a:pt x="28" y="176"/>
                </a:lnTo>
                <a:lnTo>
                  <a:pt x="28" y="176"/>
                </a:lnTo>
                <a:lnTo>
                  <a:pt x="24" y="180"/>
                </a:lnTo>
                <a:lnTo>
                  <a:pt x="22" y="184"/>
                </a:lnTo>
                <a:lnTo>
                  <a:pt x="22" y="184"/>
                </a:lnTo>
                <a:lnTo>
                  <a:pt x="12" y="190"/>
                </a:lnTo>
                <a:lnTo>
                  <a:pt x="12" y="190"/>
                </a:lnTo>
                <a:lnTo>
                  <a:pt x="12" y="186"/>
                </a:lnTo>
                <a:lnTo>
                  <a:pt x="12" y="186"/>
                </a:lnTo>
                <a:lnTo>
                  <a:pt x="14" y="184"/>
                </a:lnTo>
                <a:lnTo>
                  <a:pt x="12" y="182"/>
                </a:lnTo>
                <a:lnTo>
                  <a:pt x="12" y="182"/>
                </a:lnTo>
                <a:lnTo>
                  <a:pt x="12" y="180"/>
                </a:lnTo>
                <a:lnTo>
                  <a:pt x="12" y="180"/>
                </a:lnTo>
                <a:lnTo>
                  <a:pt x="12" y="180"/>
                </a:lnTo>
                <a:lnTo>
                  <a:pt x="10" y="184"/>
                </a:lnTo>
                <a:lnTo>
                  <a:pt x="10" y="186"/>
                </a:lnTo>
                <a:lnTo>
                  <a:pt x="8" y="190"/>
                </a:lnTo>
                <a:lnTo>
                  <a:pt x="6" y="192"/>
                </a:lnTo>
                <a:lnTo>
                  <a:pt x="6" y="192"/>
                </a:lnTo>
                <a:lnTo>
                  <a:pt x="8" y="194"/>
                </a:lnTo>
                <a:lnTo>
                  <a:pt x="10" y="198"/>
                </a:lnTo>
                <a:lnTo>
                  <a:pt x="10" y="198"/>
                </a:lnTo>
                <a:lnTo>
                  <a:pt x="8" y="204"/>
                </a:lnTo>
                <a:lnTo>
                  <a:pt x="8" y="204"/>
                </a:lnTo>
                <a:lnTo>
                  <a:pt x="10" y="206"/>
                </a:lnTo>
                <a:lnTo>
                  <a:pt x="10" y="206"/>
                </a:lnTo>
                <a:lnTo>
                  <a:pt x="8" y="212"/>
                </a:lnTo>
                <a:lnTo>
                  <a:pt x="6" y="216"/>
                </a:lnTo>
                <a:lnTo>
                  <a:pt x="6" y="216"/>
                </a:lnTo>
                <a:lnTo>
                  <a:pt x="2" y="216"/>
                </a:lnTo>
                <a:lnTo>
                  <a:pt x="2" y="220"/>
                </a:lnTo>
                <a:lnTo>
                  <a:pt x="2" y="220"/>
                </a:lnTo>
                <a:lnTo>
                  <a:pt x="4" y="222"/>
                </a:lnTo>
                <a:lnTo>
                  <a:pt x="4" y="222"/>
                </a:lnTo>
                <a:lnTo>
                  <a:pt x="8" y="224"/>
                </a:lnTo>
                <a:lnTo>
                  <a:pt x="10" y="228"/>
                </a:lnTo>
                <a:lnTo>
                  <a:pt x="10" y="228"/>
                </a:lnTo>
                <a:lnTo>
                  <a:pt x="12" y="234"/>
                </a:lnTo>
                <a:lnTo>
                  <a:pt x="10" y="238"/>
                </a:lnTo>
                <a:lnTo>
                  <a:pt x="10" y="238"/>
                </a:lnTo>
                <a:lnTo>
                  <a:pt x="14" y="252"/>
                </a:lnTo>
                <a:lnTo>
                  <a:pt x="14" y="252"/>
                </a:lnTo>
                <a:lnTo>
                  <a:pt x="8" y="250"/>
                </a:lnTo>
                <a:lnTo>
                  <a:pt x="8" y="250"/>
                </a:lnTo>
                <a:lnTo>
                  <a:pt x="8" y="246"/>
                </a:lnTo>
                <a:lnTo>
                  <a:pt x="6" y="246"/>
                </a:lnTo>
                <a:lnTo>
                  <a:pt x="6" y="246"/>
                </a:lnTo>
                <a:lnTo>
                  <a:pt x="10" y="262"/>
                </a:lnTo>
                <a:lnTo>
                  <a:pt x="10" y="262"/>
                </a:lnTo>
                <a:lnTo>
                  <a:pt x="8" y="262"/>
                </a:lnTo>
                <a:lnTo>
                  <a:pt x="8" y="262"/>
                </a:lnTo>
                <a:lnTo>
                  <a:pt x="6" y="258"/>
                </a:lnTo>
                <a:lnTo>
                  <a:pt x="4" y="256"/>
                </a:lnTo>
                <a:lnTo>
                  <a:pt x="2" y="246"/>
                </a:lnTo>
                <a:lnTo>
                  <a:pt x="0" y="246"/>
                </a:lnTo>
                <a:lnTo>
                  <a:pt x="0" y="246"/>
                </a:lnTo>
                <a:lnTo>
                  <a:pt x="2" y="252"/>
                </a:lnTo>
                <a:lnTo>
                  <a:pt x="2" y="260"/>
                </a:lnTo>
                <a:lnTo>
                  <a:pt x="2" y="260"/>
                </a:lnTo>
                <a:lnTo>
                  <a:pt x="4" y="260"/>
                </a:lnTo>
                <a:lnTo>
                  <a:pt x="4" y="260"/>
                </a:lnTo>
                <a:lnTo>
                  <a:pt x="10" y="266"/>
                </a:lnTo>
                <a:lnTo>
                  <a:pt x="14" y="272"/>
                </a:lnTo>
                <a:lnTo>
                  <a:pt x="14" y="272"/>
                </a:lnTo>
                <a:lnTo>
                  <a:pt x="14" y="278"/>
                </a:lnTo>
                <a:lnTo>
                  <a:pt x="18" y="278"/>
                </a:lnTo>
                <a:lnTo>
                  <a:pt x="18" y="280"/>
                </a:lnTo>
                <a:lnTo>
                  <a:pt x="18" y="280"/>
                </a:lnTo>
                <a:lnTo>
                  <a:pt x="16" y="282"/>
                </a:lnTo>
                <a:lnTo>
                  <a:pt x="16" y="282"/>
                </a:lnTo>
                <a:lnTo>
                  <a:pt x="16" y="286"/>
                </a:lnTo>
                <a:lnTo>
                  <a:pt x="16" y="286"/>
                </a:lnTo>
                <a:lnTo>
                  <a:pt x="20" y="290"/>
                </a:lnTo>
                <a:lnTo>
                  <a:pt x="24" y="292"/>
                </a:lnTo>
                <a:lnTo>
                  <a:pt x="24" y="292"/>
                </a:lnTo>
                <a:lnTo>
                  <a:pt x="22" y="296"/>
                </a:lnTo>
                <a:lnTo>
                  <a:pt x="22" y="300"/>
                </a:lnTo>
                <a:lnTo>
                  <a:pt x="22" y="300"/>
                </a:lnTo>
                <a:lnTo>
                  <a:pt x="26" y="304"/>
                </a:lnTo>
                <a:lnTo>
                  <a:pt x="28" y="306"/>
                </a:lnTo>
                <a:lnTo>
                  <a:pt x="30" y="310"/>
                </a:lnTo>
                <a:lnTo>
                  <a:pt x="30" y="310"/>
                </a:lnTo>
                <a:lnTo>
                  <a:pt x="28" y="312"/>
                </a:lnTo>
                <a:lnTo>
                  <a:pt x="28" y="312"/>
                </a:lnTo>
                <a:lnTo>
                  <a:pt x="28" y="320"/>
                </a:lnTo>
                <a:lnTo>
                  <a:pt x="28" y="326"/>
                </a:lnTo>
                <a:lnTo>
                  <a:pt x="28" y="326"/>
                </a:lnTo>
                <a:lnTo>
                  <a:pt x="32" y="336"/>
                </a:lnTo>
                <a:lnTo>
                  <a:pt x="32" y="336"/>
                </a:lnTo>
                <a:lnTo>
                  <a:pt x="32" y="340"/>
                </a:lnTo>
                <a:lnTo>
                  <a:pt x="34" y="346"/>
                </a:lnTo>
                <a:lnTo>
                  <a:pt x="34" y="346"/>
                </a:lnTo>
                <a:lnTo>
                  <a:pt x="36" y="350"/>
                </a:lnTo>
                <a:lnTo>
                  <a:pt x="36" y="350"/>
                </a:lnTo>
                <a:lnTo>
                  <a:pt x="36" y="354"/>
                </a:lnTo>
                <a:lnTo>
                  <a:pt x="34" y="356"/>
                </a:lnTo>
                <a:lnTo>
                  <a:pt x="34" y="356"/>
                </a:lnTo>
                <a:lnTo>
                  <a:pt x="36" y="360"/>
                </a:lnTo>
                <a:lnTo>
                  <a:pt x="36" y="360"/>
                </a:lnTo>
                <a:lnTo>
                  <a:pt x="36" y="364"/>
                </a:lnTo>
                <a:lnTo>
                  <a:pt x="36" y="364"/>
                </a:lnTo>
                <a:lnTo>
                  <a:pt x="34" y="366"/>
                </a:lnTo>
                <a:lnTo>
                  <a:pt x="34" y="366"/>
                </a:lnTo>
                <a:lnTo>
                  <a:pt x="34" y="376"/>
                </a:lnTo>
                <a:lnTo>
                  <a:pt x="34" y="384"/>
                </a:lnTo>
                <a:lnTo>
                  <a:pt x="34" y="384"/>
                </a:lnTo>
                <a:lnTo>
                  <a:pt x="32" y="386"/>
                </a:lnTo>
                <a:lnTo>
                  <a:pt x="32" y="386"/>
                </a:lnTo>
                <a:lnTo>
                  <a:pt x="28" y="382"/>
                </a:lnTo>
                <a:lnTo>
                  <a:pt x="28" y="382"/>
                </a:lnTo>
                <a:lnTo>
                  <a:pt x="26" y="382"/>
                </a:lnTo>
                <a:lnTo>
                  <a:pt x="24" y="382"/>
                </a:lnTo>
                <a:lnTo>
                  <a:pt x="26" y="382"/>
                </a:lnTo>
                <a:lnTo>
                  <a:pt x="26" y="382"/>
                </a:lnTo>
                <a:lnTo>
                  <a:pt x="26" y="388"/>
                </a:lnTo>
                <a:lnTo>
                  <a:pt x="26" y="388"/>
                </a:lnTo>
                <a:lnTo>
                  <a:pt x="28" y="392"/>
                </a:lnTo>
                <a:lnTo>
                  <a:pt x="32" y="394"/>
                </a:lnTo>
                <a:lnTo>
                  <a:pt x="38" y="398"/>
                </a:lnTo>
                <a:lnTo>
                  <a:pt x="38" y="398"/>
                </a:lnTo>
                <a:lnTo>
                  <a:pt x="40" y="400"/>
                </a:lnTo>
                <a:lnTo>
                  <a:pt x="42" y="404"/>
                </a:lnTo>
                <a:lnTo>
                  <a:pt x="42" y="404"/>
                </a:lnTo>
                <a:lnTo>
                  <a:pt x="46" y="406"/>
                </a:lnTo>
                <a:lnTo>
                  <a:pt x="50" y="406"/>
                </a:lnTo>
                <a:lnTo>
                  <a:pt x="52" y="404"/>
                </a:lnTo>
                <a:lnTo>
                  <a:pt x="52" y="404"/>
                </a:lnTo>
                <a:lnTo>
                  <a:pt x="58" y="404"/>
                </a:lnTo>
                <a:lnTo>
                  <a:pt x="58" y="404"/>
                </a:lnTo>
                <a:lnTo>
                  <a:pt x="60" y="406"/>
                </a:lnTo>
                <a:lnTo>
                  <a:pt x="64" y="408"/>
                </a:lnTo>
                <a:lnTo>
                  <a:pt x="64" y="408"/>
                </a:lnTo>
                <a:lnTo>
                  <a:pt x="64" y="404"/>
                </a:lnTo>
                <a:lnTo>
                  <a:pt x="64" y="404"/>
                </a:lnTo>
                <a:lnTo>
                  <a:pt x="68" y="406"/>
                </a:lnTo>
                <a:lnTo>
                  <a:pt x="68" y="406"/>
                </a:lnTo>
                <a:lnTo>
                  <a:pt x="76" y="394"/>
                </a:lnTo>
                <a:lnTo>
                  <a:pt x="78" y="394"/>
                </a:lnTo>
                <a:lnTo>
                  <a:pt x="78" y="394"/>
                </a:lnTo>
                <a:lnTo>
                  <a:pt x="78" y="398"/>
                </a:lnTo>
                <a:lnTo>
                  <a:pt x="78" y="398"/>
                </a:lnTo>
                <a:lnTo>
                  <a:pt x="82" y="400"/>
                </a:lnTo>
                <a:lnTo>
                  <a:pt x="82" y="400"/>
                </a:lnTo>
                <a:lnTo>
                  <a:pt x="84" y="396"/>
                </a:lnTo>
                <a:lnTo>
                  <a:pt x="84" y="392"/>
                </a:lnTo>
                <a:lnTo>
                  <a:pt x="84" y="390"/>
                </a:lnTo>
                <a:lnTo>
                  <a:pt x="84" y="390"/>
                </a:lnTo>
                <a:lnTo>
                  <a:pt x="88" y="390"/>
                </a:lnTo>
                <a:lnTo>
                  <a:pt x="92" y="390"/>
                </a:lnTo>
                <a:lnTo>
                  <a:pt x="94" y="388"/>
                </a:lnTo>
                <a:lnTo>
                  <a:pt x="94" y="388"/>
                </a:lnTo>
                <a:lnTo>
                  <a:pt x="98" y="388"/>
                </a:lnTo>
                <a:lnTo>
                  <a:pt x="100" y="388"/>
                </a:lnTo>
                <a:lnTo>
                  <a:pt x="100" y="388"/>
                </a:lnTo>
                <a:lnTo>
                  <a:pt x="100" y="388"/>
                </a:lnTo>
                <a:lnTo>
                  <a:pt x="100" y="386"/>
                </a:lnTo>
                <a:lnTo>
                  <a:pt x="100" y="386"/>
                </a:lnTo>
                <a:lnTo>
                  <a:pt x="108" y="386"/>
                </a:lnTo>
                <a:lnTo>
                  <a:pt x="114" y="388"/>
                </a:lnTo>
                <a:lnTo>
                  <a:pt x="114" y="388"/>
                </a:lnTo>
                <a:lnTo>
                  <a:pt x="118" y="386"/>
                </a:lnTo>
                <a:lnTo>
                  <a:pt x="118" y="386"/>
                </a:lnTo>
                <a:lnTo>
                  <a:pt x="122" y="388"/>
                </a:lnTo>
                <a:lnTo>
                  <a:pt x="122" y="388"/>
                </a:lnTo>
                <a:lnTo>
                  <a:pt x="122" y="388"/>
                </a:lnTo>
                <a:lnTo>
                  <a:pt x="122" y="386"/>
                </a:lnTo>
                <a:lnTo>
                  <a:pt x="122" y="386"/>
                </a:lnTo>
                <a:lnTo>
                  <a:pt x="128" y="386"/>
                </a:lnTo>
                <a:lnTo>
                  <a:pt x="128" y="386"/>
                </a:lnTo>
                <a:lnTo>
                  <a:pt x="128" y="386"/>
                </a:lnTo>
                <a:lnTo>
                  <a:pt x="132" y="386"/>
                </a:lnTo>
                <a:lnTo>
                  <a:pt x="132" y="386"/>
                </a:lnTo>
                <a:lnTo>
                  <a:pt x="134" y="388"/>
                </a:lnTo>
                <a:lnTo>
                  <a:pt x="134" y="388"/>
                </a:lnTo>
                <a:lnTo>
                  <a:pt x="136" y="388"/>
                </a:lnTo>
                <a:lnTo>
                  <a:pt x="136" y="386"/>
                </a:lnTo>
                <a:lnTo>
                  <a:pt x="136" y="386"/>
                </a:lnTo>
                <a:lnTo>
                  <a:pt x="138" y="386"/>
                </a:lnTo>
                <a:lnTo>
                  <a:pt x="138" y="386"/>
                </a:lnTo>
                <a:lnTo>
                  <a:pt x="140" y="386"/>
                </a:lnTo>
                <a:lnTo>
                  <a:pt x="140" y="386"/>
                </a:lnTo>
                <a:lnTo>
                  <a:pt x="142" y="384"/>
                </a:lnTo>
                <a:lnTo>
                  <a:pt x="144" y="380"/>
                </a:lnTo>
                <a:lnTo>
                  <a:pt x="146" y="376"/>
                </a:lnTo>
                <a:lnTo>
                  <a:pt x="148" y="372"/>
                </a:lnTo>
                <a:lnTo>
                  <a:pt x="148" y="372"/>
                </a:lnTo>
                <a:lnTo>
                  <a:pt x="154" y="372"/>
                </a:lnTo>
                <a:lnTo>
                  <a:pt x="158" y="372"/>
                </a:lnTo>
                <a:lnTo>
                  <a:pt x="162" y="366"/>
                </a:lnTo>
                <a:lnTo>
                  <a:pt x="162" y="366"/>
                </a:lnTo>
                <a:lnTo>
                  <a:pt x="162" y="366"/>
                </a:lnTo>
                <a:lnTo>
                  <a:pt x="164" y="366"/>
                </a:lnTo>
                <a:lnTo>
                  <a:pt x="164" y="366"/>
                </a:lnTo>
                <a:lnTo>
                  <a:pt x="170" y="360"/>
                </a:lnTo>
                <a:lnTo>
                  <a:pt x="170" y="360"/>
                </a:lnTo>
                <a:lnTo>
                  <a:pt x="186" y="360"/>
                </a:lnTo>
                <a:lnTo>
                  <a:pt x="200" y="356"/>
                </a:lnTo>
                <a:lnTo>
                  <a:pt x="200" y="354"/>
                </a:lnTo>
                <a:lnTo>
                  <a:pt x="200" y="354"/>
                </a:lnTo>
                <a:lnTo>
                  <a:pt x="206" y="352"/>
                </a:lnTo>
                <a:lnTo>
                  <a:pt x="206" y="352"/>
                </a:lnTo>
                <a:lnTo>
                  <a:pt x="210" y="352"/>
                </a:lnTo>
                <a:lnTo>
                  <a:pt x="212" y="352"/>
                </a:lnTo>
                <a:lnTo>
                  <a:pt x="214" y="350"/>
                </a:lnTo>
                <a:lnTo>
                  <a:pt x="214" y="350"/>
                </a:lnTo>
                <a:lnTo>
                  <a:pt x="224" y="350"/>
                </a:lnTo>
                <a:lnTo>
                  <a:pt x="226" y="348"/>
                </a:lnTo>
                <a:lnTo>
                  <a:pt x="226" y="348"/>
                </a:lnTo>
                <a:lnTo>
                  <a:pt x="230" y="348"/>
                </a:lnTo>
                <a:lnTo>
                  <a:pt x="234" y="348"/>
                </a:lnTo>
                <a:lnTo>
                  <a:pt x="234" y="348"/>
                </a:lnTo>
                <a:lnTo>
                  <a:pt x="238" y="346"/>
                </a:lnTo>
                <a:lnTo>
                  <a:pt x="238" y="346"/>
                </a:lnTo>
                <a:lnTo>
                  <a:pt x="240" y="344"/>
                </a:lnTo>
                <a:lnTo>
                  <a:pt x="240" y="344"/>
                </a:lnTo>
                <a:lnTo>
                  <a:pt x="248" y="350"/>
                </a:lnTo>
                <a:lnTo>
                  <a:pt x="250" y="350"/>
                </a:lnTo>
                <a:lnTo>
                  <a:pt x="250" y="350"/>
                </a:lnTo>
                <a:lnTo>
                  <a:pt x="252" y="354"/>
                </a:lnTo>
                <a:lnTo>
                  <a:pt x="252" y="354"/>
                </a:lnTo>
                <a:lnTo>
                  <a:pt x="260" y="354"/>
                </a:lnTo>
                <a:lnTo>
                  <a:pt x="266" y="354"/>
                </a:lnTo>
                <a:lnTo>
                  <a:pt x="266" y="358"/>
                </a:lnTo>
                <a:lnTo>
                  <a:pt x="266" y="358"/>
                </a:lnTo>
                <a:lnTo>
                  <a:pt x="272" y="354"/>
                </a:lnTo>
                <a:lnTo>
                  <a:pt x="272" y="354"/>
                </a:lnTo>
                <a:lnTo>
                  <a:pt x="274" y="356"/>
                </a:lnTo>
                <a:lnTo>
                  <a:pt x="274" y="358"/>
                </a:lnTo>
                <a:lnTo>
                  <a:pt x="274" y="358"/>
                </a:lnTo>
                <a:lnTo>
                  <a:pt x="274" y="364"/>
                </a:lnTo>
                <a:lnTo>
                  <a:pt x="274" y="364"/>
                </a:lnTo>
                <a:lnTo>
                  <a:pt x="280" y="364"/>
                </a:lnTo>
                <a:lnTo>
                  <a:pt x="280" y="364"/>
                </a:lnTo>
                <a:lnTo>
                  <a:pt x="282" y="366"/>
                </a:lnTo>
                <a:lnTo>
                  <a:pt x="282" y="368"/>
                </a:lnTo>
                <a:lnTo>
                  <a:pt x="280" y="368"/>
                </a:lnTo>
                <a:lnTo>
                  <a:pt x="280" y="368"/>
                </a:lnTo>
                <a:lnTo>
                  <a:pt x="278" y="372"/>
                </a:lnTo>
                <a:lnTo>
                  <a:pt x="278" y="372"/>
                </a:lnTo>
                <a:lnTo>
                  <a:pt x="288" y="376"/>
                </a:lnTo>
                <a:lnTo>
                  <a:pt x="288" y="376"/>
                </a:lnTo>
                <a:lnTo>
                  <a:pt x="288" y="384"/>
                </a:lnTo>
                <a:lnTo>
                  <a:pt x="290" y="390"/>
                </a:lnTo>
                <a:lnTo>
                  <a:pt x="290" y="390"/>
                </a:lnTo>
                <a:lnTo>
                  <a:pt x="294" y="392"/>
                </a:lnTo>
                <a:lnTo>
                  <a:pt x="294" y="392"/>
                </a:lnTo>
                <a:lnTo>
                  <a:pt x="294" y="394"/>
                </a:lnTo>
                <a:lnTo>
                  <a:pt x="294" y="396"/>
                </a:lnTo>
                <a:lnTo>
                  <a:pt x="294" y="396"/>
                </a:lnTo>
                <a:lnTo>
                  <a:pt x="298" y="400"/>
                </a:lnTo>
                <a:lnTo>
                  <a:pt x="298" y="400"/>
                </a:lnTo>
                <a:lnTo>
                  <a:pt x="302" y="398"/>
                </a:lnTo>
                <a:lnTo>
                  <a:pt x="302" y="398"/>
                </a:lnTo>
                <a:lnTo>
                  <a:pt x="306" y="394"/>
                </a:lnTo>
                <a:lnTo>
                  <a:pt x="310" y="388"/>
                </a:lnTo>
                <a:lnTo>
                  <a:pt x="310" y="386"/>
                </a:lnTo>
                <a:lnTo>
                  <a:pt x="310" y="386"/>
                </a:lnTo>
                <a:lnTo>
                  <a:pt x="316" y="384"/>
                </a:lnTo>
                <a:lnTo>
                  <a:pt x="322" y="380"/>
                </a:lnTo>
                <a:lnTo>
                  <a:pt x="322" y="380"/>
                </a:lnTo>
                <a:lnTo>
                  <a:pt x="322" y="374"/>
                </a:lnTo>
                <a:lnTo>
                  <a:pt x="322" y="374"/>
                </a:lnTo>
                <a:lnTo>
                  <a:pt x="328" y="372"/>
                </a:lnTo>
                <a:lnTo>
                  <a:pt x="328" y="372"/>
                </a:lnTo>
                <a:lnTo>
                  <a:pt x="326" y="378"/>
                </a:lnTo>
                <a:lnTo>
                  <a:pt x="326" y="384"/>
                </a:lnTo>
                <a:lnTo>
                  <a:pt x="326" y="384"/>
                </a:lnTo>
                <a:lnTo>
                  <a:pt x="322" y="388"/>
                </a:lnTo>
                <a:lnTo>
                  <a:pt x="322" y="388"/>
                </a:lnTo>
                <a:lnTo>
                  <a:pt x="322" y="396"/>
                </a:lnTo>
                <a:lnTo>
                  <a:pt x="322" y="404"/>
                </a:lnTo>
                <a:lnTo>
                  <a:pt x="322" y="404"/>
                </a:lnTo>
                <a:lnTo>
                  <a:pt x="318" y="408"/>
                </a:lnTo>
                <a:lnTo>
                  <a:pt x="318" y="408"/>
                </a:lnTo>
                <a:lnTo>
                  <a:pt x="314" y="408"/>
                </a:lnTo>
                <a:lnTo>
                  <a:pt x="314" y="408"/>
                </a:lnTo>
                <a:lnTo>
                  <a:pt x="314" y="412"/>
                </a:lnTo>
                <a:lnTo>
                  <a:pt x="314" y="412"/>
                </a:lnTo>
                <a:lnTo>
                  <a:pt x="316" y="412"/>
                </a:lnTo>
                <a:lnTo>
                  <a:pt x="316" y="412"/>
                </a:lnTo>
                <a:lnTo>
                  <a:pt x="316" y="412"/>
                </a:lnTo>
                <a:lnTo>
                  <a:pt x="318" y="410"/>
                </a:lnTo>
                <a:lnTo>
                  <a:pt x="318" y="410"/>
                </a:lnTo>
                <a:lnTo>
                  <a:pt x="324" y="410"/>
                </a:lnTo>
                <a:lnTo>
                  <a:pt x="324" y="410"/>
                </a:lnTo>
                <a:lnTo>
                  <a:pt x="326" y="408"/>
                </a:lnTo>
                <a:lnTo>
                  <a:pt x="326" y="404"/>
                </a:lnTo>
                <a:lnTo>
                  <a:pt x="326" y="400"/>
                </a:lnTo>
                <a:lnTo>
                  <a:pt x="328" y="396"/>
                </a:lnTo>
                <a:lnTo>
                  <a:pt x="328" y="396"/>
                </a:lnTo>
                <a:lnTo>
                  <a:pt x="330" y="394"/>
                </a:lnTo>
                <a:lnTo>
                  <a:pt x="332" y="394"/>
                </a:lnTo>
                <a:lnTo>
                  <a:pt x="332" y="394"/>
                </a:lnTo>
                <a:lnTo>
                  <a:pt x="332" y="400"/>
                </a:lnTo>
                <a:lnTo>
                  <a:pt x="332" y="400"/>
                </a:lnTo>
                <a:lnTo>
                  <a:pt x="336" y="404"/>
                </a:lnTo>
                <a:lnTo>
                  <a:pt x="336" y="404"/>
                </a:lnTo>
                <a:lnTo>
                  <a:pt x="336" y="412"/>
                </a:lnTo>
                <a:lnTo>
                  <a:pt x="336" y="422"/>
                </a:lnTo>
                <a:lnTo>
                  <a:pt x="336" y="422"/>
                </a:lnTo>
                <a:lnTo>
                  <a:pt x="340" y="422"/>
                </a:lnTo>
                <a:lnTo>
                  <a:pt x="342" y="420"/>
                </a:lnTo>
                <a:lnTo>
                  <a:pt x="344" y="418"/>
                </a:lnTo>
                <a:lnTo>
                  <a:pt x="344" y="418"/>
                </a:lnTo>
                <a:lnTo>
                  <a:pt x="348" y="418"/>
                </a:lnTo>
                <a:lnTo>
                  <a:pt x="348" y="418"/>
                </a:lnTo>
                <a:lnTo>
                  <a:pt x="348" y="426"/>
                </a:lnTo>
                <a:lnTo>
                  <a:pt x="352" y="434"/>
                </a:lnTo>
                <a:lnTo>
                  <a:pt x="354" y="434"/>
                </a:lnTo>
                <a:lnTo>
                  <a:pt x="354" y="434"/>
                </a:lnTo>
                <a:lnTo>
                  <a:pt x="354" y="444"/>
                </a:lnTo>
                <a:lnTo>
                  <a:pt x="352" y="448"/>
                </a:lnTo>
                <a:lnTo>
                  <a:pt x="352" y="452"/>
                </a:lnTo>
                <a:lnTo>
                  <a:pt x="352" y="452"/>
                </a:lnTo>
                <a:lnTo>
                  <a:pt x="354" y="456"/>
                </a:lnTo>
                <a:lnTo>
                  <a:pt x="358" y="458"/>
                </a:lnTo>
                <a:lnTo>
                  <a:pt x="362" y="462"/>
                </a:lnTo>
                <a:lnTo>
                  <a:pt x="362" y="462"/>
                </a:lnTo>
                <a:lnTo>
                  <a:pt x="362" y="464"/>
                </a:lnTo>
                <a:lnTo>
                  <a:pt x="364" y="466"/>
                </a:lnTo>
                <a:lnTo>
                  <a:pt x="364" y="466"/>
                </a:lnTo>
                <a:lnTo>
                  <a:pt x="368" y="466"/>
                </a:lnTo>
                <a:lnTo>
                  <a:pt x="368" y="466"/>
                </a:lnTo>
                <a:lnTo>
                  <a:pt x="374" y="470"/>
                </a:lnTo>
                <a:lnTo>
                  <a:pt x="376" y="472"/>
                </a:lnTo>
                <a:lnTo>
                  <a:pt x="378" y="472"/>
                </a:lnTo>
                <a:lnTo>
                  <a:pt x="378" y="472"/>
                </a:lnTo>
                <a:lnTo>
                  <a:pt x="380" y="472"/>
                </a:lnTo>
                <a:lnTo>
                  <a:pt x="384" y="470"/>
                </a:lnTo>
                <a:lnTo>
                  <a:pt x="384" y="470"/>
                </a:lnTo>
                <a:close/>
                <a:moveTo>
                  <a:pt x="416" y="516"/>
                </a:moveTo>
                <a:lnTo>
                  <a:pt x="416" y="516"/>
                </a:lnTo>
                <a:lnTo>
                  <a:pt x="414" y="524"/>
                </a:lnTo>
                <a:lnTo>
                  <a:pt x="416" y="530"/>
                </a:lnTo>
                <a:lnTo>
                  <a:pt x="416" y="530"/>
                </a:lnTo>
                <a:lnTo>
                  <a:pt x="426" y="544"/>
                </a:lnTo>
                <a:lnTo>
                  <a:pt x="426" y="546"/>
                </a:lnTo>
                <a:lnTo>
                  <a:pt x="426" y="546"/>
                </a:lnTo>
                <a:lnTo>
                  <a:pt x="430" y="546"/>
                </a:lnTo>
                <a:lnTo>
                  <a:pt x="430" y="546"/>
                </a:lnTo>
                <a:lnTo>
                  <a:pt x="426" y="548"/>
                </a:lnTo>
                <a:lnTo>
                  <a:pt x="426" y="548"/>
                </a:lnTo>
                <a:lnTo>
                  <a:pt x="426" y="554"/>
                </a:lnTo>
                <a:lnTo>
                  <a:pt x="426" y="554"/>
                </a:lnTo>
                <a:lnTo>
                  <a:pt x="428" y="558"/>
                </a:lnTo>
                <a:lnTo>
                  <a:pt x="432" y="560"/>
                </a:lnTo>
                <a:lnTo>
                  <a:pt x="432" y="560"/>
                </a:lnTo>
                <a:lnTo>
                  <a:pt x="432" y="564"/>
                </a:lnTo>
                <a:lnTo>
                  <a:pt x="434" y="566"/>
                </a:lnTo>
                <a:lnTo>
                  <a:pt x="434" y="566"/>
                </a:lnTo>
                <a:lnTo>
                  <a:pt x="436" y="566"/>
                </a:lnTo>
                <a:lnTo>
                  <a:pt x="438" y="566"/>
                </a:lnTo>
                <a:lnTo>
                  <a:pt x="438" y="566"/>
                </a:lnTo>
                <a:lnTo>
                  <a:pt x="436" y="568"/>
                </a:lnTo>
                <a:lnTo>
                  <a:pt x="436" y="570"/>
                </a:lnTo>
                <a:lnTo>
                  <a:pt x="438" y="570"/>
                </a:lnTo>
                <a:lnTo>
                  <a:pt x="438" y="572"/>
                </a:lnTo>
                <a:lnTo>
                  <a:pt x="438" y="572"/>
                </a:lnTo>
                <a:lnTo>
                  <a:pt x="448" y="572"/>
                </a:lnTo>
                <a:lnTo>
                  <a:pt x="448" y="572"/>
                </a:lnTo>
                <a:lnTo>
                  <a:pt x="448" y="570"/>
                </a:lnTo>
                <a:lnTo>
                  <a:pt x="448" y="570"/>
                </a:lnTo>
                <a:lnTo>
                  <a:pt x="450" y="570"/>
                </a:lnTo>
                <a:lnTo>
                  <a:pt x="452" y="570"/>
                </a:lnTo>
                <a:lnTo>
                  <a:pt x="452" y="570"/>
                </a:lnTo>
                <a:lnTo>
                  <a:pt x="452" y="568"/>
                </a:lnTo>
                <a:lnTo>
                  <a:pt x="452" y="566"/>
                </a:lnTo>
                <a:lnTo>
                  <a:pt x="452" y="568"/>
                </a:lnTo>
                <a:lnTo>
                  <a:pt x="452" y="568"/>
                </a:lnTo>
                <a:lnTo>
                  <a:pt x="450" y="568"/>
                </a:lnTo>
                <a:lnTo>
                  <a:pt x="450" y="568"/>
                </a:lnTo>
                <a:lnTo>
                  <a:pt x="448" y="564"/>
                </a:lnTo>
                <a:lnTo>
                  <a:pt x="448" y="564"/>
                </a:lnTo>
                <a:lnTo>
                  <a:pt x="452" y="562"/>
                </a:lnTo>
                <a:lnTo>
                  <a:pt x="452" y="560"/>
                </a:lnTo>
                <a:lnTo>
                  <a:pt x="452" y="560"/>
                </a:lnTo>
                <a:lnTo>
                  <a:pt x="452" y="560"/>
                </a:lnTo>
                <a:lnTo>
                  <a:pt x="454" y="560"/>
                </a:lnTo>
                <a:lnTo>
                  <a:pt x="456" y="560"/>
                </a:lnTo>
                <a:lnTo>
                  <a:pt x="454" y="560"/>
                </a:lnTo>
                <a:lnTo>
                  <a:pt x="454" y="560"/>
                </a:lnTo>
                <a:lnTo>
                  <a:pt x="456" y="566"/>
                </a:lnTo>
                <a:lnTo>
                  <a:pt x="456" y="566"/>
                </a:lnTo>
                <a:lnTo>
                  <a:pt x="460" y="564"/>
                </a:lnTo>
                <a:lnTo>
                  <a:pt x="460" y="564"/>
                </a:lnTo>
                <a:lnTo>
                  <a:pt x="458" y="558"/>
                </a:lnTo>
                <a:lnTo>
                  <a:pt x="458" y="554"/>
                </a:lnTo>
                <a:lnTo>
                  <a:pt x="460" y="544"/>
                </a:lnTo>
                <a:lnTo>
                  <a:pt x="460" y="544"/>
                </a:lnTo>
                <a:lnTo>
                  <a:pt x="462" y="544"/>
                </a:lnTo>
                <a:lnTo>
                  <a:pt x="464" y="544"/>
                </a:lnTo>
                <a:lnTo>
                  <a:pt x="464" y="544"/>
                </a:lnTo>
                <a:lnTo>
                  <a:pt x="464" y="536"/>
                </a:lnTo>
                <a:lnTo>
                  <a:pt x="464" y="530"/>
                </a:lnTo>
                <a:lnTo>
                  <a:pt x="460" y="518"/>
                </a:lnTo>
                <a:lnTo>
                  <a:pt x="460" y="518"/>
                </a:lnTo>
                <a:lnTo>
                  <a:pt x="452" y="524"/>
                </a:lnTo>
                <a:lnTo>
                  <a:pt x="452" y="524"/>
                </a:lnTo>
                <a:lnTo>
                  <a:pt x="450" y="526"/>
                </a:lnTo>
                <a:lnTo>
                  <a:pt x="450" y="526"/>
                </a:lnTo>
                <a:lnTo>
                  <a:pt x="444" y="526"/>
                </a:lnTo>
                <a:lnTo>
                  <a:pt x="438" y="524"/>
                </a:lnTo>
                <a:lnTo>
                  <a:pt x="426" y="518"/>
                </a:lnTo>
                <a:lnTo>
                  <a:pt x="426" y="518"/>
                </a:lnTo>
                <a:lnTo>
                  <a:pt x="424" y="520"/>
                </a:lnTo>
                <a:lnTo>
                  <a:pt x="422" y="520"/>
                </a:lnTo>
                <a:lnTo>
                  <a:pt x="422" y="520"/>
                </a:lnTo>
                <a:lnTo>
                  <a:pt x="418" y="516"/>
                </a:lnTo>
                <a:lnTo>
                  <a:pt x="418" y="516"/>
                </a:lnTo>
                <a:lnTo>
                  <a:pt x="416" y="516"/>
                </a:lnTo>
                <a:lnTo>
                  <a:pt x="416" y="5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7" name="Freeform 261">
            <a:extLst>
              <a:ext uri="{FF2B5EF4-FFF2-40B4-BE49-F238E27FC236}">
                <a16:creationId xmlns:a16="http://schemas.microsoft.com/office/drawing/2014/main" id="{BE91B870-043D-4DB1-9726-2BD7332A689B}"/>
              </a:ext>
            </a:extLst>
          </p:cNvPr>
          <p:cNvSpPr>
            <a:spLocks/>
          </p:cNvSpPr>
          <p:nvPr userDrawn="1"/>
        </p:nvSpPr>
        <p:spPr bwMode="auto">
          <a:xfrm>
            <a:off x="6836667" y="2462297"/>
            <a:ext cx="77394" cy="75504"/>
          </a:xfrm>
          <a:custGeom>
            <a:avLst/>
            <a:gdLst>
              <a:gd name="T0" fmla="*/ 4 w 46"/>
              <a:gd name="T1" fmla="*/ 0 h 44"/>
              <a:gd name="T2" fmla="*/ 6 w 46"/>
              <a:gd name="T3" fmla="*/ 8 h 44"/>
              <a:gd name="T4" fmla="*/ 4 w 46"/>
              <a:gd name="T5" fmla="*/ 10 h 44"/>
              <a:gd name="T6" fmla="*/ 0 w 46"/>
              <a:gd name="T7" fmla="*/ 16 h 44"/>
              <a:gd name="T8" fmla="*/ 0 w 46"/>
              <a:gd name="T9" fmla="*/ 18 h 44"/>
              <a:gd name="T10" fmla="*/ 6 w 46"/>
              <a:gd name="T11" fmla="*/ 22 h 44"/>
              <a:gd name="T12" fmla="*/ 14 w 46"/>
              <a:gd name="T13" fmla="*/ 24 h 44"/>
              <a:gd name="T14" fmla="*/ 20 w 46"/>
              <a:gd name="T15" fmla="*/ 30 h 44"/>
              <a:gd name="T16" fmla="*/ 20 w 46"/>
              <a:gd name="T17" fmla="*/ 32 h 44"/>
              <a:gd name="T18" fmla="*/ 24 w 46"/>
              <a:gd name="T19" fmla="*/ 32 h 44"/>
              <a:gd name="T20" fmla="*/ 30 w 46"/>
              <a:gd name="T21" fmla="*/ 32 h 44"/>
              <a:gd name="T22" fmla="*/ 34 w 46"/>
              <a:gd name="T23" fmla="*/ 38 h 44"/>
              <a:gd name="T24" fmla="*/ 38 w 46"/>
              <a:gd name="T25" fmla="*/ 42 h 44"/>
              <a:gd name="T26" fmla="*/ 38 w 46"/>
              <a:gd name="T27" fmla="*/ 44 h 44"/>
              <a:gd name="T28" fmla="*/ 42 w 46"/>
              <a:gd name="T29" fmla="*/ 42 h 44"/>
              <a:gd name="T30" fmla="*/ 46 w 46"/>
              <a:gd name="T31" fmla="*/ 38 h 44"/>
              <a:gd name="T32" fmla="*/ 44 w 46"/>
              <a:gd name="T33" fmla="*/ 30 h 44"/>
              <a:gd name="T34" fmla="*/ 44 w 46"/>
              <a:gd name="T35" fmla="*/ 30 h 44"/>
              <a:gd name="T36" fmla="*/ 40 w 46"/>
              <a:gd name="T37" fmla="*/ 30 h 44"/>
              <a:gd name="T38" fmla="*/ 36 w 46"/>
              <a:gd name="T39" fmla="*/ 26 h 44"/>
              <a:gd name="T40" fmla="*/ 38 w 46"/>
              <a:gd name="T41" fmla="*/ 22 h 44"/>
              <a:gd name="T42" fmla="*/ 36 w 46"/>
              <a:gd name="T43" fmla="*/ 18 h 44"/>
              <a:gd name="T44" fmla="*/ 28 w 46"/>
              <a:gd name="T45" fmla="*/ 14 h 44"/>
              <a:gd name="T46" fmla="*/ 32 w 46"/>
              <a:gd name="T47" fmla="*/ 12 h 44"/>
              <a:gd name="T48" fmla="*/ 32 w 46"/>
              <a:gd name="T49" fmla="*/ 8 h 44"/>
              <a:gd name="T50" fmla="*/ 28 w 46"/>
              <a:gd name="T51" fmla="*/ 6 h 44"/>
              <a:gd name="T52" fmla="*/ 26 w 46"/>
              <a:gd name="T53" fmla="*/ 4 h 44"/>
              <a:gd name="T54" fmla="*/ 26 w 46"/>
              <a:gd name="T55" fmla="*/ 6 h 44"/>
              <a:gd name="T56" fmla="*/ 22 w 46"/>
              <a:gd name="T57" fmla="*/ 4 h 44"/>
              <a:gd name="T58" fmla="*/ 22 w 46"/>
              <a:gd name="T59" fmla="*/ 0 h 44"/>
              <a:gd name="T60" fmla="*/ 14 w 46"/>
              <a:gd name="T61" fmla="*/ 0 h 44"/>
              <a:gd name="T62" fmla="*/ 4 w 46"/>
              <a:gd name="T6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44">
                <a:moveTo>
                  <a:pt x="4" y="0"/>
                </a:moveTo>
                <a:lnTo>
                  <a:pt x="4" y="0"/>
                </a:lnTo>
                <a:lnTo>
                  <a:pt x="4" y="4"/>
                </a:lnTo>
                <a:lnTo>
                  <a:pt x="6" y="8"/>
                </a:lnTo>
                <a:lnTo>
                  <a:pt x="4" y="10"/>
                </a:lnTo>
                <a:lnTo>
                  <a:pt x="4" y="10"/>
                </a:lnTo>
                <a:lnTo>
                  <a:pt x="2" y="12"/>
                </a:lnTo>
                <a:lnTo>
                  <a:pt x="0" y="16"/>
                </a:lnTo>
                <a:lnTo>
                  <a:pt x="0" y="16"/>
                </a:lnTo>
                <a:lnTo>
                  <a:pt x="0" y="18"/>
                </a:lnTo>
                <a:lnTo>
                  <a:pt x="2" y="20"/>
                </a:lnTo>
                <a:lnTo>
                  <a:pt x="6" y="22"/>
                </a:lnTo>
                <a:lnTo>
                  <a:pt x="14" y="24"/>
                </a:lnTo>
                <a:lnTo>
                  <a:pt x="14" y="24"/>
                </a:lnTo>
                <a:lnTo>
                  <a:pt x="18" y="26"/>
                </a:lnTo>
                <a:lnTo>
                  <a:pt x="20" y="30"/>
                </a:lnTo>
                <a:lnTo>
                  <a:pt x="20" y="32"/>
                </a:lnTo>
                <a:lnTo>
                  <a:pt x="20" y="32"/>
                </a:lnTo>
                <a:lnTo>
                  <a:pt x="24" y="32"/>
                </a:lnTo>
                <a:lnTo>
                  <a:pt x="24" y="32"/>
                </a:lnTo>
                <a:lnTo>
                  <a:pt x="28" y="32"/>
                </a:lnTo>
                <a:lnTo>
                  <a:pt x="30" y="32"/>
                </a:lnTo>
                <a:lnTo>
                  <a:pt x="30" y="32"/>
                </a:lnTo>
                <a:lnTo>
                  <a:pt x="34" y="38"/>
                </a:lnTo>
                <a:lnTo>
                  <a:pt x="34" y="38"/>
                </a:lnTo>
                <a:lnTo>
                  <a:pt x="38" y="42"/>
                </a:lnTo>
                <a:lnTo>
                  <a:pt x="38" y="44"/>
                </a:lnTo>
                <a:lnTo>
                  <a:pt x="38" y="44"/>
                </a:lnTo>
                <a:lnTo>
                  <a:pt x="42" y="42"/>
                </a:lnTo>
                <a:lnTo>
                  <a:pt x="42" y="42"/>
                </a:lnTo>
                <a:lnTo>
                  <a:pt x="46" y="38"/>
                </a:lnTo>
                <a:lnTo>
                  <a:pt x="46" y="38"/>
                </a:lnTo>
                <a:lnTo>
                  <a:pt x="46" y="36"/>
                </a:lnTo>
                <a:lnTo>
                  <a:pt x="44" y="30"/>
                </a:lnTo>
                <a:lnTo>
                  <a:pt x="44" y="30"/>
                </a:lnTo>
                <a:lnTo>
                  <a:pt x="44" y="30"/>
                </a:lnTo>
                <a:lnTo>
                  <a:pt x="44" y="30"/>
                </a:lnTo>
                <a:lnTo>
                  <a:pt x="40" y="30"/>
                </a:lnTo>
                <a:lnTo>
                  <a:pt x="40" y="30"/>
                </a:lnTo>
                <a:lnTo>
                  <a:pt x="36" y="26"/>
                </a:lnTo>
                <a:lnTo>
                  <a:pt x="36" y="24"/>
                </a:lnTo>
                <a:lnTo>
                  <a:pt x="38" y="22"/>
                </a:lnTo>
                <a:lnTo>
                  <a:pt x="38" y="22"/>
                </a:lnTo>
                <a:lnTo>
                  <a:pt x="36" y="18"/>
                </a:lnTo>
                <a:lnTo>
                  <a:pt x="36" y="18"/>
                </a:lnTo>
                <a:lnTo>
                  <a:pt x="28" y="14"/>
                </a:lnTo>
                <a:lnTo>
                  <a:pt x="28" y="14"/>
                </a:lnTo>
                <a:lnTo>
                  <a:pt x="32" y="12"/>
                </a:lnTo>
                <a:lnTo>
                  <a:pt x="32" y="10"/>
                </a:lnTo>
                <a:lnTo>
                  <a:pt x="32" y="8"/>
                </a:lnTo>
                <a:lnTo>
                  <a:pt x="32" y="8"/>
                </a:lnTo>
                <a:lnTo>
                  <a:pt x="28" y="6"/>
                </a:lnTo>
                <a:lnTo>
                  <a:pt x="28" y="4"/>
                </a:lnTo>
                <a:lnTo>
                  <a:pt x="26" y="4"/>
                </a:lnTo>
                <a:lnTo>
                  <a:pt x="26" y="4"/>
                </a:lnTo>
                <a:lnTo>
                  <a:pt x="26" y="6"/>
                </a:lnTo>
                <a:lnTo>
                  <a:pt x="24" y="6"/>
                </a:lnTo>
                <a:lnTo>
                  <a:pt x="22" y="4"/>
                </a:lnTo>
                <a:lnTo>
                  <a:pt x="22" y="0"/>
                </a:lnTo>
                <a:lnTo>
                  <a:pt x="22" y="0"/>
                </a:lnTo>
                <a:lnTo>
                  <a:pt x="14" y="0"/>
                </a:lnTo>
                <a:lnTo>
                  <a:pt x="14" y="0"/>
                </a:lnTo>
                <a:lnTo>
                  <a:pt x="4" y="0"/>
                </a:lnTo>
                <a:lnTo>
                  <a:pt x="4"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8" name="Freeform 208">
            <a:extLst>
              <a:ext uri="{FF2B5EF4-FFF2-40B4-BE49-F238E27FC236}">
                <a16:creationId xmlns:a16="http://schemas.microsoft.com/office/drawing/2014/main" id="{F04AE0F3-9D02-4A6A-AE0C-99DD871B94D0}"/>
              </a:ext>
            </a:extLst>
          </p:cNvPr>
          <p:cNvSpPr>
            <a:spLocks/>
          </p:cNvSpPr>
          <p:nvPr userDrawn="1"/>
        </p:nvSpPr>
        <p:spPr bwMode="auto">
          <a:xfrm>
            <a:off x="3923536" y="3354609"/>
            <a:ext cx="80491" cy="92663"/>
          </a:xfrm>
          <a:custGeom>
            <a:avLst/>
            <a:gdLst>
              <a:gd name="T0" fmla="*/ 16 w 48"/>
              <a:gd name="T1" fmla="*/ 6 h 54"/>
              <a:gd name="T2" fmla="*/ 22 w 48"/>
              <a:gd name="T3" fmla="*/ 6 h 54"/>
              <a:gd name="T4" fmla="*/ 24 w 48"/>
              <a:gd name="T5" fmla="*/ 6 h 54"/>
              <a:gd name="T6" fmla="*/ 26 w 48"/>
              <a:gd name="T7" fmla="*/ 8 h 54"/>
              <a:gd name="T8" fmla="*/ 32 w 48"/>
              <a:gd name="T9" fmla="*/ 8 h 54"/>
              <a:gd name="T10" fmla="*/ 34 w 48"/>
              <a:gd name="T11" fmla="*/ 18 h 54"/>
              <a:gd name="T12" fmla="*/ 40 w 48"/>
              <a:gd name="T13" fmla="*/ 24 h 54"/>
              <a:gd name="T14" fmla="*/ 42 w 48"/>
              <a:gd name="T15" fmla="*/ 32 h 54"/>
              <a:gd name="T16" fmla="*/ 40 w 48"/>
              <a:gd name="T17" fmla="*/ 32 h 54"/>
              <a:gd name="T18" fmla="*/ 40 w 48"/>
              <a:gd name="T19" fmla="*/ 38 h 54"/>
              <a:gd name="T20" fmla="*/ 38 w 48"/>
              <a:gd name="T21" fmla="*/ 42 h 54"/>
              <a:gd name="T22" fmla="*/ 42 w 48"/>
              <a:gd name="T23" fmla="*/ 46 h 54"/>
              <a:gd name="T24" fmla="*/ 42 w 48"/>
              <a:gd name="T25" fmla="*/ 48 h 54"/>
              <a:gd name="T26" fmla="*/ 38 w 48"/>
              <a:gd name="T27" fmla="*/ 46 h 54"/>
              <a:gd name="T28" fmla="*/ 34 w 48"/>
              <a:gd name="T29" fmla="*/ 46 h 54"/>
              <a:gd name="T30" fmla="*/ 34 w 48"/>
              <a:gd name="T31" fmla="*/ 52 h 54"/>
              <a:gd name="T32" fmla="*/ 30 w 48"/>
              <a:gd name="T33" fmla="*/ 46 h 54"/>
              <a:gd name="T34" fmla="*/ 32 w 48"/>
              <a:gd name="T35" fmla="*/ 38 h 54"/>
              <a:gd name="T36" fmla="*/ 24 w 48"/>
              <a:gd name="T37" fmla="*/ 34 h 54"/>
              <a:gd name="T38" fmla="*/ 24 w 48"/>
              <a:gd name="T39" fmla="*/ 34 h 54"/>
              <a:gd name="T40" fmla="*/ 20 w 48"/>
              <a:gd name="T41" fmla="*/ 34 h 54"/>
              <a:gd name="T42" fmla="*/ 18 w 48"/>
              <a:gd name="T43" fmla="*/ 26 h 54"/>
              <a:gd name="T44" fmla="*/ 14 w 48"/>
              <a:gd name="T45" fmla="*/ 24 h 54"/>
              <a:gd name="T46" fmla="*/ 12 w 48"/>
              <a:gd name="T47" fmla="*/ 24 h 54"/>
              <a:gd name="T48" fmla="*/ 14 w 48"/>
              <a:gd name="T49" fmla="*/ 28 h 54"/>
              <a:gd name="T50" fmla="*/ 12 w 48"/>
              <a:gd name="T51" fmla="*/ 32 h 54"/>
              <a:gd name="T52" fmla="*/ 8 w 48"/>
              <a:gd name="T53" fmla="*/ 32 h 54"/>
              <a:gd name="T54" fmla="*/ 6 w 48"/>
              <a:gd name="T55" fmla="*/ 28 h 54"/>
              <a:gd name="T56" fmla="*/ 2 w 48"/>
              <a:gd name="T57" fmla="*/ 26 h 54"/>
              <a:gd name="T58" fmla="*/ 2 w 48"/>
              <a:gd name="T59" fmla="*/ 18 h 54"/>
              <a:gd name="T60" fmla="*/ 6 w 48"/>
              <a:gd name="T61" fmla="*/ 16 h 54"/>
              <a:gd name="T62" fmla="*/ 4 w 48"/>
              <a:gd name="T63" fmla="*/ 14 h 54"/>
              <a:gd name="T64" fmla="*/ 4 w 48"/>
              <a:gd name="T65" fmla="*/ 14 h 54"/>
              <a:gd name="T66" fmla="*/ 2 w 48"/>
              <a:gd name="T67" fmla="*/ 4 h 54"/>
              <a:gd name="T68" fmla="*/ 0 w 48"/>
              <a:gd name="T69" fmla="*/ 2 h 54"/>
              <a:gd name="T70" fmla="*/ 2 w 48"/>
              <a:gd name="T71" fmla="*/ 0 h 54"/>
              <a:gd name="T72" fmla="*/ 6 w 48"/>
              <a:gd name="T73" fmla="*/ 2 h 54"/>
              <a:gd name="T74" fmla="*/ 16 w 48"/>
              <a:gd name="T75" fmla="*/ 6 h 54"/>
              <a:gd name="T76" fmla="*/ 16 w 48"/>
              <a:gd name="T7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4">
                <a:moveTo>
                  <a:pt x="16" y="6"/>
                </a:moveTo>
                <a:lnTo>
                  <a:pt x="16" y="6"/>
                </a:lnTo>
                <a:lnTo>
                  <a:pt x="20" y="6"/>
                </a:lnTo>
                <a:lnTo>
                  <a:pt x="22" y="6"/>
                </a:lnTo>
                <a:lnTo>
                  <a:pt x="22" y="6"/>
                </a:lnTo>
                <a:lnTo>
                  <a:pt x="24" y="6"/>
                </a:lnTo>
                <a:lnTo>
                  <a:pt x="26" y="8"/>
                </a:lnTo>
                <a:lnTo>
                  <a:pt x="26" y="8"/>
                </a:lnTo>
                <a:lnTo>
                  <a:pt x="32" y="8"/>
                </a:lnTo>
                <a:lnTo>
                  <a:pt x="32" y="8"/>
                </a:lnTo>
                <a:lnTo>
                  <a:pt x="32" y="14"/>
                </a:lnTo>
                <a:lnTo>
                  <a:pt x="34" y="18"/>
                </a:lnTo>
                <a:lnTo>
                  <a:pt x="34" y="18"/>
                </a:lnTo>
                <a:lnTo>
                  <a:pt x="40" y="24"/>
                </a:lnTo>
                <a:lnTo>
                  <a:pt x="48" y="30"/>
                </a:lnTo>
                <a:lnTo>
                  <a:pt x="42" y="32"/>
                </a:lnTo>
                <a:lnTo>
                  <a:pt x="40" y="32"/>
                </a:lnTo>
                <a:lnTo>
                  <a:pt x="40" y="32"/>
                </a:lnTo>
                <a:lnTo>
                  <a:pt x="40" y="34"/>
                </a:lnTo>
                <a:lnTo>
                  <a:pt x="40" y="38"/>
                </a:lnTo>
                <a:lnTo>
                  <a:pt x="40" y="38"/>
                </a:lnTo>
                <a:lnTo>
                  <a:pt x="38" y="42"/>
                </a:lnTo>
                <a:lnTo>
                  <a:pt x="40" y="44"/>
                </a:lnTo>
                <a:lnTo>
                  <a:pt x="42" y="46"/>
                </a:lnTo>
                <a:lnTo>
                  <a:pt x="42" y="48"/>
                </a:lnTo>
                <a:lnTo>
                  <a:pt x="42" y="48"/>
                </a:lnTo>
                <a:lnTo>
                  <a:pt x="40" y="54"/>
                </a:lnTo>
                <a:lnTo>
                  <a:pt x="38" y="46"/>
                </a:lnTo>
                <a:lnTo>
                  <a:pt x="38" y="46"/>
                </a:lnTo>
                <a:lnTo>
                  <a:pt x="34" y="46"/>
                </a:lnTo>
                <a:lnTo>
                  <a:pt x="34" y="46"/>
                </a:lnTo>
                <a:lnTo>
                  <a:pt x="34" y="52"/>
                </a:lnTo>
                <a:lnTo>
                  <a:pt x="34" y="52"/>
                </a:lnTo>
                <a:lnTo>
                  <a:pt x="30" y="46"/>
                </a:lnTo>
                <a:lnTo>
                  <a:pt x="32" y="38"/>
                </a:lnTo>
                <a:lnTo>
                  <a:pt x="32" y="38"/>
                </a:lnTo>
                <a:lnTo>
                  <a:pt x="24" y="34"/>
                </a:lnTo>
                <a:lnTo>
                  <a:pt x="24" y="34"/>
                </a:lnTo>
                <a:lnTo>
                  <a:pt x="24" y="34"/>
                </a:lnTo>
                <a:lnTo>
                  <a:pt x="24" y="34"/>
                </a:lnTo>
                <a:lnTo>
                  <a:pt x="20" y="34"/>
                </a:lnTo>
                <a:lnTo>
                  <a:pt x="20" y="34"/>
                </a:lnTo>
                <a:lnTo>
                  <a:pt x="20" y="30"/>
                </a:lnTo>
                <a:lnTo>
                  <a:pt x="18" y="26"/>
                </a:lnTo>
                <a:lnTo>
                  <a:pt x="18" y="26"/>
                </a:lnTo>
                <a:lnTo>
                  <a:pt x="14" y="24"/>
                </a:lnTo>
                <a:lnTo>
                  <a:pt x="12" y="24"/>
                </a:lnTo>
                <a:lnTo>
                  <a:pt x="12" y="24"/>
                </a:lnTo>
                <a:lnTo>
                  <a:pt x="14" y="28"/>
                </a:lnTo>
                <a:lnTo>
                  <a:pt x="14" y="28"/>
                </a:lnTo>
                <a:lnTo>
                  <a:pt x="12" y="30"/>
                </a:lnTo>
                <a:lnTo>
                  <a:pt x="12" y="32"/>
                </a:lnTo>
                <a:lnTo>
                  <a:pt x="12" y="32"/>
                </a:lnTo>
                <a:lnTo>
                  <a:pt x="8" y="32"/>
                </a:lnTo>
                <a:lnTo>
                  <a:pt x="8" y="32"/>
                </a:lnTo>
                <a:lnTo>
                  <a:pt x="6" y="28"/>
                </a:lnTo>
                <a:lnTo>
                  <a:pt x="6" y="28"/>
                </a:lnTo>
                <a:lnTo>
                  <a:pt x="2" y="26"/>
                </a:lnTo>
                <a:lnTo>
                  <a:pt x="2" y="26"/>
                </a:lnTo>
                <a:lnTo>
                  <a:pt x="2" y="18"/>
                </a:lnTo>
                <a:lnTo>
                  <a:pt x="2" y="18"/>
                </a:lnTo>
                <a:lnTo>
                  <a:pt x="6" y="16"/>
                </a:lnTo>
                <a:lnTo>
                  <a:pt x="6" y="16"/>
                </a:lnTo>
                <a:lnTo>
                  <a:pt x="4" y="14"/>
                </a:lnTo>
                <a:lnTo>
                  <a:pt x="4" y="14"/>
                </a:lnTo>
                <a:lnTo>
                  <a:pt x="4" y="14"/>
                </a:lnTo>
                <a:lnTo>
                  <a:pt x="4" y="10"/>
                </a:lnTo>
                <a:lnTo>
                  <a:pt x="2" y="4"/>
                </a:lnTo>
                <a:lnTo>
                  <a:pt x="2" y="4"/>
                </a:lnTo>
                <a:lnTo>
                  <a:pt x="0" y="2"/>
                </a:lnTo>
                <a:lnTo>
                  <a:pt x="0" y="2"/>
                </a:lnTo>
                <a:lnTo>
                  <a:pt x="2" y="0"/>
                </a:lnTo>
                <a:lnTo>
                  <a:pt x="6" y="2"/>
                </a:lnTo>
                <a:lnTo>
                  <a:pt x="6" y="2"/>
                </a:lnTo>
                <a:lnTo>
                  <a:pt x="8" y="4"/>
                </a:lnTo>
                <a:lnTo>
                  <a:pt x="16" y="6"/>
                </a:lnTo>
                <a:lnTo>
                  <a:pt x="16" y="6"/>
                </a:lnTo>
                <a:lnTo>
                  <a:pt x="16" y="6"/>
                </a:lnTo>
                <a:lnTo>
                  <a:pt x="16" y="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9" name="Freeform 210">
            <a:extLst>
              <a:ext uri="{FF2B5EF4-FFF2-40B4-BE49-F238E27FC236}">
                <a16:creationId xmlns:a16="http://schemas.microsoft.com/office/drawing/2014/main" id="{C88627FD-473E-4C1B-8675-248859E65641}"/>
              </a:ext>
            </a:extLst>
          </p:cNvPr>
          <p:cNvSpPr>
            <a:spLocks/>
          </p:cNvSpPr>
          <p:nvPr userDrawn="1"/>
        </p:nvSpPr>
        <p:spPr bwMode="auto">
          <a:xfrm>
            <a:off x="4073681" y="3334018"/>
            <a:ext cx="286360" cy="473612"/>
          </a:xfrm>
          <a:custGeom>
            <a:avLst/>
            <a:gdLst>
              <a:gd name="T0" fmla="*/ 108 w 170"/>
              <a:gd name="T1" fmla="*/ 8 h 276"/>
              <a:gd name="T2" fmla="*/ 102 w 170"/>
              <a:gd name="T3" fmla="*/ 0 h 276"/>
              <a:gd name="T4" fmla="*/ 94 w 170"/>
              <a:gd name="T5" fmla="*/ 4 h 276"/>
              <a:gd name="T6" fmla="*/ 86 w 170"/>
              <a:gd name="T7" fmla="*/ 14 h 276"/>
              <a:gd name="T8" fmla="*/ 78 w 170"/>
              <a:gd name="T9" fmla="*/ 20 h 276"/>
              <a:gd name="T10" fmla="*/ 64 w 170"/>
              <a:gd name="T11" fmla="*/ 22 h 276"/>
              <a:gd name="T12" fmla="*/ 62 w 170"/>
              <a:gd name="T13" fmla="*/ 30 h 276"/>
              <a:gd name="T14" fmla="*/ 56 w 170"/>
              <a:gd name="T15" fmla="*/ 26 h 276"/>
              <a:gd name="T16" fmla="*/ 50 w 170"/>
              <a:gd name="T17" fmla="*/ 38 h 276"/>
              <a:gd name="T18" fmla="*/ 46 w 170"/>
              <a:gd name="T19" fmla="*/ 46 h 276"/>
              <a:gd name="T20" fmla="*/ 38 w 170"/>
              <a:gd name="T21" fmla="*/ 64 h 276"/>
              <a:gd name="T22" fmla="*/ 32 w 170"/>
              <a:gd name="T23" fmla="*/ 74 h 276"/>
              <a:gd name="T24" fmla="*/ 24 w 170"/>
              <a:gd name="T25" fmla="*/ 70 h 276"/>
              <a:gd name="T26" fmla="*/ 26 w 170"/>
              <a:gd name="T27" fmla="*/ 82 h 276"/>
              <a:gd name="T28" fmla="*/ 24 w 170"/>
              <a:gd name="T29" fmla="*/ 88 h 276"/>
              <a:gd name="T30" fmla="*/ 20 w 170"/>
              <a:gd name="T31" fmla="*/ 114 h 276"/>
              <a:gd name="T32" fmla="*/ 22 w 170"/>
              <a:gd name="T33" fmla="*/ 130 h 276"/>
              <a:gd name="T34" fmla="*/ 18 w 170"/>
              <a:gd name="T35" fmla="*/ 138 h 276"/>
              <a:gd name="T36" fmla="*/ 26 w 170"/>
              <a:gd name="T37" fmla="*/ 144 h 276"/>
              <a:gd name="T38" fmla="*/ 20 w 170"/>
              <a:gd name="T39" fmla="*/ 150 h 276"/>
              <a:gd name="T40" fmla="*/ 8 w 170"/>
              <a:gd name="T41" fmla="*/ 160 h 276"/>
              <a:gd name="T42" fmla="*/ 4 w 170"/>
              <a:gd name="T43" fmla="*/ 164 h 276"/>
              <a:gd name="T44" fmla="*/ 4 w 170"/>
              <a:gd name="T45" fmla="*/ 170 h 276"/>
              <a:gd name="T46" fmla="*/ 0 w 170"/>
              <a:gd name="T47" fmla="*/ 176 h 276"/>
              <a:gd name="T48" fmla="*/ 2 w 170"/>
              <a:gd name="T49" fmla="*/ 184 h 276"/>
              <a:gd name="T50" fmla="*/ 16 w 170"/>
              <a:gd name="T51" fmla="*/ 194 h 276"/>
              <a:gd name="T52" fmla="*/ 34 w 170"/>
              <a:gd name="T53" fmla="*/ 206 h 276"/>
              <a:gd name="T54" fmla="*/ 36 w 170"/>
              <a:gd name="T55" fmla="*/ 204 h 276"/>
              <a:gd name="T56" fmla="*/ 54 w 170"/>
              <a:gd name="T57" fmla="*/ 210 h 276"/>
              <a:gd name="T58" fmla="*/ 62 w 170"/>
              <a:gd name="T59" fmla="*/ 220 h 276"/>
              <a:gd name="T60" fmla="*/ 70 w 170"/>
              <a:gd name="T61" fmla="*/ 230 h 276"/>
              <a:gd name="T62" fmla="*/ 80 w 170"/>
              <a:gd name="T63" fmla="*/ 240 h 276"/>
              <a:gd name="T64" fmla="*/ 90 w 170"/>
              <a:gd name="T65" fmla="*/ 238 h 276"/>
              <a:gd name="T66" fmla="*/ 104 w 170"/>
              <a:gd name="T67" fmla="*/ 242 h 276"/>
              <a:gd name="T68" fmla="*/ 104 w 170"/>
              <a:gd name="T69" fmla="*/ 274 h 276"/>
              <a:gd name="T70" fmla="*/ 128 w 170"/>
              <a:gd name="T71" fmla="*/ 238 h 276"/>
              <a:gd name="T72" fmla="*/ 126 w 170"/>
              <a:gd name="T73" fmla="*/ 212 h 276"/>
              <a:gd name="T74" fmla="*/ 124 w 170"/>
              <a:gd name="T75" fmla="*/ 200 h 276"/>
              <a:gd name="T76" fmla="*/ 134 w 170"/>
              <a:gd name="T77" fmla="*/ 196 h 276"/>
              <a:gd name="T78" fmla="*/ 158 w 170"/>
              <a:gd name="T79" fmla="*/ 186 h 276"/>
              <a:gd name="T80" fmla="*/ 170 w 170"/>
              <a:gd name="T81" fmla="*/ 186 h 276"/>
              <a:gd name="T82" fmla="*/ 164 w 170"/>
              <a:gd name="T83" fmla="*/ 178 h 276"/>
              <a:gd name="T84" fmla="*/ 162 w 170"/>
              <a:gd name="T85" fmla="*/ 172 h 276"/>
              <a:gd name="T86" fmla="*/ 170 w 170"/>
              <a:gd name="T87" fmla="*/ 154 h 276"/>
              <a:gd name="T88" fmla="*/ 150 w 170"/>
              <a:gd name="T89" fmla="*/ 138 h 276"/>
              <a:gd name="T90" fmla="*/ 144 w 170"/>
              <a:gd name="T91" fmla="*/ 128 h 276"/>
              <a:gd name="T92" fmla="*/ 146 w 170"/>
              <a:gd name="T93" fmla="*/ 112 h 276"/>
              <a:gd name="T94" fmla="*/ 122 w 170"/>
              <a:gd name="T95" fmla="*/ 100 h 276"/>
              <a:gd name="T96" fmla="*/ 106 w 170"/>
              <a:gd name="T97" fmla="*/ 98 h 276"/>
              <a:gd name="T98" fmla="*/ 90 w 170"/>
              <a:gd name="T99" fmla="*/ 88 h 276"/>
              <a:gd name="T100" fmla="*/ 84 w 170"/>
              <a:gd name="T101" fmla="*/ 76 h 276"/>
              <a:gd name="T102" fmla="*/ 76 w 170"/>
              <a:gd name="T103" fmla="*/ 64 h 276"/>
              <a:gd name="T104" fmla="*/ 76 w 170"/>
              <a:gd name="T105" fmla="*/ 54 h 276"/>
              <a:gd name="T106" fmla="*/ 76 w 170"/>
              <a:gd name="T107" fmla="*/ 38 h 276"/>
              <a:gd name="T108" fmla="*/ 102 w 170"/>
              <a:gd name="T109" fmla="*/ 1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76">
                <a:moveTo>
                  <a:pt x="102" y="10"/>
                </a:moveTo>
                <a:lnTo>
                  <a:pt x="102" y="10"/>
                </a:lnTo>
                <a:lnTo>
                  <a:pt x="106" y="10"/>
                </a:lnTo>
                <a:lnTo>
                  <a:pt x="106" y="10"/>
                </a:lnTo>
                <a:lnTo>
                  <a:pt x="108" y="8"/>
                </a:lnTo>
                <a:lnTo>
                  <a:pt x="108" y="6"/>
                </a:lnTo>
                <a:lnTo>
                  <a:pt x="108" y="6"/>
                </a:lnTo>
                <a:lnTo>
                  <a:pt x="104" y="4"/>
                </a:lnTo>
                <a:lnTo>
                  <a:pt x="104" y="4"/>
                </a:lnTo>
                <a:lnTo>
                  <a:pt x="102" y="0"/>
                </a:lnTo>
                <a:lnTo>
                  <a:pt x="102" y="0"/>
                </a:lnTo>
                <a:lnTo>
                  <a:pt x="100" y="2"/>
                </a:lnTo>
                <a:lnTo>
                  <a:pt x="98" y="2"/>
                </a:lnTo>
                <a:lnTo>
                  <a:pt x="98" y="2"/>
                </a:lnTo>
                <a:lnTo>
                  <a:pt x="94" y="4"/>
                </a:lnTo>
                <a:lnTo>
                  <a:pt x="94" y="4"/>
                </a:lnTo>
                <a:lnTo>
                  <a:pt x="94" y="8"/>
                </a:lnTo>
                <a:lnTo>
                  <a:pt x="94" y="8"/>
                </a:lnTo>
                <a:lnTo>
                  <a:pt x="90" y="12"/>
                </a:lnTo>
                <a:lnTo>
                  <a:pt x="86" y="14"/>
                </a:lnTo>
                <a:lnTo>
                  <a:pt x="86" y="14"/>
                </a:lnTo>
                <a:lnTo>
                  <a:pt x="84" y="14"/>
                </a:lnTo>
                <a:lnTo>
                  <a:pt x="82" y="16"/>
                </a:lnTo>
                <a:lnTo>
                  <a:pt x="82" y="16"/>
                </a:lnTo>
                <a:lnTo>
                  <a:pt x="78" y="20"/>
                </a:lnTo>
                <a:lnTo>
                  <a:pt x="72" y="22"/>
                </a:lnTo>
                <a:lnTo>
                  <a:pt x="72" y="22"/>
                </a:lnTo>
                <a:lnTo>
                  <a:pt x="68" y="22"/>
                </a:lnTo>
                <a:lnTo>
                  <a:pt x="64" y="22"/>
                </a:lnTo>
                <a:lnTo>
                  <a:pt x="64" y="22"/>
                </a:lnTo>
                <a:lnTo>
                  <a:pt x="64" y="24"/>
                </a:lnTo>
                <a:lnTo>
                  <a:pt x="62" y="26"/>
                </a:lnTo>
                <a:lnTo>
                  <a:pt x="62" y="26"/>
                </a:lnTo>
                <a:lnTo>
                  <a:pt x="62" y="30"/>
                </a:lnTo>
                <a:lnTo>
                  <a:pt x="62" y="30"/>
                </a:lnTo>
                <a:lnTo>
                  <a:pt x="62" y="28"/>
                </a:lnTo>
                <a:lnTo>
                  <a:pt x="62" y="28"/>
                </a:lnTo>
                <a:lnTo>
                  <a:pt x="60" y="28"/>
                </a:lnTo>
                <a:lnTo>
                  <a:pt x="56" y="26"/>
                </a:lnTo>
                <a:lnTo>
                  <a:pt x="56" y="26"/>
                </a:lnTo>
                <a:lnTo>
                  <a:pt x="54" y="28"/>
                </a:lnTo>
                <a:lnTo>
                  <a:pt x="54" y="30"/>
                </a:lnTo>
                <a:lnTo>
                  <a:pt x="52" y="32"/>
                </a:lnTo>
                <a:lnTo>
                  <a:pt x="52" y="32"/>
                </a:lnTo>
                <a:lnTo>
                  <a:pt x="50" y="38"/>
                </a:lnTo>
                <a:lnTo>
                  <a:pt x="52" y="44"/>
                </a:lnTo>
                <a:lnTo>
                  <a:pt x="52" y="44"/>
                </a:lnTo>
                <a:lnTo>
                  <a:pt x="48" y="44"/>
                </a:lnTo>
                <a:lnTo>
                  <a:pt x="46" y="46"/>
                </a:lnTo>
                <a:lnTo>
                  <a:pt x="46" y="46"/>
                </a:lnTo>
                <a:lnTo>
                  <a:pt x="48" y="52"/>
                </a:lnTo>
                <a:lnTo>
                  <a:pt x="48" y="52"/>
                </a:lnTo>
                <a:lnTo>
                  <a:pt x="42" y="52"/>
                </a:lnTo>
                <a:lnTo>
                  <a:pt x="42" y="52"/>
                </a:lnTo>
                <a:lnTo>
                  <a:pt x="38" y="64"/>
                </a:lnTo>
                <a:lnTo>
                  <a:pt x="36" y="76"/>
                </a:lnTo>
                <a:lnTo>
                  <a:pt x="36" y="76"/>
                </a:lnTo>
                <a:lnTo>
                  <a:pt x="32" y="76"/>
                </a:lnTo>
                <a:lnTo>
                  <a:pt x="32" y="76"/>
                </a:lnTo>
                <a:lnTo>
                  <a:pt x="32" y="74"/>
                </a:lnTo>
                <a:lnTo>
                  <a:pt x="30" y="72"/>
                </a:lnTo>
                <a:lnTo>
                  <a:pt x="28" y="66"/>
                </a:lnTo>
                <a:lnTo>
                  <a:pt x="28" y="66"/>
                </a:lnTo>
                <a:lnTo>
                  <a:pt x="26" y="66"/>
                </a:lnTo>
                <a:lnTo>
                  <a:pt x="24" y="70"/>
                </a:lnTo>
                <a:lnTo>
                  <a:pt x="24" y="70"/>
                </a:lnTo>
                <a:lnTo>
                  <a:pt x="26" y="72"/>
                </a:lnTo>
                <a:lnTo>
                  <a:pt x="28" y="76"/>
                </a:lnTo>
                <a:lnTo>
                  <a:pt x="28" y="76"/>
                </a:lnTo>
                <a:lnTo>
                  <a:pt x="26" y="82"/>
                </a:lnTo>
                <a:lnTo>
                  <a:pt x="24" y="84"/>
                </a:lnTo>
                <a:lnTo>
                  <a:pt x="22" y="88"/>
                </a:lnTo>
                <a:lnTo>
                  <a:pt x="22" y="88"/>
                </a:lnTo>
                <a:lnTo>
                  <a:pt x="24" y="88"/>
                </a:lnTo>
                <a:lnTo>
                  <a:pt x="24" y="88"/>
                </a:lnTo>
                <a:lnTo>
                  <a:pt x="24" y="100"/>
                </a:lnTo>
                <a:lnTo>
                  <a:pt x="24" y="106"/>
                </a:lnTo>
                <a:lnTo>
                  <a:pt x="26" y="112"/>
                </a:lnTo>
                <a:lnTo>
                  <a:pt x="20" y="114"/>
                </a:lnTo>
                <a:lnTo>
                  <a:pt x="20" y="114"/>
                </a:lnTo>
                <a:lnTo>
                  <a:pt x="24" y="116"/>
                </a:lnTo>
                <a:lnTo>
                  <a:pt x="24" y="116"/>
                </a:lnTo>
                <a:lnTo>
                  <a:pt x="22" y="124"/>
                </a:lnTo>
                <a:lnTo>
                  <a:pt x="22" y="130"/>
                </a:lnTo>
                <a:lnTo>
                  <a:pt x="22" y="130"/>
                </a:lnTo>
                <a:lnTo>
                  <a:pt x="18" y="136"/>
                </a:lnTo>
                <a:lnTo>
                  <a:pt x="18" y="136"/>
                </a:lnTo>
                <a:lnTo>
                  <a:pt x="18" y="136"/>
                </a:lnTo>
                <a:lnTo>
                  <a:pt x="18" y="138"/>
                </a:lnTo>
                <a:lnTo>
                  <a:pt x="18" y="138"/>
                </a:lnTo>
                <a:lnTo>
                  <a:pt x="18" y="140"/>
                </a:lnTo>
                <a:lnTo>
                  <a:pt x="22" y="144"/>
                </a:lnTo>
                <a:lnTo>
                  <a:pt x="22" y="144"/>
                </a:lnTo>
                <a:lnTo>
                  <a:pt x="24" y="144"/>
                </a:lnTo>
                <a:lnTo>
                  <a:pt x="26" y="144"/>
                </a:lnTo>
                <a:lnTo>
                  <a:pt x="26" y="146"/>
                </a:lnTo>
                <a:lnTo>
                  <a:pt x="26" y="146"/>
                </a:lnTo>
                <a:lnTo>
                  <a:pt x="22" y="148"/>
                </a:lnTo>
                <a:lnTo>
                  <a:pt x="20" y="150"/>
                </a:lnTo>
                <a:lnTo>
                  <a:pt x="20" y="150"/>
                </a:lnTo>
                <a:lnTo>
                  <a:pt x="18" y="154"/>
                </a:lnTo>
                <a:lnTo>
                  <a:pt x="18" y="158"/>
                </a:lnTo>
                <a:lnTo>
                  <a:pt x="18" y="158"/>
                </a:lnTo>
                <a:lnTo>
                  <a:pt x="14" y="158"/>
                </a:lnTo>
                <a:lnTo>
                  <a:pt x="8" y="160"/>
                </a:lnTo>
                <a:lnTo>
                  <a:pt x="8" y="160"/>
                </a:lnTo>
                <a:lnTo>
                  <a:pt x="6" y="164"/>
                </a:lnTo>
                <a:lnTo>
                  <a:pt x="6" y="164"/>
                </a:lnTo>
                <a:lnTo>
                  <a:pt x="4" y="164"/>
                </a:lnTo>
                <a:lnTo>
                  <a:pt x="4" y="164"/>
                </a:lnTo>
                <a:lnTo>
                  <a:pt x="4" y="168"/>
                </a:lnTo>
                <a:lnTo>
                  <a:pt x="4" y="168"/>
                </a:lnTo>
                <a:lnTo>
                  <a:pt x="4" y="168"/>
                </a:lnTo>
                <a:lnTo>
                  <a:pt x="4" y="170"/>
                </a:lnTo>
                <a:lnTo>
                  <a:pt x="4" y="170"/>
                </a:lnTo>
                <a:lnTo>
                  <a:pt x="6" y="172"/>
                </a:lnTo>
                <a:lnTo>
                  <a:pt x="6" y="176"/>
                </a:lnTo>
                <a:lnTo>
                  <a:pt x="6" y="176"/>
                </a:lnTo>
                <a:lnTo>
                  <a:pt x="4" y="174"/>
                </a:lnTo>
                <a:lnTo>
                  <a:pt x="0" y="176"/>
                </a:lnTo>
                <a:lnTo>
                  <a:pt x="0" y="176"/>
                </a:lnTo>
                <a:lnTo>
                  <a:pt x="0" y="182"/>
                </a:lnTo>
                <a:lnTo>
                  <a:pt x="2" y="182"/>
                </a:lnTo>
                <a:lnTo>
                  <a:pt x="2" y="182"/>
                </a:lnTo>
                <a:lnTo>
                  <a:pt x="2" y="184"/>
                </a:lnTo>
                <a:lnTo>
                  <a:pt x="6" y="188"/>
                </a:lnTo>
                <a:lnTo>
                  <a:pt x="6" y="188"/>
                </a:lnTo>
                <a:lnTo>
                  <a:pt x="14" y="192"/>
                </a:lnTo>
                <a:lnTo>
                  <a:pt x="14" y="192"/>
                </a:lnTo>
                <a:lnTo>
                  <a:pt x="16" y="194"/>
                </a:lnTo>
                <a:lnTo>
                  <a:pt x="16" y="198"/>
                </a:lnTo>
                <a:lnTo>
                  <a:pt x="16" y="198"/>
                </a:lnTo>
                <a:lnTo>
                  <a:pt x="18" y="202"/>
                </a:lnTo>
                <a:lnTo>
                  <a:pt x="20" y="202"/>
                </a:lnTo>
                <a:lnTo>
                  <a:pt x="34" y="206"/>
                </a:lnTo>
                <a:lnTo>
                  <a:pt x="34" y="206"/>
                </a:lnTo>
                <a:lnTo>
                  <a:pt x="34" y="204"/>
                </a:lnTo>
                <a:lnTo>
                  <a:pt x="36" y="202"/>
                </a:lnTo>
                <a:lnTo>
                  <a:pt x="36" y="204"/>
                </a:lnTo>
                <a:lnTo>
                  <a:pt x="36" y="204"/>
                </a:lnTo>
                <a:lnTo>
                  <a:pt x="40" y="206"/>
                </a:lnTo>
                <a:lnTo>
                  <a:pt x="42" y="208"/>
                </a:lnTo>
                <a:lnTo>
                  <a:pt x="48" y="210"/>
                </a:lnTo>
                <a:lnTo>
                  <a:pt x="54" y="210"/>
                </a:lnTo>
                <a:lnTo>
                  <a:pt x="54" y="210"/>
                </a:lnTo>
                <a:lnTo>
                  <a:pt x="54" y="214"/>
                </a:lnTo>
                <a:lnTo>
                  <a:pt x="56" y="216"/>
                </a:lnTo>
                <a:lnTo>
                  <a:pt x="58" y="216"/>
                </a:lnTo>
                <a:lnTo>
                  <a:pt x="58" y="216"/>
                </a:lnTo>
                <a:lnTo>
                  <a:pt x="62" y="220"/>
                </a:lnTo>
                <a:lnTo>
                  <a:pt x="64" y="224"/>
                </a:lnTo>
                <a:lnTo>
                  <a:pt x="64" y="224"/>
                </a:lnTo>
                <a:lnTo>
                  <a:pt x="64" y="226"/>
                </a:lnTo>
                <a:lnTo>
                  <a:pt x="66" y="228"/>
                </a:lnTo>
                <a:lnTo>
                  <a:pt x="70" y="230"/>
                </a:lnTo>
                <a:lnTo>
                  <a:pt x="78" y="230"/>
                </a:lnTo>
                <a:lnTo>
                  <a:pt x="78" y="236"/>
                </a:lnTo>
                <a:lnTo>
                  <a:pt x="78" y="236"/>
                </a:lnTo>
                <a:lnTo>
                  <a:pt x="78" y="238"/>
                </a:lnTo>
                <a:lnTo>
                  <a:pt x="80" y="240"/>
                </a:lnTo>
                <a:lnTo>
                  <a:pt x="82" y="240"/>
                </a:lnTo>
                <a:lnTo>
                  <a:pt x="82" y="240"/>
                </a:lnTo>
                <a:lnTo>
                  <a:pt x="90" y="242"/>
                </a:lnTo>
                <a:lnTo>
                  <a:pt x="90" y="238"/>
                </a:lnTo>
                <a:lnTo>
                  <a:pt x="90" y="238"/>
                </a:lnTo>
                <a:lnTo>
                  <a:pt x="94" y="238"/>
                </a:lnTo>
                <a:lnTo>
                  <a:pt x="98" y="238"/>
                </a:lnTo>
                <a:lnTo>
                  <a:pt x="100" y="240"/>
                </a:lnTo>
                <a:lnTo>
                  <a:pt x="100" y="240"/>
                </a:lnTo>
                <a:lnTo>
                  <a:pt x="104" y="242"/>
                </a:lnTo>
                <a:lnTo>
                  <a:pt x="110" y="244"/>
                </a:lnTo>
                <a:lnTo>
                  <a:pt x="110" y="244"/>
                </a:lnTo>
                <a:lnTo>
                  <a:pt x="114" y="246"/>
                </a:lnTo>
                <a:lnTo>
                  <a:pt x="116" y="248"/>
                </a:lnTo>
                <a:lnTo>
                  <a:pt x="104" y="274"/>
                </a:lnTo>
                <a:lnTo>
                  <a:pt x="110" y="274"/>
                </a:lnTo>
                <a:lnTo>
                  <a:pt x="114" y="276"/>
                </a:lnTo>
                <a:lnTo>
                  <a:pt x="114" y="276"/>
                </a:lnTo>
                <a:lnTo>
                  <a:pt x="128" y="238"/>
                </a:lnTo>
                <a:lnTo>
                  <a:pt x="128" y="238"/>
                </a:lnTo>
                <a:lnTo>
                  <a:pt x="130" y="232"/>
                </a:lnTo>
                <a:lnTo>
                  <a:pt x="132" y="228"/>
                </a:lnTo>
                <a:lnTo>
                  <a:pt x="132" y="226"/>
                </a:lnTo>
                <a:lnTo>
                  <a:pt x="132" y="226"/>
                </a:lnTo>
                <a:lnTo>
                  <a:pt x="126" y="212"/>
                </a:lnTo>
                <a:lnTo>
                  <a:pt x="122" y="210"/>
                </a:lnTo>
                <a:lnTo>
                  <a:pt x="122" y="204"/>
                </a:lnTo>
                <a:lnTo>
                  <a:pt x="130" y="204"/>
                </a:lnTo>
                <a:lnTo>
                  <a:pt x="132" y="202"/>
                </a:lnTo>
                <a:lnTo>
                  <a:pt x="124" y="200"/>
                </a:lnTo>
                <a:lnTo>
                  <a:pt x="126" y="194"/>
                </a:lnTo>
                <a:lnTo>
                  <a:pt x="126" y="194"/>
                </a:lnTo>
                <a:lnTo>
                  <a:pt x="128" y="196"/>
                </a:lnTo>
                <a:lnTo>
                  <a:pt x="134" y="196"/>
                </a:lnTo>
                <a:lnTo>
                  <a:pt x="134" y="196"/>
                </a:lnTo>
                <a:lnTo>
                  <a:pt x="148" y="196"/>
                </a:lnTo>
                <a:lnTo>
                  <a:pt x="148" y="192"/>
                </a:lnTo>
                <a:lnTo>
                  <a:pt x="152" y="194"/>
                </a:lnTo>
                <a:lnTo>
                  <a:pt x="156" y="194"/>
                </a:lnTo>
                <a:lnTo>
                  <a:pt x="158" y="186"/>
                </a:lnTo>
                <a:lnTo>
                  <a:pt x="164" y="188"/>
                </a:lnTo>
                <a:lnTo>
                  <a:pt x="164" y="194"/>
                </a:lnTo>
                <a:lnTo>
                  <a:pt x="168" y="194"/>
                </a:lnTo>
                <a:lnTo>
                  <a:pt x="170" y="186"/>
                </a:lnTo>
                <a:lnTo>
                  <a:pt x="170" y="186"/>
                </a:lnTo>
                <a:lnTo>
                  <a:pt x="166" y="182"/>
                </a:lnTo>
                <a:lnTo>
                  <a:pt x="166" y="182"/>
                </a:lnTo>
                <a:lnTo>
                  <a:pt x="166" y="176"/>
                </a:lnTo>
                <a:lnTo>
                  <a:pt x="166" y="176"/>
                </a:lnTo>
                <a:lnTo>
                  <a:pt x="164" y="178"/>
                </a:lnTo>
                <a:lnTo>
                  <a:pt x="164" y="178"/>
                </a:lnTo>
                <a:lnTo>
                  <a:pt x="162" y="178"/>
                </a:lnTo>
                <a:lnTo>
                  <a:pt x="160" y="176"/>
                </a:lnTo>
                <a:lnTo>
                  <a:pt x="162" y="172"/>
                </a:lnTo>
                <a:lnTo>
                  <a:pt x="162" y="172"/>
                </a:lnTo>
                <a:lnTo>
                  <a:pt x="164" y="170"/>
                </a:lnTo>
                <a:lnTo>
                  <a:pt x="168" y="164"/>
                </a:lnTo>
                <a:lnTo>
                  <a:pt x="168" y="164"/>
                </a:lnTo>
                <a:lnTo>
                  <a:pt x="170" y="154"/>
                </a:lnTo>
                <a:lnTo>
                  <a:pt x="170" y="154"/>
                </a:lnTo>
                <a:lnTo>
                  <a:pt x="164" y="152"/>
                </a:lnTo>
                <a:lnTo>
                  <a:pt x="158" y="146"/>
                </a:lnTo>
                <a:lnTo>
                  <a:pt x="158" y="146"/>
                </a:lnTo>
                <a:lnTo>
                  <a:pt x="154" y="142"/>
                </a:lnTo>
                <a:lnTo>
                  <a:pt x="150" y="138"/>
                </a:lnTo>
                <a:lnTo>
                  <a:pt x="150" y="138"/>
                </a:lnTo>
                <a:lnTo>
                  <a:pt x="146" y="134"/>
                </a:lnTo>
                <a:lnTo>
                  <a:pt x="144" y="132"/>
                </a:lnTo>
                <a:lnTo>
                  <a:pt x="144" y="128"/>
                </a:lnTo>
                <a:lnTo>
                  <a:pt x="144" y="128"/>
                </a:lnTo>
                <a:lnTo>
                  <a:pt x="142" y="124"/>
                </a:lnTo>
                <a:lnTo>
                  <a:pt x="144" y="122"/>
                </a:lnTo>
                <a:lnTo>
                  <a:pt x="146" y="120"/>
                </a:lnTo>
                <a:lnTo>
                  <a:pt x="146" y="112"/>
                </a:lnTo>
                <a:lnTo>
                  <a:pt x="146" y="112"/>
                </a:lnTo>
                <a:lnTo>
                  <a:pt x="138" y="110"/>
                </a:lnTo>
                <a:lnTo>
                  <a:pt x="138" y="110"/>
                </a:lnTo>
                <a:lnTo>
                  <a:pt x="128" y="112"/>
                </a:lnTo>
                <a:lnTo>
                  <a:pt x="128" y="112"/>
                </a:lnTo>
                <a:lnTo>
                  <a:pt x="122" y="100"/>
                </a:lnTo>
                <a:lnTo>
                  <a:pt x="122" y="100"/>
                </a:lnTo>
                <a:lnTo>
                  <a:pt x="118" y="98"/>
                </a:lnTo>
                <a:lnTo>
                  <a:pt x="112" y="98"/>
                </a:lnTo>
                <a:lnTo>
                  <a:pt x="112" y="98"/>
                </a:lnTo>
                <a:lnTo>
                  <a:pt x="106" y="98"/>
                </a:lnTo>
                <a:lnTo>
                  <a:pt x="102" y="98"/>
                </a:lnTo>
                <a:lnTo>
                  <a:pt x="92" y="96"/>
                </a:lnTo>
                <a:lnTo>
                  <a:pt x="92" y="96"/>
                </a:lnTo>
                <a:lnTo>
                  <a:pt x="92" y="94"/>
                </a:lnTo>
                <a:lnTo>
                  <a:pt x="90" y="88"/>
                </a:lnTo>
                <a:lnTo>
                  <a:pt x="90" y="88"/>
                </a:lnTo>
                <a:lnTo>
                  <a:pt x="86" y="82"/>
                </a:lnTo>
                <a:lnTo>
                  <a:pt x="84" y="78"/>
                </a:lnTo>
                <a:lnTo>
                  <a:pt x="84" y="78"/>
                </a:lnTo>
                <a:lnTo>
                  <a:pt x="84" y="76"/>
                </a:lnTo>
                <a:lnTo>
                  <a:pt x="86" y="76"/>
                </a:lnTo>
                <a:lnTo>
                  <a:pt x="88" y="74"/>
                </a:lnTo>
                <a:lnTo>
                  <a:pt x="82" y="62"/>
                </a:lnTo>
                <a:lnTo>
                  <a:pt x="76" y="64"/>
                </a:lnTo>
                <a:lnTo>
                  <a:pt x="76" y="64"/>
                </a:lnTo>
                <a:lnTo>
                  <a:pt x="74" y="64"/>
                </a:lnTo>
                <a:lnTo>
                  <a:pt x="74" y="62"/>
                </a:lnTo>
                <a:lnTo>
                  <a:pt x="74" y="58"/>
                </a:lnTo>
                <a:lnTo>
                  <a:pt x="74" y="58"/>
                </a:lnTo>
                <a:lnTo>
                  <a:pt x="76" y="54"/>
                </a:lnTo>
                <a:lnTo>
                  <a:pt x="76" y="52"/>
                </a:lnTo>
                <a:lnTo>
                  <a:pt x="76" y="46"/>
                </a:lnTo>
                <a:lnTo>
                  <a:pt x="76" y="46"/>
                </a:lnTo>
                <a:lnTo>
                  <a:pt x="78" y="40"/>
                </a:lnTo>
                <a:lnTo>
                  <a:pt x="76" y="38"/>
                </a:lnTo>
                <a:lnTo>
                  <a:pt x="82" y="36"/>
                </a:lnTo>
                <a:lnTo>
                  <a:pt x="88" y="22"/>
                </a:lnTo>
                <a:lnTo>
                  <a:pt x="94" y="12"/>
                </a:lnTo>
                <a:lnTo>
                  <a:pt x="94" y="12"/>
                </a:lnTo>
                <a:lnTo>
                  <a:pt x="102" y="10"/>
                </a:lnTo>
                <a:lnTo>
                  <a:pt x="102" y="1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0" name="Freeform 215">
            <a:extLst>
              <a:ext uri="{FF2B5EF4-FFF2-40B4-BE49-F238E27FC236}">
                <a16:creationId xmlns:a16="http://schemas.microsoft.com/office/drawing/2014/main" id="{23AE59EA-A8BC-4C6F-9246-9865003B4D26}"/>
              </a:ext>
            </a:extLst>
          </p:cNvPr>
          <p:cNvSpPr>
            <a:spLocks noEditPoints="1"/>
          </p:cNvSpPr>
          <p:nvPr userDrawn="1"/>
        </p:nvSpPr>
        <p:spPr bwMode="auto">
          <a:xfrm>
            <a:off x="4158815" y="4192012"/>
            <a:ext cx="190391" cy="1204622"/>
          </a:xfrm>
          <a:custGeom>
            <a:avLst/>
            <a:gdLst>
              <a:gd name="T0" fmla="*/ 92 w 114"/>
              <a:gd name="T1" fmla="*/ 688 h 702"/>
              <a:gd name="T2" fmla="*/ 62 w 114"/>
              <a:gd name="T3" fmla="*/ 690 h 702"/>
              <a:gd name="T4" fmla="*/ 42 w 114"/>
              <a:gd name="T5" fmla="*/ 686 h 702"/>
              <a:gd name="T6" fmla="*/ 52 w 114"/>
              <a:gd name="T7" fmla="*/ 678 h 702"/>
              <a:gd name="T8" fmla="*/ 56 w 114"/>
              <a:gd name="T9" fmla="*/ 668 h 702"/>
              <a:gd name="T10" fmla="*/ 74 w 114"/>
              <a:gd name="T11" fmla="*/ 680 h 702"/>
              <a:gd name="T12" fmla="*/ 62 w 114"/>
              <a:gd name="T13" fmla="*/ 660 h 702"/>
              <a:gd name="T14" fmla="*/ 82 w 114"/>
              <a:gd name="T15" fmla="*/ 646 h 702"/>
              <a:gd name="T16" fmla="*/ 112 w 114"/>
              <a:gd name="T17" fmla="*/ 102 h 702"/>
              <a:gd name="T18" fmla="*/ 98 w 114"/>
              <a:gd name="T19" fmla="*/ 142 h 702"/>
              <a:gd name="T20" fmla="*/ 88 w 114"/>
              <a:gd name="T21" fmla="*/ 178 h 702"/>
              <a:gd name="T22" fmla="*/ 74 w 114"/>
              <a:gd name="T23" fmla="*/ 236 h 702"/>
              <a:gd name="T24" fmla="*/ 70 w 114"/>
              <a:gd name="T25" fmla="*/ 296 h 702"/>
              <a:gd name="T26" fmla="*/ 58 w 114"/>
              <a:gd name="T27" fmla="*/ 332 h 702"/>
              <a:gd name="T28" fmla="*/ 54 w 114"/>
              <a:gd name="T29" fmla="*/ 366 h 702"/>
              <a:gd name="T30" fmla="*/ 44 w 114"/>
              <a:gd name="T31" fmla="*/ 416 h 702"/>
              <a:gd name="T32" fmla="*/ 48 w 114"/>
              <a:gd name="T33" fmla="*/ 458 h 702"/>
              <a:gd name="T34" fmla="*/ 50 w 114"/>
              <a:gd name="T35" fmla="*/ 490 h 702"/>
              <a:gd name="T36" fmla="*/ 48 w 114"/>
              <a:gd name="T37" fmla="*/ 514 h 702"/>
              <a:gd name="T38" fmla="*/ 40 w 114"/>
              <a:gd name="T39" fmla="*/ 552 h 702"/>
              <a:gd name="T40" fmla="*/ 28 w 114"/>
              <a:gd name="T41" fmla="*/ 594 h 702"/>
              <a:gd name="T42" fmla="*/ 36 w 114"/>
              <a:gd name="T43" fmla="*/ 612 h 702"/>
              <a:gd name="T44" fmla="*/ 78 w 114"/>
              <a:gd name="T45" fmla="*/ 638 h 702"/>
              <a:gd name="T46" fmla="*/ 54 w 114"/>
              <a:gd name="T47" fmla="*/ 668 h 702"/>
              <a:gd name="T48" fmla="*/ 36 w 114"/>
              <a:gd name="T49" fmla="*/ 662 h 702"/>
              <a:gd name="T50" fmla="*/ 34 w 114"/>
              <a:gd name="T51" fmla="*/ 674 h 702"/>
              <a:gd name="T52" fmla="*/ 26 w 114"/>
              <a:gd name="T53" fmla="*/ 666 h 702"/>
              <a:gd name="T54" fmla="*/ 26 w 114"/>
              <a:gd name="T55" fmla="*/ 652 h 702"/>
              <a:gd name="T56" fmla="*/ 36 w 114"/>
              <a:gd name="T57" fmla="*/ 632 h 702"/>
              <a:gd name="T58" fmla="*/ 24 w 114"/>
              <a:gd name="T59" fmla="*/ 634 h 702"/>
              <a:gd name="T60" fmla="*/ 14 w 114"/>
              <a:gd name="T61" fmla="*/ 648 h 702"/>
              <a:gd name="T62" fmla="*/ 10 w 114"/>
              <a:gd name="T63" fmla="*/ 644 h 702"/>
              <a:gd name="T64" fmla="*/ 14 w 114"/>
              <a:gd name="T65" fmla="*/ 630 h 702"/>
              <a:gd name="T66" fmla="*/ 20 w 114"/>
              <a:gd name="T67" fmla="*/ 618 h 702"/>
              <a:gd name="T68" fmla="*/ 18 w 114"/>
              <a:gd name="T69" fmla="*/ 602 h 702"/>
              <a:gd name="T70" fmla="*/ 16 w 114"/>
              <a:gd name="T71" fmla="*/ 586 h 702"/>
              <a:gd name="T72" fmla="*/ 16 w 114"/>
              <a:gd name="T73" fmla="*/ 568 h 702"/>
              <a:gd name="T74" fmla="*/ 18 w 114"/>
              <a:gd name="T75" fmla="*/ 546 h 702"/>
              <a:gd name="T76" fmla="*/ 6 w 114"/>
              <a:gd name="T77" fmla="*/ 530 h 702"/>
              <a:gd name="T78" fmla="*/ 0 w 114"/>
              <a:gd name="T79" fmla="*/ 532 h 702"/>
              <a:gd name="T80" fmla="*/ 16 w 114"/>
              <a:gd name="T81" fmla="*/ 516 h 702"/>
              <a:gd name="T82" fmla="*/ 22 w 114"/>
              <a:gd name="T83" fmla="*/ 522 h 702"/>
              <a:gd name="T84" fmla="*/ 26 w 114"/>
              <a:gd name="T85" fmla="*/ 486 h 702"/>
              <a:gd name="T86" fmla="*/ 38 w 114"/>
              <a:gd name="T87" fmla="*/ 470 h 702"/>
              <a:gd name="T88" fmla="*/ 38 w 114"/>
              <a:gd name="T89" fmla="*/ 454 h 702"/>
              <a:gd name="T90" fmla="*/ 32 w 114"/>
              <a:gd name="T91" fmla="*/ 432 h 702"/>
              <a:gd name="T92" fmla="*/ 32 w 114"/>
              <a:gd name="T93" fmla="*/ 384 h 702"/>
              <a:gd name="T94" fmla="*/ 28 w 114"/>
              <a:gd name="T95" fmla="*/ 360 h 702"/>
              <a:gd name="T96" fmla="*/ 36 w 114"/>
              <a:gd name="T97" fmla="*/ 338 h 702"/>
              <a:gd name="T98" fmla="*/ 44 w 114"/>
              <a:gd name="T99" fmla="*/ 302 h 702"/>
              <a:gd name="T100" fmla="*/ 58 w 114"/>
              <a:gd name="T101" fmla="*/ 244 h 702"/>
              <a:gd name="T102" fmla="*/ 54 w 114"/>
              <a:gd name="T103" fmla="*/ 200 h 702"/>
              <a:gd name="T104" fmla="*/ 64 w 114"/>
              <a:gd name="T105" fmla="*/ 166 h 702"/>
              <a:gd name="T106" fmla="*/ 66 w 114"/>
              <a:gd name="T107" fmla="*/ 134 h 702"/>
              <a:gd name="T108" fmla="*/ 66 w 114"/>
              <a:gd name="T109" fmla="*/ 98 h 702"/>
              <a:gd name="T110" fmla="*/ 72 w 114"/>
              <a:gd name="T111" fmla="*/ 58 h 702"/>
              <a:gd name="T112" fmla="*/ 74 w 114"/>
              <a:gd name="T113" fmla="*/ 4 h 702"/>
              <a:gd name="T114" fmla="*/ 94 w 114"/>
              <a:gd name="T115" fmla="*/ 42 h 702"/>
              <a:gd name="T116" fmla="*/ 114 w 114"/>
              <a:gd name="T117" fmla="*/ 9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 h="702">
                <a:moveTo>
                  <a:pt x="106" y="690"/>
                </a:moveTo>
                <a:lnTo>
                  <a:pt x="108" y="690"/>
                </a:lnTo>
                <a:lnTo>
                  <a:pt x="108" y="690"/>
                </a:lnTo>
                <a:lnTo>
                  <a:pt x="104" y="696"/>
                </a:lnTo>
                <a:lnTo>
                  <a:pt x="100" y="702"/>
                </a:lnTo>
                <a:lnTo>
                  <a:pt x="100" y="702"/>
                </a:lnTo>
                <a:lnTo>
                  <a:pt x="100" y="696"/>
                </a:lnTo>
                <a:lnTo>
                  <a:pt x="100" y="696"/>
                </a:lnTo>
                <a:lnTo>
                  <a:pt x="94" y="694"/>
                </a:lnTo>
                <a:lnTo>
                  <a:pt x="94" y="694"/>
                </a:lnTo>
                <a:lnTo>
                  <a:pt x="94" y="692"/>
                </a:lnTo>
                <a:lnTo>
                  <a:pt x="92" y="688"/>
                </a:lnTo>
                <a:lnTo>
                  <a:pt x="92" y="688"/>
                </a:lnTo>
                <a:lnTo>
                  <a:pt x="80" y="692"/>
                </a:lnTo>
                <a:lnTo>
                  <a:pt x="78" y="694"/>
                </a:lnTo>
                <a:lnTo>
                  <a:pt x="78" y="694"/>
                </a:lnTo>
                <a:lnTo>
                  <a:pt x="74" y="694"/>
                </a:lnTo>
                <a:lnTo>
                  <a:pt x="68" y="694"/>
                </a:lnTo>
                <a:lnTo>
                  <a:pt x="68" y="694"/>
                </a:lnTo>
                <a:lnTo>
                  <a:pt x="68" y="692"/>
                </a:lnTo>
                <a:lnTo>
                  <a:pt x="68" y="692"/>
                </a:lnTo>
                <a:lnTo>
                  <a:pt x="70" y="692"/>
                </a:lnTo>
                <a:lnTo>
                  <a:pt x="70" y="690"/>
                </a:lnTo>
                <a:lnTo>
                  <a:pt x="66" y="688"/>
                </a:lnTo>
                <a:lnTo>
                  <a:pt x="66" y="688"/>
                </a:lnTo>
                <a:lnTo>
                  <a:pt x="62" y="690"/>
                </a:lnTo>
                <a:lnTo>
                  <a:pt x="58" y="690"/>
                </a:lnTo>
                <a:lnTo>
                  <a:pt x="58" y="690"/>
                </a:lnTo>
                <a:lnTo>
                  <a:pt x="58" y="686"/>
                </a:lnTo>
                <a:lnTo>
                  <a:pt x="58" y="686"/>
                </a:lnTo>
                <a:lnTo>
                  <a:pt x="50" y="686"/>
                </a:lnTo>
                <a:lnTo>
                  <a:pt x="50" y="684"/>
                </a:lnTo>
                <a:lnTo>
                  <a:pt x="50" y="684"/>
                </a:lnTo>
                <a:lnTo>
                  <a:pt x="46" y="684"/>
                </a:lnTo>
                <a:lnTo>
                  <a:pt x="46" y="686"/>
                </a:lnTo>
                <a:lnTo>
                  <a:pt x="46" y="686"/>
                </a:lnTo>
                <a:lnTo>
                  <a:pt x="46" y="688"/>
                </a:lnTo>
                <a:lnTo>
                  <a:pt x="46" y="688"/>
                </a:lnTo>
                <a:lnTo>
                  <a:pt x="42" y="686"/>
                </a:lnTo>
                <a:lnTo>
                  <a:pt x="42" y="686"/>
                </a:lnTo>
                <a:lnTo>
                  <a:pt x="42" y="684"/>
                </a:lnTo>
                <a:lnTo>
                  <a:pt x="42" y="684"/>
                </a:lnTo>
                <a:lnTo>
                  <a:pt x="44" y="684"/>
                </a:lnTo>
                <a:lnTo>
                  <a:pt x="44" y="682"/>
                </a:lnTo>
                <a:lnTo>
                  <a:pt x="44" y="682"/>
                </a:lnTo>
                <a:lnTo>
                  <a:pt x="56" y="680"/>
                </a:lnTo>
                <a:lnTo>
                  <a:pt x="56" y="680"/>
                </a:lnTo>
                <a:lnTo>
                  <a:pt x="56" y="678"/>
                </a:lnTo>
                <a:lnTo>
                  <a:pt x="56" y="676"/>
                </a:lnTo>
                <a:lnTo>
                  <a:pt x="56" y="676"/>
                </a:lnTo>
                <a:lnTo>
                  <a:pt x="52" y="678"/>
                </a:lnTo>
                <a:lnTo>
                  <a:pt x="52" y="678"/>
                </a:lnTo>
                <a:lnTo>
                  <a:pt x="48" y="678"/>
                </a:lnTo>
                <a:lnTo>
                  <a:pt x="46" y="676"/>
                </a:lnTo>
                <a:lnTo>
                  <a:pt x="44" y="670"/>
                </a:lnTo>
                <a:lnTo>
                  <a:pt x="44" y="670"/>
                </a:lnTo>
                <a:lnTo>
                  <a:pt x="50" y="670"/>
                </a:lnTo>
                <a:lnTo>
                  <a:pt x="50" y="670"/>
                </a:lnTo>
                <a:lnTo>
                  <a:pt x="50" y="674"/>
                </a:lnTo>
                <a:lnTo>
                  <a:pt x="50" y="674"/>
                </a:lnTo>
                <a:lnTo>
                  <a:pt x="54" y="672"/>
                </a:lnTo>
                <a:lnTo>
                  <a:pt x="54" y="674"/>
                </a:lnTo>
                <a:lnTo>
                  <a:pt x="54" y="674"/>
                </a:lnTo>
                <a:lnTo>
                  <a:pt x="56" y="668"/>
                </a:lnTo>
                <a:lnTo>
                  <a:pt x="56" y="668"/>
                </a:lnTo>
                <a:lnTo>
                  <a:pt x="60" y="668"/>
                </a:lnTo>
                <a:lnTo>
                  <a:pt x="60" y="668"/>
                </a:lnTo>
                <a:lnTo>
                  <a:pt x="60" y="676"/>
                </a:lnTo>
                <a:lnTo>
                  <a:pt x="64" y="678"/>
                </a:lnTo>
                <a:lnTo>
                  <a:pt x="64" y="678"/>
                </a:lnTo>
                <a:lnTo>
                  <a:pt x="62" y="682"/>
                </a:lnTo>
                <a:lnTo>
                  <a:pt x="66" y="682"/>
                </a:lnTo>
                <a:lnTo>
                  <a:pt x="66" y="682"/>
                </a:lnTo>
                <a:lnTo>
                  <a:pt x="66" y="678"/>
                </a:lnTo>
                <a:lnTo>
                  <a:pt x="72" y="678"/>
                </a:lnTo>
                <a:lnTo>
                  <a:pt x="72" y="678"/>
                </a:lnTo>
                <a:lnTo>
                  <a:pt x="74" y="680"/>
                </a:lnTo>
                <a:lnTo>
                  <a:pt x="74" y="680"/>
                </a:lnTo>
                <a:lnTo>
                  <a:pt x="78" y="680"/>
                </a:lnTo>
                <a:lnTo>
                  <a:pt x="78" y="680"/>
                </a:lnTo>
                <a:lnTo>
                  <a:pt x="72" y="674"/>
                </a:lnTo>
                <a:lnTo>
                  <a:pt x="72" y="674"/>
                </a:lnTo>
                <a:lnTo>
                  <a:pt x="66" y="674"/>
                </a:lnTo>
                <a:lnTo>
                  <a:pt x="66" y="674"/>
                </a:lnTo>
                <a:lnTo>
                  <a:pt x="64" y="670"/>
                </a:lnTo>
                <a:lnTo>
                  <a:pt x="64" y="666"/>
                </a:lnTo>
                <a:lnTo>
                  <a:pt x="64" y="666"/>
                </a:lnTo>
                <a:lnTo>
                  <a:pt x="74" y="660"/>
                </a:lnTo>
                <a:lnTo>
                  <a:pt x="74" y="660"/>
                </a:lnTo>
                <a:lnTo>
                  <a:pt x="64" y="660"/>
                </a:lnTo>
                <a:lnTo>
                  <a:pt x="62" y="660"/>
                </a:lnTo>
                <a:lnTo>
                  <a:pt x="62" y="658"/>
                </a:lnTo>
                <a:lnTo>
                  <a:pt x="62" y="654"/>
                </a:lnTo>
                <a:lnTo>
                  <a:pt x="62" y="646"/>
                </a:lnTo>
                <a:lnTo>
                  <a:pt x="62" y="646"/>
                </a:lnTo>
                <a:lnTo>
                  <a:pt x="64" y="646"/>
                </a:lnTo>
                <a:lnTo>
                  <a:pt x="68" y="646"/>
                </a:lnTo>
                <a:lnTo>
                  <a:pt x="68" y="646"/>
                </a:lnTo>
                <a:lnTo>
                  <a:pt x="68" y="646"/>
                </a:lnTo>
                <a:lnTo>
                  <a:pt x="72" y="648"/>
                </a:lnTo>
                <a:lnTo>
                  <a:pt x="72" y="648"/>
                </a:lnTo>
                <a:lnTo>
                  <a:pt x="78" y="642"/>
                </a:lnTo>
                <a:lnTo>
                  <a:pt x="78" y="642"/>
                </a:lnTo>
                <a:lnTo>
                  <a:pt x="82" y="646"/>
                </a:lnTo>
                <a:lnTo>
                  <a:pt x="82" y="646"/>
                </a:lnTo>
                <a:lnTo>
                  <a:pt x="86" y="644"/>
                </a:lnTo>
                <a:lnTo>
                  <a:pt x="90" y="690"/>
                </a:lnTo>
                <a:lnTo>
                  <a:pt x="90" y="690"/>
                </a:lnTo>
                <a:lnTo>
                  <a:pt x="94" y="688"/>
                </a:lnTo>
                <a:lnTo>
                  <a:pt x="100" y="688"/>
                </a:lnTo>
                <a:lnTo>
                  <a:pt x="100" y="688"/>
                </a:lnTo>
                <a:lnTo>
                  <a:pt x="96" y="688"/>
                </a:lnTo>
                <a:lnTo>
                  <a:pt x="98" y="688"/>
                </a:lnTo>
                <a:lnTo>
                  <a:pt x="106" y="690"/>
                </a:lnTo>
                <a:lnTo>
                  <a:pt x="106" y="690"/>
                </a:lnTo>
                <a:close/>
                <a:moveTo>
                  <a:pt x="112" y="102"/>
                </a:moveTo>
                <a:lnTo>
                  <a:pt x="112" y="102"/>
                </a:lnTo>
                <a:lnTo>
                  <a:pt x="112" y="106"/>
                </a:lnTo>
                <a:lnTo>
                  <a:pt x="108" y="106"/>
                </a:lnTo>
                <a:lnTo>
                  <a:pt x="106" y="108"/>
                </a:lnTo>
                <a:lnTo>
                  <a:pt x="104" y="110"/>
                </a:lnTo>
                <a:lnTo>
                  <a:pt x="104" y="110"/>
                </a:lnTo>
                <a:lnTo>
                  <a:pt x="102" y="114"/>
                </a:lnTo>
                <a:lnTo>
                  <a:pt x="98" y="116"/>
                </a:lnTo>
                <a:lnTo>
                  <a:pt x="96" y="116"/>
                </a:lnTo>
                <a:lnTo>
                  <a:pt x="94" y="118"/>
                </a:lnTo>
                <a:lnTo>
                  <a:pt x="94" y="118"/>
                </a:lnTo>
                <a:lnTo>
                  <a:pt x="94" y="134"/>
                </a:lnTo>
                <a:lnTo>
                  <a:pt x="94" y="134"/>
                </a:lnTo>
                <a:lnTo>
                  <a:pt x="98" y="142"/>
                </a:lnTo>
                <a:lnTo>
                  <a:pt x="98" y="144"/>
                </a:lnTo>
                <a:lnTo>
                  <a:pt x="96" y="146"/>
                </a:lnTo>
                <a:lnTo>
                  <a:pt x="96" y="146"/>
                </a:lnTo>
                <a:lnTo>
                  <a:pt x="94" y="148"/>
                </a:lnTo>
                <a:lnTo>
                  <a:pt x="94" y="150"/>
                </a:lnTo>
                <a:lnTo>
                  <a:pt x="96" y="154"/>
                </a:lnTo>
                <a:lnTo>
                  <a:pt x="96" y="154"/>
                </a:lnTo>
                <a:lnTo>
                  <a:pt x="96" y="160"/>
                </a:lnTo>
                <a:lnTo>
                  <a:pt x="94" y="166"/>
                </a:lnTo>
                <a:lnTo>
                  <a:pt x="94" y="166"/>
                </a:lnTo>
                <a:lnTo>
                  <a:pt x="90" y="172"/>
                </a:lnTo>
                <a:lnTo>
                  <a:pt x="88" y="178"/>
                </a:lnTo>
                <a:lnTo>
                  <a:pt x="88" y="178"/>
                </a:lnTo>
                <a:lnTo>
                  <a:pt x="86" y="182"/>
                </a:lnTo>
                <a:lnTo>
                  <a:pt x="84" y="184"/>
                </a:lnTo>
                <a:lnTo>
                  <a:pt x="82" y="186"/>
                </a:lnTo>
                <a:lnTo>
                  <a:pt x="80" y="192"/>
                </a:lnTo>
                <a:lnTo>
                  <a:pt x="80" y="192"/>
                </a:lnTo>
                <a:lnTo>
                  <a:pt x="78" y="210"/>
                </a:lnTo>
                <a:lnTo>
                  <a:pt x="78" y="210"/>
                </a:lnTo>
                <a:lnTo>
                  <a:pt x="78" y="218"/>
                </a:lnTo>
                <a:lnTo>
                  <a:pt x="78" y="224"/>
                </a:lnTo>
                <a:lnTo>
                  <a:pt x="78" y="224"/>
                </a:lnTo>
                <a:lnTo>
                  <a:pt x="76" y="228"/>
                </a:lnTo>
                <a:lnTo>
                  <a:pt x="74" y="236"/>
                </a:lnTo>
                <a:lnTo>
                  <a:pt x="74" y="236"/>
                </a:lnTo>
                <a:lnTo>
                  <a:pt x="74" y="244"/>
                </a:lnTo>
                <a:lnTo>
                  <a:pt x="74" y="250"/>
                </a:lnTo>
                <a:lnTo>
                  <a:pt x="74" y="250"/>
                </a:lnTo>
                <a:lnTo>
                  <a:pt x="74" y="258"/>
                </a:lnTo>
                <a:lnTo>
                  <a:pt x="74" y="262"/>
                </a:lnTo>
                <a:lnTo>
                  <a:pt x="74" y="262"/>
                </a:lnTo>
                <a:lnTo>
                  <a:pt x="70" y="268"/>
                </a:lnTo>
                <a:lnTo>
                  <a:pt x="72" y="274"/>
                </a:lnTo>
                <a:lnTo>
                  <a:pt x="72" y="274"/>
                </a:lnTo>
                <a:lnTo>
                  <a:pt x="72" y="280"/>
                </a:lnTo>
                <a:lnTo>
                  <a:pt x="72" y="286"/>
                </a:lnTo>
                <a:lnTo>
                  <a:pt x="72" y="286"/>
                </a:lnTo>
                <a:lnTo>
                  <a:pt x="70" y="296"/>
                </a:lnTo>
                <a:lnTo>
                  <a:pt x="66" y="306"/>
                </a:lnTo>
                <a:lnTo>
                  <a:pt x="66" y="306"/>
                </a:lnTo>
                <a:lnTo>
                  <a:pt x="64" y="312"/>
                </a:lnTo>
                <a:lnTo>
                  <a:pt x="66" y="316"/>
                </a:lnTo>
                <a:lnTo>
                  <a:pt x="66" y="316"/>
                </a:lnTo>
                <a:lnTo>
                  <a:pt x="66" y="322"/>
                </a:lnTo>
                <a:lnTo>
                  <a:pt x="66" y="326"/>
                </a:lnTo>
                <a:lnTo>
                  <a:pt x="66" y="326"/>
                </a:lnTo>
                <a:lnTo>
                  <a:pt x="64" y="328"/>
                </a:lnTo>
                <a:lnTo>
                  <a:pt x="62" y="328"/>
                </a:lnTo>
                <a:lnTo>
                  <a:pt x="60" y="328"/>
                </a:lnTo>
                <a:lnTo>
                  <a:pt x="60" y="328"/>
                </a:lnTo>
                <a:lnTo>
                  <a:pt x="58" y="332"/>
                </a:lnTo>
                <a:lnTo>
                  <a:pt x="56" y="334"/>
                </a:lnTo>
                <a:lnTo>
                  <a:pt x="54" y="338"/>
                </a:lnTo>
                <a:lnTo>
                  <a:pt x="54" y="338"/>
                </a:lnTo>
                <a:lnTo>
                  <a:pt x="54" y="344"/>
                </a:lnTo>
                <a:lnTo>
                  <a:pt x="54" y="352"/>
                </a:lnTo>
                <a:lnTo>
                  <a:pt x="54" y="352"/>
                </a:lnTo>
                <a:lnTo>
                  <a:pt x="54" y="354"/>
                </a:lnTo>
                <a:lnTo>
                  <a:pt x="56" y="356"/>
                </a:lnTo>
                <a:lnTo>
                  <a:pt x="58" y="362"/>
                </a:lnTo>
                <a:lnTo>
                  <a:pt x="58" y="362"/>
                </a:lnTo>
                <a:lnTo>
                  <a:pt x="56" y="364"/>
                </a:lnTo>
                <a:lnTo>
                  <a:pt x="56" y="364"/>
                </a:lnTo>
                <a:lnTo>
                  <a:pt x="54" y="366"/>
                </a:lnTo>
                <a:lnTo>
                  <a:pt x="54" y="366"/>
                </a:lnTo>
                <a:lnTo>
                  <a:pt x="50" y="376"/>
                </a:lnTo>
                <a:lnTo>
                  <a:pt x="48" y="386"/>
                </a:lnTo>
                <a:lnTo>
                  <a:pt x="48" y="386"/>
                </a:lnTo>
                <a:lnTo>
                  <a:pt x="48" y="392"/>
                </a:lnTo>
                <a:lnTo>
                  <a:pt x="44" y="396"/>
                </a:lnTo>
                <a:lnTo>
                  <a:pt x="44" y="396"/>
                </a:lnTo>
                <a:lnTo>
                  <a:pt x="42" y="400"/>
                </a:lnTo>
                <a:lnTo>
                  <a:pt x="44" y="402"/>
                </a:lnTo>
                <a:lnTo>
                  <a:pt x="44" y="406"/>
                </a:lnTo>
                <a:lnTo>
                  <a:pt x="46" y="410"/>
                </a:lnTo>
                <a:lnTo>
                  <a:pt x="46" y="410"/>
                </a:lnTo>
                <a:lnTo>
                  <a:pt x="44" y="416"/>
                </a:lnTo>
                <a:lnTo>
                  <a:pt x="44" y="420"/>
                </a:lnTo>
                <a:lnTo>
                  <a:pt x="46" y="422"/>
                </a:lnTo>
                <a:lnTo>
                  <a:pt x="46" y="422"/>
                </a:lnTo>
                <a:lnTo>
                  <a:pt x="50" y="422"/>
                </a:lnTo>
                <a:lnTo>
                  <a:pt x="50" y="426"/>
                </a:lnTo>
                <a:lnTo>
                  <a:pt x="50" y="426"/>
                </a:lnTo>
                <a:lnTo>
                  <a:pt x="50" y="438"/>
                </a:lnTo>
                <a:lnTo>
                  <a:pt x="50" y="438"/>
                </a:lnTo>
                <a:lnTo>
                  <a:pt x="46" y="446"/>
                </a:lnTo>
                <a:lnTo>
                  <a:pt x="46" y="450"/>
                </a:lnTo>
                <a:lnTo>
                  <a:pt x="46" y="452"/>
                </a:lnTo>
                <a:lnTo>
                  <a:pt x="46" y="452"/>
                </a:lnTo>
                <a:lnTo>
                  <a:pt x="48" y="458"/>
                </a:lnTo>
                <a:lnTo>
                  <a:pt x="50" y="460"/>
                </a:lnTo>
                <a:lnTo>
                  <a:pt x="50" y="462"/>
                </a:lnTo>
                <a:lnTo>
                  <a:pt x="50" y="462"/>
                </a:lnTo>
                <a:lnTo>
                  <a:pt x="50" y="466"/>
                </a:lnTo>
                <a:lnTo>
                  <a:pt x="50" y="472"/>
                </a:lnTo>
                <a:lnTo>
                  <a:pt x="50" y="472"/>
                </a:lnTo>
                <a:lnTo>
                  <a:pt x="52" y="478"/>
                </a:lnTo>
                <a:lnTo>
                  <a:pt x="52" y="480"/>
                </a:lnTo>
                <a:lnTo>
                  <a:pt x="52" y="482"/>
                </a:lnTo>
                <a:lnTo>
                  <a:pt x="52" y="482"/>
                </a:lnTo>
                <a:lnTo>
                  <a:pt x="50" y="486"/>
                </a:lnTo>
                <a:lnTo>
                  <a:pt x="50" y="490"/>
                </a:lnTo>
                <a:lnTo>
                  <a:pt x="50" y="490"/>
                </a:lnTo>
                <a:lnTo>
                  <a:pt x="52" y="494"/>
                </a:lnTo>
                <a:lnTo>
                  <a:pt x="52" y="494"/>
                </a:lnTo>
                <a:lnTo>
                  <a:pt x="50" y="496"/>
                </a:lnTo>
                <a:lnTo>
                  <a:pt x="50" y="496"/>
                </a:lnTo>
                <a:lnTo>
                  <a:pt x="48" y="496"/>
                </a:lnTo>
                <a:lnTo>
                  <a:pt x="48" y="498"/>
                </a:lnTo>
                <a:lnTo>
                  <a:pt x="46" y="502"/>
                </a:lnTo>
                <a:lnTo>
                  <a:pt x="46" y="502"/>
                </a:lnTo>
                <a:lnTo>
                  <a:pt x="46" y="502"/>
                </a:lnTo>
                <a:lnTo>
                  <a:pt x="46" y="504"/>
                </a:lnTo>
                <a:lnTo>
                  <a:pt x="48" y="510"/>
                </a:lnTo>
                <a:lnTo>
                  <a:pt x="48" y="510"/>
                </a:lnTo>
                <a:lnTo>
                  <a:pt x="48" y="514"/>
                </a:lnTo>
                <a:lnTo>
                  <a:pt x="48" y="520"/>
                </a:lnTo>
                <a:lnTo>
                  <a:pt x="48" y="520"/>
                </a:lnTo>
                <a:lnTo>
                  <a:pt x="46" y="526"/>
                </a:lnTo>
                <a:lnTo>
                  <a:pt x="46" y="532"/>
                </a:lnTo>
                <a:lnTo>
                  <a:pt x="46" y="532"/>
                </a:lnTo>
                <a:lnTo>
                  <a:pt x="46" y="536"/>
                </a:lnTo>
                <a:lnTo>
                  <a:pt x="46" y="538"/>
                </a:lnTo>
                <a:lnTo>
                  <a:pt x="46" y="538"/>
                </a:lnTo>
                <a:lnTo>
                  <a:pt x="42" y="542"/>
                </a:lnTo>
                <a:lnTo>
                  <a:pt x="42" y="542"/>
                </a:lnTo>
                <a:lnTo>
                  <a:pt x="40" y="548"/>
                </a:lnTo>
                <a:lnTo>
                  <a:pt x="40" y="552"/>
                </a:lnTo>
                <a:lnTo>
                  <a:pt x="40" y="552"/>
                </a:lnTo>
                <a:lnTo>
                  <a:pt x="42" y="558"/>
                </a:lnTo>
                <a:lnTo>
                  <a:pt x="38" y="562"/>
                </a:lnTo>
                <a:lnTo>
                  <a:pt x="38" y="562"/>
                </a:lnTo>
                <a:lnTo>
                  <a:pt x="32" y="566"/>
                </a:lnTo>
                <a:lnTo>
                  <a:pt x="30" y="568"/>
                </a:lnTo>
                <a:lnTo>
                  <a:pt x="30" y="570"/>
                </a:lnTo>
                <a:lnTo>
                  <a:pt x="30" y="570"/>
                </a:lnTo>
                <a:lnTo>
                  <a:pt x="32" y="578"/>
                </a:lnTo>
                <a:lnTo>
                  <a:pt x="30" y="582"/>
                </a:lnTo>
                <a:lnTo>
                  <a:pt x="30" y="582"/>
                </a:lnTo>
                <a:lnTo>
                  <a:pt x="28" y="588"/>
                </a:lnTo>
                <a:lnTo>
                  <a:pt x="28" y="594"/>
                </a:lnTo>
                <a:lnTo>
                  <a:pt x="28" y="594"/>
                </a:lnTo>
                <a:lnTo>
                  <a:pt x="28" y="600"/>
                </a:lnTo>
                <a:lnTo>
                  <a:pt x="28" y="602"/>
                </a:lnTo>
                <a:lnTo>
                  <a:pt x="30" y="602"/>
                </a:lnTo>
                <a:lnTo>
                  <a:pt x="30" y="602"/>
                </a:lnTo>
                <a:lnTo>
                  <a:pt x="32" y="602"/>
                </a:lnTo>
                <a:lnTo>
                  <a:pt x="34" y="600"/>
                </a:lnTo>
                <a:lnTo>
                  <a:pt x="36" y="600"/>
                </a:lnTo>
                <a:lnTo>
                  <a:pt x="38" y="600"/>
                </a:lnTo>
                <a:lnTo>
                  <a:pt x="38" y="600"/>
                </a:lnTo>
                <a:lnTo>
                  <a:pt x="40" y="606"/>
                </a:lnTo>
                <a:lnTo>
                  <a:pt x="38" y="610"/>
                </a:lnTo>
                <a:lnTo>
                  <a:pt x="38" y="610"/>
                </a:lnTo>
                <a:lnTo>
                  <a:pt x="36" y="612"/>
                </a:lnTo>
                <a:lnTo>
                  <a:pt x="36" y="614"/>
                </a:lnTo>
                <a:lnTo>
                  <a:pt x="38" y="620"/>
                </a:lnTo>
                <a:lnTo>
                  <a:pt x="38" y="620"/>
                </a:lnTo>
                <a:lnTo>
                  <a:pt x="46" y="628"/>
                </a:lnTo>
                <a:lnTo>
                  <a:pt x="50" y="634"/>
                </a:lnTo>
                <a:lnTo>
                  <a:pt x="50" y="634"/>
                </a:lnTo>
                <a:lnTo>
                  <a:pt x="68" y="632"/>
                </a:lnTo>
                <a:lnTo>
                  <a:pt x="68" y="632"/>
                </a:lnTo>
                <a:lnTo>
                  <a:pt x="92" y="634"/>
                </a:lnTo>
                <a:lnTo>
                  <a:pt x="92" y="636"/>
                </a:lnTo>
                <a:lnTo>
                  <a:pt x="92" y="636"/>
                </a:lnTo>
                <a:lnTo>
                  <a:pt x="82" y="636"/>
                </a:lnTo>
                <a:lnTo>
                  <a:pt x="78" y="638"/>
                </a:lnTo>
                <a:lnTo>
                  <a:pt x="76" y="644"/>
                </a:lnTo>
                <a:lnTo>
                  <a:pt x="76" y="644"/>
                </a:lnTo>
                <a:lnTo>
                  <a:pt x="58" y="644"/>
                </a:lnTo>
                <a:lnTo>
                  <a:pt x="58" y="644"/>
                </a:lnTo>
                <a:lnTo>
                  <a:pt x="60" y="648"/>
                </a:lnTo>
                <a:lnTo>
                  <a:pt x="60" y="648"/>
                </a:lnTo>
                <a:lnTo>
                  <a:pt x="56" y="654"/>
                </a:lnTo>
                <a:lnTo>
                  <a:pt x="56" y="654"/>
                </a:lnTo>
                <a:lnTo>
                  <a:pt x="58" y="660"/>
                </a:lnTo>
                <a:lnTo>
                  <a:pt x="56" y="666"/>
                </a:lnTo>
                <a:lnTo>
                  <a:pt x="56" y="666"/>
                </a:lnTo>
                <a:lnTo>
                  <a:pt x="54" y="668"/>
                </a:lnTo>
                <a:lnTo>
                  <a:pt x="54" y="668"/>
                </a:lnTo>
                <a:lnTo>
                  <a:pt x="48" y="666"/>
                </a:lnTo>
                <a:lnTo>
                  <a:pt x="48" y="666"/>
                </a:lnTo>
                <a:lnTo>
                  <a:pt x="44" y="664"/>
                </a:lnTo>
                <a:lnTo>
                  <a:pt x="44" y="662"/>
                </a:lnTo>
                <a:lnTo>
                  <a:pt x="44" y="656"/>
                </a:lnTo>
                <a:lnTo>
                  <a:pt x="44" y="656"/>
                </a:lnTo>
                <a:lnTo>
                  <a:pt x="40" y="658"/>
                </a:lnTo>
                <a:lnTo>
                  <a:pt x="40" y="658"/>
                </a:lnTo>
                <a:lnTo>
                  <a:pt x="40" y="662"/>
                </a:lnTo>
                <a:lnTo>
                  <a:pt x="40" y="662"/>
                </a:lnTo>
                <a:lnTo>
                  <a:pt x="34" y="658"/>
                </a:lnTo>
                <a:lnTo>
                  <a:pt x="32" y="658"/>
                </a:lnTo>
                <a:lnTo>
                  <a:pt x="36" y="662"/>
                </a:lnTo>
                <a:lnTo>
                  <a:pt x="36" y="662"/>
                </a:lnTo>
                <a:lnTo>
                  <a:pt x="42" y="666"/>
                </a:lnTo>
                <a:lnTo>
                  <a:pt x="42" y="666"/>
                </a:lnTo>
                <a:lnTo>
                  <a:pt x="40" y="670"/>
                </a:lnTo>
                <a:lnTo>
                  <a:pt x="42" y="674"/>
                </a:lnTo>
                <a:lnTo>
                  <a:pt x="42" y="674"/>
                </a:lnTo>
                <a:lnTo>
                  <a:pt x="42" y="674"/>
                </a:lnTo>
                <a:lnTo>
                  <a:pt x="38" y="676"/>
                </a:lnTo>
                <a:lnTo>
                  <a:pt x="38" y="676"/>
                </a:lnTo>
                <a:lnTo>
                  <a:pt x="38" y="674"/>
                </a:lnTo>
                <a:lnTo>
                  <a:pt x="38" y="674"/>
                </a:lnTo>
                <a:lnTo>
                  <a:pt x="36" y="674"/>
                </a:lnTo>
                <a:lnTo>
                  <a:pt x="34" y="674"/>
                </a:lnTo>
                <a:lnTo>
                  <a:pt x="34" y="674"/>
                </a:lnTo>
                <a:lnTo>
                  <a:pt x="32" y="672"/>
                </a:lnTo>
                <a:lnTo>
                  <a:pt x="32" y="672"/>
                </a:lnTo>
                <a:lnTo>
                  <a:pt x="32" y="670"/>
                </a:lnTo>
                <a:lnTo>
                  <a:pt x="32" y="668"/>
                </a:lnTo>
                <a:lnTo>
                  <a:pt x="32" y="668"/>
                </a:lnTo>
                <a:lnTo>
                  <a:pt x="30" y="668"/>
                </a:lnTo>
                <a:lnTo>
                  <a:pt x="28" y="670"/>
                </a:lnTo>
                <a:lnTo>
                  <a:pt x="28" y="668"/>
                </a:lnTo>
                <a:lnTo>
                  <a:pt x="28" y="668"/>
                </a:lnTo>
                <a:lnTo>
                  <a:pt x="26" y="668"/>
                </a:lnTo>
                <a:lnTo>
                  <a:pt x="26" y="666"/>
                </a:lnTo>
                <a:lnTo>
                  <a:pt x="26" y="666"/>
                </a:lnTo>
                <a:lnTo>
                  <a:pt x="24" y="666"/>
                </a:lnTo>
                <a:lnTo>
                  <a:pt x="24" y="666"/>
                </a:lnTo>
                <a:lnTo>
                  <a:pt x="24" y="662"/>
                </a:lnTo>
                <a:lnTo>
                  <a:pt x="24" y="662"/>
                </a:lnTo>
                <a:lnTo>
                  <a:pt x="26" y="654"/>
                </a:lnTo>
                <a:lnTo>
                  <a:pt x="30" y="654"/>
                </a:lnTo>
                <a:lnTo>
                  <a:pt x="30" y="654"/>
                </a:lnTo>
                <a:lnTo>
                  <a:pt x="30" y="656"/>
                </a:lnTo>
                <a:lnTo>
                  <a:pt x="32" y="656"/>
                </a:lnTo>
                <a:lnTo>
                  <a:pt x="32" y="654"/>
                </a:lnTo>
                <a:lnTo>
                  <a:pt x="32" y="654"/>
                </a:lnTo>
                <a:lnTo>
                  <a:pt x="30" y="652"/>
                </a:lnTo>
                <a:lnTo>
                  <a:pt x="26" y="652"/>
                </a:lnTo>
                <a:lnTo>
                  <a:pt x="26" y="652"/>
                </a:lnTo>
                <a:lnTo>
                  <a:pt x="24" y="644"/>
                </a:lnTo>
                <a:lnTo>
                  <a:pt x="22" y="636"/>
                </a:lnTo>
                <a:lnTo>
                  <a:pt x="22" y="636"/>
                </a:lnTo>
                <a:lnTo>
                  <a:pt x="26" y="636"/>
                </a:lnTo>
                <a:lnTo>
                  <a:pt x="30" y="636"/>
                </a:lnTo>
                <a:lnTo>
                  <a:pt x="30" y="636"/>
                </a:lnTo>
                <a:lnTo>
                  <a:pt x="30" y="638"/>
                </a:lnTo>
                <a:lnTo>
                  <a:pt x="32" y="638"/>
                </a:lnTo>
                <a:lnTo>
                  <a:pt x="32" y="638"/>
                </a:lnTo>
                <a:lnTo>
                  <a:pt x="34" y="632"/>
                </a:lnTo>
                <a:lnTo>
                  <a:pt x="36" y="632"/>
                </a:lnTo>
                <a:lnTo>
                  <a:pt x="36" y="632"/>
                </a:lnTo>
                <a:lnTo>
                  <a:pt x="40" y="628"/>
                </a:lnTo>
                <a:lnTo>
                  <a:pt x="40" y="626"/>
                </a:lnTo>
                <a:lnTo>
                  <a:pt x="40" y="626"/>
                </a:lnTo>
                <a:lnTo>
                  <a:pt x="38" y="628"/>
                </a:lnTo>
                <a:lnTo>
                  <a:pt x="36" y="628"/>
                </a:lnTo>
                <a:lnTo>
                  <a:pt x="36" y="628"/>
                </a:lnTo>
                <a:lnTo>
                  <a:pt x="34" y="624"/>
                </a:lnTo>
                <a:lnTo>
                  <a:pt x="34" y="624"/>
                </a:lnTo>
                <a:lnTo>
                  <a:pt x="30" y="630"/>
                </a:lnTo>
                <a:lnTo>
                  <a:pt x="26" y="634"/>
                </a:lnTo>
                <a:lnTo>
                  <a:pt x="26" y="634"/>
                </a:lnTo>
                <a:lnTo>
                  <a:pt x="24" y="634"/>
                </a:lnTo>
                <a:lnTo>
                  <a:pt x="24" y="634"/>
                </a:lnTo>
                <a:lnTo>
                  <a:pt x="24" y="628"/>
                </a:lnTo>
                <a:lnTo>
                  <a:pt x="24" y="628"/>
                </a:lnTo>
                <a:lnTo>
                  <a:pt x="18" y="632"/>
                </a:lnTo>
                <a:lnTo>
                  <a:pt x="18" y="632"/>
                </a:lnTo>
                <a:lnTo>
                  <a:pt x="18" y="632"/>
                </a:lnTo>
                <a:lnTo>
                  <a:pt x="16" y="632"/>
                </a:lnTo>
                <a:lnTo>
                  <a:pt x="16" y="632"/>
                </a:lnTo>
                <a:lnTo>
                  <a:pt x="20" y="638"/>
                </a:lnTo>
                <a:lnTo>
                  <a:pt x="20" y="648"/>
                </a:lnTo>
                <a:lnTo>
                  <a:pt x="20" y="648"/>
                </a:lnTo>
                <a:lnTo>
                  <a:pt x="12" y="646"/>
                </a:lnTo>
                <a:lnTo>
                  <a:pt x="12" y="646"/>
                </a:lnTo>
                <a:lnTo>
                  <a:pt x="14" y="648"/>
                </a:lnTo>
                <a:lnTo>
                  <a:pt x="14" y="648"/>
                </a:lnTo>
                <a:lnTo>
                  <a:pt x="16" y="648"/>
                </a:lnTo>
                <a:lnTo>
                  <a:pt x="16" y="648"/>
                </a:lnTo>
                <a:lnTo>
                  <a:pt x="24" y="654"/>
                </a:lnTo>
                <a:lnTo>
                  <a:pt x="24" y="656"/>
                </a:lnTo>
                <a:lnTo>
                  <a:pt x="22" y="656"/>
                </a:lnTo>
                <a:lnTo>
                  <a:pt x="22" y="656"/>
                </a:lnTo>
                <a:lnTo>
                  <a:pt x="18" y="656"/>
                </a:lnTo>
                <a:lnTo>
                  <a:pt x="16" y="656"/>
                </a:lnTo>
                <a:lnTo>
                  <a:pt x="16" y="656"/>
                </a:lnTo>
                <a:lnTo>
                  <a:pt x="8" y="648"/>
                </a:lnTo>
                <a:lnTo>
                  <a:pt x="8" y="648"/>
                </a:lnTo>
                <a:lnTo>
                  <a:pt x="10" y="644"/>
                </a:lnTo>
                <a:lnTo>
                  <a:pt x="10" y="644"/>
                </a:lnTo>
                <a:lnTo>
                  <a:pt x="6" y="640"/>
                </a:lnTo>
                <a:lnTo>
                  <a:pt x="4" y="638"/>
                </a:lnTo>
                <a:lnTo>
                  <a:pt x="4" y="638"/>
                </a:lnTo>
                <a:lnTo>
                  <a:pt x="2" y="632"/>
                </a:lnTo>
                <a:lnTo>
                  <a:pt x="2" y="632"/>
                </a:lnTo>
                <a:lnTo>
                  <a:pt x="2" y="630"/>
                </a:lnTo>
                <a:lnTo>
                  <a:pt x="4" y="628"/>
                </a:lnTo>
                <a:lnTo>
                  <a:pt x="8" y="626"/>
                </a:lnTo>
                <a:lnTo>
                  <a:pt x="8" y="626"/>
                </a:lnTo>
                <a:lnTo>
                  <a:pt x="12" y="630"/>
                </a:lnTo>
                <a:lnTo>
                  <a:pt x="12" y="630"/>
                </a:lnTo>
                <a:lnTo>
                  <a:pt x="14" y="630"/>
                </a:lnTo>
                <a:lnTo>
                  <a:pt x="14" y="630"/>
                </a:lnTo>
                <a:lnTo>
                  <a:pt x="14" y="628"/>
                </a:lnTo>
                <a:lnTo>
                  <a:pt x="14" y="628"/>
                </a:lnTo>
                <a:lnTo>
                  <a:pt x="16" y="628"/>
                </a:lnTo>
                <a:lnTo>
                  <a:pt x="20" y="628"/>
                </a:lnTo>
                <a:lnTo>
                  <a:pt x="20" y="628"/>
                </a:lnTo>
                <a:lnTo>
                  <a:pt x="20" y="624"/>
                </a:lnTo>
                <a:lnTo>
                  <a:pt x="20" y="624"/>
                </a:lnTo>
                <a:lnTo>
                  <a:pt x="24" y="624"/>
                </a:lnTo>
                <a:lnTo>
                  <a:pt x="24" y="624"/>
                </a:lnTo>
                <a:lnTo>
                  <a:pt x="22" y="620"/>
                </a:lnTo>
                <a:lnTo>
                  <a:pt x="22" y="620"/>
                </a:lnTo>
                <a:lnTo>
                  <a:pt x="20" y="618"/>
                </a:lnTo>
                <a:lnTo>
                  <a:pt x="18" y="616"/>
                </a:lnTo>
                <a:lnTo>
                  <a:pt x="18" y="616"/>
                </a:lnTo>
                <a:lnTo>
                  <a:pt x="18" y="614"/>
                </a:lnTo>
                <a:lnTo>
                  <a:pt x="18" y="612"/>
                </a:lnTo>
                <a:lnTo>
                  <a:pt x="18" y="612"/>
                </a:lnTo>
                <a:lnTo>
                  <a:pt x="24" y="608"/>
                </a:lnTo>
                <a:lnTo>
                  <a:pt x="24" y="608"/>
                </a:lnTo>
                <a:lnTo>
                  <a:pt x="22" y="608"/>
                </a:lnTo>
                <a:lnTo>
                  <a:pt x="22" y="608"/>
                </a:lnTo>
                <a:lnTo>
                  <a:pt x="18" y="606"/>
                </a:lnTo>
                <a:lnTo>
                  <a:pt x="18" y="606"/>
                </a:lnTo>
                <a:lnTo>
                  <a:pt x="18" y="602"/>
                </a:lnTo>
                <a:lnTo>
                  <a:pt x="18" y="602"/>
                </a:lnTo>
                <a:lnTo>
                  <a:pt x="20" y="602"/>
                </a:lnTo>
                <a:lnTo>
                  <a:pt x="22" y="602"/>
                </a:lnTo>
                <a:lnTo>
                  <a:pt x="20" y="602"/>
                </a:lnTo>
                <a:lnTo>
                  <a:pt x="20" y="602"/>
                </a:lnTo>
                <a:lnTo>
                  <a:pt x="16" y="600"/>
                </a:lnTo>
                <a:lnTo>
                  <a:pt x="12" y="600"/>
                </a:lnTo>
                <a:lnTo>
                  <a:pt x="12" y="600"/>
                </a:lnTo>
                <a:lnTo>
                  <a:pt x="12" y="594"/>
                </a:lnTo>
                <a:lnTo>
                  <a:pt x="12" y="594"/>
                </a:lnTo>
                <a:lnTo>
                  <a:pt x="16" y="590"/>
                </a:lnTo>
                <a:lnTo>
                  <a:pt x="16" y="590"/>
                </a:lnTo>
                <a:lnTo>
                  <a:pt x="16" y="586"/>
                </a:lnTo>
                <a:lnTo>
                  <a:pt x="16" y="586"/>
                </a:lnTo>
                <a:lnTo>
                  <a:pt x="18" y="584"/>
                </a:lnTo>
                <a:lnTo>
                  <a:pt x="20" y="584"/>
                </a:lnTo>
                <a:lnTo>
                  <a:pt x="20" y="582"/>
                </a:lnTo>
                <a:lnTo>
                  <a:pt x="20" y="582"/>
                </a:lnTo>
                <a:lnTo>
                  <a:pt x="22" y="576"/>
                </a:lnTo>
                <a:lnTo>
                  <a:pt x="22" y="576"/>
                </a:lnTo>
                <a:lnTo>
                  <a:pt x="18" y="578"/>
                </a:lnTo>
                <a:lnTo>
                  <a:pt x="18" y="578"/>
                </a:lnTo>
                <a:lnTo>
                  <a:pt x="18" y="580"/>
                </a:lnTo>
                <a:lnTo>
                  <a:pt x="18" y="580"/>
                </a:lnTo>
                <a:lnTo>
                  <a:pt x="16" y="580"/>
                </a:lnTo>
                <a:lnTo>
                  <a:pt x="16" y="580"/>
                </a:lnTo>
                <a:lnTo>
                  <a:pt x="16" y="568"/>
                </a:lnTo>
                <a:lnTo>
                  <a:pt x="18" y="568"/>
                </a:lnTo>
                <a:lnTo>
                  <a:pt x="18" y="568"/>
                </a:lnTo>
                <a:lnTo>
                  <a:pt x="16" y="564"/>
                </a:lnTo>
                <a:lnTo>
                  <a:pt x="16" y="564"/>
                </a:lnTo>
                <a:lnTo>
                  <a:pt x="16" y="556"/>
                </a:lnTo>
                <a:lnTo>
                  <a:pt x="16" y="548"/>
                </a:lnTo>
                <a:lnTo>
                  <a:pt x="16" y="548"/>
                </a:lnTo>
                <a:lnTo>
                  <a:pt x="20" y="550"/>
                </a:lnTo>
                <a:lnTo>
                  <a:pt x="20" y="550"/>
                </a:lnTo>
                <a:lnTo>
                  <a:pt x="20" y="548"/>
                </a:lnTo>
                <a:lnTo>
                  <a:pt x="22" y="546"/>
                </a:lnTo>
                <a:lnTo>
                  <a:pt x="22" y="546"/>
                </a:lnTo>
                <a:lnTo>
                  <a:pt x="18" y="546"/>
                </a:lnTo>
                <a:lnTo>
                  <a:pt x="18" y="546"/>
                </a:lnTo>
                <a:lnTo>
                  <a:pt x="20" y="542"/>
                </a:lnTo>
                <a:lnTo>
                  <a:pt x="20" y="538"/>
                </a:lnTo>
                <a:lnTo>
                  <a:pt x="18" y="530"/>
                </a:lnTo>
                <a:lnTo>
                  <a:pt x="18" y="530"/>
                </a:lnTo>
                <a:lnTo>
                  <a:pt x="12" y="530"/>
                </a:lnTo>
                <a:lnTo>
                  <a:pt x="12" y="530"/>
                </a:lnTo>
                <a:lnTo>
                  <a:pt x="12" y="534"/>
                </a:lnTo>
                <a:lnTo>
                  <a:pt x="12" y="534"/>
                </a:lnTo>
                <a:lnTo>
                  <a:pt x="6" y="532"/>
                </a:lnTo>
                <a:lnTo>
                  <a:pt x="6" y="532"/>
                </a:lnTo>
                <a:lnTo>
                  <a:pt x="6" y="530"/>
                </a:lnTo>
                <a:lnTo>
                  <a:pt x="6" y="530"/>
                </a:lnTo>
                <a:lnTo>
                  <a:pt x="6" y="528"/>
                </a:lnTo>
                <a:lnTo>
                  <a:pt x="6" y="528"/>
                </a:lnTo>
                <a:lnTo>
                  <a:pt x="8" y="528"/>
                </a:lnTo>
                <a:lnTo>
                  <a:pt x="8" y="526"/>
                </a:lnTo>
                <a:lnTo>
                  <a:pt x="8" y="526"/>
                </a:lnTo>
                <a:lnTo>
                  <a:pt x="6" y="526"/>
                </a:lnTo>
                <a:lnTo>
                  <a:pt x="6" y="528"/>
                </a:lnTo>
                <a:lnTo>
                  <a:pt x="6" y="528"/>
                </a:lnTo>
                <a:lnTo>
                  <a:pt x="2" y="528"/>
                </a:lnTo>
                <a:lnTo>
                  <a:pt x="2" y="528"/>
                </a:lnTo>
                <a:lnTo>
                  <a:pt x="2" y="532"/>
                </a:lnTo>
                <a:lnTo>
                  <a:pt x="0" y="532"/>
                </a:lnTo>
                <a:lnTo>
                  <a:pt x="0" y="532"/>
                </a:lnTo>
                <a:lnTo>
                  <a:pt x="0" y="526"/>
                </a:lnTo>
                <a:lnTo>
                  <a:pt x="0" y="526"/>
                </a:lnTo>
                <a:lnTo>
                  <a:pt x="6" y="522"/>
                </a:lnTo>
                <a:lnTo>
                  <a:pt x="6" y="522"/>
                </a:lnTo>
                <a:lnTo>
                  <a:pt x="2" y="518"/>
                </a:lnTo>
                <a:lnTo>
                  <a:pt x="6" y="516"/>
                </a:lnTo>
                <a:lnTo>
                  <a:pt x="8" y="514"/>
                </a:lnTo>
                <a:lnTo>
                  <a:pt x="8" y="514"/>
                </a:lnTo>
                <a:lnTo>
                  <a:pt x="12" y="514"/>
                </a:lnTo>
                <a:lnTo>
                  <a:pt x="12" y="514"/>
                </a:lnTo>
                <a:lnTo>
                  <a:pt x="12" y="520"/>
                </a:lnTo>
                <a:lnTo>
                  <a:pt x="12" y="520"/>
                </a:lnTo>
                <a:lnTo>
                  <a:pt x="16" y="516"/>
                </a:lnTo>
                <a:lnTo>
                  <a:pt x="16" y="516"/>
                </a:lnTo>
                <a:lnTo>
                  <a:pt x="16" y="520"/>
                </a:lnTo>
                <a:lnTo>
                  <a:pt x="16" y="520"/>
                </a:lnTo>
                <a:lnTo>
                  <a:pt x="14" y="520"/>
                </a:lnTo>
                <a:lnTo>
                  <a:pt x="16" y="520"/>
                </a:lnTo>
                <a:lnTo>
                  <a:pt x="18" y="520"/>
                </a:lnTo>
                <a:lnTo>
                  <a:pt x="18" y="520"/>
                </a:lnTo>
                <a:lnTo>
                  <a:pt x="18" y="518"/>
                </a:lnTo>
                <a:lnTo>
                  <a:pt x="18" y="518"/>
                </a:lnTo>
                <a:lnTo>
                  <a:pt x="22" y="518"/>
                </a:lnTo>
                <a:lnTo>
                  <a:pt x="22" y="518"/>
                </a:lnTo>
                <a:lnTo>
                  <a:pt x="22" y="520"/>
                </a:lnTo>
                <a:lnTo>
                  <a:pt x="22" y="522"/>
                </a:lnTo>
                <a:lnTo>
                  <a:pt x="22" y="522"/>
                </a:lnTo>
                <a:lnTo>
                  <a:pt x="24" y="520"/>
                </a:lnTo>
                <a:lnTo>
                  <a:pt x="26" y="520"/>
                </a:lnTo>
                <a:lnTo>
                  <a:pt x="26" y="520"/>
                </a:lnTo>
                <a:lnTo>
                  <a:pt x="26" y="514"/>
                </a:lnTo>
                <a:lnTo>
                  <a:pt x="26" y="506"/>
                </a:lnTo>
                <a:lnTo>
                  <a:pt x="30" y="504"/>
                </a:lnTo>
                <a:lnTo>
                  <a:pt x="30" y="504"/>
                </a:lnTo>
                <a:lnTo>
                  <a:pt x="28" y="502"/>
                </a:lnTo>
                <a:lnTo>
                  <a:pt x="26" y="502"/>
                </a:lnTo>
                <a:lnTo>
                  <a:pt x="26" y="502"/>
                </a:lnTo>
                <a:lnTo>
                  <a:pt x="28" y="494"/>
                </a:lnTo>
                <a:lnTo>
                  <a:pt x="26" y="486"/>
                </a:lnTo>
                <a:lnTo>
                  <a:pt x="30" y="484"/>
                </a:lnTo>
                <a:lnTo>
                  <a:pt x="30" y="484"/>
                </a:lnTo>
                <a:lnTo>
                  <a:pt x="26" y="480"/>
                </a:lnTo>
                <a:lnTo>
                  <a:pt x="26" y="480"/>
                </a:lnTo>
                <a:lnTo>
                  <a:pt x="34" y="480"/>
                </a:lnTo>
                <a:lnTo>
                  <a:pt x="34" y="480"/>
                </a:lnTo>
                <a:lnTo>
                  <a:pt x="32" y="478"/>
                </a:lnTo>
                <a:lnTo>
                  <a:pt x="30" y="478"/>
                </a:lnTo>
                <a:lnTo>
                  <a:pt x="30" y="478"/>
                </a:lnTo>
                <a:lnTo>
                  <a:pt x="30" y="474"/>
                </a:lnTo>
                <a:lnTo>
                  <a:pt x="30" y="474"/>
                </a:lnTo>
                <a:lnTo>
                  <a:pt x="38" y="470"/>
                </a:lnTo>
                <a:lnTo>
                  <a:pt x="38" y="470"/>
                </a:lnTo>
                <a:lnTo>
                  <a:pt x="34" y="466"/>
                </a:lnTo>
                <a:lnTo>
                  <a:pt x="34" y="466"/>
                </a:lnTo>
                <a:lnTo>
                  <a:pt x="34" y="462"/>
                </a:lnTo>
                <a:lnTo>
                  <a:pt x="32" y="462"/>
                </a:lnTo>
                <a:lnTo>
                  <a:pt x="32" y="462"/>
                </a:lnTo>
                <a:lnTo>
                  <a:pt x="32" y="458"/>
                </a:lnTo>
                <a:lnTo>
                  <a:pt x="34" y="456"/>
                </a:lnTo>
                <a:lnTo>
                  <a:pt x="34" y="456"/>
                </a:lnTo>
                <a:lnTo>
                  <a:pt x="36" y="454"/>
                </a:lnTo>
                <a:lnTo>
                  <a:pt x="36" y="454"/>
                </a:lnTo>
                <a:lnTo>
                  <a:pt x="36" y="454"/>
                </a:lnTo>
                <a:lnTo>
                  <a:pt x="36" y="456"/>
                </a:lnTo>
                <a:lnTo>
                  <a:pt x="38" y="454"/>
                </a:lnTo>
                <a:lnTo>
                  <a:pt x="38" y="454"/>
                </a:lnTo>
                <a:lnTo>
                  <a:pt x="36" y="434"/>
                </a:lnTo>
                <a:lnTo>
                  <a:pt x="36" y="434"/>
                </a:lnTo>
                <a:lnTo>
                  <a:pt x="40" y="432"/>
                </a:lnTo>
                <a:lnTo>
                  <a:pt x="40" y="432"/>
                </a:lnTo>
                <a:lnTo>
                  <a:pt x="40" y="430"/>
                </a:lnTo>
                <a:lnTo>
                  <a:pt x="38" y="430"/>
                </a:lnTo>
                <a:lnTo>
                  <a:pt x="38" y="430"/>
                </a:lnTo>
                <a:lnTo>
                  <a:pt x="36" y="424"/>
                </a:lnTo>
                <a:lnTo>
                  <a:pt x="36" y="424"/>
                </a:lnTo>
                <a:lnTo>
                  <a:pt x="32" y="428"/>
                </a:lnTo>
                <a:lnTo>
                  <a:pt x="32" y="428"/>
                </a:lnTo>
                <a:lnTo>
                  <a:pt x="32" y="432"/>
                </a:lnTo>
                <a:lnTo>
                  <a:pt x="32" y="432"/>
                </a:lnTo>
                <a:lnTo>
                  <a:pt x="26" y="432"/>
                </a:lnTo>
                <a:lnTo>
                  <a:pt x="26" y="432"/>
                </a:lnTo>
                <a:lnTo>
                  <a:pt x="26" y="424"/>
                </a:lnTo>
                <a:lnTo>
                  <a:pt x="24" y="418"/>
                </a:lnTo>
                <a:lnTo>
                  <a:pt x="24" y="418"/>
                </a:lnTo>
                <a:lnTo>
                  <a:pt x="26" y="408"/>
                </a:lnTo>
                <a:lnTo>
                  <a:pt x="26" y="408"/>
                </a:lnTo>
                <a:lnTo>
                  <a:pt x="30" y="396"/>
                </a:lnTo>
                <a:lnTo>
                  <a:pt x="30" y="396"/>
                </a:lnTo>
                <a:lnTo>
                  <a:pt x="32" y="396"/>
                </a:lnTo>
                <a:lnTo>
                  <a:pt x="32" y="396"/>
                </a:lnTo>
                <a:lnTo>
                  <a:pt x="32" y="384"/>
                </a:lnTo>
                <a:lnTo>
                  <a:pt x="30" y="376"/>
                </a:lnTo>
                <a:lnTo>
                  <a:pt x="30" y="376"/>
                </a:lnTo>
                <a:lnTo>
                  <a:pt x="30" y="374"/>
                </a:lnTo>
                <a:lnTo>
                  <a:pt x="32" y="374"/>
                </a:lnTo>
                <a:lnTo>
                  <a:pt x="32" y="374"/>
                </a:lnTo>
                <a:lnTo>
                  <a:pt x="30" y="372"/>
                </a:lnTo>
                <a:lnTo>
                  <a:pt x="30" y="372"/>
                </a:lnTo>
                <a:lnTo>
                  <a:pt x="30" y="368"/>
                </a:lnTo>
                <a:lnTo>
                  <a:pt x="30" y="368"/>
                </a:lnTo>
                <a:lnTo>
                  <a:pt x="30" y="366"/>
                </a:lnTo>
                <a:lnTo>
                  <a:pt x="32" y="362"/>
                </a:lnTo>
                <a:lnTo>
                  <a:pt x="32" y="362"/>
                </a:lnTo>
                <a:lnTo>
                  <a:pt x="28" y="360"/>
                </a:lnTo>
                <a:lnTo>
                  <a:pt x="28" y="360"/>
                </a:lnTo>
                <a:lnTo>
                  <a:pt x="28" y="356"/>
                </a:lnTo>
                <a:lnTo>
                  <a:pt x="30" y="354"/>
                </a:lnTo>
                <a:lnTo>
                  <a:pt x="30" y="354"/>
                </a:lnTo>
                <a:lnTo>
                  <a:pt x="26" y="350"/>
                </a:lnTo>
                <a:lnTo>
                  <a:pt x="26" y="350"/>
                </a:lnTo>
                <a:lnTo>
                  <a:pt x="30" y="348"/>
                </a:lnTo>
                <a:lnTo>
                  <a:pt x="30" y="348"/>
                </a:lnTo>
                <a:lnTo>
                  <a:pt x="34" y="348"/>
                </a:lnTo>
                <a:lnTo>
                  <a:pt x="34" y="348"/>
                </a:lnTo>
                <a:lnTo>
                  <a:pt x="32" y="342"/>
                </a:lnTo>
                <a:lnTo>
                  <a:pt x="34" y="340"/>
                </a:lnTo>
                <a:lnTo>
                  <a:pt x="36" y="338"/>
                </a:lnTo>
                <a:lnTo>
                  <a:pt x="38" y="336"/>
                </a:lnTo>
                <a:lnTo>
                  <a:pt x="38" y="336"/>
                </a:lnTo>
                <a:lnTo>
                  <a:pt x="38" y="330"/>
                </a:lnTo>
                <a:lnTo>
                  <a:pt x="38" y="330"/>
                </a:lnTo>
                <a:lnTo>
                  <a:pt x="42" y="326"/>
                </a:lnTo>
                <a:lnTo>
                  <a:pt x="42" y="326"/>
                </a:lnTo>
                <a:lnTo>
                  <a:pt x="42" y="320"/>
                </a:lnTo>
                <a:lnTo>
                  <a:pt x="42" y="314"/>
                </a:lnTo>
                <a:lnTo>
                  <a:pt x="42" y="314"/>
                </a:lnTo>
                <a:lnTo>
                  <a:pt x="42" y="312"/>
                </a:lnTo>
                <a:lnTo>
                  <a:pt x="40" y="308"/>
                </a:lnTo>
                <a:lnTo>
                  <a:pt x="40" y="308"/>
                </a:lnTo>
                <a:lnTo>
                  <a:pt x="44" y="302"/>
                </a:lnTo>
                <a:lnTo>
                  <a:pt x="48" y="296"/>
                </a:lnTo>
                <a:lnTo>
                  <a:pt x="48" y="296"/>
                </a:lnTo>
                <a:lnTo>
                  <a:pt x="48" y="286"/>
                </a:lnTo>
                <a:lnTo>
                  <a:pt x="48" y="286"/>
                </a:lnTo>
                <a:lnTo>
                  <a:pt x="52" y="280"/>
                </a:lnTo>
                <a:lnTo>
                  <a:pt x="52" y="280"/>
                </a:lnTo>
                <a:lnTo>
                  <a:pt x="52" y="278"/>
                </a:lnTo>
                <a:lnTo>
                  <a:pt x="52" y="276"/>
                </a:lnTo>
                <a:lnTo>
                  <a:pt x="52" y="276"/>
                </a:lnTo>
                <a:lnTo>
                  <a:pt x="52" y="270"/>
                </a:lnTo>
                <a:lnTo>
                  <a:pt x="56" y="266"/>
                </a:lnTo>
                <a:lnTo>
                  <a:pt x="56" y="266"/>
                </a:lnTo>
                <a:lnTo>
                  <a:pt x="58" y="244"/>
                </a:lnTo>
                <a:lnTo>
                  <a:pt x="58" y="244"/>
                </a:lnTo>
                <a:lnTo>
                  <a:pt x="56" y="238"/>
                </a:lnTo>
                <a:lnTo>
                  <a:pt x="54" y="234"/>
                </a:lnTo>
                <a:lnTo>
                  <a:pt x="54" y="234"/>
                </a:lnTo>
                <a:lnTo>
                  <a:pt x="54" y="228"/>
                </a:lnTo>
                <a:lnTo>
                  <a:pt x="56" y="224"/>
                </a:lnTo>
                <a:lnTo>
                  <a:pt x="56" y="224"/>
                </a:lnTo>
                <a:lnTo>
                  <a:pt x="58" y="224"/>
                </a:lnTo>
                <a:lnTo>
                  <a:pt x="58" y="224"/>
                </a:lnTo>
                <a:lnTo>
                  <a:pt x="58" y="210"/>
                </a:lnTo>
                <a:lnTo>
                  <a:pt x="58" y="210"/>
                </a:lnTo>
                <a:lnTo>
                  <a:pt x="56" y="204"/>
                </a:lnTo>
                <a:lnTo>
                  <a:pt x="54" y="200"/>
                </a:lnTo>
                <a:lnTo>
                  <a:pt x="54" y="196"/>
                </a:lnTo>
                <a:lnTo>
                  <a:pt x="54" y="196"/>
                </a:lnTo>
                <a:lnTo>
                  <a:pt x="58" y="188"/>
                </a:lnTo>
                <a:lnTo>
                  <a:pt x="58" y="188"/>
                </a:lnTo>
                <a:lnTo>
                  <a:pt x="58" y="182"/>
                </a:lnTo>
                <a:lnTo>
                  <a:pt x="58" y="178"/>
                </a:lnTo>
                <a:lnTo>
                  <a:pt x="58" y="178"/>
                </a:lnTo>
                <a:lnTo>
                  <a:pt x="60" y="178"/>
                </a:lnTo>
                <a:lnTo>
                  <a:pt x="60" y="178"/>
                </a:lnTo>
                <a:lnTo>
                  <a:pt x="60" y="172"/>
                </a:lnTo>
                <a:lnTo>
                  <a:pt x="60" y="168"/>
                </a:lnTo>
                <a:lnTo>
                  <a:pt x="64" y="166"/>
                </a:lnTo>
                <a:lnTo>
                  <a:pt x="64" y="166"/>
                </a:lnTo>
                <a:lnTo>
                  <a:pt x="64" y="162"/>
                </a:lnTo>
                <a:lnTo>
                  <a:pt x="64" y="162"/>
                </a:lnTo>
                <a:lnTo>
                  <a:pt x="64" y="158"/>
                </a:lnTo>
                <a:lnTo>
                  <a:pt x="64" y="158"/>
                </a:lnTo>
                <a:lnTo>
                  <a:pt x="64" y="150"/>
                </a:lnTo>
                <a:lnTo>
                  <a:pt x="64" y="150"/>
                </a:lnTo>
                <a:lnTo>
                  <a:pt x="66" y="150"/>
                </a:lnTo>
                <a:lnTo>
                  <a:pt x="66" y="150"/>
                </a:lnTo>
                <a:lnTo>
                  <a:pt x="64" y="148"/>
                </a:lnTo>
                <a:lnTo>
                  <a:pt x="64" y="148"/>
                </a:lnTo>
                <a:lnTo>
                  <a:pt x="68" y="138"/>
                </a:lnTo>
                <a:lnTo>
                  <a:pt x="68" y="138"/>
                </a:lnTo>
                <a:lnTo>
                  <a:pt x="66" y="134"/>
                </a:lnTo>
                <a:lnTo>
                  <a:pt x="66" y="132"/>
                </a:lnTo>
                <a:lnTo>
                  <a:pt x="66" y="132"/>
                </a:lnTo>
                <a:lnTo>
                  <a:pt x="64" y="124"/>
                </a:lnTo>
                <a:lnTo>
                  <a:pt x="66" y="118"/>
                </a:lnTo>
                <a:lnTo>
                  <a:pt x="68" y="108"/>
                </a:lnTo>
                <a:lnTo>
                  <a:pt x="68" y="108"/>
                </a:lnTo>
                <a:lnTo>
                  <a:pt x="68" y="106"/>
                </a:lnTo>
                <a:lnTo>
                  <a:pt x="70" y="106"/>
                </a:lnTo>
                <a:lnTo>
                  <a:pt x="70" y="106"/>
                </a:lnTo>
                <a:lnTo>
                  <a:pt x="70" y="102"/>
                </a:lnTo>
                <a:lnTo>
                  <a:pt x="70" y="102"/>
                </a:lnTo>
                <a:lnTo>
                  <a:pt x="66" y="100"/>
                </a:lnTo>
                <a:lnTo>
                  <a:pt x="66" y="98"/>
                </a:lnTo>
                <a:lnTo>
                  <a:pt x="66" y="94"/>
                </a:lnTo>
                <a:lnTo>
                  <a:pt x="70" y="94"/>
                </a:lnTo>
                <a:lnTo>
                  <a:pt x="70" y="94"/>
                </a:lnTo>
                <a:lnTo>
                  <a:pt x="70" y="82"/>
                </a:lnTo>
                <a:lnTo>
                  <a:pt x="70" y="70"/>
                </a:lnTo>
                <a:lnTo>
                  <a:pt x="72" y="70"/>
                </a:lnTo>
                <a:lnTo>
                  <a:pt x="72" y="70"/>
                </a:lnTo>
                <a:lnTo>
                  <a:pt x="72" y="64"/>
                </a:lnTo>
                <a:lnTo>
                  <a:pt x="74" y="64"/>
                </a:lnTo>
                <a:lnTo>
                  <a:pt x="74" y="64"/>
                </a:lnTo>
                <a:lnTo>
                  <a:pt x="74" y="60"/>
                </a:lnTo>
                <a:lnTo>
                  <a:pt x="72" y="58"/>
                </a:lnTo>
                <a:lnTo>
                  <a:pt x="72" y="58"/>
                </a:lnTo>
                <a:lnTo>
                  <a:pt x="74" y="50"/>
                </a:lnTo>
                <a:lnTo>
                  <a:pt x="74" y="44"/>
                </a:lnTo>
                <a:lnTo>
                  <a:pt x="74" y="44"/>
                </a:lnTo>
                <a:lnTo>
                  <a:pt x="74" y="30"/>
                </a:lnTo>
                <a:lnTo>
                  <a:pt x="72" y="18"/>
                </a:lnTo>
                <a:lnTo>
                  <a:pt x="72" y="18"/>
                </a:lnTo>
                <a:lnTo>
                  <a:pt x="72" y="10"/>
                </a:lnTo>
                <a:lnTo>
                  <a:pt x="72" y="10"/>
                </a:lnTo>
                <a:lnTo>
                  <a:pt x="70" y="8"/>
                </a:lnTo>
                <a:lnTo>
                  <a:pt x="70" y="8"/>
                </a:lnTo>
                <a:lnTo>
                  <a:pt x="72" y="8"/>
                </a:lnTo>
                <a:lnTo>
                  <a:pt x="74" y="4"/>
                </a:lnTo>
                <a:lnTo>
                  <a:pt x="74" y="4"/>
                </a:lnTo>
                <a:lnTo>
                  <a:pt x="76" y="0"/>
                </a:lnTo>
                <a:lnTo>
                  <a:pt x="78" y="0"/>
                </a:lnTo>
                <a:lnTo>
                  <a:pt x="78" y="0"/>
                </a:lnTo>
                <a:lnTo>
                  <a:pt x="80" y="6"/>
                </a:lnTo>
                <a:lnTo>
                  <a:pt x="82" y="12"/>
                </a:lnTo>
                <a:lnTo>
                  <a:pt x="84" y="14"/>
                </a:lnTo>
                <a:lnTo>
                  <a:pt x="84" y="14"/>
                </a:lnTo>
                <a:lnTo>
                  <a:pt x="88" y="20"/>
                </a:lnTo>
                <a:lnTo>
                  <a:pt x="90" y="22"/>
                </a:lnTo>
                <a:lnTo>
                  <a:pt x="90" y="22"/>
                </a:lnTo>
                <a:lnTo>
                  <a:pt x="94" y="36"/>
                </a:lnTo>
                <a:lnTo>
                  <a:pt x="94" y="36"/>
                </a:lnTo>
                <a:lnTo>
                  <a:pt x="94" y="42"/>
                </a:lnTo>
                <a:lnTo>
                  <a:pt x="98" y="48"/>
                </a:lnTo>
                <a:lnTo>
                  <a:pt x="98" y="48"/>
                </a:lnTo>
                <a:lnTo>
                  <a:pt x="98" y="52"/>
                </a:lnTo>
                <a:lnTo>
                  <a:pt x="98" y="56"/>
                </a:lnTo>
                <a:lnTo>
                  <a:pt x="98" y="62"/>
                </a:lnTo>
                <a:lnTo>
                  <a:pt x="100" y="74"/>
                </a:lnTo>
                <a:lnTo>
                  <a:pt x="108" y="78"/>
                </a:lnTo>
                <a:lnTo>
                  <a:pt x="108" y="78"/>
                </a:lnTo>
                <a:lnTo>
                  <a:pt x="108" y="82"/>
                </a:lnTo>
                <a:lnTo>
                  <a:pt x="108" y="86"/>
                </a:lnTo>
                <a:lnTo>
                  <a:pt x="110" y="88"/>
                </a:lnTo>
                <a:lnTo>
                  <a:pt x="110" y="88"/>
                </a:lnTo>
                <a:lnTo>
                  <a:pt x="114" y="92"/>
                </a:lnTo>
                <a:lnTo>
                  <a:pt x="114" y="94"/>
                </a:lnTo>
                <a:lnTo>
                  <a:pt x="112" y="102"/>
                </a:lnTo>
                <a:lnTo>
                  <a:pt x="112" y="10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1" name="Freeform 245">
            <a:extLst>
              <a:ext uri="{FF2B5EF4-FFF2-40B4-BE49-F238E27FC236}">
                <a16:creationId xmlns:a16="http://schemas.microsoft.com/office/drawing/2014/main" id="{56875498-A0F5-4D36-A475-1048EC1C218E}"/>
              </a:ext>
            </a:extLst>
          </p:cNvPr>
          <p:cNvSpPr>
            <a:spLocks/>
          </p:cNvSpPr>
          <p:nvPr userDrawn="1"/>
        </p:nvSpPr>
        <p:spPr bwMode="auto">
          <a:xfrm>
            <a:off x="4641758" y="3728695"/>
            <a:ext cx="12383" cy="13728"/>
          </a:xfrm>
          <a:custGeom>
            <a:avLst/>
            <a:gdLst>
              <a:gd name="T0" fmla="*/ 6 w 8"/>
              <a:gd name="T1" fmla="*/ 0 h 8"/>
              <a:gd name="T2" fmla="*/ 6 w 8"/>
              <a:gd name="T3" fmla="*/ 0 h 8"/>
              <a:gd name="T4" fmla="*/ 8 w 8"/>
              <a:gd name="T5" fmla="*/ 0 h 8"/>
              <a:gd name="T6" fmla="*/ 8 w 8"/>
              <a:gd name="T7" fmla="*/ 2 h 8"/>
              <a:gd name="T8" fmla="*/ 8 w 8"/>
              <a:gd name="T9" fmla="*/ 2 h 8"/>
              <a:gd name="T10" fmla="*/ 2 w 8"/>
              <a:gd name="T11" fmla="*/ 4 h 8"/>
              <a:gd name="T12" fmla="*/ 2 w 8"/>
              <a:gd name="T13" fmla="*/ 4 h 8"/>
              <a:gd name="T14" fmla="*/ 2 w 8"/>
              <a:gd name="T15" fmla="*/ 6 h 8"/>
              <a:gd name="T16" fmla="*/ 0 w 8"/>
              <a:gd name="T17" fmla="*/ 8 h 8"/>
              <a:gd name="T18" fmla="*/ 0 w 8"/>
              <a:gd name="T19" fmla="*/ 8 h 8"/>
              <a:gd name="T20" fmla="*/ 0 w 8"/>
              <a:gd name="T21" fmla="*/ 8 h 8"/>
              <a:gd name="T22" fmla="*/ 0 w 8"/>
              <a:gd name="T23" fmla="*/ 6 h 8"/>
              <a:gd name="T24" fmla="*/ 2 w 8"/>
              <a:gd name="T25" fmla="*/ 4 h 8"/>
              <a:gd name="T26" fmla="*/ 6 w 8"/>
              <a:gd name="T27" fmla="*/ 0 h 8"/>
              <a:gd name="T28" fmla="*/ 6 w 8"/>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8">
                <a:moveTo>
                  <a:pt x="6" y="0"/>
                </a:moveTo>
                <a:lnTo>
                  <a:pt x="6" y="0"/>
                </a:lnTo>
                <a:lnTo>
                  <a:pt x="8" y="0"/>
                </a:lnTo>
                <a:lnTo>
                  <a:pt x="8" y="2"/>
                </a:lnTo>
                <a:lnTo>
                  <a:pt x="8" y="2"/>
                </a:lnTo>
                <a:lnTo>
                  <a:pt x="2" y="4"/>
                </a:lnTo>
                <a:lnTo>
                  <a:pt x="2" y="4"/>
                </a:lnTo>
                <a:lnTo>
                  <a:pt x="2" y="6"/>
                </a:lnTo>
                <a:lnTo>
                  <a:pt x="0" y="8"/>
                </a:lnTo>
                <a:lnTo>
                  <a:pt x="0" y="8"/>
                </a:lnTo>
                <a:lnTo>
                  <a:pt x="0" y="8"/>
                </a:lnTo>
                <a:lnTo>
                  <a:pt x="0" y="6"/>
                </a:lnTo>
                <a:lnTo>
                  <a:pt x="2" y="4"/>
                </a:lnTo>
                <a:lnTo>
                  <a:pt x="6" y="0"/>
                </a:lnTo>
                <a:lnTo>
                  <a:pt x="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2" name="Freeform 246">
            <a:extLst>
              <a:ext uri="{FF2B5EF4-FFF2-40B4-BE49-F238E27FC236}">
                <a16:creationId xmlns:a16="http://schemas.microsoft.com/office/drawing/2014/main" id="{389F7DF0-F8BF-46BA-B509-BC6892809A32}"/>
              </a:ext>
            </a:extLst>
          </p:cNvPr>
          <p:cNvSpPr>
            <a:spLocks/>
          </p:cNvSpPr>
          <p:nvPr userDrawn="1"/>
        </p:nvSpPr>
        <p:spPr bwMode="auto">
          <a:xfrm>
            <a:off x="4714509" y="3725262"/>
            <a:ext cx="1548" cy="3432"/>
          </a:xfrm>
          <a:custGeom>
            <a:avLst/>
            <a:gdLst>
              <a:gd name="T0" fmla="*/ 0 h 2"/>
              <a:gd name="T1" fmla="*/ 0 h 2"/>
              <a:gd name="T2" fmla="*/ 2 h 2"/>
              <a:gd name="T3" fmla="*/ 2 h 2"/>
              <a:gd name="T4" fmla="*/ 2 h 2"/>
              <a:gd name="T5" fmla="*/ 2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2"/>
                </a:lnTo>
                <a:lnTo>
                  <a:pt x="0" y="2"/>
                </a:lnTo>
                <a:lnTo>
                  <a:pt x="0" y="2"/>
                </a:lnTo>
                <a:lnTo>
                  <a:pt x="0" y="2"/>
                </a:lnTo>
                <a:lnTo>
                  <a:pt x="0" y="0"/>
                </a:lnTo>
                <a:lnTo>
                  <a:pt x="0"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3" name="Freeform 247">
            <a:extLst>
              <a:ext uri="{FF2B5EF4-FFF2-40B4-BE49-F238E27FC236}">
                <a16:creationId xmlns:a16="http://schemas.microsoft.com/office/drawing/2014/main" id="{C54E0F33-F100-4FEA-A8C8-907B80B38463}"/>
              </a:ext>
            </a:extLst>
          </p:cNvPr>
          <p:cNvSpPr>
            <a:spLocks/>
          </p:cNvSpPr>
          <p:nvPr userDrawn="1"/>
        </p:nvSpPr>
        <p:spPr bwMode="auto">
          <a:xfrm>
            <a:off x="4596869" y="3745855"/>
            <a:ext cx="40245" cy="6864"/>
          </a:xfrm>
          <a:custGeom>
            <a:avLst/>
            <a:gdLst>
              <a:gd name="T0" fmla="*/ 24 w 24"/>
              <a:gd name="T1" fmla="*/ 0 h 4"/>
              <a:gd name="T2" fmla="*/ 24 w 24"/>
              <a:gd name="T3" fmla="*/ 4 h 4"/>
              <a:gd name="T4" fmla="*/ 24 w 24"/>
              <a:gd name="T5" fmla="*/ 4 h 4"/>
              <a:gd name="T6" fmla="*/ 12 w 24"/>
              <a:gd name="T7" fmla="*/ 2 h 4"/>
              <a:gd name="T8" fmla="*/ 0 w 24"/>
              <a:gd name="T9" fmla="*/ 4 h 4"/>
              <a:gd name="T10" fmla="*/ 2 w 24"/>
              <a:gd name="T11" fmla="*/ 0 h 4"/>
              <a:gd name="T12" fmla="*/ 2 w 24"/>
              <a:gd name="T13" fmla="*/ 0 h 4"/>
              <a:gd name="T14" fmla="*/ 12 w 24"/>
              <a:gd name="T15" fmla="*/ 2 h 4"/>
              <a:gd name="T16" fmla="*/ 18 w 24"/>
              <a:gd name="T17" fmla="*/ 2 h 4"/>
              <a:gd name="T18" fmla="*/ 22 w 24"/>
              <a:gd name="T19" fmla="*/ 2 h 4"/>
              <a:gd name="T20" fmla="*/ 22 w 24"/>
              <a:gd name="T21" fmla="*/ 2 h 4"/>
              <a:gd name="T22" fmla="*/ 24 w 24"/>
              <a:gd name="T23" fmla="*/ 0 h 4"/>
              <a:gd name="T24" fmla="*/ 24 w 2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
                <a:moveTo>
                  <a:pt x="24" y="0"/>
                </a:moveTo>
                <a:lnTo>
                  <a:pt x="24" y="4"/>
                </a:lnTo>
                <a:lnTo>
                  <a:pt x="24" y="4"/>
                </a:lnTo>
                <a:lnTo>
                  <a:pt x="12" y="2"/>
                </a:lnTo>
                <a:lnTo>
                  <a:pt x="0" y="4"/>
                </a:lnTo>
                <a:lnTo>
                  <a:pt x="2" y="0"/>
                </a:lnTo>
                <a:lnTo>
                  <a:pt x="2" y="0"/>
                </a:lnTo>
                <a:lnTo>
                  <a:pt x="12" y="2"/>
                </a:lnTo>
                <a:lnTo>
                  <a:pt x="18" y="2"/>
                </a:lnTo>
                <a:lnTo>
                  <a:pt x="22" y="2"/>
                </a:lnTo>
                <a:lnTo>
                  <a:pt x="22" y="2"/>
                </a:lnTo>
                <a:lnTo>
                  <a:pt x="24" y="0"/>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4" name="Freeform 248">
            <a:extLst>
              <a:ext uri="{FF2B5EF4-FFF2-40B4-BE49-F238E27FC236}">
                <a16:creationId xmlns:a16="http://schemas.microsoft.com/office/drawing/2014/main" id="{C1610562-55B3-430D-AEAC-BBAE98AFD71D}"/>
              </a:ext>
            </a:extLst>
          </p:cNvPr>
          <p:cNvSpPr>
            <a:spLocks/>
          </p:cNvSpPr>
          <p:nvPr userDrawn="1"/>
        </p:nvSpPr>
        <p:spPr bwMode="auto">
          <a:xfrm>
            <a:off x="4178938" y="3543368"/>
            <a:ext cx="897776" cy="1125687"/>
          </a:xfrm>
          <a:custGeom>
            <a:avLst/>
            <a:gdLst>
              <a:gd name="T0" fmla="*/ 386 w 536"/>
              <a:gd name="T1" fmla="*/ 490 h 656"/>
              <a:gd name="T2" fmla="*/ 406 w 536"/>
              <a:gd name="T3" fmla="*/ 478 h 656"/>
              <a:gd name="T4" fmla="*/ 436 w 536"/>
              <a:gd name="T5" fmla="*/ 470 h 656"/>
              <a:gd name="T6" fmla="*/ 442 w 536"/>
              <a:gd name="T7" fmla="*/ 444 h 656"/>
              <a:gd name="T8" fmla="*/ 460 w 536"/>
              <a:gd name="T9" fmla="*/ 414 h 656"/>
              <a:gd name="T10" fmla="*/ 476 w 536"/>
              <a:gd name="T11" fmla="*/ 360 h 656"/>
              <a:gd name="T12" fmla="*/ 476 w 536"/>
              <a:gd name="T13" fmla="*/ 304 h 656"/>
              <a:gd name="T14" fmla="*/ 496 w 536"/>
              <a:gd name="T15" fmla="*/ 286 h 656"/>
              <a:gd name="T16" fmla="*/ 526 w 536"/>
              <a:gd name="T17" fmla="*/ 246 h 656"/>
              <a:gd name="T18" fmla="*/ 534 w 536"/>
              <a:gd name="T19" fmla="*/ 202 h 656"/>
              <a:gd name="T20" fmla="*/ 514 w 536"/>
              <a:gd name="T21" fmla="*/ 168 h 656"/>
              <a:gd name="T22" fmla="*/ 498 w 536"/>
              <a:gd name="T23" fmla="*/ 162 h 656"/>
              <a:gd name="T24" fmla="*/ 450 w 536"/>
              <a:gd name="T25" fmla="*/ 134 h 656"/>
              <a:gd name="T26" fmla="*/ 408 w 536"/>
              <a:gd name="T27" fmla="*/ 134 h 656"/>
              <a:gd name="T28" fmla="*/ 400 w 536"/>
              <a:gd name="T29" fmla="*/ 116 h 656"/>
              <a:gd name="T30" fmla="*/ 384 w 536"/>
              <a:gd name="T31" fmla="*/ 104 h 656"/>
              <a:gd name="T32" fmla="*/ 354 w 536"/>
              <a:gd name="T33" fmla="*/ 106 h 656"/>
              <a:gd name="T34" fmla="*/ 332 w 536"/>
              <a:gd name="T35" fmla="*/ 110 h 656"/>
              <a:gd name="T36" fmla="*/ 350 w 536"/>
              <a:gd name="T37" fmla="*/ 96 h 656"/>
              <a:gd name="T38" fmla="*/ 336 w 536"/>
              <a:gd name="T39" fmla="*/ 80 h 656"/>
              <a:gd name="T40" fmla="*/ 318 w 536"/>
              <a:gd name="T41" fmla="*/ 104 h 656"/>
              <a:gd name="T42" fmla="*/ 306 w 536"/>
              <a:gd name="T43" fmla="*/ 106 h 656"/>
              <a:gd name="T44" fmla="*/ 304 w 536"/>
              <a:gd name="T45" fmla="*/ 102 h 656"/>
              <a:gd name="T46" fmla="*/ 320 w 536"/>
              <a:gd name="T47" fmla="*/ 74 h 656"/>
              <a:gd name="T48" fmla="*/ 332 w 536"/>
              <a:gd name="T49" fmla="*/ 64 h 656"/>
              <a:gd name="T50" fmla="*/ 330 w 536"/>
              <a:gd name="T51" fmla="*/ 50 h 656"/>
              <a:gd name="T52" fmla="*/ 312 w 536"/>
              <a:gd name="T53" fmla="*/ 12 h 656"/>
              <a:gd name="T54" fmla="*/ 270 w 536"/>
              <a:gd name="T55" fmla="*/ 56 h 656"/>
              <a:gd name="T56" fmla="*/ 222 w 536"/>
              <a:gd name="T57" fmla="*/ 58 h 656"/>
              <a:gd name="T58" fmla="*/ 202 w 536"/>
              <a:gd name="T59" fmla="*/ 70 h 656"/>
              <a:gd name="T60" fmla="*/ 198 w 536"/>
              <a:gd name="T61" fmla="*/ 26 h 656"/>
              <a:gd name="T62" fmla="*/ 192 w 536"/>
              <a:gd name="T63" fmla="*/ 2 h 656"/>
              <a:gd name="T64" fmla="*/ 164 w 536"/>
              <a:gd name="T65" fmla="*/ 20 h 656"/>
              <a:gd name="T66" fmla="*/ 136 w 536"/>
              <a:gd name="T67" fmla="*/ 20 h 656"/>
              <a:gd name="T68" fmla="*/ 130 w 536"/>
              <a:gd name="T69" fmla="*/ 46 h 656"/>
              <a:gd name="T70" fmla="*/ 142 w 536"/>
              <a:gd name="T71" fmla="*/ 56 h 656"/>
              <a:gd name="T72" fmla="*/ 106 w 536"/>
              <a:gd name="T73" fmla="*/ 72 h 656"/>
              <a:gd name="T74" fmla="*/ 68 w 536"/>
              <a:gd name="T75" fmla="*/ 82 h 656"/>
              <a:gd name="T76" fmla="*/ 48 w 536"/>
              <a:gd name="T77" fmla="*/ 158 h 656"/>
              <a:gd name="T78" fmla="*/ 6 w 536"/>
              <a:gd name="T79" fmla="*/ 194 h 656"/>
              <a:gd name="T80" fmla="*/ 4 w 536"/>
              <a:gd name="T81" fmla="*/ 224 h 656"/>
              <a:gd name="T82" fmla="*/ 46 w 536"/>
              <a:gd name="T83" fmla="*/ 240 h 656"/>
              <a:gd name="T84" fmla="*/ 74 w 536"/>
              <a:gd name="T85" fmla="*/ 284 h 656"/>
              <a:gd name="T86" fmla="*/ 116 w 536"/>
              <a:gd name="T87" fmla="*/ 274 h 656"/>
              <a:gd name="T88" fmla="*/ 148 w 536"/>
              <a:gd name="T89" fmla="*/ 296 h 656"/>
              <a:gd name="T90" fmla="*/ 186 w 536"/>
              <a:gd name="T91" fmla="*/ 316 h 656"/>
              <a:gd name="T92" fmla="*/ 210 w 536"/>
              <a:gd name="T93" fmla="*/ 364 h 656"/>
              <a:gd name="T94" fmla="*/ 218 w 536"/>
              <a:gd name="T95" fmla="*/ 416 h 656"/>
              <a:gd name="T96" fmla="*/ 246 w 536"/>
              <a:gd name="T97" fmla="*/ 452 h 656"/>
              <a:gd name="T98" fmla="*/ 260 w 536"/>
              <a:gd name="T99" fmla="*/ 486 h 656"/>
              <a:gd name="T100" fmla="*/ 270 w 536"/>
              <a:gd name="T101" fmla="*/ 514 h 656"/>
              <a:gd name="T102" fmla="*/ 260 w 536"/>
              <a:gd name="T103" fmla="*/ 550 h 656"/>
              <a:gd name="T104" fmla="*/ 234 w 536"/>
              <a:gd name="T105" fmla="*/ 584 h 656"/>
              <a:gd name="T106" fmla="*/ 262 w 536"/>
              <a:gd name="T107" fmla="*/ 620 h 656"/>
              <a:gd name="T108" fmla="*/ 288 w 536"/>
              <a:gd name="T109" fmla="*/ 650 h 656"/>
              <a:gd name="T110" fmla="*/ 306 w 536"/>
              <a:gd name="T111" fmla="*/ 614 h 656"/>
              <a:gd name="T112" fmla="*/ 314 w 536"/>
              <a:gd name="T113" fmla="*/ 620 h 656"/>
              <a:gd name="T114" fmla="*/ 340 w 536"/>
              <a:gd name="T115" fmla="*/ 576 h 656"/>
              <a:gd name="T116" fmla="*/ 342 w 536"/>
              <a:gd name="T117" fmla="*/ 542 h 656"/>
              <a:gd name="T118" fmla="*/ 342 w 536"/>
              <a:gd name="T119" fmla="*/ 51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56">
                <a:moveTo>
                  <a:pt x="342" y="516"/>
                </a:moveTo>
                <a:lnTo>
                  <a:pt x="342" y="516"/>
                </a:lnTo>
                <a:lnTo>
                  <a:pt x="350" y="512"/>
                </a:lnTo>
                <a:lnTo>
                  <a:pt x="356" y="508"/>
                </a:lnTo>
                <a:lnTo>
                  <a:pt x="356" y="508"/>
                </a:lnTo>
                <a:lnTo>
                  <a:pt x="360" y="504"/>
                </a:lnTo>
                <a:lnTo>
                  <a:pt x="360" y="504"/>
                </a:lnTo>
                <a:lnTo>
                  <a:pt x="366" y="502"/>
                </a:lnTo>
                <a:lnTo>
                  <a:pt x="372" y="500"/>
                </a:lnTo>
                <a:lnTo>
                  <a:pt x="372" y="500"/>
                </a:lnTo>
                <a:lnTo>
                  <a:pt x="374" y="496"/>
                </a:lnTo>
                <a:lnTo>
                  <a:pt x="374" y="492"/>
                </a:lnTo>
                <a:lnTo>
                  <a:pt x="374" y="492"/>
                </a:lnTo>
                <a:lnTo>
                  <a:pt x="380" y="490"/>
                </a:lnTo>
                <a:lnTo>
                  <a:pt x="386" y="490"/>
                </a:lnTo>
                <a:lnTo>
                  <a:pt x="386" y="490"/>
                </a:lnTo>
                <a:lnTo>
                  <a:pt x="388" y="488"/>
                </a:lnTo>
                <a:lnTo>
                  <a:pt x="388" y="488"/>
                </a:lnTo>
                <a:lnTo>
                  <a:pt x="392" y="486"/>
                </a:lnTo>
                <a:lnTo>
                  <a:pt x="398" y="486"/>
                </a:lnTo>
                <a:lnTo>
                  <a:pt x="398" y="486"/>
                </a:lnTo>
                <a:lnTo>
                  <a:pt x="396" y="480"/>
                </a:lnTo>
                <a:lnTo>
                  <a:pt x="396" y="480"/>
                </a:lnTo>
                <a:lnTo>
                  <a:pt x="398" y="480"/>
                </a:lnTo>
                <a:lnTo>
                  <a:pt x="398" y="480"/>
                </a:lnTo>
                <a:lnTo>
                  <a:pt x="402" y="476"/>
                </a:lnTo>
                <a:lnTo>
                  <a:pt x="402" y="476"/>
                </a:lnTo>
                <a:lnTo>
                  <a:pt x="404" y="478"/>
                </a:lnTo>
                <a:lnTo>
                  <a:pt x="406" y="478"/>
                </a:lnTo>
                <a:lnTo>
                  <a:pt x="406" y="478"/>
                </a:lnTo>
                <a:lnTo>
                  <a:pt x="410" y="474"/>
                </a:lnTo>
                <a:lnTo>
                  <a:pt x="410" y="474"/>
                </a:lnTo>
                <a:lnTo>
                  <a:pt x="414" y="474"/>
                </a:lnTo>
                <a:lnTo>
                  <a:pt x="420" y="474"/>
                </a:lnTo>
                <a:lnTo>
                  <a:pt x="420" y="474"/>
                </a:lnTo>
                <a:lnTo>
                  <a:pt x="420" y="470"/>
                </a:lnTo>
                <a:lnTo>
                  <a:pt x="420" y="470"/>
                </a:lnTo>
                <a:lnTo>
                  <a:pt x="422" y="470"/>
                </a:lnTo>
                <a:lnTo>
                  <a:pt x="422" y="472"/>
                </a:lnTo>
                <a:lnTo>
                  <a:pt x="422" y="472"/>
                </a:lnTo>
                <a:lnTo>
                  <a:pt x="424" y="474"/>
                </a:lnTo>
                <a:lnTo>
                  <a:pt x="424" y="474"/>
                </a:lnTo>
                <a:lnTo>
                  <a:pt x="432" y="474"/>
                </a:lnTo>
                <a:lnTo>
                  <a:pt x="432" y="474"/>
                </a:lnTo>
                <a:lnTo>
                  <a:pt x="436" y="470"/>
                </a:lnTo>
                <a:lnTo>
                  <a:pt x="436" y="470"/>
                </a:lnTo>
                <a:lnTo>
                  <a:pt x="436" y="464"/>
                </a:lnTo>
                <a:lnTo>
                  <a:pt x="442" y="460"/>
                </a:lnTo>
                <a:lnTo>
                  <a:pt x="442" y="460"/>
                </a:lnTo>
                <a:lnTo>
                  <a:pt x="442" y="458"/>
                </a:lnTo>
                <a:lnTo>
                  <a:pt x="444" y="456"/>
                </a:lnTo>
                <a:lnTo>
                  <a:pt x="442" y="456"/>
                </a:lnTo>
                <a:lnTo>
                  <a:pt x="442" y="456"/>
                </a:lnTo>
                <a:lnTo>
                  <a:pt x="442" y="448"/>
                </a:lnTo>
                <a:lnTo>
                  <a:pt x="442" y="448"/>
                </a:lnTo>
                <a:lnTo>
                  <a:pt x="440" y="448"/>
                </a:lnTo>
                <a:lnTo>
                  <a:pt x="442" y="448"/>
                </a:lnTo>
                <a:lnTo>
                  <a:pt x="442" y="448"/>
                </a:lnTo>
                <a:lnTo>
                  <a:pt x="442" y="444"/>
                </a:lnTo>
                <a:lnTo>
                  <a:pt x="442" y="444"/>
                </a:lnTo>
                <a:lnTo>
                  <a:pt x="446" y="442"/>
                </a:lnTo>
                <a:lnTo>
                  <a:pt x="446" y="442"/>
                </a:lnTo>
                <a:lnTo>
                  <a:pt x="446" y="438"/>
                </a:lnTo>
                <a:lnTo>
                  <a:pt x="446" y="434"/>
                </a:lnTo>
                <a:lnTo>
                  <a:pt x="446" y="434"/>
                </a:lnTo>
                <a:lnTo>
                  <a:pt x="450" y="430"/>
                </a:lnTo>
                <a:lnTo>
                  <a:pt x="454" y="426"/>
                </a:lnTo>
                <a:lnTo>
                  <a:pt x="454" y="426"/>
                </a:lnTo>
                <a:lnTo>
                  <a:pt x="454" y="422"/>
                </a:lnTo>
                <a:lnTo>
                  <a:pt x="454" y="422"/>
                </a:lnTo>
                <a:lnTo>
                  <a:pt x="456" y="420"/>
                </a:lnTo>
                <a:lnTo>
                  <a:pt x="456" y="420"/>
                </a:lnTo>
                <a:lnTo>
                  <a:pt x="456" y="418"/>
                </a:lnTo>
                <a:lnTo>
                  <a:pt x="456" y="418"/>
                </a:lnTo>
                <a:lnTo>
                  <a:pt x="460" y="414"/>
                </a:lnTo>
                <a:lnTo>
                  <a:pt x="466" y="410"/>
                </a:lnTo>
                <a:lnTo>
                  <a:pt x="466" y="410"/>
                </a:lnTo>
                <a:lnTo>
                  <a:pt x="466" y="402"/>
                </a:lnTo>
                <a:lnTo>
                  <a:pt x="466" y="392"/>
                </a:lnTo>
                <a:lnTo>
                  <a:pt x="466" y="392"/>
                </a:lnTo>
                <a:lnTo>
                  <a:pt x="470" y="388"/>
                </a:lnTo>
                <a:lnTo>
                  <a:pt x="474" y="384"/>
                </a:lnTo>
                <a:lnTo>
                  <a:pt x="474" y="384"/>
                </a:lnTo>
                <a:lnTo>
                  <a:pt x="472" y="376"/>
                </a:lnTo>
                <a:lnTo>
                  <a:pt x="470" y="370"/>
                </a:lnTo>
                <a:lnTo>
                  <a:pt x="472" y="366"/>
                </a:lnTo>
                <a:lnTo>
                  <a:pt x="472" y="366"/>
                </a:lnTo>
                <a:lnTo>
                  <a:pt x="476" y="364"/>
                </a:lnTo>
                <a:lnTo>
                  <a:pt x="476" y="364"/>
                </a:lnTo>
                <a:lnTo>
                  <a:pt x="476" y="360"/>
                </a:lnTo>
                <a:lnTo>
                  <a:pt x="476" y="354"/>
                </a:lnTo>
                <a:lnTo>
                  <a:pt x="476" y="354"/>
                </a:lnTo>
                <a:lnTo>
                  <a:pt x="476" y="350"/>
                </a:lnTo>
                <a:lnTo>
                  <a:pt x="478" y="346"/>
                </a:lnTo>
                <a:lnTo>
                  <a:pt x="476" y="340"/>
                </a:lnTo>
                <a:lnTo>
                  <a:pt x="476" y="340"/>
                </a:lnTo>
                <a:lnTo>
                  <a:pt x="474" y="328"/>
                </a:lnTo>
                <a:lnTo>
                  <a:pt x="476" y="318"/>
                </a:lnTo>
                <a:lnTo>
                  <a:pt x="476" y="318"/>
                </a:lnTo>
                <a:lnTo>
                  <a:pt x="472" y="316"/>
                </a:lnTo>
                <a:lnTo>
                  <a:pt x="472" y="316"/>
                </a:lnTo>
                <a:lnTo>
                  <a:pt x="476" y="312"/>
                </a:lnTo>
                <a:lnTo>
                  <a:pt x="476" y="312"/>
                </a:lnTo>
                <a:lnTo>
                  <a:pt x="476" y="308"/>
                </a:lnTo>
                <a:lnTo>
                  <a:pt x="476" y="304"/>
                </a:lnTo>
                <a:lnTo>
                  <a:pt x="476" y="304"/>
                </a:lnTo>
                <a:lnTo>
                  <a:pt x="478" y="302"/>
                </a:lnTo>
                <a:lnTo>
                  <a:pt x="480" y="300"/>
                </a:lnTo>
                <a:lnTo>
                  <a:pt x="480" y="300"/>
                </a:lnTo>
                <a:lnTo>
                  <a:pt x="480" y="292"/>
                </a:lnTo>
                <a:lnTo>
                  <a:pt x="480" y="292"/>
                </a:lnTo>
                <a:lnTo>
                  <a:pt x="486" y="294"/>
                </a:lnTo>
                <a:lnTo>
                  <a:pt x="488" y="298"/>
                </a:lnTo>
                <a:lnTo>
                  <a:pt x="488" y="298"/>
                </a:lnTo>
                <a:lnTo>
                  <a:pt x="492" y="292"/>
                </a:lnTo>
                <a:lnTo>
                  <a:pt x="492" y="292"/>
                </a:lnTo>
                <a:lnTo>
                  <a:pt x="492" y="288"/>
                </a:lnTo>
                <a:lnTo>
                  <a:pt x="492" y="288"/>
                </a:lnTo>
                <a:lnTo>
                  <a:pt x="496" y="286"/>
                </a:lnTo>
                <a:lnTo>
                  <a:pt x="496" y="286"/>
                </a:lnTo>
                <a:lnTo>
                  <a:pt x="496" y="282"/>
                </a:lnTo>
                <a:lnTo>
                  <a:pt x="498" y="278"/>
                </a:lnTo>
                <a:lnTo>
                  <a:pt x="498" y="278"/>
                </a:lnTo>
                <a:lnTo>
                  <a:pt x="500" y="274"/>
                </a:lnTo>
                <a:lnTo>
                  <a:pt x="502" y="270"/>
                </a:lnTo>
                <a:lnTo>
                  <a:pt x="502" y="270"/>
                </a:lnTo>
                <a:lnTo>
                  <a:pt x="504" y="264"/>
                </a:lnTo>
                <a:lnTo>
                  <a:pt x="504" y="264"/>
                </a:lnTo>
                <a:lnTo>
                  <a:pt x="514" y="254"/>
                </a:lnTo>
                <a:lnTo>
                  <a:pt x="514" y="254"/>
                </a:lnTo>
                <a:lnTo>
                  <a:pt x="518" y="254"/>
                </a:lnTo>
                <a:lnTo>
                  <a:pt x="518" y="254"/>
                </a:lnTo>
                <a:lnTo>
                  <a:pt x="520" y="250"/>
                </a:lnTo>
                <a:lnTo>
                  <a:pt x="520" y="250"/>
                </a:lnTo>
                <a:lnTo>
                  <a:pt x="526" y="246"/>
                </a:lnTo>
                <a:lnTo>
                  <a:pt x="526" y="246"/>
                </a:lnTo>
                <a:lnTo>
                  <a:pt x="526" y="242"/>
                </a:lnTo>
                <a:lnTo>
                  <a:pt x="526" y="242"/>
                </a:lnTo>
                <a:lnTo>
                  <a:pt x="528" y="240"/>
                </a:lnTo>
                <a:lnTo>
                  <a:pt x="528" y="240"/>
                </a:lnTo>
                <a:lnTo>
                  <a:pt x="534" y="226"/>
                </a:lnTo>
                <a:lnTo>
                  <a:pt x="536" y="224"/>
                </a:lnTo>
                <a:lnTo>
                  <a:pt x="536" y="224"/>
                </a:lnTo>
                <a:lnTo>
                  <a:pt x="536" y="218"/>
                </a:lnTo>
                <a:lnTo>
                  <a:pt x="536" y="214"/>
                </a:lnTo>
                <a:lnTo>
                  <a:pt x="536" y="214"/>
                </a:lnTo>
                <a:lnTo>
                  <a:pt x="536" y="210"/>
                </a:lnTo>
                <a:lnTo>
                  <a:pt x="536" y="204"/>
                </a:lnTo>
                <a:lnTo>
                  <a:pt x="534" y="202"/>
                </a:lnTo>
                <a:lnTo>
                  <a:pt x="534" y="202"/>
                </a:lnTo>
                <a:lnTo>
                  <a:pt x="534" y="198"/>
                </a:lnTo>
                <a:lnTo>
                  <a:pt x="534" y="192"/>
                </a:lnTo>
                <a:lnTo>
                  <a:pt x="534" y="192"/>
                </a:lnTo>
                <a:lnTo>
                  <a:pt x="532" y="188"/>
                </a:lnTo>
                <a:lnTo>
                  <a:pt x="528" y="186"/>
                </a:lnTo>
                <a:lnTo>
                  <a:pt x="528" y="186"/>
                </a:lnTo>
                <a:lnTo>
                  <a:pt x="528" y="182"/>
                </a:lnTo>
                <a:lnTo>
                  <a:pt x="528" y="182"/>
                </a:lnTo>
                <a:lnTo>
                  <a:pt x="526" y="182"/>
                </a:lnTo>
                <a:lnTo>
                  <a:pt x="526" y="182"/>
                </a:lnTo>
                <a:lnTo>
                  <a:pt x="524" y="172"/>
                </a:lnTo>
                <a:lnTo>
                  <a:pt x="522" y="170"/>
                </a:lnTo>
                <a:lnTo>
                  <a:pt x="518" y="168"/>
                </a:lnTo>
                <a:lnTo>
                  <a:pt x="518" y="168"/>
                </a:lnTo>
                <a:lnTo>
                  <a:pt x="514" y="168"/>
                </a:lnTo>
                <a:lnTo>
                  <a:pt x="512" y="170"/>
                </a:lnTo>
                <a:lnTo>
                  <a:pt x="512" y="170"/>
                </a:lnTo>
                <a:lnTo>
                  <a:pt x="512" y="166"/>
                </a:lnTo>
                <a:lnTo>
                  <a:pt x="512" y="166"/>
                </a:lnTo>
                <a:lnTo>
                  <a:pt x="510" y="164"/>
                </a:lnTo>
                <a:lnTo>
                  <a:pt x="510" y="164"/>
                </a:lnTo>
                <a:lnTo>
                  <a:pt x="506" y="164"/>
                </a:lnTo>
                <a:lnTo>
                  <a:pt x="504" y="164"/>
                </a:lnTo>
                <a:lnTo>
                  <a:pt x="502" y="168"/>
                </a:lnTo>
                <a:lnTo>
                  <a:pt x="502" y="168"/>
                </a:lnTo>
                <a:lnTo>
                  <a:pt x="502" y="166"/>
                </a:lnTo>
                <a:lnTo>
                  <a:pt x="502" y="164"/>
                </a:lnTo>
                <a:lnTo>
                  <a:pt x="502" y="164"/>
                </a:lnTo>
                <a:lnTo>
                  <a:pt x="498" y="162"/>
                </a:lnTo>
                <a:lnTo>
                  <a:pt x="498" y="162"/>
                </a:lnTo>
                <a:lnTo>
                  <a:pt x="498" y="160"/>
                </a:lnTo>
                <a:lnTo>
                  <a:pt x="492" y="152"/>
                </a:lnTo>
                <a:lnTo>
                  <a:pt x="492" y="152"/>
                </a:lnTo>
                <a:lnTo>
                  <a:pt x="490" y="152"/>
                </a:lnTo>
                <a:lnTo>
                  <a:pt x="490" y="152"/>
                </a:lnTo>
                <a:lnTo>
                  <a:pt x="482" y="146"/>
                </a:lnTo>
                <a:lnTo>
                  <a:pt x="476" y="140"/>
                </a:lnTo>
                <a:lnTo>
                  <a:pt x="476" y="140"/>
                </a:lnTo>
                <a:lnTo>
                  <a:pt x="468" y="138"/>
                </a:lnTo>
                <a:lnTo>
                  <a:pt x="468" y="138"/>
                </a:lnTo>
                <a:lnTo>
                  <a:pt x="464" y="134"/>
                </a:lnTo>
                <a:lnTo>
                  <a:pt x="464" y="134"/>
                </a:lnTo>
                <a:lnTo>
                  <a:pt x="456" y="134"/>
                </a:lnTo>
                <a:lnTo>
                  <a:pt x="450" y="134"/>
                </a:lnTo>
                <a:lnTo>
                  <a:pt x="450" y="134"/>
                </a:lnTo>
                <a:lnTo>
                  <a:pt x="440" y="130"/>
                </a:lnTo>
                <a:lnTo>
                  <a:pt x="436" y="130"/>
                </a:lnTo>
                <a:lnTo>
                  <a:pt x="432" y="132"/>
                </a:lnTo>
                <a:lnTo>
                  <a:pt x="432" y="132"/>
                </a:lnTo>
                <a:lnTo>
                  <a:pt x="430" y="128"/>
                </a:lnTo>
                <a:lnTo>
                  <a:pt x="426" y="124"/>
                </a:lnTo>
                <a:lnTo>
                  <a:pt x="426" y="124"/>
                </a:lnTo>
                <a:lnTo>
                  <a:pt x="422" y="124"/>
                </a:lnTo>
                <a:lnTo>
                  <a:pt x="420" y="126"/>
                </a:lnTo>
                <a:lnTo>
                  <a:pt x="420" y="126"/>
                </a:lnTo>
                <a:lnTo>
                  <a:pt x="416" y="124"/>
                </a:lnTo>
                <a:lnTo>
                  <a:pt x="416" y="124"/>
                </a:lnTo>
                <a:lnTo>
                  <a:pt x="414" y="130"/>
                </a:lnTo>
                <a:lnTo>
                  <a:pt x="412" y="132"/>
                </a:lnTo>
                <a:lnTo>
                  <a:pt x="408" y="134"/>
                </a:lnTo>
                <a:lnTo>
                  <a:pt x="408" y="134"/>
                </a:lnTo>
                <a:lnTo>
                  <a:pt x="406" y="132"/>
                </a:lnTo>
                <a:lnTo>
                  <a:pt x="406" y="130"/>
                </a:lnTo>
                <a:lnTo>
                  <a:pt x="408" y="126"/>
                </a:lnTo>
                <a:lnTo>
                  <a:pt x="408" y="126"/>
                </a:lnTo>
                <a:lnTo>
                  <a:pt x="404" y="124"/>
                </a:lnTo>
                <a:lnTo>
                  <a:pt x="404" y="124"/>
                </a:lnTo>
                <a:lnTo>
                  <a:pt x="406" y="122"/>
                </a:lnTo>
                <a:lnTo>
                  <a:pt x="406" y="122"/>
                </a:lnTo>
                <a:lnTo>
                  <a:pt x="404" y="118"/>
                </a:lnTo>
                <a:lnTo>
                  <a:pt x="404" y="116"/>
                </a:lnTo>
                <a:lnTo>
                  <a:pt x="404" y="116"/>
                </a:lnTo>
                <a:lnTo>
                  <a:pt x="402" y="116"/>
                </a:lnTo>
                <a:lnTo>
                  <a:pt x="402" y="116"/>
                </a:lnTo>
                <a:lnTo>
                  <a:pt x="400" y="116"/>
                </a:lnTo>
                <a:lnTo>
                  <a:pt x="400" y="116"/>
                </a:lnTo>
                <a:lnTo>
                  <a:pt x="400" y="114"/>
                </a:lnTo>
                <a:lnTo>
                  <a:pt x="402" y="112"/>
                </a:lnTo>
                <a:lnTo>
                  <a:pt x="402" y="112"/>
                </a:lnTo>
                <a:lnTo>
                  <a:pt x="400" y="110"/>
                </a:lnTo>
                <a:lnTo>
                  <a:pt x="400" y="108"/>
                </a:lnTo>
                <a:lnTo>
                  <a:pt x="400" y="108"/>
                </a:lnTo>
                <a:lnTo>
                  <a:pt x="394" y="108"/>
                </a:lnTo>
                <a:lnTo>
                  <a:pt x="394" y="108"/>
                </a:lnTo>
                <a:lnTo>
                  <a:pt x="390" y="112"/>
                </a:lnTo>
                <a:lnTo>
                  <a:pt x="390" y="112"/>
                </a:lnTo>
                <a:lnTo>
                  <a:pt x="392" y="106"/>
                </a:lnTo>
                <a:lnTo>
                  <a:pt x="392" y="106"/>
                </a:lnTo>
                <a:lnTo>
                  <a:pt x="384" y="104"/>
                </a:lnTo>
                <a:lnTo>
                  <a:pt x="384" y="104"/>
                </a:lnTo>
                <a:lnTo>
                  <a:pt x="384" y="100"/>
                </a:lnTo>
                <a:lnTo>
                  <a:pt x="384" y="100"/>
                </a:lnTo>
                <a:lnTo>
                  <a:pt x="382" y="100"/>
                </a:lnTo>
                <a:lnTo>
                  <a:pt x="380" y="102"/>
                </a:lnTo>
                <a:lnTo>
                  <a:pt x="380" y="102"/>
                </a:lnTo>
                <a:lnTo>
                  <a:pt x="376" y="98"/>
                </a:lnTo>
                <a:lnTo>
                  <a:pt x="374" y="96"/>
                </a:lnTo>
                <a:lnTo>
                  <a:pt x="370" y="94"/>
                </a:lnTo>
                <a:lnTo>
                  <a:pt x="370" y="94"/>
                </a:lnTo>
                <a:lnTo>
                  <a:pt x="364" y="94"/>
                </a:lnTo>
                <a:lnTo>
                  <a:pt x="358" y="96"/>
                </a:lnTo>
                <a:lnTo>
                  <a:pt x="350" y="102"/>
                </a:lnTo>
                <a:lnTo>
                  <a:pt x="350" y="102"/>
                </a:lnTo>
                <a:lnTo>
                  <a:pt x="354" y="106"/>
                </a:lnTo>
                <a:lnTo>
                  <a:pt x="354" y="106"/>
                </a:lnTo>
                <a:lnTo>
                  <a:pt x="348" y="106"/>
                </a:lnTo>
                <a:lnTo>
                  <a:pt x="344" y="112"/>
                </a:lnTo>
                <a:lnTo>
                  <a:pt x="344" y="112"/>
                </a:lnTo>
                <a:lnTo>
                  <a:pt x="344" y="114"/>
                </a:lnTo>
                <a:lnTo>
                  <a:pt x="342" y="114"/>
                </a:lnTo>
                <a:lnTo>
                  <a:pt x="340" y="114"/>
                </a:lnTo>
                <a:lnTo>
                  <a:pt x="342" y="112"/>
                </a:lnTo>
                <a:lnTo>
                  <a:pt x="342" y="112"/>
                </a:lnTo>
                <a:lnTo>
                  <a:pt x="334" y="114"/>
                </a:lnTo>
                <a:lnTo>
                  <a:pt x="324" y="114"/>
                </a:lnTo>
                <a:lnTo>
                  <a:pt x="324" y="114"/>
                </a:lnTo>
                <a:lnTo>
                  <a:pt x="320" y="108"/>
                </a:lnTo>
                <a:lnTo>
                  <a:pt x="320" y="108"/>
                </a:lnTo>
                <a:lnTo>
                  <a:pt x="326" y="112"/>
                </a:lnTo>
                <a:lnTo>
                  <a:pt x="332" y="110"/>
                </a:lnTo>
                <a:lnTo>
                  <a:pt x="332" y="110"/>
                </a:lnTo>
                <a:lnTo>
                  <a:pt x="340" y="112"/>
                </a:lnTo>
                <a:lnTo>
                  <a:pt x="340" y="112"/>
                </a:lnTo>
                <a:lnTo>
                  <a:pt x="340" y="110"/>
                </a:lnTo>
                <a:lnTo>
                  <a:pt x="340" y="110"/>
                </a:lnTo>
                <a:lnTo>
                  <a:pt x="344" y="108"/>
                </a:lnTo>
                <a:lnTo>
                  <a:pt x="344" y="106"/>
                </a:lnTo>
                <a:lnTo>
                  <a:pt x="344" y="106"/>
                </a:lnTo>
                <a:lnTo>
                  <a:pt x="348" y="106"/>
                </a:lnTo>
                <a:lnTo>
                  <a:pt x="348" y="106"/>
                </a:lnTo>
                <a:lnTo>
                  <a:pt x="348" y="104"/>
                </a:lnTo>
                <a:lnTo>
                  <a:pt x="348" y="100"/>
                </a:lnTo>
                <a:lnTo>
                  <a:pt x="350" y="100"/>
                </a:lnTo>
                <a:lnTo>
                  <a:pt x="350" y="100"/>
                </a:lnTo>
                <a:lnTo>
                  <a:pt x="350" y="96"/>
                </a:lnTo>
                <a:lnTo>
                  <a:pt x="350" y="92"/>
                </a:lnTo>
                <a:lnTo>
                  <a:pt x="350" y="92"/>
                </a:lnTo>
                <a:lnTo>
                  <a:pt x="350" y="90"/>
                </a:lnTo>
                <a:lnTo>
                  <a:pt x="350" y="88"/>
                </a:lnTo>
                <a:lnTo>
                  <a:pt x="350" y="86"/>
                </a:lnTo>
                <a:lnTo>
                  <a:pt x="350" y="84"/>
                </a:lnTo>
                <a:lnTo>
                  <a:pt x="350" y="84"/>
                </a:lnTo>
                <a:lnTo>
                  <a:pt x="340" y="84"/>
                </a:lnTo>
                <a:lnTo>
                  <a:pt x="340" y="84"/>
                </a:lnTo>
                <a:lnTo>
                  <a:pt x="340" y="84"/>
                </a:lnTo>
                <a:lnTo>
                  <a:pt x="342" y="82"/>
                </a:lnTo>
                <a:lnTo>
                  <a:pt x="340" y="80"/>
                </a:lnTo>
                <a:lnTo>
                  <a:pt x="340" y="78"/>
                </a:lnTo>
                <a:lnTo>
                  <a:pt x="340" y="78"/>
                </a:lnTo>
                <a:lnTo>
                  <a:pt x="336" y="80"/>
                </a:lnTo>
                <a:lnTo>
                  <a:pt x="332" y="82"/>
                </a:lnTo>
                <a:lnTo>
                  <a:pt x="330" y="86"/>
                </a:lnTo>
                <a:lnTo>
                  <a:pt x="330" y="86"/>
                </a:lnTo>
                <a:lnTo>
                  <a:pt x="326" y="86"/>
                </a:lnTo>
                <a:lnTo>
                  <a:pt x="324" y="88"/>
                </a:lnTo>
                <a:lnTo>
                  <a:pt x="324" y="88"/>
                </a:lnTo>
                <a:lnTo>
                  <a:pt x="322" y="94"/>
                </a:lnTo>
                <a:lnTo>
                  <a:pt x="322" y="94"/>
                </a:lnTo>
                <a:lnTo>
                  <a:pt x="320" y="94"/>
                </a:lnTo>
                <a:lnTo>
                  <a:pt x="318" y="96"/>
                </a:lnTo>
                <a:lnTo>
                  <a:pt x="318" y="96"/>
                </a:lnTo>
                <a:lnTo>
                  <a:pt x="318" y="102"/>
                </a:lnTo>
                <a:lnTo>
                  <a:pt x="320" y="106"/>
                </a:lnTo>
                <a:lnTo>
                  <a:pt x="318" y="104"/>
                </a:lnTo>
                <a:lnTo>
                  <a:pt x="318" y="104"/>
                </a:lnTo>
                <a:lnTo>
                  <a:pt x="316" y="100"/>
                </a:lnTo>
                <a:lnTo>
                  <a:pt x="316" y="100"/>
                </a:lnTo>
                <a:lnTo>
                  <a:pt x="312" y="104"/>
                </a:lnTo>
                <a:lnTo>
                  <a:pt x="312" y="104"/>
                </a:lnTo>
                <a:lnTo>
                  <a:pt x="308" y="104"/>
                </a:lnTo>
                <a:lnTo>
                  <a:pt x="308" y="104"/>
                </a:lnTo>
                <a:lnTo>
                  <a:pt x="308" y="110"/>
                </a:lnTo>
                <a:lnTo>
                  <a:pt x="308" y="116"/>
                </a:lnTo>
                <a:lnTo>
                  <a:pt x="308" y="116"/>
                </a:lnTo>
                <a:lnTo>
                  <a:pt x="306" y="122"/>
                </a:lnTo>
                <a:lnTo>
                  <a:pt x="306" y="122"/>
                </a:lnTo>
                <a:lnTo>
                  <a:pt x="306" y="116"/>
                </a:lnTo>
                <a:lnTo>
                  <a:pt x="306" y="116"/>
                </a:lnTo>
                <a:lnTo>
                  <a:pt x="306" y="110"/>
                </a:lnTo>
                <a:lnTo>
                  <a:pt x="306" y="106"/>
                </a:lnTo>
                <a:lnTo>
                  <a:pt x="306" y="106"/>
                </a:lnTo>
                <a:lnTo>
                  <a:pt x="306" y="102"/>
                </a:lnTo>
                <a:lnTo>
                  <a:pt x="306" y="102"/>
                </a:lnTo>
                <a:lnTo>
                  <a:pt x="300" y="102"/>
                </a:lnTo>
                <a:lnTo>
                  <a:pt x="300" y="102"/>
                </a:lnTo>
                <a:lnTo>
                  <a:pt x="296" y="106"/>
                </a:lnTo>
                <a:lnTo>
                  <a:pt x="292" y="108"/>
                </a:lnTo>
                <a:lnTo>
                  <a:pt x="292" y="108"/>
                </a:lnTo>
                <a:lnTo>
                  <a:pt x="284" y="108"/>
                </a:lnTo>
                <a:lnTo>
                  <a:pt x="284" y="108"/>
                </a:lnTo>
                <a:lnTo>
                  <a:pt x="292" y="104"/>
                </a:lnTo>
                <a:lnTo>
                  <a:pt x="300" y="102"/>
                </a:lnTo>
                <a:lnTo>
                  <a:pt x="300" y="102"/>
                </a:lnTo>
                <a:lnTo>
                  <a:pt x="304" y="102"/>
                </a:lnTo>
                <a:lnTo>
                  <a:pt x="304" y="102"/>
                </a:lnTo>
                <a:lnTo>
                  <a:pt x="304" y="98"/>
                </a:lnTo>
                <a:lnTo>
                  <a:pt x="306" y="94"/>
                </a:lnTo>
                <a:lnTo>
                  <a:pt x="306" y="94"/>
                </a:lnTo>
                <a:lnTo>
                  <a:pt x="308" y="90"/>
                </a:lnTo>
                <a:lnTo>
                  <a:pt x="310" y="86"/>
                </a:lnTo>
                <a:lnTo>
                  <a:pt x="310" y="86"/>
                </a:lnTo>
                <a:lnTo>
                  <a:pt x="310" y="82"/>
                </a:lnTo>
                <a:lnTo>
                  <a:pt x="310" y="82"/>
                </a:lnTo>
                <a:lnTo>
                  <a:pt x="316" y="78"/>
                </a:lnTo>
                <a:lnTo>
                  <a:pt x="316" y="78"/>
                </a:lnTo>
                <a:lnTo>
                  <a:pt x="318" y="76"/>
                </a:lnTo>
                <a:lnTo>
                  <a:pt x="320" y="74"/>
                </a:lnTo>
                <a:lnTo>
                  <a:pt x="320" y="74"/>
                </a:lnTo>
                <a:lnTo>
                  <a:pt x="320" y="74"/>
                </a:lnTo>
                <a:lnTo>
                  <a:pt x="320" y="74"/>
                </a:lnTo>
                <a:lnTo>
                  <a:pt x="320" y="76"/>
                </a:lnTo>
                <a:lnTo>
                  <a:pt x="320" y="76"/>
                </a:lnTo>
                <a:lnTo>
                  <a:pt x="320" y="82"/>
                </a:lnTo>
                <a:lnTo>
                  <a:pt x="320" y="82"/>
                </a:lnTo>
                <a:lnTo>
                  <a:pt x="326" y="82"/>
                </a:lnTo>
                <a:lnTo>
                  <a:pt x="328" y="82"/>
                </a:lnTo>
                <a:lnTo>
                  <a:pt x="330" y="80"/>
                </a:lnTo>
                <a:lnTo>
                  <a:pt x="330" y="80"/>
                </a:lnTo>
                <a:lnTo>
                  <a:pt x="328" y="78"/>
                </a:lnTo>
                <a:lnTo>
                  <a:pt x="328" y="78"/>
                </a:lnTo>
                <a:lnTo>
                  <a:pt x="328" y="72"/>
                </a:lnTo>
                <a:lnTo>
                  <a:pt x="330" y="74"/>
                </a:lnTo>
                <a:lnTo>
                  <a:pt x="330" y="74"/>
                </a:lnTo>
                <a:lnTo>
                  <a:pt x="332" y="64"/>
                </a:lnTo>
                <a:lnTo>
                  <a:pt x="332" y="64"/>
                </a:lnTo>
                <a:lnTo>
                  <a:pt x="328" y="64"/>
                </a:lnTo>
                <a:lnTo>
                  <a:pt x="328" y="64"/>
                </a:lnTo>
                <a:lnTo>
                  <a:pt x="324" y="68"/>
                </a:lnTo>
                <a:lnTo>
                  <a:pt x="324" y="68"/>
                </a:lnTo>
                <a:lnTo>
                  <a:pt x="326" y="68"/>
                </a:lnTo>
                <a:lnTo>
                  <a:pt x="326" y="70"/>
                </a:lnTo>
                <a:lnTo>
                  <a:pt x="326" y="70"/>
                </a:lnTo>
                <a:lnTo>
                  <a:pt x="322" y="70"/>
                </a:lnTo>
                <a:lnTo>
                  <a:pt x="322" y="70"/>
                </a:lnTo>
                <a:lnTo>
                  <a:pt x="326" y="64"/>
                </a:lnTo>
                <a:lnTo>
                  <a:pt x="326" y="62"/>
                </a:lnTo>
                <a:lnTo>
                  <a:pt x="322" y="60"/>
                </a:lnTo>
                <a:lnTo>
                  <a:pt x="322" y="60"/>
                </a:lnTo>
                <a:lnTo>
                  <a:pt x="328" y="56"/>
                </a:lnTo>
                <a:lnTo>
                  <a:pt x="330" y="50"/>
                </a:lnTo>
                <a:lnTo>
                  <a:pt x="330" y="50"/>
                </a:lnTo>
                <a:lnTo>
                  <a:pt x="320" y="50"/>
                </a:lnTo>
                <a:lnTo>
                  <a:pt x="320" y="50"/>
                </a:lnTo>
                <a:lnTo>
                  <a:pt x="322" y="44"/>
                </a:lnTo>
                <a:lnTo>
                  <a:pt x="320" y="38"/>
                </a:lnTo>
                <a:lnTo>
                  <a:pt x="320" y="38"/>
                </a:lnTo>
                <a:lnTo>
                  <a:pt x="318" y="36"/>
                </a:lnTo>
                <a:lnTo>
                  <a:pt x="318" y="36"/>
                </a:lnTo>
                <a:lnTo>
                  <a:pt x="318" y="30"/>
                </a:lnTo>
                <a:lnTo>
                  <a:pt x="318" y="26"/>
                </a:lnTo>
                <a:lnTo>
                  <a:pt x="318" y="26"/>
                </a:lnTo>
                <a:lnTo>
                  <a:pt x="312" y="16"/>
                </a:lnTo>
                <a:lnTo>
                  <a:pt x="312" y="16"/>
                </a:lnTo>
                <a:lnTo>
                  <a:pt x="312" y="12"/>
                </a:lnTo>
                <a:lnTo>
                  <a:pt x="312" y="12"/>
                </a:lnTo>
                <a:lnTo>
                  <a:pt x="308" y="10"/>
                </a:lnTo>
                <a:lnTo>
                  <a:pt x="304" y="22"/>
                </a:lnTo>
                <a:lnTo>
                  <a:pt x="300" y="30"/>
                </a:lnTo>
                <a:lnTo>
                  <a:pt x="300" y="30"/>
                </a:lnTo>
                <a:lnTo>
                  <a:pt x="298" y="44"/>
                </a:lnTo>
                <a:lnTo>
                  <a:pt x="298" y="44"/>
                </a:lnTo>
                <a:lnTo>
                  <a:pt x="294" y="52"/>
                </a:lnTo>
                <a:lnTo>
                  <a:pt x="290" y="56"/>
                </a:lnTo>
                <a:lnTo>
                  <a:pt x="284" y="52"/>
                </a:lnTo>
                <a:lnTo>
                  <a:pt x="278" y="54"/>
                </a:lnTo>
                <a:lnTo>
                  <a:pt x="278" y="54"/>
                </a:lnTo>
                <a:lnTo>
                  <a:pt x="274" y="56"/>
                </a:lnTo>
                <a:lnTo>
                  <a:pt x="272" y="56"/>
                </a:lnTo>
                <a:lnTo>
                  <a:pt x="270" y="56"/>
                </a:lnTo>
                <a:lnTo>
                  <a:pt x="270" y="56"/>
                </a:lnTo>
                <a:lnTo>
                  <a:pt x="266" y="52"/>
                </a:lnTo>
                <a:lnTo>
                  <a:pt x="266" y="48"/>
                </a:lnTo>
                <a:lnTo>
                  <a:pt x="260" y="48"/>
                </a:lnTo>
                <a:lnTo>
                  <a:pt x="258" y="46"/>
                </a:lnTo>
                <a:lnTo>
                  <a:pt x="254" y="48"/>
                </a:lnTo>
                <a:lnTo>
                  <a:pt x="244" y="44"/>
                </a:lnTo>
                <a:lnTo>
                  <a:pt x="242" y="52"/>
                </a:lnTo>
                <a:lnTo>
                  <a:pt x="246" y="56"/>
                </a:lnTo>
                <a:lnTo>
                  <a:pt x="244" y="62"/>
                </a:lnTo>
                <a:lnTo>
                  <a:pt x="234" y="58"/>
                </a:lnTo>
                <a:lnTo>
                  <a:pt x="228" y="60"/>
                </a:lnTo>
                <a:lnTo>
                  <a:pt x="228" y="60"/>
                </a:lnTo>
                <a:lnTo>
                  <a:pt x="226" y="60"/>
                </a:lnTo>
                <a:lnTo>
                  <a:pt x="222" y="58"/>
                </a:lnTo>
                <a:lnTo>
                  <a:pt x="222" y="58"/>
                </a:lnTo>
                <a:lnTo>
                  <a:pt x="220" y="58"/>
                </a:lnTo>
                <a:lnTo>
                  <a:pt x="218" y="60"/>
                </a:lnTo>
                <a:lnTo>
                  <a:pt x="218" y="60"/>
                </a:lnTo>
                <a:lnTo>
                  <a:pt x="216" y="62"/>
                </a:lnTo>
                <a:lnTo>
                  <a:pt x="216" y="62"/>
                </a:lnTo>
                <a:lnTo>
                  <a:pt x="214" y="62"/>
                </a:lnTo>
                <a:lnTo>
                  <a:pt x="214" y="64"/>
                </a:lnTo>
                <a:lnTo>
                  <a:pt x="214" y="66"/>
                </a:lnTo>
                <a:lnTo>
                  <a:pt x="212" y="66"/>
                </a:lnTo>
                <a:lnTo>
                  <a:pt x="212" y="66"/>
                </a:lnTo>
                <a:lnTo>
                  <a:pt x="210" y="66"/>
                </a:lnTo>
                <a:lnTo>
                  <a:pt x="208" y="68"/>
                </a:lnTo>
                <a:lnTo>
                  <a:pt x="206" y="70"/>
                </a:lnTo>
                <a:lnTo>
                  <a:pt x="206" y="70"/>
                </a:lnTo>
                <a:lnTo>
                  <a:pt x="202" y="70"/>
                </a:lnTo>
                <a:lnTo>
                  <a:pt x="200" y="66"/>
                </a:lnTo>
                <a:lnTo>
                  <a:pt x="200" y="66"/>
                </a:lnTo>
                <a:lnTo>
                  <a:pt x="200" y="64"/>
                </a:lnTo>
                <a:lnTo>
                  <a:pt x="198" y="64"/>
                </a:lnTo>
                <a:lnTo>
                  <a:pt x="194" y="60"/>
                </a:lnTo>
                <a:lnTo>
                  <a:pt x="194" y="60"/>
                </a:lnTo>
                <a:lnTo>
                  <a:pt x="192" y="58"/>
                </a:lnTo>
                <a:lnTo>
                  <a:pt x="190" y="54"/>
                </a:lnTo>
                <a:lnTo>
                  <a:pt x="190" y="52"/>
                </a:lnTo>
                <a:lnTo>
                  <a:pt x="190" y="52"/>
                </a:lnTo>
                <a:lnTo>
                  <a:pt x="192" y="40"/>
                </a:lnTo>
                <a:lnTo>
                  <a:pt x="192" y="32"/>
                </a:lnTo>
                <a:lnTo>
                  <a:pt x="192" y="32"/>
                </a:lnTo>
                <a:lnTo>
                  <a:pt x="198" y="26"/>
                </a:lnTo>
                <a:lnTo>
                  <a:pt x="198" y="26"/>
                </a:lnTo>
                <a:lnTo>
                  <a:pt x="200" y="22"/>
                </a:lnTo>
                <a:lnTo>
                  <a:pt x="198" y="20"/>
                </a:lnTo>
                <a:lnTo>
                  <a:pt x="198" y="20"/>
                </a:lnTo>
                <a:lnTo>
                  <a:pt x="198" y="18"/>
                </a:lnTo>
                <a:lnTo>
                  <a:pt x="198" y="16"/>
                </a:lnTo>
                <a:lnTo>
                  <a:pt x="200" y="14"/>
                </a:lnTo>
                <a:lnTo>
                  <a:pt x="198" y="14"/>
                </a:lnTo>
                <a:lnTo>
                  <a:pt x="198" y="14"/>
                </a:lnTo>
                <a:lnTo>
                  <a:pt x="192" y="10"/>
                </a:lnTo>
                <a:lnTo>
                  <a:pt x="196" y="6"/>
                </a:lnTo>
                <a:lnTo>
                  <a:pt x="196" y="6"/>
                </a:lnTo>
                <a:lnTo>
                  <a:pt x="196" y="4"/>
                </a:lnTo>
                <a:lnTo>
                  <a:pt x="194" y="2"/>
                </a:lnTo>
                <a:lnTo>
                  <a:pt x="192" y="2"/>
                </a:lnTo>
                <a:lnTo>
                  <a:pt x="192" y="2"/>
                </a:lnTo>
                <a:lnTo>
                  <a:pt x="186" y="2"/>
                </a:lnTo>
                <a:lnTo>
                  <a:pt x="182" y="0"/>
                </a:lnTo>
                <a:lnTo>
                  <a:pt x="182" y="4"/>
                </a:lnTo>
                <a:lnTo>
                  <a:pt x="182" y="10"/>
                </a:lnTo>
                <a:lnTo>
                  <a:pt x="182" y="10"/>
                </a:lnTo>
                <a:lnTo>
                  <a:pt x="174" y="10"/>
                </a:lnTo>
                <a:lnTo>
                  <a:pt x="174" y="10"/>
                </a:lnTo>
                <a:lnTo>
                  <a:pt x="174" y="12"/>
                </a:lnTo>
                <a:lnTo>
                  <a:pt x="172" y="12"/>
                </a:lnTo>
                <a:lnTo>
                  <a:pt x="170" y="14"/>
                </a:lnTo>
                <a:lnTo>
                  <a:pt x="170" y="16"/>
                </a:lnTo>
                <a:lnTo>
                  <a:pt x="170" y="16"/>
                </a:lnTo>
                <a:lnTo>
                  <a:pt x="166" y="18"/>
                </a:lnTo>
                <a:lnTo>
                  <a:pt x="166" y="20"/>
                </a:lnTo>
                <a:lnTo>
                  <a:pt x="164" y="20"/>
                </a:lnTo>
                <a:lnTo>
                  <a:pt x="164" y="20"/>
                </a:lnTo>
                <a:lnTo>
                  <a:pt x="156" y="18"/>
                </a:lnTo>
                <a:lnTo>
                  <a:pt x="156" y="18"/>
                </a:lnTo>
                <a:lnTo>
                  <a:pt x="154" y="18"/>
                </a:lnTo>
                <a:lnTo>
                  <a:pt x="152" y="20"/>
                </a:lnTo>
                <a:lnTo>
                  <a:pt x="152" y="20"/>
                </a:lnTo>
                <a:lnTo>
                  <a:pt x="150" y="22"/>
                </a:lnTo>
                <a:lnTo>
                  <a:pt x="152" y="24"/>
                </a:lnTo>
                <a:lnTo>
                  <a:pt x="152" y="24"/>
                </a:lnTo>
                <a:lnTo>
                  <a:pt x="152" y="24"/>
                </a:lnTo>
                <a:lnTo>
                  <a:pt x="150" y="24"/>
                </a:lnTo>
                <a:lnTo>
                  <a:pt x="144" y="22"/>
                </a:lnTo>
                <a:lnTo>
                  <a:pt x="144" y="22"/>
                </a:lnTo>
                <a:lnTo>
                  <a:pt x="140" y="20"/>
                </a:lnTo>
                <a:lnTo>
                  <a:pt x="136" y="20"/>
                </a:lnTo>
                <a:lnTo>
                  <a:pt x="136" y="20"/>
                </a:lnTo>
                <a:lnTo>
                  <a:pt x="132" y="20"/>
                </a:lnTo>
                <a:lnTo>
                  <a:pt x="126" y="18"/>
                </a:lnTo>
                <a:lnTo>
                  <a:pt x="126" y="18"/>
                </a:lnTo>
                <a:lnTo>
                  <a:pt x="122" y="18"/>
                </a:lnTo>
                <a:lnTo>
                  <a:pt x="124" y="20"/>
                </a:lnTo>
                <a:lnTo>
                  <a:pt x="124" y="20"/>
                </a:lnTo>
                <a:lnTo>
                  <a:pt x="126" y="20"/>
                </a:lnTo>
                <a:lnTo>
                  <a:pt x="126" y="22"/>
                </a:lnTo>
                <a:lnTo>
                  <a:pt x="128" y="26"/>
                </a:lnTo>
                <a:lnTo>
                  <a:pt x="128" y="26"/>
                </a:lnTo>
                <a:lnTo>
                  <a:pt x="130" y="34"/>
                </a:lnTo>
                <a:lnTo>
                  <a:pt x="130" y="34"/>
                </a:lnTo>
                <a:lnTo>
                  <a:pt x="130" y="40"/>
                </a:lnTo>
                <a:lnTo>
                  <a:pt x="130" y="46"/>
                </a:lnTo>
                <a:lnTo>
                  <a:pt x="130" y="46"/>
                </a:lnTo>
                <a:lnTo>
                  <a:pt x="132" y="48"/>
                </a:lnTo>
                <a:lnTo>
                  <a:pt x="134" y="50"/>
                </a:lnTo>
                <a:lnTo>
                  <a:pt x="134" y="50"/>
                </a:lnTo>
                <a:lnTo>
                  <a:pt x="138" y="50"/>
                </a:lnTo>
                <a:lnTo>
                  <a:pt x="144" y="48"/>
                </a:lnTo>
                <a:lnTo>
                  <a:pt x="144" y="48"/>
                </a:lnTo>
                <a:lnTo>
                  <a:pt x="146" y="50"/>
                </a:lnTo>
                <a:lnTo>
                  <a:pt x="148" y="50"/>
                </a:lnTo>
                <a:lnTo>
                  <a:pt x="150" y="54"/>
                </a:lnTo>
                <a:lnTo>
                  <a:pt x="150" y="54"/>
                </a:lnTo>
                <a:lnTo>
                  <a:pt x="148" y="54"/>
                </a:lnTo>
                <a:lnTo>
                  <a:pt x="144" y="56"/>
                </a:lnTo>
                <a:lnTo>
                  <a:pt x="144" y="56"/>
                </a:lnTo>
                <a:lnTo>
                  <a:pt x="142" y="56"/>
                </a:lnTo>
                <a:lnTo>
                  <a:pt x="140" y="60"/>
                </a:lnTo>
                <a:lnTo>
                  <a:pt x="138" y="62"/>
                </a:lnTo>
                <a:lnTo>
                  <a:pt x="136" y="64"/>
                </a:lnTo>
                <a:lnTo>
                  <a:pt x="136" y="64"/>
                </a:lnTo>
                <a:lnTo>
                  <a:pt x="134" y="66"/>
                </a:lnTo>
                <a:lnTo>
                  <a:pt x="130" y="68"/>
                </a:lnTo>
                <a:lnTo>
                  <a:pt x="130" y="68"/>
                </a:lnTo>
                <a:lnTo>
                  <a:pt x="128" y="68"/>
                </a:lnTo>
                <a:lnTo>
                  <a:pt x="126" y="70"/>
                </a:lnTo>
                <a:lnTo>
                  <a:pt x="124" y="72"/>
                </a:lnTo>
                <a:lnTo>
                  <a:pt x="122" y="74"/>
                </a:lnTo>
                <a:lnTo>
                  <a:pt x="122" y="74"/>
                </a:lnTo>
                <a:lnTo>
                  <a:pt x="116" y="76"/>
                </a:lnTo>
                <a:lnTo>
                  <a:pt x="114" y="78"/>
                </a:lnTo>
                <a:lnTo>
                  <a:pt x="106" y="72"/>
                </a:lnTo>
                <a:lnTo>
                  <a:pt x="102" y="72"/>
                </a:lnTo>
                <a:lnTo>
                  <a:pt x="102" y="66"/>
                </a:lnTo>
                <a:lnTo>
                  <a:pt x="96" y="64"/>
                </a:lnTo>
                <a:lnTo>
                  <a:pt x="94" y="72"/>
                </a:lnTo>
                <a:lnTo>
                  <a:pt x="90" y="72"/>
                </a:lnTo>
                <a:lnTo>
                  <a:pt x="86" y="70"/>
                </a:lnTo>
                <a:lnTo>
                  <a:pt x="86" y="74"/>
                </a:lnTo>
                <a:lnTo>
                  <a:pt x="86" y="74"/>
                </a:lnTo>
                <a:lnTo>
                  <a:pt x="72" y="74"/>
                </a:lnTo>
                <a:lnTo>
                  <a:pt x="72" y="74"/>
                </a:lnTo>
                <a:lnTo>
                  <a:pt x="66" y="74"/>
                </a:lnTo>
                <a:lnTo>
                  <a:pt x="64" y="72"/>
                </a:lnTo>
                <a:lnTo>
                  <a:pt x="62" y="78"/>
                </a:lnTo>
                <a:lnTo>
                  <a:pt x="70" y="80"/>
                </a:lnTo>
                <a:lnTo>
                  <a:pt x="68" y="82"/>
                </a:lnTo>
                <a:lnTo>
                  <a:pt x="60" y="82"/>
                </a:lnTo>
                <a:lnTo>
                  <a:pt x="60" y="88"/>
                </a:lnTo>
                <a:lnTo>
                  <a:pt x="64" y="90"/>
                </a:lnTo>
                <a:lnTo>
                  <a:pt x="64" y="90"/>
                </a:lnTo>
                <a:lnTo>
                  <a:pt x="70" y="104"/>
                </a:lnTo>
                <a:lnTo>
                  <a:pt x="70" y="104"/>
                </a:lnTo>
                <a:lnTo>
                  <a:pt x="70" y="106"/>
                </a:lnTo>
                <a:lnTo>
                  <a:pt x="68" y="110"/>
                </a:lnTo>
                <a:lnTo>
                  <a:pt x="66" y="116"/>
                </a:lnTo>
                <a:lnTo>
                  <a:pt x="66" y="116"/>
                </a:lnTo>
                <a:lnTo>
                  <a:pt x="52" y="154"/>
                </a:lnTo>
                <a:lnTo>
                  <a:pt x="52" y="154"/>
                </a:lnTo>
                <a:lnTo>
                  <a:pt x="52" y="156"/>
                </a:lnTo>
                <a:lnTo>
                  <a:pt x="50" y="158"/>
                </a:lnTo>
                <a:lnTo>
                  <a:pt x="48" y="158"/>
                </a:lnTo>
                <a:lnTo>
                  <a:pt x="48" y="158"/>
                </a:lnTo>
                <a:lnTo>
                  <a:pt x="38" y="160"/>
                </a:lnTo>
                <a:lnTo>
                  <a:pt x="38" y="160"/>
                </a:lnTo>
                <a:lnTo>
                  <a:pt x="32" y="162"/>
                </a:lnTo>
                <a:lnTo>
                  <a:pt x="26" y="164"/>
                </a:lnTo>
                <a:lnTo>
                  <a:pt x="26" y="164"/>
                </a:lnTo>
                <a:lnTo>
                  <a:pt x="18" y="170"/>
                </a:lnTo>
                <a:lnTo>
                  <a:pt x="14" y="174"/>
                </a:lnTo>
                <a:lnTo>
                  <a:pt x="14" y="174"/>
                </a:lnTo>
                <a:lnTo>
                  <a:pt x="12" y="180"/>
                </a:lnTo>
                <a:lnTo>
                  <a:pt x="10" y="186"/>
                </a:lnTo>
                <a:lnTo>
                  <a:pt x="10" y="186"/>
                </a:lnTo>
                <a:lnTo>
                  <a:pt x="8" y="190"/>
                </a:lnTo>
                <a:lnTo>
                  <a:pt x="6" y="194"/>
                </a:lnTo>
                <a:lnTo>
                  <a:pt x="6" y="194"/>
                </a:lnTo>
                <a:lnTo>
                  <a:pt x="6" y="202"/>
                </a:lnTo>
                <a:lnTo>
                  <a:pt x="6" y="202"/>
                </a:lnTo>
                <a:lnTo>
                  <a:pt x="4" y="200"/>
                </a:lnTo>
                <a:lnTo>
                  <a:pt x="2" y="200"/>
                </a:lnTo>
                <a:lnTo>
                  <a:pt x="0" y="202"/>
                </a:lnTo>
                <a:lnTo>
                  <a:pt x="0" y="202"/>
                </a:lnTo>
                <a:lnTo>
                  <a:pt x="2" y="206"/>
                </a:lnTo>
                <a:lnTo>
                  <a:pt x="2" y="210"/>
                </a:lnTo>
                <a:lnTo>
                  <a:pt x="4" y="210"/>
                </a:lnTo>
                <a:lnTo>
                  <a:pt x="4" y="210"/>
                </a:lnTo>
                <a:lnTo>
                  <a:pt x="4" y="212"/>
                </a:lnTo>
                <a:lnTo>
                  <a:pt x="6" y="214"/>
                </a:lnTo>
                <a:lnTo>
                  <a:pt x="6" y="218"/>
                </a:lnTo>
                <a:lnTo>
                  <a:pt x="4" y="224"/>
                </a:lnTo>
                <a:lnTo>
                  <a:pt x="4" y="224"/>
                </a:lnTo>
                <a:lnTo>
                  <a:pt x="6" y="226"/>
                </a:lnTo>
                <a:lnTo>
                  <a:pt x="10" y="228"/>
                </a:lnTo>
                <a:lnTo>
                  <a:pt x="12" y="230"/>
                </a:lnTo>
                <a:lnTo>
                  <a:pt x="12" y="230"/>
                </a:lnTo>
                <a:lnTo>
                  <a:pt x="14" y="234"/>
                </a:lnTo>
                <a:lnTo>
                  <a:pt x="16" y="236"/>
                </a:lnTo>
                <a:lnTo>
                  <a:pt x="20" y="238"/>
                </a:lnTo>
                <a:lnTo>
                  <a:pt x="20" y="240"/>
                </a:lnTo>
                <a:lnTo>
                  <a:pt x="20" y="240"/>
                </a:lnTo>
                <a:lnTo>
                  <a:pt x="22" y="244"/>
                </a:lnTo>
                <a:lnTo>
                  <a:pt x="24" y="246"/>
                </a:lnTo>
                <a:lnTo>
                  <a:pt x="36" y="246"/>
                </a:lnTo>
                <a:lnTo>
                  <a:pt x="36" y="246"/>
                </a:lnTo>
                <a:lnTo>
                  <a:pt x="46" y="240"/>
                </a:lnTo>
                <a:lnTo>
                  <a:pt x="46" y="240"/>
                </a:lnTo>
                <a:lnTo>
                  <a:pt x="48" y="238"/>
                </a:lnTo>
                <a:lnTo>
                  <a:pt x="48" y="240"/>
                </a:lnTo>
                <a:lnTo>
                  <a:pt x="48" y="242"/>
                </a:lnTo>
                <a:lnTo>
                  <a:pt x="46" y="282"/>
                </a:lnTo>
                <a:lnTo>
                  <a:pt x="60" y="288"/>
                </a:lnTo>
                <a:lnTo>
                  <a:pt x="60" y="288"/>
                </a:lnTo>
                <a:lnTo>
                  <a:pt x="62" y="288"/>
                </a:lnTo>
                <a:lnTo>
                  <a:pt x="66" y="288"/>
                </a:lnTo>
                <a:lnTo>
                  <a:pt x="66" y="288"/>
                </a:lnTo>
                <a:lnTo>
                  <a:pt x="70" y="290"/>
                </a:lnTo>
                <a:lnTo>
                  <a:pt x="72" y="288"/>
                </a:lnTo>
                <a:lnTo>
                  <a:pt x="74" y="288"/>
                </a:lnTo>
                <a:lnTo>
                  <a:pt x="74" y="286"/>
                </a:lnTo>
                <a:lnTo>
                  <a:pt x="74" y="286"/>
                </a:lnTo>
                <a:lnTo>
                  <a:pt x="74" y="284"/>
                </a:lnTo>
                <a:lnTo>
                  <a:pt x="76" y="282"/>
                </a:lnTo>
                <a:lnTo>
                  <a:pt x="76" y="282"/>
                </a:lnTo>
                <a:lnTo>
                  <a:pt x="82" y="280"/>
                </a:lnTo>
                <a:lnTo>
                  <a:pt x="82" y="280"/>
                </a:lnTo>
                <a:lnTo>
                  <a:pt x="86" y="272"/>
                </a:lnTo>
                <a:lnTo>
                  <a:pt x="90" y="268"/>
                </a:lnTo>
                <a:lnTo>
                  <a:pt x="96" y="264"/>
                </a:lnTo>
                <a:lnTo>
                  <a:pt x="96" y="264"/>
                </a:lnTo>
                <a:lnTo>
                  <a:pt x="104" y="262"/>
                </a:lnTo>
                <a:lnTo>
                  <a:pt x="112" y="260"/>
                </a:lnTo>
                <a:lnTo>
                  <a:pt x="118" y="260"/>
                </a:lnTo>
                <a:lnTo>
                  <a:pt x="120" y="264"/>
                </a:lnTo>
                <a:lnTo>
                  <a:pt x="120" y="264"/>
                </a:lnTo>
                <a:lnTo>
                  <a:pt x="118" y="270"/>
                </a:lnTo>
                <a:lnTo>
                  <a:pt x="116" y="274"/>
                </a:lnTo>
                <a:lnTo>
                  <a:pt x="116" y="278"/>
                </a:lnTo>
                <a:lnTo>
                  <a:pt x="116" y="278"/>
                </a:lnTo>
                <a:lnTo>
                  <a:pt x="118" y="282"/>
                </a:lnTo>
                <a:lnTo>
                  <a:pt x="122" y="286"/>
                </a:lnTo>
                <a:lnTo>
                  <a:pt x="122" y="286"/>
                </a:lnTo>
                <a:lnTo>
                  <a:pt x="128" y="288"/>
                </a:lnTo>
                <a:lnTo>
                  <a:pt x="128" y="288"/>
                </a:lnTo>
                <a:lnTo>
                  <a:pt x="130" y="288"/>
                </a:lnTo>
                <a:lnTo>
                  <a:pt x="132" y="286"/>
                </a:lnTo>
                <a:lnTo>
                  <a:pt x="134" y="286"/>
                </a:lnTo>
                <a:lnTo>
                  <a:pt x="138" y="288"/>
                </a:lnTo>
                <a:lnTo>
                  <a:pt x="138" y="288"/>
                </a:lnTo>
                <a:lnTo>
                  <a:pt x="142" y="292"/>
                </a:lnTo>
                <a:lnTo>
                  <a:pt x="148" y="296"/>
                </a:lnTo>
                <a:lnTo>
                  <a:pt x="148" y="296"/>
                </a:lnTo>
                <a:lnTo>
                  <a:pt x="152" y="300"/>
                </a:lnTo>
                <a:lnTo>
                  <a:pt x="154" y="302"/>
                </a:lnTo>
                <a:lnTo>
                  <a:pt x="154" y="302"/>
                </a:lnTo>
                <a:lnTo>
                  <a:pt x="158" y="306"/>
                </a:lnTo>
                <a:lnTo>
                  <a:pt x="162" y="308"/>
                </a:lnTo>
                <a:lnTo>
                  <a:pt x="164" y="308"/>
                </a:lnTo>
                <a:lnTo>
                  <a:pt x="164" y="308"/>
                </a:lnTo>
                <a:lnTo>
                  <a:pt x="170" y="310"/>
                </a:lnTo>
                <a:lnTo>
                  <a:pt x="174" y="310"/>
                </a:lnTo>
                <a:lnTo>
                  <a:pt x="174" y="310"/>
                </a:lnTo>
                <a:lnTo>
                  <a:pt x="180" y="310"/>
                </a:lnTo>
                <a:lnTo>
                  <a:pt x="182" y="310"/>
                </a:lnTo>
                <a:lnTo>
                  <a:pt x="184" y="310"/>
                </a:lnTo>
                <a:lnTo>
                  <a:pt x="184" y="310"/>
                </a:lnTo>
                <a:lnTo>
                  <a:pt x="186" y="316"/>
                </a:lnTo>
                <a:lnTo>
                  <a:pt x="188" y="322"/>
                </a:lnTo>
                <a:lnTo>
                  <a:pt x="188" y="322"/>
                </a:lnTo>
                <a:lnTo>
                  <a:pt x="192" y="332"/>
                </a:lnTo>
                <a:lnTo>
                  <a:pt x="192" y="332"/>
                </a:lnTo>
                <a:lnTo>
                  <a:pt x="186" y="338"/>
                </a:lnTo>
                <a:lnTo>
                  <a:pt x="186" y="338"/>
                </a:lnTo>
                <a:lnTo>
                  <a:pt x="186" y="344"/>
                </a:lnTo>
                <a:lnTo>
                  <a:pt x="188" y="348"/>
                </a:lnTo>
                <a:lnTo>
                  <a:pt x="188" y="348"/>
                </a:lnTo>
                <a:lnTo>
                  <a:pt x="190" y="354"/>
                </a:lnTo>
                <a:lnTo>
                  <a:pt x="192" y="356"/>
                </a:lnTo>
                <a:lnTo>
                  <a:pt x="212" y="356"/>
                </a:lnTo>
                <a:lnTo>
                  <a:pt x="212" y="356"/>
                </a:lnTo>
                <a:lnTo>
                  <a:pt x="210" y="358"/>
                </a:lnTo>
                <a:lnTo>
                  <a:pt x="210" y="364"/>
                </a:lnTo>
                <a:lnTo>
                  <a:pt x="210" y="364"/>
                </a:lnTo>
                <a:lnTo>
                  <a:pt x="212" y="370"/>
                </a:lnTo>
                <a:lnTo>
                  <a:pt x="216" y="374"/>
                </a:lnTo>
                <a:lnTo>
                  <a:pt x="216" y="374"/>
                </a:lnTo>
                <a:lnTo>
                  <a:pt x="220" y="378"/>
                </a:lnTo>
                <a:lnTo>
                  <a:pt x="222" y="382"/>
                </a:lnTo>
                <a:lnTo>
                  <a:pt x="222" y="382"/>
                </a:lnTo>
                <a:lnTo>
                  <a:pt x="222" y="386"/>
                </a:lnTo>
                <a:lnTo>
                  <a:pt x="222" y="390"/>
                </a:lnTo>
                <a:lnTo>
                  <a:pt x="222" y="390"/>
                </a:lnTo>
                <a:lnTo>
                  <a:pt x="220" y="400"/>
                </a:lnTo>
                <a:lnTo>
                  <a:pt x="218" y="408"/>
                </a:lnTo>
                <a:lnTo>
                  <a:pt x="220" y="412"/>
                </a:lnTo>
                <a:lnTo>
                  <a:pt x="216" y="414"/>
                </a:lnTo>
                <a:lnTo>
                  <a:pt x="218" y="416"/>
                </a:lnTo>
                <a:lnTo>
                  <a:pt x="218" y="416"/>
                </a:lnTo>
                <a:lnTo>
                  <a:pt x="222" y="422"/>
                </a:lnTo>
                <a:lnTo>
                  <a:pt x="222" y="422"/>
                </a:lnTo>
                <a:lnTo>
                  <a:pt x="224" y="428"/>
                </a:lnTo>
                <a:lnTo>
                  <a:pt x="222" y="436"/>
                </a:lnTo>
                <a:lnTo>
                  <a:pt x="222" y="436"/>
                </a:lnTo>
                <a:lnTo>
                  <a:pt x="222" y="438"/>
                </a:lnTo>
                <a:lnTo>
                  <a:pt x="224" y="442"/>
                </a:lnTo>
                <a:lnTo>
                  <a:pt x="224" y="446"/>
                </a:lnTo>
                <a:lnTo>
                  <a:pt x="224" y="446"/>
                </a:lnTo>
                <a:lnTo>
                  <a:pt x="226" y="448"/>
                </a:lnTo>
                <a:lnTo>
                  <a:pt x="232" y="450"/>
                </a:lnTo>
                <a:lnTo>
                  <a:pt x="240" y="450"/>
                </a:lnTo>
                <a:lnTo>
                  <a:pt x="244" y="448"/>
                </a:lnTo>
                <a:lnTo>
                  <a:pt x="246" y="452"/>
                </a:lnTo>
                <a:lnTo>
                  <a:pt x="246" y="452"/>
                </a:lnTo>
                <a:lnTo>
                  <a:pt x="246" y="454"/>
                </a:lnTo>
                <a:lnTo>
                  <a:pt x="248" y="456"/>
                </a:lnTo>
                <a:lnTo>
                  <a:pt x="250" y="456"/>
                </a:lnTo>
                <a:lnTo>
                  <a:pt x="250" y="456"/>
                </a:lnTo>
                <a:lnTo>
                  <a:pt x="254" y="458"/>
                </a:lnTo>
                <a:lnTo>
                  <a:pt x="256" y="460"/>
                </a:lnTo>
                <a:lnTo>
                  <a:pt x="256" y="464"/>
                </a:lnTo>
                <a:lnTo>
                  <a:pt x="256" y="464"/>
                </a:lnTo>
                <a:lnTo>
                  <a:pt x="256" y="478"/>
                </a:lnTo>
                <a:lnTo>
                  <a:pt x="256" y="478"/>
                </a:lnTo>
                <a:lnTo>
                  <a:pt x="258" y="484"/>
                </a:lnTo>
                <a:lnTo>
                  <a:pt x="258" y="486"/>
                </a:lnTo>
                <a:lnTo>
                  <a:pt x="260" y="486"/>
                </a:lnTo>
                <a:lnTo>
                  <a:pt x="260" y="486"/>
                </a:lnTo>
                <a:lnTo>
                  <a:pt x="264" y="484"/>
                </a:lnTo>
                <a:lnTo>
                  <a:pt x="266" y="484"/>
                </a:lnTo>
                <a:lnTo>
                  <a:pt x="268" y="484"/>
                </a:lnTo>
                <a:lnTo>
                  <a:pt x="268" y="484"/>
                </a:lnTo>
                <a:lnTo>
                  <a:pt x="266" y="490"/>
                </a:lnTo>
                <a:lnTo>
                  <a:pt x="266" y="498"/>
                </a:lnTo>
                <a:lnTo>
                  <a:pt x="266" y="498"/>
                </a:lnTo>
                <a:lnTo>
                  <a:pt x="264" y="506"/>
                </a:lnTo>
                <a:lnTo>
                  <a:pt x="264" y="514"/>
                </a:lnTo>
                <a:lnTo>
                  <a:pt x="264" y="514"/>
                </a:lnTo>
                <a:lnTo>
                  <a:pt x="268" y="516"/>
                </a:lnTo>
                <a:lnTo>
                  <a:pt x="270" y="516"/>
                </a:lnTo>
                <a:lnTo>
                  <a:pt x="270" y="516"/>
                </a:lnTo>
                <a:lnTo>
                  <a:pt x="270" y="516"/>
                </a:lnTo>
                <a:lnTo>
                  <a:pt x="270" y="514"/>
                </a:lnTo>
                <a:lnTo>
                  <a:pt x="272" y="514"/>
                </a:lnTo>
                <a:lnTo>
                  <a:pt x="276" y="514"/>
                </a:lnTo>
                <a:lnTo>
                  <a:pt x="276" y="514"/>
                </a:lnTo>
                <a:lnTo>
                  <a:pt x="276" y="526"/>
                </a:lnTo>
                <a:lnTo>
                  <a:pt x="276" y="526"/>
                </a:lnTo>
                <a:lnTo>
                  <a:pt x="276" y="540"/>
                </a:lnTo>
                <a:lnTo>
                  <a:pt x="276" y="540"/>
                </a:lnTo>
                <a:lnTo>
                  <a:pt x="276" y="542"/>
                </a:lnTo>
                <a:lnTo>
                  <a:pt x="276" y="542"/>
                </a:lnTo>
                <a:lnTo>
                  <a:pt x="272" y="546"/>
                </a:lnTo>
                <a:lnTo>
                  <a:pt x="272" y="546"/>
                </a:lnTo>
                <a:lnTo>
                  <a:pt x="270" y="546"/>
                </a:lnTo>
                <a:lnTo>
                  <a:pt x="266" y="548"/>
                </a:lnTo>
                <a:lnTo>
                  <a:pt x="262" y="548"/>
                </a:lnTo>
                <a:lnTo>
                  <a:pt x="260" y="550"/>
                </a:lnTo>
                <a:lnTo>
                  <a:pt x="260" y="550"/>
                </a:lnTo>
                <a:lnTo>
                  <a:pt x="258" y="556"/>
                </a:lnTo>
                <a:lnTo>
                  <a:pt x="254" y="560"/>
                </a:lnTo>
                <a:lnTo>
                  <a:pt x="254" y="560"/>
                </a:lnTo>
                <a:lnTo>
                  <a:pt x="250" y="562"/>
                </a:lnTo>
                <a:lnTo>
                  <a:pt x="248" y="566"/>
                </a:lnTo>
                <a:lnTo>
                  <a:pt x="248" y="566"/>
                </a:lnTo>
                <a:lnTo>
                  <a:pt x="246" y="568"/>
                </a:lnTo>
                <a:lnTo>
                  <a:pt x="242" y="568"/>
                </a:lnTo>
                <a:lnTo>
                  <a:pt x="240" y="570"/>
                </a:lnTo>
                <a:lnTo>
                  <a:pt x="238" y="572"/>
                </a:lnTo>
                <a:lnTo>
                  <a:pt x="238" y="572"/>
                </a:lnTo>
                <a:lnTo>
                  <a:pt x="238" y="578"/>
                </a:lnTo>
                <a:lnTo>
                  <a:pt x="234" y="584"/>
                </a:lnTo>
                <a:lnTo>
                  <a:pt x="234" y="584"/>
                </a:lnTo>
                <a:lnTo>
                  <a:pt x="230" y="586"/>
                </a:lnTo>
                <a:lnTo>
                  <a:pt x="228" y="590"/>
                </a:lnTo>
                <a:lnTo>
                  <a:pt x="228" y="590"/>
                </a:lnTo>
                <a:lnTo>
                  <a:pt x="226" y="600"/>
                </a:lnTo>
                <a:lnTo>
                  <a:pt x="236" y="596"/>
                </a:lnTo>
                <a:lnTo>
                  <a:pt x="246" y="604"/>
                </a:lnTo>
                <a:lnTo>
                  <a:pt x="246" y="604"/>
                </a:lnTo>
                <a:lnTo>
                  <a:pt x="250" y="612"/>
                </a:lnTo>
                <a:lnTo>
                  <a:pt x="250" y="612"/>
                </a:lnTo>
                <a:lnTo>
                  <a:pt x="252" y="614"/>
                </a:lnTo>
                <a:lnTo>
                  <a:pt x="254" y="614"/>
                </a:lnTo>
                <a:lnTo>
                  <a:pt x="256" y="614"/>
                </a:lnTo>
                <a:lnTo>
                  <a:pt x="258" y="616"/>
                </a:lnTo>
                <a:lnTo>
                  <a:pt x="258" y="616"/>
                </a:lnTo>
                <a:lnTo>
                  <a:pt x="262" y="620"/>
                </a:lnTo>
                <a:lnTo>
                  <a:pt x="266" y="624"/>
                </a:lnTo>
                <a:lnTo>
                  <a:pt x="266" y="624"/>
                </a:lnTo>
                <a:lnTo>
                  <a:pt x="272" y="626"/>
                </a:lnTo>
                <a:lnTo>
                  <a:pt x="274" y="628"/>
                </a:lnTo>
                <a:lnTo>
                  <a:pt x="276" y="630"/>
                </a:lnTo>
                <a:lnTo>
                  <a:pt x="276" y="630"/>
                </a:lnTo>
                <a:lnTo>
                  <a:pt x="278" y="634"/>
                </a:lnTo>
                <a:lnTo>
                  <a:pt x="282" y="638"/>
                </a:lnTo>
                <a:lnTo>
                  <a:pt x="282" y="638"/>
                </a:lnTo>
                <a:lnTo>
                  <a:pt x="286" y="642"/>
                </a:lnTo>
                <a:lnTo>
                  <a:pt x="288" y="642"/>
                </a:lnTo>
                <a:lnTo>
                  <a:pt x="282" y="652"/>
                </a:lnTo>
                <a:lnTo>
                  <a:pt x="282" y="656"/>
                </a:lnTo>
                <a:lnTo>
                  <a:pt x="282" y="656"/>
                </a:lnTo>
                <a:lnTo>
                  <a:pt x="288" y="650"/>
                </a:lnTo>
                <a:lnTo>
                  <a:pt x="292" y="646"/>
                </a:lnTo>
                <a:lnTo>
                  <a:pt x="292" y="646"/>
                </a:lnTo>
                <a:lnTo>
                  <a:pt x="290" y="640"/>
                </a:lnTo>
                <a:lnTo>
                  <a:pt x="288" y="636"/>
                </a:lnTo>
                <a:lnTo>
                  <a:pt x="288" y="636"/>
                </a:lnTo>
                <a:lnTo>
                  <a:pt x="294" y="630"/>
                </a:lnTo>
                <a:lnTo>
                  <a:pt x="298" y="624"/>
                </a:lnTo>
                <a:lnTo>
                  <a:pt x="298" y="624"/>
                </a:lnTo>
                <a:lnTo>
                  <a:pt x="298" y="620"/>
                </a:lnTo>
                <a:lnTo>
                  <a:pt x="298" y="620"/>
                </a:lnTo>
                <a:lnTo>
                  <a:pt x="300" y="618"/>
                </a:lnTo>
                <a:lnTo>
                  <a:pt x="304" y="618"/>
                </a:lnTo>
                <a:lnTo>
                  <a:pt x="304" y="616"/>
                </a:lnTo>
                <a:lnTo>
                  <a:pt x="304" y="616"/>
                </a:lnTo>
                <a:lnTo>
                  <a:pt x="306" y="614"/>
                </a:lnTo>
                <a:lnTo>
                  <a:pt x="308" y="610"/>
                </a:lnTo>
                <a:lnTo>
                  <a:pt x="308" y="602"/>
                </a:lnTo>
                <a:lnTo>
                  <a:pt x="308" y="602"/>
                </a:lnTo>
                <a:lnTo>
                  <a:pt x="312" y="604"/>
                </a:lnTo>
                <a:lnTo>
                  <a:pt x="312" y="606"/>
                </a:lnTo>
                <a:lnTo>
                  <a:pt x="312" y="606"/>
                </a:lnTo>
                <a:lnTo>
                  <a:pt x="316" y="606"/>
                </a:lnTo>
                <a:lnTo>
                  <a:pt x="316" y="606"/>
                </a:lnTo>
                <a:lnTo>
                  <a:pt x="316" y="604"/>
                </a:lnTo>
                <a:lnTo>
                  <a:pt x="318" y="604"/>
                </a:lnTo>
                <a:lnTo>
                  <a:pt x="318" y="604"/>
                </a:lnTo>
                <a:lnTo>
                  <a:pt x="318" y="608"/>
                </a:lnTo>
                <a:lnTo>
                  <a:pt x="318" y="608"/>
                </a:lnTo>
                <a:lnTo>
                  <a:pt x="316" y="614"/>
                </a:lnTo>
                <a:lnTo>
                  <a:pt x="314" y="620"/>
                </a:lnTo>
                <a:lnTo>
                  <a:pt x="314" y="620"/>
                </a:lnTo>
                <a:lnTo>
                  <a:pt x="312" y="622"/>
                </a:lnTo>
                <a:lnTo>
                  <a:pt x="312" y="622"/>
                </a:lnTo>
                <a:lnTo>
                  <a:pt x="312" y="626"/>
                </a:lnTo>
                <a:lnTo>
                  <a:pt x="314" y="624"/>
                </a:lnTo>
                <a:lnTo>
                  <a:pt x="318" y="618"/>
                </a:lnTo>
                <a:lnTo>
                  <a:pt x="318" y="618"/>
                </a:lnTo>
                <a:lnTo>
                  <a:pt x="324" y="602"/>
                </a:lnTo>
                <a:lnTo>
                  <a:pt x="324" y="602"/>
                </a:lnTo>
                <a:lnTo>
                  <a:pt x="326" y="594"/>
                </a:lnTo>
                <a:lnTo>
                  <a:pt x="330" y="586"/>
                </a:lnTo>
                <a:lnTo>
                  <a:pt x="330" y="586"/>
                </a:lnTo>
                <a:lnTo>
                  <a:pt x="338" y="576"/>
                </a:lnTo>
                <a:lnTo>
                  <a:pt x="338" y="576"/>
                </a:lnTo>
                <a:lnTo>
                  <a:pt x="340" y="576"/>
                </a:lnTo>
                <a:lnTo>
                  <a:pt x="342" y="576"/>
                </a:lnTo>
                <a:lnTo>
                  <a:pt x="342" y="576"/>
                </a:lnTo>
                <a:lnTo>
                  <a:pt x="342" y="572"/>
                </a:lnTo>
                <a:lnTo>
                  <a:pt x="342" y="570"/>
                </a:lnTo>
                <a:lnTo>
                  <a:pt x="342" y="570"/>
                </a:lnTo>
                <a:lnTo>
                  <a:pt x="344" y="568"/>
                </a:lnTo>
                <a:lnTo>
                  <a:pt x="344" y="568"/>
                </a:lnTo>
                <a:lnTo>
                  <a:pt x="344" y="564"/>
                </a:lnTo>
                <a:lnTo>
                  <a:pt x="344" y="560"/>
                </a:lnTo>
                <a:lnTo>
                  <a:pt x="344" y="548"/>
                </a:lnTo>
                <a:lnTo>
                  <a:pt x="344" y="548"/>
                </a:lnTo>
                <a:lnTo>
                  <a:pt x="342" y="546"/>
                </a:lnTo>
                <a:lnTo>
                  <a:pt x="342" y="546"/>
                </a:lnTo>
                <a:lnTo>
                  <a:pt x="342" y="544"/>
                </a:lnTo>
                <a:lnTo>
                  <a:pt x="342" y="542"/>
                </a:lnTo>
                <a:lnTo>
                  <a:pt x="340" y="542"/>
                </a:lnTo>
                <a:lnTo>
                  <a:pt x="340" y="542"/>
                </a:lnTo>
                <a:lnTo>
                  <a:pt x="340" y="538"/>
                </a:lnTo>
                <a:lnTo>
                  <a:pt x="340" y="538"/>
                </a:lnTo>
                <a:lnTo>
                  <a:pt x="342" y="538"/>
                </a:lnTo>
                <a:lnTo>
                  <a:pt x="342" y="536"/>
                </a:lnTo>
                <a:lnTo>
                  <a:pt x="342" y="536"/>
                </a:lnTo>
                <a:lnTo>
                  <a:pt x="342" y="528"/>
                </a:lnTo>
                <a:lnTo>
                  <a:pt x="342" y="528"/>
                </a:lnTo>
                <a:lnTo>
                  <a:pt x="340" y="528"/>
                </a:lnTo>
                <a:lnTo>
                  <a:pt x="340" y="526"/>
                </a:lnTo>
                <a:lnTo>
                  <a:pt x="340" y="526"/>
                </a:lnTo>
                <a:lnTo>
                  <a:pt x="342" y="522"/>
                </a:lnTo>
                <a:lnTo>
                  <a:pt x="342" y="522"/>
                </a:lnTo>
                <a:lnTo>
                  <a:pt x="342" y="518"/>
                </a:lnTo>
                <a:lnTo>
                  <a:pt x="342" y="516"/>
                </a:lnTo>
                <a:lnTo>
                  <a:pt x="342" y="51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5" name="Freeform 251">
            <a:extLst>
              <a:ext uri="{FF2B5EF4-FFF2-40B4-BE49-F238E27FC236}">
                <a16:creationId xmlns:a16="http://schemas.microsoft.com/office/drawing/2014/main" id="{18BC9F5F-27D7-4D35-8433-279EA109F43C}"/>
              </a:ext>
            </a:extLst>
          </p:cNvPr>
          <p:cNvSpPr>
            <a:spLocks/>
          </p:cNvSpPr>
          <p:nvPr userDrawn="1"/>
        </p:nvSpPr>
        <p:spPr bwMode="auto">
          <a:xfrm>
            <a:off x="4279551" y="3989525"/>
            <a:ext cx="270880" cy="343197"/>
          </a:xfrm>
          <a:custGeom>
            <a:avLst/>
            <a:gdLst>
              <a:gd name="T0" fmla="*/ 12 w 162"/>
              <a:gd name="T1" fmla="*/ 86 h 200"/>
              <a:gd name="T2" fmla="*/ 14 w 162"/>
              <a:gd name="T3" fmla="*/ 92 h 200"/>
              <a:gd name="T4" fmla="*/ 12 w 162"/>
              <a:gd name="T5" fmla="*/ 92 h 200"/>
              <a:gd name="T6" fmla="*/ 10 w 162"/>
              <a:gd name="T7" fmla="*/ 90 h 200"/>
              <a:gd name="T8" fmla="*/ 10 w 162"/>
              <a:gd name="T9" fmla="*/ 98 h 200"/>
              <a:gd name="T10" fmla="*/ 4 w 162"/>
              <a:gd name="T11" fmla="*/ 118 h 200"/>
              <a:gd name="T12" fmla="*/ 10 w 162"/>
              <a:gd name="T13" fmla="*/ 130 h 200"/>
              <a:gd name="T14" fmla="*/ 16 w 162"/>
              <a:gd name="T15" fmla="*/ 138 h 200"/>
              <a:gd name="T16" fmla="*/ 22 w 162"/>
              <a:gd name="T17" fmla="*/ 154 h 200"/>
              <a:gd name="T18" fmla="*/ 26 w 162"/>
              <a:gd name="T19" fmla="*/ 166 h 200"/>
              <a:gd name="T20" fmla="*/ 26 w 162"/>
              <a:gd name="T21" fmla="*/ 174 h 200"/>
              <a:gd name="T22" fmla="*/ 36 w 162"/>
              <a:gd name="T23" fmla="*/ 196 h 200"/>
              <a:gd name="T24" fmla="*/ 50 w 162"/>
              <a:gd name="T25" fmla="*/ 190 h 200"/>
              <a:gd name="T26" fmla="*/ 66 w 162"/>
              <a:gd name="T27" fmla="*/ 190 h 200"/>
              <a:gd name="T28" fmla="*/ 72 w 162"/>
              <a:gd name="T29" fmla="*/ 200 h 200"/>
              <a:gd name="T30" fmla="*/ 76 w 162"/>
              <a:gd name="T31" fmla="*/ 192 h 200"/>
              <a:gd name="T32" fmla="*/ 82 w 162"/>
              <a:gd name="T33" fmla="*/ 190 h 200"/>
              <a:gd name="T34" fmla="*/ 110 w 162"/>
              <a:gd name="T35" fmla="*/ 166 h 200"/>
              <a:gd name="T36" fmla="*/ 114 w 162"/>
              <a:gd name="T37" fmla="*/ 156 h 200"/>
              <a:gd name="T38" fmla="*/ 122 w 162"/>
              <a:gd name="T39" fmla="*/ 144 h 200"/>
              <a:gd name="T40" fmla="*/ 156 w 162"/>
              <a:gd name="T41" fmla="*/ 154 h 200"/>
              <a:gd name="T42" fmla="*/ 158 w 162"/>
              <a:gd name="T43" fmla="*/ 148 h 200"/>
              <a:gd name="T44" fmla="*/ 162 w 162"/>
              <a:gd name="T45" fmla="*/ 130 h 200"/>
              <a:gd name="T46" fmla="*/ 162 w 162"/>
              <a:gd name="T47" fmla="*/ 122 h 200"/>
              <a:gd name="T48" fmla="*/ 156 w 162"/>
              <a:gd name="T49" fmla="*/ 114 h 200"/>
              <a:gd name="T50" fmla="*/ 150 w 162"/>
              <a:gd name="T51" fmla="*/ 104 h 200"/>
              <a:gd name="T52" fmla="*/ 132 w 162"/>
              <a:gd name="T53" fmla="*/ 96 h 200"/>
              <a:gd name="T54" fmla="*/ 128 w 162"/>
              <a:gd name="T55" fmla="*/ 88 h 200"/>
              <a:gd name="T56" fmla="*/ 126 w 162"/>
              <a:gd name="T57" fmla="*/ 78 h 200"/>
              <a:gd name="T58" fmla="*/ 132 w 162"/>
              <a:gd name="T59" fmla="*/ 72 h 200"/>
              <a:gd name="T60" fmla="*/ 126 w 162"/>
              <a:gd name="T61" fmla="*/ 56 h 200"/>
              <a:gd name="T62" fmla="*/ 122 w 162"/>
              <a:gd name="T63" fmla="*/ 50 h 200"/>
              <a:gd name="T64" fmla="*/ 114 w 162"/>
              <a:gd name="T65" fmla="*/ 50 h 200"/>
              <a:gd name="T66" fmla="*/ 104 w 162"/>
              <a:gd name="T67" fmla="*/ 48 h 200"/>
              <a:gd name="T68" fmla="*/ 94 w 162"/>
              <a:gd name="T69" fmla="*/ 42 h 200"/>
              <a:gd name="T70" fmla="*/ 88 w 162"/>
              <a:gd name="T71" fmla="*/ 36 h 200"/>
              <a:gd name="T72" fmla="*/ 78 w 162"/>
              <a:gd name="T73" fmla="*/ 28 h 200"/>
              <a:gd name="T74" fmla="*/ 72 w 162"/>
              <a:gd name="T75" fmla="*/ 26 h 200"/>
              <a:gd name="T76" fmla="*/ 68 w 162"/>
              <a:gd name="T77" fmla="*/ 28 h 200"/>
              <a:gd name="T78" fmla="*/ 58 w 162"/>
              <a:gd name="T79" fmla="*/ 22 h 200"/>
              <a:gd name="T80" fmla="*/ 56 w 162"/>
              <a:gd name="T81" fmla="*/ 14 h 200"/>
              <a:gd name="T82" fmla="*/ 58 w 162"/>
              <a:gd name="T83" fmla="*/ 0 h 200"/>
              <a:gd name="T84" fmla="*/ 44 w 162"/>
              <a:gd name="T85" fmla="*/ 2 h 200"/>
              <a:gd name="T86" fmla="*/ 30 w 162"/>
              <a:gd name="T87" fmla="*/ 8 h 200"/>
              <a:gd name="T88" fmla="*/ 16 w 162"/>
              <a:gd name="T89" fmla="*/ 22 h 200"/>
              <a:gd name="T90" fmla="*/ 14 w 162"/>
              <a:gd name="T91" fmla="*/ 24 h 200"/>
              <a:gd name="T92" fmla="*/ 14 w 162"/>
              <a:gd name="T93" fmla="*/ 28 h 200"/>
              <a:gd name="T94" fmla="*/ 6 w 162"/>
              <a:gd name="T95" fmla="*/ 28 h 200"/>
              <a:gd name="T96" fmla="*/ 0 w 162"/>
              <a:gd name="T97" fmla="*/ 28 h 200"/>
              <a:gd name="T98" fmla="*/ 4 w 162"/>
              <a:gd name="T99" fmla="*/ 54 h 200"/>
              <a:gd name="T100" fmla="*/ 4 w 162"/>
              <a:gd name="T101" fmla="*/ 66 h 200"/>
              <a:gd name="T102" fmla="*/ 6 w 162"/>
              <a:gd name="T103" fmla="*/ 76 h 200"/>
              <a:gd name="T104" fmla="*/ 8 w 162"/>
              <a:gd name="T105" fmla="*/ 8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 h="200">
                <a:moveTo>
                  <a:pt x="10" y="86"/>
                </a:moveTo>
                <a:lnTo>
                  <a:pt x="10" y="86"/>
                </a:lnTo>
                <a:lnTo>
                  <a:pt x="12" y="86"/>
                </a:lnTo>
                <a:lnTo>
                  <a:pt x="12" y="86"/>
                </a:lnTo>
                <a:lnTo>
                  <a:pt x="14" y="90"/>
                </a:lnTo>
                <a:lnTo>
                  <a:pt x="14" y="92"/>
                </a:lnTo>
                <a:lnTo>
                  <a:pt x="14" y="92"/>
                </a:lnTo>
                <a:lnTo>
                  <a:pt x="12" y="92"/>
                </a:lnTo>
                <a:lnTo>
                  <a:pt x="12" y="92"/>
                </a:lnTo>
                <a:lnTo>
                  <a:pt x="10" y="90"/>
                </a:lnTo>
                <a:lnTo>
                  <a:pt x="10" y="90"/>
                </a:lnTo>
                <a:lnTo>
                  <a:pt x="10" y="90"/>
                </a:lnTo>
                <a:lnTo>
                  <a:pt x="10" y="94"/>
                </a:lnTo>
                <a:lnTo>
                  <a:pt x="12" y="96"/>
                </a:lnTo>
                <a:lnTo>
                  <a:pt x="10" y="98"/>
                </a:lnTo>
                <a:lnTo>
                  <a:pt x="10" y="98"/>
                </a:lnTo>
                <a:lnTo>
                  <a:pt x="2" y="110"/>
                </a:lnTo>
                <a:lnTo>
                  <a:pt x="4" y="118"/>
                </a:lnTo>
                <a:lnTo>
                  <a:pt x="4" y="118"/>
                </a:lnTo>
                <a:lnTo>
                  <a:pt x="8" y="124"/>
                </a:lnTo>
                <a:lnTo>
                  <a:pt x="10" y="130"/>
                </a:lnTo>
                <a:lnTo>
                  <a:pt x="12" y="132"/>
                </a:lnTo>
                <a:lnTo>
                  <a:pt x="12" y="132"/>
                </a:lnTo>
                <a:lnTo>
                  <a:pt x="16" y="138"/>
                </a:lnTo>
                <a:lnTo>
                  <a:pt x="18" y="140"/>
                </a:lnTo>
                <a:lnTo>
                  <a:pt x="18" y="140"/>
                </a:lnTo>
                <a:lnTo>
                  <a:pt x="22" y="154"/>
                </a:lnTo>
                <a:lnTo>
                  <a:pt x="22" y="154"/>
                </a:lnTo>
                <a:lnTo>
                  <a:pt x="22" y="160"/>
                </a:lnTo>
                <a:lnTo>
                  <a:pt x="26" y="166"/>
                </a:lnTo>
                <a:lnTo>
                  <a:pt x="26" y="166"/>
                </a:lnTo>
                <a:lnTo>
                  <a:pt x="26" y="170"/>
                </a:lnTo>
                <a:lnTo>
                  <a:pt x="26" y="174"/>
                </a:lnTo>
                <a:lnTo>
                  <a:pt x="26" y="180"/>
                </a:lnTo>
                <a:lnTo>
                  <a:pt x="28" y="192"/>
                </a:lnTo>
                <a:lnTo>
                  <a:pt x="36" y="196"/>
                </a:lnTo>
                <a:lnTo>
                  <a:pt x="46" y="188"/>
                </a:lnTo>
                <a:lnTo>
                  <a:pt x="46" y="188"/>
                </a:lnTo>
                <a:lnTo>
                  <a:pt x="50" y="190"/>
                </a:lnTo>
                <a:lnTo>
                  <a:pt x="58" y="190"/>
                </a:lnTo>
                <a:lnTo>
                  <a:pt x="66" y="190"/>
                </a:lnTo>
                <a:lnTo>
                  <a:pt x="66" y="190"/>
                </a:lnTo>
                <a:lnTo>
                  <a:pt x="72" y="198"/>
                </a:lnTo>
                <a:lnTo>
                  <a:pt x="72" y="198"/>
                </a:lnTo>
                <a:lnTo>
                  <a:pt x="72" y="200"/>
                </a:lnTo>
                <a:lnTo>
                  <a:pt x="72" y="200"/>
                </a:lnTo>
                <a:lnTo>
                  <a:pt x="76" y="192"/>
                </a:lnTo>
                <a:lnTo>
                  <a:pt x="76" y="192"/>
                </a:lnTo>
                <a:lnTo>
                  <a:pt x="78" y="190"/>
                </a:lnTo>
                <a:lnTo>
                  <a:pt x="80" y="188"/>
                </a:lnTo>
                <a:lnTo>
                  <a:pt x="82" y="190"/>
                </a:lnTo>
                <a:lnTo>
                  <a:pt x="100" y="190"/>
                </a:lnTo>
                <a:lnTo>
                  <a:pt x="110" y="172"/>
                </a:lnTo>
                <a:lnTo>
                  <a:pt x="110" y="166"/>
                </a:lnTo>
                <a:lnTo>
                  <a:pt x="110" y="166"/>
                </a:lnTo>
                <a:lnTo>
                  <a:pt x="112" y="162"/>
                </a:lnTo>
                <a:lnTo>
                  <a:pt x="114" y="156"/>
                </a:lnTo>
                <a:lnTo>
                  <a:pt x="114" y="156"/>
                </a:lnTo>
                <a:lnTo>
                  <a:pt x="118" y="150"/>
                </a:lnTo>
                <a:lnTo>
                  <a:pt x="122" y="144"/>
                </a:lnTo>
                <a:lnTo>
                  <a:pt x="138" y="144"/>
                </a:lnTo>
                <a:lnTo>
                  <a:pt x="150" y="146"/>
                </a:lnTo>
                <a:lnTo>
                  <a:pt x="156" y="154"/>
                </a:lnTo>
                <a:lnTo>
                  <a:pt x="160" y="152"/>
                </a:lnTo>
                <a:lnTo>
                  <a:pt x="158" y="148"/>
                </a:lnTo>
                <a:lnTo>
                  <a:pt x="158" y="148"/>
                </a:lnTo>
                <a:lnTo>
                  <a:pt x="160" y="140"/>
                </a:lnTo>
                <a:lnTo>
                  <a:pt x="162" y="130"/>
                </a:lnTo>
                <a:lnTo>
                  <a:pt x="162" y="130"/>
                </a:lnTo>
                <a:lnTo>
                  <a:pt x="162" y="126"/>
                </a:lnTo>
                <a:lnTo>
                  <a:pt x="162" y="122"/>
                </a:lnTo>
                <a:lnTo>
                  <a:pt x="162" y="122"/>
                </a:lnTo>
                <a:lnTo>
                  <a:pt x="160" y="118"/>
                </a:lnTo>
                <a:lnTo>
                  <a:pt x="156" y="114"/>
                </a:lnTo>
                <a:lnTo>
                  <a:pt x="156" y="114"/>
                </a:lnTo>
                <a:lnTo>
                  <a:pt x="152" y="110"/>
                </a:lnTo>
                <a:lnTo>
                  <a:pt x="150" y="104"/>
                </a:lnTo>
                <a:lnTo>
                  <a:pt x="150" y="104"/>
                </a:lnTo>
                <a:lnTo>
                  <a:pt x="150" y="98"/>
                </a:lnTo>
                <a:lnTo>
                  <a:pt x="152" y="96"/>
                </a:lnTo>
                <a:lnTo>
                  <a:pt x="132" y="96"/>
                </a:lnTo>
                <a:lnTo>
                  <a:pt x="132" y="96"/>
                </a:lnTo>
                <a:lnTo>
                  <a:pt x="130" y="94"/>
                </a:lnTo>
                <a:lnTo>
                  <a:pt x="128" y="88"/>
                </a:lnTo>
                <a:lnTo>
                  <a:pt x="128" y="88"/>
                </a:lnTo>
                <a:lnTo>
                  <a:pt x="126" y="84"/>
                </a:lnTo>
                <a:lnTo>
                  <a:pt x="126" y="78"/>
                </a:lnTo>
                <a:lnTo>
                  <a:pt x="126" y="78"/>
                </a:lnTo>
                <a:lnTo>
                  <a:pt x="132" y="72"/>
                </a:lnTo>
                <a:lnTo>
                  <a:pt x="132" y="72"/>
                </a:lnTo>
                <a:lnTo>
                  <a:pt x="128" y="62"/>
                </a:lnTo>
                <a:lnTo>
                  <a:pt x="128" y="62"/>
                </a:lnTo>
                <a:lnTo>
                  <a:pt x="126" y="56"/>
                </a:lnTo>
                <a:lnTo>
                  <a:pt x="124" y="50"/>
                </a:lnTo>
                <a:lnTo>
                  <a:pt x="124" y="50"/>
                </a:lnTo>
                <a:lnTo>
                  <a:pt x="122" y="50"/>
                </a:lnTo>
                <a:lnTo>
                  <a:pt x="120" y="50"/>
                </a:lnTo>
                <a:lnTo>
                  <a:pt x="114" y="50"/>
                </a:lnTo>
                <a:lnTo>
                  <a:pt x="114" y="50"/>
                </a:lnTo>
                <a:lnTo>
                  <a:pt x="110" y="50"/>
                </a:lnTo>
                <a:lnTo>
                  <a:pt x="104" y="48"/>
                </a:lnTo>
                <a:lnTo>
                  <a:pt x="104" y="48"/>
                </a:lnTo>
                <a:lnTo>
                  <a:pt x="102" y="48"/>
                </a:lnTo>
                <a:lnTo>
                  <a:pt x="98" y="46"/>
                </a:lnTo>
                <a:lnTo>
                  <a:pt x="94" y="42"/>
                </a:lnTo>
                <a:lnTo>
                  <a:pt x="94" y="42"/>
                </a:lnTo>
                <a:lnTo>
                  <a:pt x="92" y="40"/>
                </a:lnTo>
                <a:lnTo>
                  <a:pt x="88" y="36"/>
                </a:lnTo>
                <a:lnTo>
                  <a:pt x="88" y="36"/>
                </a:lnTo>
                <a:lnTo>
                  <a:pt x="82" y="32"/>
                </a:lnTo>
                <a:lnTo>
                  <a:pt x="78" y="28"/>
                </a:lnTo>
                <a:lnTo>
                  <a:pt x="78" y="28"/>
                </a:lnTo>
                <a:lnTo>
                  <a:pt x="74" y="26"/>
                </a:lnTo>
                <a:lnTo>
                  <a:pt x="72" y="26"/>
                </a:lnTo>
                <a:lnTo>
                  <a:pt x="70" y="28"/>
                </a:lnTo>
                <a:lnTo>
                  <a:pt x="68" y="28"/>
                </a:lnTo>
                <a:lnTo>
                  <a:pt x="68" y="28"/>
                </a:lnTo>
                <a:lnTo>
                  <a:pt x="62" y="26"/>
                </a:lnTo>
                <a:lnTo>
                  <a:pt x="62" y="26"/>
                </a:lnTo>
                <a:lnTo>
                  <a:pt x="58" y="22"/>
                </a:lnTo>
                <a:lnTo>
                  <a:pt x="56" y="18"/>
                </a:lnTo>
                <a:lnTo>
                  <a:pt x="56" y="18"/>
                </a:lnTo>
                <a:lnTo>
                  <a:pt x="56" y="14"/>
                </a:lnTo>
                <a:lnTo>
                  <a:pt x="58" y="10"/>
                </a:lnTo>
                <a:lnTo>
                  <a:pt x="60" y="4"/>
                </a:lnTo>
                <a:lnTo>
                  <a:pt x="58" y="0"/>
                </a:lnTo>
                <a:lnTo>
                  <a:pt x="52" y="0"/>
                </a:lnTo>
                <a:lnTo>
                  <a:pt x="52" y="0"/>
                </a:lnTo>
                <a:lnTo>
                  <a:pt x="44" y="2"/>
                </a:lnTo>
                <a:lnTo>
                  <a:pt x="36" y="4"/>
                </a:lnTo>
                <a:lnTo>
                  <a:pt x="36" y="4"/>
                </a:lnTo>
                <a:lnTo>
                  <a:pt x="30" y="8"/>
                </a:lnTo>
                <a:lnTo>
                  <a:pt x="26" y="12"/>
                </a:lnTo>
                <a:lnTo>
                  <a:pt x="22" y="20"/>
                </a:lnTo>
                <a:lnTo>
                  <a:pt x="16" y="22"/>
                </a:lnTo>
                <a:lnTo>
                  <a:pt x="16" y="22"/>
                </a:lnTo>
                <a:lnTo>
                  <a:pt x="16" y="22"/>
                </a:lnTo>
                <a:lnTo>
                  <a:pt x="14" y="24"/>
                </a:lnTo>
                <a:lnTo>
                  <a:pt x="14" y="26"/>
                </a:lnTo>
                <a:lnTo>
                  <a:pt x="14" y="26"/>
                </a:lnTo>
                <a:lnTo>
                  <a:pt x="14" y="28"/>
                </a:lnTo>
                <a:lnTo>
                  <a:pt x="12" y="28"/>
                </a:lnTo>
                <a:lnTo>
                  <a:pt x="10" y="30"/>
                </a:lnTo>
                <a:lnTo>
                  <a:pt x="6" y="28"/>
                </a:lnTo>
                <a:lnTo>
                  <a:pt x="6" y="28"/>
                </a:lnTo>
                <a:lnTo>
                  <a:pt x="2" y="28"/>
                </a:lnTo>
                <a:lnTo>
                  <a:pt x="0" y="28"/>
                </a:lnTo>
                <a:lnTo>
                  <a:pt x="8" y="44"/>
                </a:lnTo>
                <a:lnTo>
                  <a:pt x="4" y="54"/>
                </a:lnTo>
                <a:lnTo>
                  <a:pt x="4" y="54"/>
                </a:lnTo>
                <a:lnTo>
                  <a:pt x="4" y="60"/>
                </a:lnTo>
                <a:lnTo>
                  <a:pt x="4" y="66"/>
                </a:lnTo>
                <a:lnTo>
                  <a:pt x="4" y="66"/>
                </a:lnTo>
                <a:lnTo>
                  <a:pt x="8" y="74"/>
                </a:lnTo>
                <a:lnTo>
                  <a:pt x="8" y="74"/>
                </a:lnTo>
                <a:lnTo>
                  <a:pt x="6" y="76"/>
                </a:lnTo>
                <a:lnTo>
                  <a:pt x="6" y="80"/>
                </a:lnTo>
                <a:lnTo>
                  <a:pt x="6" y="80"/>
                </a:lnTo>
                <a:lnTo>
                  <a:pt x="8" y="84"/>
                </a:lnTo>
                <a:lnTo>
                  <a:pt x="8" y="86"/>
                </a:lnTo>
                <a:lnTo>
                  <a:pt x="10" y="8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6" name="Freeform 262">
            <a:extLst>
              <a:ext uri="{FF2B5EF4-FFF2-40B4-BE49-F238E27FC236}">
                <a16:creationId xmlns:a16="http://schemas.microsoft.com/office/drawing/2014/main" id="{65F2EC27-C0FA-4675-B2FB-5628A6976A39}"/>
              </a:ext>
            </a:extLst>
          </p:cNvPr>
          <p:cNvSpPr>
            <a:spLocks noEditPoints="1"/>
          </p:cNvSpPr>
          <p:nvPr userDrawn="1"/>
        </p:nvSpPr>
        <p:spPr bwMode="auto">
          <a:xfrm>
            <a:off x="4205253" y="4312131"/>
            <a:ext cx="436505" cy="1067344"/>
          </a:xfrm>
          <a:custGeom>
            <a:avLst/>
            <a:gdLst>
              <a:gd name="T0" fmla="*/ 116 w 260"/>
              <a:gd name="T1" fmla="*/ 10 h 622"/>
              <a:gd name="T2" fmla="*/ 80 w 260"/>
              <a:gd name="T3" fmla="*/ 16 h 622"/>
              <a:gd name="T4" fmla="*/ 76 w 260"/>
              <a:gd name="T5" fmla="*/ 40 h 622"/>
              <a:gd name="T6" fmla="*/ 70 w 260"/>
              <a:gd name="T7" fmla="*/ 74 h 622"/>
              <a:gd name="T8" fmla="*/ 62 w 260"/>
              <a:gd name="T9" fmla="*/ 102 h 622"/>
              <a:gd name="T10" fmla="*/ 50 w 260"/>
              <a:gd name="T11" fmla="*/ 148 h 622"/>
              <a:gd name="T12" fmla="*/ 46 w 260"/>
              <a:gd name="T13" fmla="*/ 192 h 622"/>
              <a:gd name="T14" fmla="*/ 38 w 260"/>
              <a:gd name="T15" fmla="*/ 236 h 622"/>
              <a:gd name="T16" fmla="*/ 32 w 260"/>
              <a:gd name="T17" fmla="*/ 258 h 622"/>
              <a:gd name="T18" fmla="*/ 30 w 260"/>
              <a:gd name="T19" fmla="*/ 292 h 622"/>
              <a:gd name="T20" fmla="*/ 16 w 260"/>
              <a:gd name="T21" fmla="*/ 326 h 622"/>
              <a:gd name="T22" fmla="*/ 18 w 260"/>
              <a:gd name="T23" fmla="*/ 352 h 622"/>
              <a:gd name="T24" fmla="*/ 20 w 260"/>
              <a:gd name="T25" fmla="*/ 388 h 622"/>
              <a:gd name="T26" fmla="*/ 24 w 260"/>
              <a:gd name="T27" fmla="*/ 412 h 622"/>
              <a:gd name="T28" fmla="*/ 18 w 260"/>
              <a:gd name="T29" fmla="*/ 432 h 622"/>
              <a:gd name="T30" fmla="*/ 18 w 260"/>
              <a:gd name="T31" fmla="*/ 462 h 622"/>
              <a:gd name="T32" fmla="*/ 14 w 260"/>
              <a:gd name="T33" fmla="*/ 488 h 622"/>
              <a:gd name="T34" fmla="*/ 0 w 260"/>
              <a:gd name="T35" fmla="*/ 518 h 622"/>
              <a:gd name="T36" fmla="*/ 10 w 260"/>
              <a:gd name="T37" fmla="*/ 530 h 622"/>
              <a:gd name="T38" fmla="*/ 22 w 260"/>
              <a:gd name="T39" fmla="*/ 564 h 622"/>
              <a:gd name="T40" fmla="*/ 56 w 260"/>
              <a:gd name="T41" fmla="*/ 554 h 622"/>
              <a:gd name="T42" fmla="*/ 58 w 260"/>
              <a:gd name="T43" fmla="*/ 534 h 622"/>
              <a:gd name="T44" fmla="*/ 58 w 260"/>
              <a:gd name="T45" fmla="*/ 520 h 622"/>
              <a:gd name="T46" fmla="*/ 76 w 260"/>
              <a:gd name="T47" fmla="*/ 520 h 622"/>
              <a:gd name="T48" fmla="*/ 82 w 260"/>
              <a:gd name="T49" fmla="*/ 500 h 622"/>
              <a:gd name="T50" fmla="*/ 102 w 260"/>
              <a:gd name="T51" fmla="*/ 482 h 622"/>
              <a:gd name="T52" fmla="*/ 92 w 260"/>
              <a:gd name="T53" fmla="*/ 464 h 622"/>
              <a:gd name="T54" fmla="*/ 74 w 260"/>
              <a:gd name="T55" fmla="*/ 444 h 622"/>
              <a:gd name="T56" fmla="*/ 104 w 260"/>
              <a:gd name="T57" fmla="*/ 424 h 622"/>
              <a:gd name="T58" fmla="*/ 108 w 260"/>
              <a:gd name="T59" fmla="*/ 402 h 622"/>
              <a:gd name="T60" fmla="*/ 112 w 260"/>
              <a:gd name="T61" fmla="*/ 378 h 622"/>
              <a:gd name="T62" fmla="*/ 124 w 260"/>
              <a:gd name="T63" fmla="*/ 382 h 622"/>
              <a:gd name="T64" fmla="*/ 124 w 260"/>
              <a:gd name="T65" fmla="*/ 368 h 622"/>
              <a:gd name="T66" fmla="*/ 114 w 260"/>
              <a:gd name="T67" fmla="*/ 358 h 622"/>
              <a:gd name="T68" fmla="*/ 112 w 260"/>
              <a:gd name="T69" fmla="*/ 344 h 622"/>
              <a:gd name="T70" fmla="*/ 132 w 260"/>
              <a:gd name="T71" fmla="*/ 352 h 622"/>
              <a:gd name="T72" fmla="*/ 148 w 260"/>
              <a:gd name="T73" fmla="*/ 336 h 622"/>
              <a:gd name="T74" fmla="*/ 144 w 260"/>
              <a:gd name="T75" fmla="*/ 310 h 622"/>
              <a:gd name="T76" fmla="*/ 152 w 260"/>
              <a:gd name="T77" fmla="*/ 306 h 622"/>
              <a:gd name="T78" fmla="*/ 188 w 260"/>
              <a:gd name="T79" fmla="*/ 300 h 622"/>
              <a:gd name="T80" fmla="*/ 222 w 260"/>
              <a:gd name="T81" fmla="*/ 258 h 622"/>
              <a:gd name="T82" fmla="*/ 210 w 260"/>
              <a:gd name="T83" fmla="*/ 250 h 622"/>
              <a:gd name="T84" fmla="*/ 200 w 260"/>
              <a:gd name="T85" fmla="*/ 230 h 622"/>
              <a:gd name="T86" fmla="*/ 194 w 260"/>
              <a:gd name="T87" fmla="*/ 212 h 622"/>
              <a:gd name="T88" fmla="*/ 202 w 260"/>
              <a:gd name="T89" fmla="*/ 180 h 622"/>
              <a:gd name="T90" fmla="*/ 208 w 260"/>
              <a:gd name="T91" fmla="*/ 154 h 622"/>
              <a:gd name="T92" fmla="*/ 222 w 260"/>
              <a:gd name="T93" fmla="*/ 124 h 622"/>
              <a:gd name="T94" fmla="*/ 244 w 260"/>
              <a:gd name="T95" fmla="*/ 102 h 622"/>
              <a:gd name="T96" fmla="*/ 260 w 260"/>
              <a:gd name="T97" fmla="*/ 92 h 622"/>
              <a:gd name="T98" fmla="*/ 252 w 260"/>
              <a:gd name="T99" fmla="*/ 68 h 622"/>
              <a:gd name="T100" fmla="*/ 244 w 260"/>
              <a:gd name="T101" fmla="*/ 86 h 622"/>
              <a:gd name="T102" fmla="*/ 216 w 260"/>
              <a:gd name="T103" fmla="*/ 96 h 622"/>
              <a:gd name="T104" fmla="*/ 194 w 260"/>
              <a:gd name="T105" fmla="*/ 94 h 622"/>
              <a:gd name="T106" fmla="*/ 204 w 260"/>
              <a:gd name="T107" fmla="*/ 60 h 622"/>
              <a:gd name="T108" fmla="*/ 180 w 260"/>
              <a:gd name="T109" fmla="*/ 42 h 622"/>
              <a:gd name="T110" fmla="*/ 162 w 260"/>
              <a:gd name="T111" fmla="*/ 20 h 622"/>
              <a:gd name="T112" fmla="*/ 80 w 260"/>
              <a:gd name="T113" fmla="*/ 620 h 622"/>
              <a:gd name="T114" fmla="*/ 102 w 260"/>
              <a:gd name="T115" fmla="*/ 620 h 622"/>
              <a:gd name="T116" fmla="*/ 80 w 260"/>
              <a:gd name="T117" fmla="*/ 606 h 622"/>
              <a:gd name="T118" fmla="*/ 62 w 260"/>
              <a:gd name="T119" fmla="*/ 586 h 622"/>
              <a:gd name="T120" fmla="*/ 60 w 260"/>
              <a:gd name="T121" fmla="*/ 574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622">
                <a:moveTo>
                  <a:pt x="144" y="2"/>
                </a:moveTo>
                <a:lnTo>
                  <a:pt x="126" y="2"/>
                </a:lnTo>
                <a:lnTo>
                  <a:pt x="126" y="2"/>
                </a:lnTo>
                <a:lnTo>
                  <a:pt x="124" y="0"/>
                </a:lnTo>
                <a:lnTo>
                  <a:pt x="122" y="2"/>
                </a:lnTo>
                <a:lnTo>
                  <a:pt x="120" y="4"/>
                </a:lnTo>
                <a:lnTo>
                  <a:pt x="120" y="4"/>
                </a:lnTo>
                <a:lnTo>
                  <a:pt x="116" y="12"/>
                </a:lnTo>
                <a:lnTo>
                  <a:pt x="116" y="12"/>
                </a:lnTo>
                <a:lnTo>
                  <a:pt x="116" y="10"/>
                </a:lnTo>
                <a:lnTo>
                  <a:pt x="116" y="10"/>
                </a:lnTo>
                <a:lnTo>
                  <a:pt x="110" y="2"/>
                </a:lnTo>
                <a:lnTo>
                  <a:pt x="102" y="2"/>
                </a:lnTo>
                <a:lnTo>
                  <a:pt x="102" y="2"/>
                </a:lnTo>
                <a:lnTo>
                  <a:pt x="94" y="2"/>
                </a:lnTo>
                <a:lnTo>
                  <a:pt x="90" y="0"/>
                </a:lnTo>
                <a:lnTo>
                  <a:pt x="80" y="8"/>
                </a:lnTo>
                <a:lnTo>
                  <a:pt x="80" y="8"/>
                </a:lnTo>
                <a:lnTo>
                  <a:pt x="80" y="12"/>
                </a:lnTo>
                <a:lnTo>
                  <a:pt x="80" y="16"/>
                </a:lnTo>
                <a:lnTo>
                  <a:pt x="82" y="18"/>
                </a:lnTo>
                <a:lnTo>
                  <a:pt x="82" y="18"/>
                </a:lnTo>
                <a:lnTo>
                  <a:pt x="86" y="22"/>
                </a:lnTo>
                <a:lnTo>
                  <a:pt x="86" y="24"/>
                </a:lnTo>
                <a:lnTo>
                  <a:pt x="84" y="32"/>
                </a:lnTo>
                <a:lnTo>
                  <a:pt x="84" y="32"/>
                </a:lnTo>
                <a:lnTo>
                  <a:pt x="84" y="36"/>
                </a:lnTo>
                <a:lnTo>
                  <a:pt x="80" y="36"/>
                </a:lnTo>
                <a:lnTo>
                  <a:pt x="78" y="38"/>
                </a:lnTo>
                <a:lnTo>
                  <a:pt x="76" y="40"/>
                </a:lnTo>
                <a:lnTo>
                  <a:pt x="76" y="40"/>
                </a:lnTo>
                <a:lnTo>
                  <a:pt x="74" y="44"/>
                </a:lnTo>
                <a:lnTo>
                  <a:pt x="70" y="46"/>
                </a:lnTo>
                <a:lnTo>
                  <a:pt x="68" y="46"/>
                </a:lnTo>
                <a:lnTo>
                  <a:pt x="66" y="48"/>
                </a:lnTo>
                <a:lnTo>
                  <a:pt x="66" y="48"/>
                </a:lnTo>
                <a:lnTo>
                  <a:pt x="66" y="64"/>
                </a:lnTo>
                <a:lnTo>
                  <a:pt x="66" y="64"/>
                </a:lnTo>
                <a:lnTo>
                  <a:pt x="70" y="72"/>
                </a:lnTo>
                <a:lnTo>
                  <a:pt x="70" y="74"/>
                </a:lnTo>
                <a:lnTo>
                  <a:pt x="68" y="76"/>
                </a:lnTo>
                <a:lnTo>
                  <a:pt x="68" y="76"/>
                </a:lnTo>
                <a:lnTo>
                  <a:pt x="66" y="78"/>
                </a:lnTo>
                <a:lnTo>
                  <a:pt x="66" y="80"/>
                </a:lnTo>
                <a:lnTo>
                  <a:pt x="68" y="84"/>
                </a:lnTo>
                <a:lnTo>
                  <a:pt x="68" y="84"/>
                </a:lnTo>
                <a:lnTo>
                  <a:pt x="68" y="90"/>
                </a:lnTo>
                <a:lnTo>
                  <a:pt x="66" y="96"/>
                </a:lnTo>
                <a:lnTo>
                  <a:pt x="66" y="96"/>
                </a:lnTo>
                <a:lnTo>
                  <a:pt x="62" y="102"/>
                </a:lnTo>
                <a:lnTo>
                  <a:pt x="60" y="108"/>
                </a:lnTo>
                <a:lnTo>
                  <a:pt x="60" y="108"/>
                </a:lnTo>
                <a:lnTo>
                  <a:pt x="58" y="112"/>
                </a:lnTo>
                <a:lnTo>
                  <a:pt x="56" y="114"/>
                </a:lnTo>
                <a:lnTo>
                  <a:pt x="54" y="116"/>
                </a:lnTo>
                <a:lnTo>
                  <a:pt x="52" y="122"/>
                </a:lnTo>
                <a:lnTo>
                  <a:pt x="52" y="122"/>
                </a:lnTo>
                <a:lnTo>
                  <a:pt x="50" y="140"/>
                </a:lnTo>
                <a:lnTo>
                  <a:pt x="50" y="140"/>
                </a:lnTo>
                <a:lnTo>
                  <a:pt x="50" y="148"/>
                </a:lnTo>
                <a:lnTo>
                  <a:pt x="50" y="154"/>
                </a:lnTo>
                <a:lnTo>
                  <a:pt x="50" y="154"/>
                </a:lnTo>
                <a:lnTo>
                  <a:pt x="48" y="158"/>
                </a:lnTo>
                <a:lnTo>
                  <a:pt x="46" y="166"/>
                </a:lnTo>
                <a:lnTo>
                  <a:pt x="46" y="166"/>
                </a:lnTo>
                <a:lnTo>
                  <a:pt x="46" y="174"/>
                </a:lnTo>
                <a:lnTo>
                  <a:pt x="46" y="180"/>
                </a:lnTo>
                <a:lnTo>
                  <a:pt x="46" y="180"/>
                </a:lnTo>
                <a:lnTo>
                  <a:pt x="46" y="188"/>
                </a:lnTo>
                <a:lnTo>
                  <a:pt x="46" y="192"/>
                </a:lnTo>
                <a:lnTo>
                  <a:pt x="46" y="192"/>
                </a:lnTo>
                <a:lnTo>
                  <a:pt x="42" y="198"/>
                </a:lnTo>
                <a:lnTo>
                  <a:pt x="44" y="204"/>
                </a:lnTo>
                <a:lnTo>
                  <a:pt x="44" y="204"/>
                </a:lnTo>
                <a:lnTo>
                  <a:pt x="44" y="210"/>
                </a:lnTo>
                <a:lnTo>
                  <a:pt x="44" y="216"/>
                </a:lnTo>
                <a:lnTo>
                  <a:pt x="44" y="216"/>
                </a:lnTo>
                <a:lnTo>
                  <a:pt x="42" y="226"/>
                </a:lnTo>
                <a:lnTo>
                  <a:pt x="38" y="236"/>
                </a:lnTo>
                <a:lnTo>
                  <a:pt x="38" y="236"/>
                </a:lnTo>
                <a:lnTo>
                  <a:pt x="36" y="242"/>
                </a:lnTo>
                <a:lnTo>
                  <a:pt x="38" y="246"/>
                </a:lnTo>
                <a:lnTo>
                  <a:pt x="38" y="246"/>
                </a:lnTo>
                <a:lnTo>
                  <a:pt x="38" y="252"/>
                </a:lnTo>
                <a:lnTo>
                  <a:pt x="38" y="256"/>
                </a:lnTo>
                <a:lnTo>
                  <a:pt x="38" y="256"/>
                </a:lnTo>
                <a:lnTo>
                  <a:pt x="36" y="258"/>
                </a:lnTo>
                <a:lnTo>
                  <a:pt x="34" y="258"/>
                </a:lnTo>
                <a:lnTo>
                  <a:pt x="32" y="258"/>
                </a:lnTo>
                <a:lnTo>
                  <a:pt x="32" y="258"/>
                </a:lnTo>
                <a:lnTo>
                  <a:pt x="30" y="262"/>
                </a:lnTo>
                <a:lnTo>
                  <a:pt x="28" y="264"/>
                </a:lnTo>
                <a:lnTo>
                  <a:pt x="26" y="268"/>
                </a:lnTo>
                <a:lnTo>
                  <a:pt x="26" y="268"/>
                </a:lnTo>
                <a:lnTo>
                  <a:pt x="26" y="274"/>
                </a:lnTo>
                <a:lnTo>
                  <a:pt x="26" y="282"/>
                </a:lnTo>
                <a:lnTo>
                  <a:pt x="26" y="282"/>
                </a:lnTo>
                <a:lnTo>
                  <a:pt x="26" y="284"/>
                </a:lnTo>
                <a:lnTo>
                  <a:pt x="28" y="286"/>
                </a:lnTo>
                <a:lnTo>
                  <a:pt x="30" y="292"/>
                </a:lnTo>
                <a:lnTo>
                  <a:pt x="30" y="292"/>
                </a:lnTo>
                <a:lnTo>
                  <a:pt x="28" y="294"/>
                </a:lnTo>
                <a:lnTo>
                  <a:pt x="28" y="294"/>
                </a:lnTo>
                <a:lnTo>
                  <a:pt x="26" y="296"/>
                </a:lnTo>
                <a:lnTo>
                  <a:pt x="26" y="296"/>
                </a:lnTo>
                <a:lnTo>
                  <a:pt x="22" y="306"/>
                </a:lnTo>
                <a:lnTo>
                  <a:pt x="20" y="316"/>
                </a:lnTo>
                <a:lnTo>
                  <a:pt x="20" y="316"/>
                </a:lnTo>
                <a:lnTo>
                  <a:pt x="20" y="322"/>
                </a:lnTo>
                <a:lnTo>
                  <a:pt x="16" y="326"/>
                </a:lnTo>
                <a:lnTo>
                  <a:pt x="16" y="326"/>
                </a:lnTo>
                <a:lnTo>
                  <a:pt x="14" y="330"/>
                </a:lnTo>
                <a:lnTo>
                  <a:pt x="16" y="332"/>
                </a:lnTo>
                <a:lnTo>
                  <a:pt x="16" y="336"/>
                </a:lnTo>
                <a:lnTo>
                  <a:pt x="18" y="340"/>
                </a:lnTo>
                <a:lnTo>
                  <a:pt x="18" y="340"/>
                </a:lnTo>
                <a:lnTo>
                  <a:pt x="16" y="346"/>
                </a:lnTo>
                <a:lnTo>
                  <a:pt x="16" y="350"/>
                </a:lnTo>
                <a:lnTo>
                  <a:pt x="18" y="352"/>
                </a:lnTo>
                <a:lnTo>
                  <a:pt x="18" y="352"/>
                </a:lnTo>
                <a:lnTo>
                  <a:pt x="22" y="352"/>
                </a:lnTo>
                <a:lnTo>
                  <a:pt x="22" y="356"/>
                </a:lnTo>
                <a:lnTo>
                  <a:pt x="22" y="356"/>
                </a:lnTo>
                <a:lnTo>
                  <a:pt x="22" y="368"/>
                </a:lnTo>
                <a:lnTo>
                  <a:pt x="22" y="368"/>
                </a:lnTo>
                <a:lnTo>
                  <a:pt x="18" y="376"/>
                </a:lnTo>
                <a:lnTo>
                  <a:pt x="18" y="380"/>
                </a:lnTo>
                <a:lnTo>
                  <a:pt x="18" y="382"/>
                </a:lnTo>
                <a:lnTo>
                  <a:pt x="18" y="382"/>
                </a:lnTo>
                <a:lnTo>
                  <a:pt x="20" y="388"/>
                </a:lnTo>
                <a:lnTo>
                  <a:pt x="22" y="390"/>
                </a:lnTo>
                <a:lnTo>
                  <a:pt x="22" y="392"/>
                </a:lnTo>
                <a:lnTo>
                  <a:pt x="22" y="392"/>
                </a:lnTo>
                <a:lnTo>
                  <a:pt x="22" y="396"/>
                </a:lnTo>
                <a:lnTo>
                  <a:pt x="22" y="402"/>
                </a:lnTo>
                <a:lnTo>
                  <a:pt x="22" y="402"/>
                </a:lnTo>
                <a:lnTo>
                  <a:pt x="24" y="408"/>
                </a:lnTo>
                <a:lnTo>
                  <a:pt x="24" y="410"/>
                </a:lnTo>
                <a:lnTo>
                  <a:pt x="24" y="412"/>
                </a:lnTo>
                <a:lnTo>
                  <a:pt x="24" y="412"/>
                </a:lnTo>
                <a:lnTo>
                  <a:pt x="22" y="416"/>
                </a:lnTo>
                <a:lnTo>
                  <a:pt x="22" y="420"/>
                </a:lnTo>
                <a:lnTo>
                  <a:pt x="22" y="420"/>
                </a:lnTo>
                <a:lnTo>
                  <a:pt x="24" y="424"/>
                </a:lnTo>
                <a:lnTo>
                  <a:pt x="24" y="424"/>
                </a:lnTo>
                <a:lnTo>
                  <a:pt x="22" y="426"/>
                </a:lnTo>
                <a:lnTo>
                  <a:pt x="22" y="426"/>
                </a:lnTo>
                <a:lnTo>
                  <a:pt x="20" y="426"/>
                </a:lnTo>
                <a:lnTo>
                  <a:pt x="20" y="428"/>
                </a:lnTo>
                <a:lnTo>
                  <a:pt x="18" y="432"/>
                </a:lnTo>
                <a:lnTo>
                  <a:pt x="18" y="432"/>
                </a:lnTo>
                <a:lnTo>
                  <a:pt x="18" y="432"/>
                </a:lnTo>
                <a:lnTo>
                  <a:pt x="18" y="434"/>
                </a:lnTo>
                <a:lnTo>
                  <a:pt x="20" y="440"/>
                </a:lnTo>
                <a:lnTo>
                  <a:pt x="20" y="440"/>
                </a:lnTo>
                <a:lnTo>
                  <a:pt x="20" y="444"/>
                </a:lnTo>
                <a:lnTo>
                  <a:pt x="20" y="450"/>
                </a:lnTo>
                <a:lnTo>
                  <a:pt x="20" y="450"/>
                </a:lnTo>
                <a:lnTo>
                  <a:pt x="18" y="456"/>
                </a:lnTo>
                <a:lnTo>
                  <a:pt x="18" y="462"/>
                </a:lnTo>
                <a:lnTo>
                  <a:pt x="18" y="462"/>
                </a:lnTo>
                <a:lnTo>
                  <a:pt x="18" y="466"/>
                </a:lnTo>
                <a:lnTo>
                  <a:pt x="18" y="468"/>
                </a:lnTo>
                <a:lnTo>
                  <a:pt x="18" y="468"/>
                </a:lnTo>
                <a:lnTo>
                  <a:pt x="14" y="472"/>
                </a:lnTo>
                <a:lnTo>
                  <a:pt x="14" y="472"/>
                </a:lnTo>
                <a:lnTo>
                  <a:pt x="12" y="478"/>
                </a:lnTo>
                <a:lnTo>
                  <a:pt x="12" y="482"/>
                </a:lnTo>
                <a:lnTo>
                  <a:pt x="12" y="482"/>
                </a:lnTo>
                <a:lnTo>
                  <a:pt x="14" y="488"/>
                </a:lnTo>
                <a:lnTo>
                  <a:pt x="10" y="492"/>
                </a:lnTo>
                <a:lnTo>
                  <a:pt x="10" y="492"/>
                </a:lnTo>
                <a:lnTo>
                  <a:pt x="4" y="496"/>
                </a:lnTo>
                <a:lnTo>
                  <a:pt x="2" y="498"/>
                </a:lnTo>
                <a:lnTo>
                  <a:pt x="2" y="500"/>
                </a:lnTo>
                <a:lnTo>
                  <a:pt x="2" y="500"/>
                </a:lnTo>
                <a:lnTo>
                  <a:pt x="4" y="508"/>
                </a:lnTo>
                <a:lnTo>
                  <a:pt x="2" y="512"/>
                </a:lnTo>
                <a:lnTo>
                  <a:pt x="2" y="512"/>
                </a:lnTo>
                <a:lnTo>
                  <a:pt x="0" y="518"/>
                </a:lnTo>
                <a:lnTo>
                  <a:pt x="0" y="524"/>
                </a:lnTo>
                <a:lnTo>
                  <a:pt x="0" y="524"/>
                </a:lnTo>
                <a:lnTo>
                  <a:pt x="0" y="530"/>
                </a:lnTo>
                <a:lnTo>
                  <a:pt x="0" y="532"/>
                </a:lnTo>
                <a:lnTo>
                  <a:pt x="2" y="532"/>
                </a:lnTo>
                <a:lnTo>
                  <a:pt x="2" y="532"/>
                </a:lnTo>
                <a:lnTo>
                  <a:pt x="4" y="532"/>
                </a:lnTo>
                <a:lnTo>
                  <a:pt x="6" y="530"/>
                </a:lnTo>
                <a:lnTo>
                  <a:pt x="8" y="530"/>
                </a:lnTo>
                <a:lnTo>
                  <a:pt x="10" y="530"/>
                </a:lnTo>
                <a:lnTo>
                  <a:pt x="10" y="530"/>
                </a:lnTo>
                <a:lnTo>
                  <a:pt x="12" y="536"/>
                </a:lnTo>
                <a:lnTo>
                  <a:pt x="10" y="540"/>
                </a:lnTo>
                <a:lnTo>
                  <a:pt x="10" y="540"/>
                </a:lnTo>
                <a:lnTo>
                  <a:pt x="8" y="542"/>
                </a:lnTo>
                <a:lnTo>
                  <a:pt x="8" y="544"/>
                </a:lnTo>
                <a:lnTo>
                  <a:pt x="10" y="550"/>
                </a:lnTo>
                <a:lnTo>
                  <a:pt x="10" y="550"/>
                </a:lnTo>
                <a:lnTo>
                  <a:pt x="18" y="558"/>
                </a:lnTo>
                <a:lnTo>
                  <a:pt x="22" y="564"/>
                </a:lnTo>
                <a:lnTo>
                  <a:pt x="22" y="564"/>
                </a:lnTo>
                <a:lnTo>
                  <a:pt x="40" y="562"/>
                </a:lnTo>
                <a:lnTo>
                  <a:pt x="40" y="562"/>
                </a:lnTo>
                <a:lnTo>
                  <a:pt x="64" y="564"/>
                </a:lnTo>
                <a:lnTo>
                  <a:pt x="64" y="564"/>
                </a:lnTo>
                <a:lnTo>
                  <a:pt x="60" y="556"/>
                </a:lnTo>
                <a:lnTo>
                  <a:pt x="60" y="556"/>
                </a:lnTo>
                <a:lnTo>
                  <a:pt x="52" y="556"/>
                </a:lnTo>
                <a:lnTo>
                  <a:pt x="52" y="556"/>
                </a:lnTo>
                <a:lnTo>
                  <a:pt x="56" y="554"/>
                </a:lnTo>
                <a:lnTo>
                  <a:pt x="56" y="552"/>
                </a:lnTo>
                <a:lnTo>
                  <a:pt x="54" y="544"/>
                </a:lnTo>
                <a:lnTo>
                  <a:pt x="54" y="544"/>
                </a:lnTo>
                <a:lnTo>
                  <a:pt x="52" y="546"/>
                </a:lnTo>
                <a:lnTo>
                  <a:pt x="52" y="544"/>
                </a:lnTo>
                <a:lnTo>
                  <a:pt x="52" y="544"/>
                </a:lnTo>
                <a:lnTo>
                  <a:pt x="56" y="542"/>
                </a:lnTo>
                <a:lnTo>
                  <a:pt x="56" y="542"/>
                </a:lnTo>
                <a:lnTo>
                  <a:pt x="56" y="536"/>
                </a:lnTo>
                <a:lnTo>
                  <a:pt x="58" y="534"/>
                </a:lnTo>
                <a:lnTo>
                  <a:pt x="60" y="534"/>
                </a:lnTo>
                <a:lnTo>
                  <a:pt x="60" y="532"/>
                </a:lnTo>
                <a:lnTo>
                  <a:pt x="60" y="532"/>
                </a:lnTo>
                <a:lnTo>
                  <a:pt x="64" y="532"/>
                </a:lnTo>
                <a:lnTo>
                  <a:pt x="64" y="532"/>
                </a:lnTo>
                <a:lnTo>
                  <a:pt x="64" y="528"/>
                </a:lnTo>
                <a:lnTo>
                  <a:pt x="64" y="528"/>
                </a:lnTo>
                <a:lnTo>
                  <a:pt x="58" y="524"/>
                </a:lnTo>
                <a:lnTo>
                  <a:pt x="58" y="524"/>
                </a:lnTo>
                <a:lnTo>
                  <a:pt x="58" y="520"/>
                </a:lnTo>
                <a:lnTo>
                  <a:pt x="58" y="520"/>
                </a:lnTo>
                <a:lnTo>
                  <a:pt x="60" y="518"/>
                </a:lnTo>
                <a:lnTo>
                  <a:pt x="60" y="518"/>
                </a:lnTo>
                <a:lnTo>
                  <a:pt x="64" y="520"/>
                </a:lnTo>
                <a:lnTo>
                  <a:pt x="64" y="520"/>
                </a:lnTo>
                <a:lnTo>
                  <a:pt x="66" y="526"/>
                </a:lnTo>
                <a:lnTo>
                  <a:pt x="66" y="526"/>
                </a:lnTo>
                <a:lnTo>
                  <a:pt x="72" y="524"/>
                </a:lnTo>
                <a:lnTo>
                  <a:pt x="76" y="520"/>
                </a:lnTo>
                <a:lnTo>
                  <a:pt x="76" y="520"/>
                </a:lnTo>
                <a:lnTo>
                  <a:pt x="76" y="516"/>
                </a:lnTo>
                <a:lnTo>
                  <a:pt x="76" y="514"/>
                </a:lnTo>
                <a:lnTo>
                  <a:pt x="76" y="512"/>
                </a:lnTo>
                <a:lnTo>
                  <a:pt x="76" y="512"/>
                </a:lnTo>
                <a:lnTo>
                  <a:pt x="74" y="512"/>
                </a:lnTo>
                <a:lnTo>
                  <a:pt x="72" y="512"/>
                </a:lnTo>
                <a:lnTo>
                  <a:pt x="72" y="510"/>
                </a:lnTo>
                <a:lnTo>
                  <a:pt x="72" y="510"/>
                </a:lnTo>
                <a:lnTo>
                  <a:pt x="76" y="506"/>
                </a:lnTo>
                <a:lnTo>
                  <a:pt x="82" y="500"/>
                </a:lnTo>
                <a:lnTo>
                  <a:pt x="82" y="500"/>
                </a:lnTo>
                <a:lnTo>
                  <a:pt x="82" y="496"/>
                </a:lnTo>
                <a:lnTo>
                  <a:pt x="82" y="496"/>
                </a:lnTo>
                <a:lnTo>
                  <a:pt x="86" y="496"/>
                </a:lnTo>
                <a:lnTo>
                  <a:pt x="86" y="496"/>
                </a:lnTo>
                <a:lnTo>
                  <a:pt x="90" y="490"/>
                </a:lnTo>
                <a:lnTo>
                  <a:pt x="90" y="490"/>
                </a:lnTo>
                <a:lnTo>
                  <a:pt x="92" y="490"/>
                </a:lnTo>
                <a:lnTo>
                  <a:pt x="92" y="490"/>
                </a:lnTo>
                <a:lnTo>
                  <a:pt x="102" y="482"/>
                </a:lnTo>
                <a:lnTo>
                  <a:pt x="102" y="482"/>
                </a:lnTo>
                <a:lnTo>
                  <a:pt x="96" y="478"/>
                </a:lnTo>
                <a:lnTo>
                  <a:pt x="96" y="478"/>
                </a:lnTo>
                <a:lnTo>
                  <a:pt x="96" y="478"/>
                </a:lnTo>
                <a:lnTo>
                  <a:pt x="98" y="476"/>
                </a:lnTo>
                <a:lnTo>
                  <a:pt x="98" y="472"/>
                </a:lnTo>
                <a:lnTo>
                  <a:pt x="98" y="466"/>
                </a:lnTo>
                <a:lnTo>
                  <a:pt x="98" y="466"/>
                </a:lnTo>
                <a:lnTo>
                  <a:pt x="96" y="464"/>
                </a:lnTo>
                <a:lnTo>
                  <a:pt x="92" y="464"/>
                </a:lnTo>
                <a:lnTo>
                  <a:pt x="86" y="464"/>
                </a:lnTo>
                <a:lnTo>
                  <a:pt x="86" y="464"/>
                </a:lnTo>
                <a:lnTo>
                  <a:pt x="84" y="458"/>
                </a:lnTo>
                <a:lnTo>
                  <a:pt x="84" y="458"/>
                </a:lnTo>
                <a:lnTo>
                  <a:pt x="80" y="456"/>
                </a:lnTo>
                <a:lnTo>
                  <a:pt x="80" y="456"/>
                </a:lnTo>
                <a:lnTo>
                  <a:pt x="78" y="454"/>
                </a:lnTo>
                <a:lnTo>
                  <a:pt x="76" y="450"/>
                </a:lnTo>
                <a:lnTo>
                  <a:pt x="76" y="450"/>
                </a:lnTo>
                <a:lnTo>
                  <a:pt x="74" y="444"/>
                </a:lnTo>
                <a:lnTo>
                  <a:pt x="78" y="440"/>
                </a:lnTo>
                <a:lnTo>
                  <a:pt x="80" y="440"/>
                </a:lnTo>
                <a:lnTo>
                  <a:pt x="80" y="440"/>
                </a:lnTo>
                <a:lnTo>
                  <a:pt x="80" y="436"/>
                </a:lnTo>
                <a:lnTo>
                  <a:pt x="80" y="436"/>
                </a:lnTo>
                <a:lnTo>
                  <a:pt x="86" y="432"/>
                </a:lnTo>
                <a:lnTo>
                  <a:pt x="86" y="432"/>
                </a:lnTo>
                <a:lnTo>
                  <a:pt x="92" y="424"/>
                </a:lnTo>
                <a:lnTo>
                  <a:pt x="96" y="424"/>
                </a:lnTo>
                <a:lnTo>
                  <a:pt x="104" y="424"/>
                </a:lnTo>
                <a:lnTo>
                  <a:pt x="104" y="424"/>
                </a:lnTo>
                <a:lnTo>
                  <a:pt x="104" y="418"/>
                </a:lnTo>
                <a:lnTo>
                  <a:pt x="104" y="418"/>
                </a:lnTo>
                <a:lnTo>
                  <a:pt x="102" y="418"/>
                </a:lnTo>
                <a:lnTo>
                  <a:pt x="102" y="414"/>
                </a:lnTo>
                <a:lnTo>
                  <a:pt x="108" y="410"/>
                </a:lnTo>
                <a:lnTo>
                  <a:pt x="108" y="410"/>
                </a:lnTo>
                <a:lnTo>
                  <a:pt x="108" y="404"/>
                </a:lnTo>
                <a:lnTo>
                  <a:pt x="108" y="402"/>
                </a:lnTo>
                <a:lnTo>
                  <a:pt x="108" y="402"/>
                </a:lnTo>
                <a:lnTo>
                  <a:pt x="110" y="392"/>
                </a:lnTo>
                <a:lnTo>
                  <a:pt x="112" y="386"/>
                </a:lnTo>
                <a:lnTo>
                  <a:pt x="114" y="384"/>
                </a:lnTo>
                <a:lnTo>
                  <a:pt x="114" y="384"/>
                </a:lnTo>
                <a:lnTo>
                  <a:pt x="120" y="382"/>
                </a:lnTo>
                <a:lnTo>
                  <a:pt x="120" y="382"/>
                </a:lnTo>
                <a:lnTo>
                  <a:pt x="120" y="378"/>
                </a:lnTo>
                <a:lnTo>
                  <a:pt x="120" y="378"/>
                </a:lnTo>
                <a:lnTo>
                  <a:pt x="112" y="378"/>
                </a:lnTo>
                <a:lnTo>
                  <a:pt x="112" y="378"/>
                </a:lnTo>
                <a:lnTo>
                  <a:pt x="112" y="378"/>
                </a:lnTo>
                <a:lnTo>
                  <a:pt x="112" y="378"/>
                </a:lnTo>
                <a:lnTo>
                  <a:pt x="112" y="378"/>
                </a:lnTo>
                <a:lnTo>
                  <a:pt x="116" y="376"/>
                </a:lnTo>
                <a:lnTo>
                  <a:pt x="122" y="376"/>
                </a:lnTo>
                <a:lnTo>
                  <a:pt x="122" y="376"/>
                </a:lnTo>
                <a:lnTo>
                  <a:pt x="124" y="378"/>
                </a:lnTo>
                <a:lnTo>
                  <a:pt x="124" y="378"/>
                </a:lnTo>
                <a:lnTo>
                  <a:pt x="124" y="382"/>
                </a:lnTo>
                <a:lnTo>
                  <a:pt x="124" y="382"/>
                </a:lnTo>
                <a:lnTo>
                  <a:pt x="128" y="380"/>
                </a:lnTo>
                <a:lnTo>
                  <a:pt x="130" y="378"/>
                </a:lnTo>
                <a:lnTo>
                  <a:pt x="132" y="376"/>
                </a:lnTo>
                <a:lnTo>
                  <a:pt x="132" y="376"/>
                </a:lnTo>
                <a:lnTo>
                  <a:pt x="132" y="372"/>
                </a:lnTo>
                <a:lnTo>
                  <a:pt x="132" y="372"/>
                </a:lnTo>
                <a:lnTo>
                  <a:pt x="130" y="370"/>
                </a:lnTo>
                <a:lnTo>
                  <a:pt x="130" y="368"/>
                </a:lnTo>
                <a:lnTo>
                  <a:pt x="130" y="368"/>
                </a:lnTo>
                <a:lnTo>
                  <a:pt x="124" y="368"/>
                </a:lnTo>
                <a:lnTo>
                  <a:pt x="124" y="368"/>
                </a:lnTo>
                <a:lnTo>
                  <a:pt x="124" y="372"/>
                </a:lnTo>
                <a:lnTo>
                  <a:pt x="124" y="372"/>
                </a:lnTo>
                <a:lnTo>
                  <a:pt x="122" y="372"/>
                </a:lnTo>
                <a:lnTo>
                  <a:pt x="122" y="372"/>
                </a:lnTo>
                <a:lnTo>
                  <a:pt x="116" y="368"/>
                </a:lnTo>
                <a:lnTo>
                  <a:pt x="116" y="368"/>
                </a:lnTo>
                <a:lnTo>
                  <a:pt x="114" y="368"/>
                </a:lnTo>
                <a:lnTo>
                  <a:pt x="114" y="368"/>
                </a:lnTo>
                <a:lnTo>
                  <a:pt x="114" y="358"/>
                </a:lnTo>
                <a:lnTo>
                  <a:pt x="114" y="358"/>
                </a:lnTo>
                <a:lnTo>
                  <a:pt x="108" y="358"/>
                </a:lnTo>
                <a:lnTo>
                  <a:pt x="108" y="358"/>
                </a:lnTo>
                <a:lnTo>
                  <a:pt x="108" y="356"/>
                </a:lnTo>
                <a:lnTo>
                  <a:pt x="108" y="354"/>
                </a:lnTo>
                <a:lnTo>
                  <a:pt x="108" y="354"/>
                </a:lnTo>
                <a:lnTo>
                  <a:pt x="110" y="352"/>
                </a:lnTo>
                <a:lnTo>
                  <a:pt x="110" y="350"/>
                </a:lnTo>
                <a:lnTo>
                  <a:pt x="112" y="344"/>
                </a:lnTo>
                <a:lnTo>
                  <a:pt x="112" y="344"/>
                </a:lnTo>
                <a:lnTo>
                  <a:pt x="114" y="342"/>
                </a:lnTo>
                <a:lnTo>
                  <a:pt x="116" y="342"/>
                </a:lnTo>
                <a:lnTo>
                  <a:pt x="116" y="342"/>
                </a:lnTo>
                <a:lnTo>
                  <a:pt x="116" y="344"/>
                </a:lnTo>
                <a:lnTo>
                  <a:pt x="116" y="344"/>
                </a:lnTo>
                <a:lnTo>
                  <a:pt x="120" y="344"/>
                </a:lnTo>
                <a:lnTo>
                  <a:pt x="120" y="344"/>
                </a:lnTo>
                <a:lnTo>
                  <a:pt x="124" y="350"/>
                </a:lnTo>
                <a:lnTo>
                  <a:pt x="126" y="352"/>
                </a:lnTo>
                <a:lnTo>
                  <a:pt x="132" y="352"/>
                </a:lnTo>
                <a:lnTo>
                  <a:pt x="132" y="352"/>
                </a:lnTo>
                <a:lnTo>
                  <a:pt x="136" y="350"/>
                </a:lnTo>
                <a:lnTo>
                  <a:pt x="140" y="348"/>
                </a:lnTo>
                <a:lnTo>
                  <a:pt x="140" y="348"/>
                </a:lnTo>
                <a:lnTo>
                  <a:pt x="140" y="346"/>
                </a:lnTo>
                <a:lnTo>
                  <a:pt x="140" y="346"/>
                </a:lnTo>
                <a:lnTo>
                  <a:pt x="144" y="344"/>
                </a:lnTo>
                <a:lnTo>
                  <a:pt x="146" y="342"/>
                </a:lnTo>
                <a:lnTo>
                  <a:pt x="146" y="342"/>
                </a:lnTo>
                <a:lnTo>
                  <a:pt x="148" y="336"/>
                </a:lnTo>
                <a:lnTo>
                  <a:pt x="146" y="332"/>
                </a:lnTo>
                <a:lnTo>
                  <a:pt x="146" y="326"/>
                </a:lnTo>
                <a:lnTo>
                  <a:pt x="146" y="322"/>
                </a:lnTo>
                <a:lnTo>
                  <a:pt x="148" y="322"/>
                </a:lnTo>
                <a:lnTo>
                  <a:pt x="148" y="322"/>
                </a:lnTo>
                <a:lnTo>
                  <a:pt x="150" y="314"/>
                </a:lnTo>
                <a:lnTo>
                  <a:pt x="150" y="314"/>
                </a:lnTo>
                <a:lnTo>
                  <a:pt x="146" y="314"/>
                </a:lnTo>
                <a:lnTo>
                  <a:pt x="144" y="310"/>
                </a:lnTo>
                <a:lnTo>
                  <a:pt x="144" y="310"/>
                </a:lnTo>
                <a:lnTo>
                  <a:pt x="144" y="306"/>
                </a:lnTo>
                <a:lnTo>
                  <a:pt x="144" y="306"/>
                </a:lnTo>
                <a:lnTo>
                  <a:pt x="144" y="304"/>
                </a:lnTo>
                <a:lnTo>
                  <a:pt x="146" y="304"/>
                </a:lnTo>
                <a:lnTo>
                  <a:pt x="148" y="304"/>
                </a:lnTo>
                <a:lnTo>
                  <a:pt x="152" y="310"/>
                </a:lnTo>
                <a:lnTo>
                  <a:pt x="152" y="310"/>
                </a:lnTo>
                <a:lnTo>
                  <a:pt x="154" y="308"/>
                </a:lnTo>
                <a:lnTo>
                  <a:pt x="154" y="308"/>
                </a:lnTo>
                <a:lnTo>
                  <a:pt x="152" y="306"/>
                </a:lnTo>
                <a:lnTo>
                  <a:pt x="152" y="306"/>
                </a:lnTo>
                <a:lnTo>
                  <a:pt x="156" y="306"/>
                </a:lnTo>
                <a:lnTo>
                  <a:pt x="156" y="306"/>
                </a:lnTo>
                <a:lnTo>
                  <a:pt x="166" y="304"/>
                </a:lnTo>
                <a:lnTo>
                  <a:pt x="166" y="304"/>
                </a:lnTo>
                <a:lnTo>
                  <a:pt x="178" y="304"/>
                </a:lnTo>
                <a:lnTo>
                  <a:pt x="178" y="304"/>
                </a:lnTo>
                <a:lnTo>
                  <a:pt x="188" y="302"/>
                </a:lnTo>
                <a:lnTo>
                  <a:pt x="188" y="302"/>
                </a:lnTo>
                <a:lnTo>
                  <a:pt x="188" y="300"/>
                </a:lnTo>
                <a:lnTo>
                  <a:pt x="188" y="300"/>
                </a:lnTo>
                <a:lnTo>
                  <a:pt x="196" y="298"/>
                </a:lnTo>
                <a:lnTo>
                  <a:pt x="202" y="296"/>
                </a:lnTo>
                <a:lnTo>
                  <a:pt x="202" y="296"/>
                </a:lnTo>
                <a:lnTo>
                  <a:pt x="208" y="290"/>
                </a:lnTo>
                <a:lnTo>
                  <a:pt x="214" y="280"/>
                </a:lnTo>
                <a:lnTo>
                  <a:pt x="220" y="270"/>
                </a:lnTo>
                <a:lnTo>
                  <a:pt x="222" y="260"/>
                </a:lnTo>
                <a:lnTo>
                  <a:pt x="222" y="260"/>
                </a:lnTo>
                <a:lnTo>
                  <a:pt x="222" y="258"/>
                </a:lnTo>
                <a:lnTo>
                  <a:pt x="222" y="258"/>
                </a:lnTo>
                <a:lnTo>
                  <a:pt x="218" y="258"/>
                </a:lnTo>
                <a:lnTo>
                  <a:pt x="214" y="256"/>
                </a:lnTo>
                <a:lnTo>
                  <a:pt x="214" y="256"/>
                </a:lnTo>
                <a:lnTo>
                  <a:pt x="214" y="256"/>
                </a:lnTo>
                <a:lnTo>
                  <a:pt x="214" y="254"/>
                </a:lnTo>
                <a:lnTo>
                  <a:pt x="214" y="254"/>
                </a:lnTo>
                <a:lnTo>
                  <a:pt x="212" y="254"/>
                </a:lnTo>
                <a:lnTo>
                  <a:pt x="212" y="254"/>
                </a:lnTo>
                <a:lnTo>
                  <a:pt x="210" y="250"/>
                </a:lnTo>
                <a:lnTo>
                  <a:pt x="210" y="246"/>
                </a:lnTo>
                <a:lnTo>
                  <a:pt x="210" y="246"/>
                </a:lnTo>
                <a:lnTo>
                  <a:pt x="214" y="244"/>
                </a:lnTo>
                <a:lnTo>
                  <a:pt x="214" y="244"/>
                </a:lnTo>
                <a:lnTo>
                  <a:pt x="214" y="242"/>
                </a:lnTo>
                <a:lnTo>
                  <a:pt x="214" y="242"/>
                </a:lnTo>
                <a:lnTo>
                  <a:pt x="208" y="234"/>
                </a:lnTo>
                <a:lnTo>
                  <a:pt x="208" y="234"/>
                </a:lnTo>
                <a:lnTo>
                  <a:pt x="204" y="232"/>
                </a:lnTo>
                <a:lnTo>
                  <a:pt x="200" y="230"/>
                </a:lnTo>
                <a:lnTo>
                  <a:pt x="200" y="230"/>
                </a:lnTo>
                <a:lnTo>
                  <a:pt x="200" y="226"/>
                </a:lnTo>
                <a:lnTo>
                  <a:pt x="198" y="224"/>
                </a:lnTo>
                <a:lnTo>
                  <a:pt x="196" y="222"/>
                </a:lnTo>
                <a:lnTo>
                  <a:pt x="196" y="222"/>
                </a:lnTo>
                <a:lnTo>
                  <a:pt x="196" y="220"/>
                </a:lnTo>
                <a:lnTo>
                  <a:pt x="196" y="218"/>
                </a:lnTo>
                <a:lnTo>
                  <a:pt x="196" y="218"/>
                </a:lnTo>
                <a:lnTo>
                  <a:pt x="196" y="216"/>
                </a:lnTo>
                <a:lnTo>
                  <a:pt x="194" y="212"/>
                </a:lnTo>
                <a:lnTo>
                  <a:pt x="198" y="212"/>
                </a:lnTo>
                <a:lnTo>
                  <a:pt x="198" y="212"/>
                </a:lnTo>
                <a:lnTo>
                  <a:pt x="198" y="196"/>
                </a:lnTo>
                <a:lnTo>
                  <a:pt x="200" y="196"/>
                </a:lnTo>
                <a:lnTo>
                  <a:pt x="200" y="196"/>
                </a:lnTo>
                <a:lnTo>
                  <a:pt x="200" y="192"/>
                </a:lnTo>
                <a:lnTo>
                  <a:pt x="200" y="184"/>
                </a:lnTo>
                <a:lnTo>
                  <a:pt x="200" y="184"/>
                </a:lnTo>
                <a:lnTo>
                  <a:pt x="200" y="182"/>
                </a:lnTo>
                <a:lnTo>
                  <a:pt x="202" y="180"/>
                </a:lnTo>
                <a:lnTo>
                  <a:pt x="202" y="176"/>
                </a:lnTo>
                <a:lnTo>
                  <a:pt x="202" y="172"/>
                </a:lnTo>
                <a:lnTo>
                  <a:pt x="202" y="172"/>
                </a:lnTo>
                <a:lnTo>
                  <a:pt x="204" y="170"/>
                </a:lnTo>
                <a:lnTo>
                  <a:pt x="204" y="168"/>
                </a:lnTo>
                <a:lnTo>
                  <a:pt x="206" y="166"/>
                </a:lnTo>
                <a:lnTo>
                  <a:pt x="206" y="162"/>
                </a:lnTo>
                <a:lnTo>
                  <a:pt x="206" y="162"/>
                </a:lnTo>
                <a:lnTo>
                  <a:pt x="206" y="158"/>
                </a:lnTo>
                <a:lnTo>
                  <a:pt x="208" y="154"/>
                </a:lnTo>
                <a:lnTo>
                  <a:pt x="210" y="152"/>
                </a:lnTo>
                <a:lnTo>
                  <a:pt x="210" y="152"/>
                </a:lnTo>
                <a:lnTo>
                  <a:pt x="212" y="142"/>
                </a:lnTo>
                <a:lnTo>
                  <a:pt x="212" y="142"/>
                </a:lnTo>
                <a:lnTo>
                  <a:pt x="214" y="138"/>
                </a:lnTo>
                <a:lnTo>
                  <a:pt x="218" y="136"/>
                </a:lnTo>
                <a:lnTo>
                  <a:pt x="218" y="136"/>
                </a:lnTo>
                <a:lnTo>
                  <a:pt x="222" y="130"/>
                </a:lnTo>
                <a:lnTo>
                  <a:pt x="222" y="124"/>
                </a:lnTo>
                <a:lnTo>
                  <a:pt x="222" y="124"/>
                </a:lnTo>
                <a:lnTo>
                  <a:pt x="224" y="122"/>
                </a:lnTo>
                <a:lnTo>
                  <a:pt x="226" y="120"/>
                </a:lnTo>
                <a:lnTo>
                  <a:pt x="230" y="120"/>
                </a:lnTo>
                <a:lnTo>
                  <a:pt x="232" y="118"/>
                </a:lnTo>
                <a:lnTo>
                  <a:pt x="232" y="118"/>
                </a:lnTo>
                <a:lnTo>
                  <a:pt x="234" y="114"/>
                </a:lnTo>
                <a:lnTo>
                  <a:pt x="238" y="112"/>
                </a:lnTo>
                <a:lnTo>
                  <a:pt x="238" y="112"/>
                </a:lnTo>
                <a:lnTo>
                  <a:pt x="242" y="108"/>
                </a:lnTo>
                <a:lnTo>
                  <a:pt x="244" y="102"/>
                </a:lnTo>
                <a:lnTo>
                  <a:pt x="244" y="102"/>
                </a:lnTo>
                <a:lnTo>
                  <a:pt x="246" y="100"/>
                </a:lnTo>
                <a:lnTo>
                  <a:pt x="250" y="100"/>
                </a:lnTo>
                <a:lnTo>
                  <a:pt x="254" y="98"/>
                </a:lnTo>
                <a:lnTo>
                  <a:pt x="256" y="98"/>
                </a:lnTo>
                <a:lnTo>
                  <a:pt x="256" y="98"/>
                </a:lnTo>
                <a:lnTo>
                  <a:pt x="260" y="94"/>
                </a:lnTo>
                <a:lnTo>
                  <a:pt x="260" y="94"/>
                </a:lnTo>
                <a:lnTo>
                  <a:pt x="260" y="92"/>
                </a:lnTo>
                <a:lnTo>
                  <a:pt x="260" y="92"/>
                </a:lnTo>
                <a:lnTo>
                  <a:pt x="260" y="78"/>
                </a:lnTo>
                <a:lnTo>
                  <a:pt x="260" y="78"/>
                </a:lnTo>
                <a:lnTo>
                  <a:pt x="260" y="66"/>
                </a:lnTo>
                <a:lnTo>
                  <a:pt x="260" y="66"/>
                </a:lnTo>
                <a:lnTo>
                  <a:pt x="256" y="66"/>
                </a:lnTo>
                <a:lnTo>
                  <a:pt x="254" y="66"/>
                </a:lnTo>
                <a:lnTo>
                  <a:pt x="254" y="68"/>
                </a:lnTo>
                <a:lnTo>
                  <a:pt x="254" y="68"/>
                </a:lnTo>
                <a:lnTo>
                  <a:pt x="254" y="68"/>
                </a:lnTo>
                <a:lnTo>
                  <a:pt x="252" y="68"/>
                </a:lnTo>
                <a:lnTo>
                  <a:pt x="248" y="66"/>
                </a:lnTo>
                <a:lnTo>
                  <a:pt x="248" y="66"/>
                </a:lnTo>
                <a:lnTo>
                  <a:pt x="246" y="68"/>
                </a:lnTo>
                <a:lnTo>
                  <a:pt x="244" y="70"/>
                </a:lnTo>
                <a:lnTo>
                  <a:pt x="246" y="72"/>
                </a:lnTo>
                <a:lnTo>
                  <a:pt x="246" y="72"/>
                </a:lnTo>
                <a:lnTo>
                  <a:pt x="246" y="80"/>
                </a:lnTo>
                <a:lnTo>
                  <a:pt x="246" y="84"/>
                </a:lnTo>
                <a:lnTo>
                  <a:pt x="244" y="86"/>
                </a:lnTo>
                <a:lnTo>
                  <a:pt x="244" y="86"/>
                </a:lnTo>
                <a:lnTo>
                  <a:pt x="240" y="90"/>
                </a:lnTo>
                <a:lnTo>
                  <a:pt x="238" y="94"/>
                </a:lnTo>
                <a:lnTo>
                  <a:pt x="238" y="94"/>
                </a:lnTo>
                <a:lnTo>
                  <a:pt x="236" y="96"/>
                </a:lnTo>
                <a:lnTo>
                  <a:pt x="236" y="96"/>
                </a:lnTo>
                <a:lnTo>
                  <a:pt x="234" y="98"/>
                </a:lnTo>
                <a:lnTo>
                  <a:pt x="228" y="98"/>
                </a:lnTo>
                <a:lnTo>
                  <a:pt x="228" y="98"/>
                </a:lnTo>
                <a:lnTo>
                  <a:pt x="222" y="96"/>
                </a:lnTo>
                <a:lnTo>
                  <a:pt x="216" y="96"/>
                </a:lnTo>
                <a:lnTo>
                  <a:pt x="216" y="96"/>
                </a:lnTo>
                <a:lnTo>
                  <a:pt x="212" y="98"/>
                </a:lnTo>
                <a:lnTo>
                  <a:pt x="208" y="96"/>
                </a:lnTo>
                <a:lnTo>
                  <a:pt x="208" y="96"/>
                </a:lnTo>
                <a:lnTo>
                  <a:pt x="202" y="94"/>
                </a:lnTo>
                <a:lnTo>
                  <a:pt x="198" y="94"/>
                </a:lnTo>
                <a:lnTo>
                  <a:pt x="198" y="94"/>
                </a:lnTo>
                <a:lnTo>
                  <a:pt x="194" y="94"/>
                </a:lnTo>
                <a:lnTo>
                  <a:pt x="194" y="94"/>
                </a:lnTo>
                <a:lnTo>
                  <a:pt x="194" y="94"/>
                </a:lnTo>
                <a:lnTo>
                  <a:pt x="194" y="90"/>
                </a:lnTo>
                <a:lnTo>
                  <a:pt x="198" y="84"/>
                </a:lnTo>
                <a:lnTo>
                  <a:pt x="198" y="84"/>
                </a:lnTo>
                <a:lnTo>
                  <a:pt x="202" y="78"/>
                </a:lnTo>
                <a:lnTo>
                  <a:pt x="204" y="70"/>
                </a:lnTo>
                <a:lnTo>
                  <a:pt x="204" y="70"/>
                </a:lnTo>
                <a:lnTo>
                  <a:pt x="206" y="64"/>
                </a:lnTo>
                <a:lnTo>
                  <a:pt x="206" y="62"/>
                </a:lnTo>
                <a:lnTo>
                  <a:pt x="204" y="60"/>
                </a:lnTo>
                <a:lnTo>
                  <a:pt x="204" y="60"/>
                </a:lnTo>
                <a:lnTo>
                  <a:pt x="198" y="54"/>
                </a:lnTo>
                <a:lnTo>
                  <a:pt x="196" y="50"/>
                </a:lnTo>
                <a:lnTo>
                  <a:pt x="196" y="50"/>
                </a:lnTo>
                <a:lnTo>
                  <a:pt x="190" y="46"/>
                </a:lnTo>
                <a:lnTo>
                  <a:pt x="190" y="46"/>
                </a:lnTo>
                <a:lnTo>
                  <a:pt x="188" y="44"/>
                </a:lnTo>
                <a:lnTo>
                  <a:pt x="186" y="44"/>
                </a:lnTo>
                <a:lnTo>
                  <a:pt x="184" y="44"/>
                </a:lnTo>
                <a:lnTo>
                  <a:pt x="180" y="42"/>
                </a:lnTo>
                <a:lnTo>
                  <a:pt x="180" y="42"/>
                </a:lnTo>
                <a:lnTo>
                  <a:pt x="178" y="36"/>
                </a:lnTo>
                <a:lnTo>
                  <a:pt x="172" y="36"/>
                </a:lnTo>
                <a:lnTo>
                  <a:pt x="172" y="36"/>
                </a:lnTo>
                <a:lnTo>
                  <a:pt x="170" y="34"/>
                </a:lnTo>
                <a:lnTo>
                  <a:pt x="170" y="32"/>
                </a:lnTo>
                <a:lnTo>
                  <a:pt x="166" y="26"/>
                </a:lnTo>
                <a:lnTo>
                  <a:pt x="166" y="26"/>
                </a:lnTo>
                <a:lnTo>
                  <a:pt x="164" y="22"/>
                </a:lnTo>
                <a:lnTo>
                  <a:pt x="162" y="20"/>
                </a:lnTo>
                <a:lnTo>
                  <a:pt x="162" y="20"/>
                </a:lnTo>
                <a:lnTo>
                  <a:pt x="158" y="18"/>
                </a:lnTo>
                <a:lnTo>
                  <a:pt x="156" y="14"/>
                </a:lnTo>
                <a:lnTo>
                  <a:pt x="156" y="14"/>
                </a:lnTo>
                <a:lnTo>
                  <a:pt x="152" y="8"/>
                </a:lnTo>
                <a:lnTo>
                  <a:pt x="144" y="2"/>
                </a:lnTo>
                <a:close/>
                <a:moveTo>
                  <a:pt x="72" y="618"/>
                </a:moveTo>
                <a:lnTo>
                  <a:pt x="74" y="618"/>
                </a:lnTo>
                <a:lnTo>
                  <a:pt x="74" y="618"/>
                </a:lnTo>
                <a:lnTo>
                  <a:pt x="78" y="618"/>
                </a:lnTo>
                <a:lnTo>
                  <a:pt x="80" y="620"/>
                </a:lnTo>
                <a:lnTo>
                  <a:pt x="80" y="618"/>
                </a:lnTo>
                <a:lnTo>
                  <a:pt x="80" y="618"/>
                </a:lnTo>
                <a:lnTo>
                  <a:pt x="84" y="622"/>
                </a:lnTo>
                <a:lnTo>
                  <a:pt x="84" y="622"/>
                </a:lnTo>
                <a:lnTo>
                  <a:pt x="92" y="620"/>
                </a:lnTo>
                <a:lnTo>
                  <a:pt x="92" y="618"/>
                </a:lnTo>
                <a:lnTo>
                  <a:pt x="92" y="618"/>
                </a:lnTo>
                <a:lnTo>
                  <a:pt x="102" y="618"/>
                </a:lnTo>
                <a:lnTo>
                  <a:pt x="102" y="618"/>
                </a:lnTo>
                <a:lnTo>
                  <a:pt x="102" y="620"/>
                </a:lnTo>
                <a:lnTo>
                  <a:pt x="102" y="620"/>
                </a:lnTo>
                <a:lnTo>
                  <a:pt x="102" y="620"/>
                </a:lnTo>
                <a:lnTo>
                  <a:pt x="106" y="616"/>
                </a:lnTo>
                <a:lnTo>
                  <a:pt x="106" y="616"/>
                </a:lnTo>
                <a:lnTo>
                  <a:pt x="92" y="612"/>
                </a:lnTo>
                <a:lnTo>
                  <a:pt x="92" y="612"/>
                </a:lnTo>
                <a:lnTo>
                  <a:pt x="86" y="612"/>
                </a:lnTo>
                <a:lnTo>
                  <a:pt x="86" y="612"/>
                </a:lnTo>
                <a:lnTo>
                  <a:pt x="82" y="608"/>
                </a:lnTo>
                <a:lnTo>
                  <a:pt x="80" y="606"/>
                </a:lnTo>
                <a:lnTo>
                  <a:pt x="80" y="606"/>
                </a:lnTo>
                <a:lnTo>
                  <a:pt x="76" y="604"/>
                </a:lnTo>
                <a:lnTo>
                  <a:pt x="76" y="604"/>
                </a:lnTo>
                <a:lnTo>
                  <a:pt x="74" y="600"/>
                </a:lnTo>
                <a:lnTo>
                  <a:pt x="74" y="598"/>
                </a:lnTo>
                <a:lnTo>
                  <a:pt x="74" y="598"/>
                </a:lnTo>
                <a:lnTo>
                  <a:pt x="70" y="596"/>
                </a:lnTo>
                <a:lnTo>
                  <a:pt x="70" y="596"/>
                </a:lnTo>
                <a:lnTo>
                  <a:pt x="66" y="592"/>
                </a:lnTo>
                <a:lnTo>
                  <a:pt x="62" y="586"/>
                </a:lnTo>
                <a:lnTo>
                  <a:pt x="62" y="586"/>
                </a:lnTo>
                <a:lnTo>
                  <a:pt x="62" y="586"/>
                </a:lnTo>
                <a:lnTo>
                  <a:pt x="62" y="584"/>
                </a:lnTo>
                <a:lnTo>
                  <a:pt x="64" y="582"/>
                </a:lnTo>
                <a:lnTo>
                  <a:pt x="64" y="582"/>
                </a:lnTo>
                <a:lnTo>
                  <a:pt x="60" y="574"/>
                </a:lnTo>
                <a:lnTo>
                  <a:pt x="60" y="574"/>
                </a:lnTo>
                <a:lnTo>
                  <a:pt x="60" y="574"/>
                </a:lnTo>
                <a:lnTo>
                  <a:pt x="60" y="574"/>
                </a:lnTo>
                <a:lnTo>
                  <a:pt x="60" y="574"/>
                </a:lnTo>
                <a:lnTo>
                  <a:pt x="58" y="574"/>
                </a:lnTo>
                <a:lnTo>
                  <a:pt x="62" y="620"/>
                </a:lnTo>
                <a:lnTo>
                  <a:pt x="62" y="620"/>
                </a:lnTo>
                <a:lnTo>
                  <a:pt x="66" y="618"/>
                </a:lnTo>
                <a:lnTo>
                  <a:pt x="72" y="618"/>
                </a:lnTo>
                <a:lnTo>
                  <a:pt x="72" y="61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7" name="Freeform 263">
            <a:extLst>
              <a:ext uri="{FF2B5EF4-FFF2-40B4-BE49-F238E27FC236}">
                <a16:creationId xmlns:a16="http://schemas.microsoft.com/office/drawing/2014/main" id="{9393D655-BACF-4ED4-A6A7-D02F058BEADA}"/>
              </a:ext>
            </a:extLst>
          </p:cNvPr>
          <p:cNvSpPr>
            <a:spLocks noEditPoints="1"/>
          </p:cNvSpPr>
          <p:nvPr userDrawn="1"/>
        </p:nvSpPr>
        <p:spPr bwMode="auto">
          <a:xfrm>
            <a:off x="6118446" y="3800766"/>
            <a:ext cx="281716" cy="404973"/>
          </a:xfrm>
          <a:custGeom>
            <a:avLst/>
            <a:gdLst>
              <a:gd name="T0" fmla="*/ 12 w 168"/>
              <a:gd name="T1" fmla="*/ 12 h 236"/>
              <a:gd name="T2" fmla="*/ 14 w 168"/>
              <a:gd name="T3" fmla="*/ 4 h 236"/>
              <a:gd name="T4" fmla="*/ 12 w 168"/>
              <a:gd name="T5" fmla="*/ 0 h 236"/>
              <a:gd name="T6" fmla="*/ 10 w 168"/>
              <a:gd name="T7" fmla="*/ 4 h 236"/>
              <a:gd name="T8" fmla="*/ 2 w 168"/>
              <a:gd name="T9" fmla="*/ 4 h 236"/>
              <a:gd name="T10" fmla="*/ 2 w 168"/>
              <a:gd name="T11" fmla="*/ 14 h 236"/>
              <a:gd name="T12" fmla="*/ 10 w 168"/>
              <a:gd name="T13" fmla="*/ 32 h 236"/>
              <a:gd name="T14" fmla="*/ 14 w 168"/>
              <a:gd name="T15" fmla="*/ 48 h 236"/>
              <a:gd name="T16" fmla="*/ 18 w 168"/>
              <a:gd name="T17" fmla="*/ 56 h 236"/>
              <a:gd name="T18" fmla="*/ 22 w 168"/>
              <a:gd name="T19" fmla="*/ 64 h 236"/>
              <a:gd name="T20" fmla="*/ 24 w 168"/>
              <a:gd name="T21" fmla="*/ 74 h 236"/>
              <a:gd name="T22" fmla="*/ 22 w 168"/>
              <a:gd name="T23" fmla="*/ 76 h 236"/>
              <a:gd name="T24" fmla="*/ 20 w 168"/>
              <a:gd name="T25" fmla="*/ 82 h 236"/>
              <a:gd name="T26" fmla="*/ 22 w 168"/>
              <a:gd name="T27" fmla="*/ 96 h 236"/>
              <a:gd name="T28" fmla="*/ 26 w 168"/>
              <a:gd name="T29" fmla="*/ 110 h 236"/>
              <a:gd name="T30" fmla="*/ 26 w 168"/>
              <a:gd name="T31" fmla="*/ 138 h 236"/>
              <a:gd name="T32" fmla="*/ 18 w 168"/>
              <a:gd name="T33" fmla="*/ 146 h 236"/>
              <a:gd name="T34" fmla="*/ 16 w 168"/>
              <a:gd name="T35" fmla="*/ 156 h 236"/>
              <a:gd name="T36" fmla="*/ 10 w 168"/>
              <a:gd name="T37" fmla="*/ 168 h 236"/>
              <a:gd name="T38" fmla="*/ 8 w 168"/>
              <a:gd name="T39" fmla="*/ 180 h 236"/>
              <a:gd name="T40" fmla="*/ 2 w 168"/>
              <a:gd name="T41" fmla="*/ 192 h 236"/>
              <a:gd name="T42" fmla="*/ 2 w 168"/>
              <a:gd name="T43" fmla="*/ 210 h 236"/>
              <a:gd name="T44" fmla="*/ 0 w 168"/>
              <a:gd name="T45" fmla="*/ 214 h 236"/>
              <a:gd name="T46" fmla="*/ 10 w 168"/>
              <a:gd name="T47" fmla="*/ 220 h 236"/>
              <a:gd name="T48" fmla="*/ 16 w 168"/>
              <a:gd name="T49" fmla="*/ 218 h 236"/>
              <a:gd name="T50" fmla="*/ 26 w 168"/>
              <a:gd name="T51" fmla="*/ 220 h 236"/>
              <a:gd name="T52" fmla="*/ 88 w 168"/>
              <a:gd name="T53" fmla="*/ 226 h 236"/>
              <a:gd name="T54" fmla="*/ 92 w 168"/>
              <a:gd name="T55" fmla="*/ 230 h 236"/>
              <a:gd name="T56" fmla="*/ 100 w 168"/>
              <a:gd name="T57" fmla="*/ 230 h 236"/>
              <a:gd name="T58" fmla="*/ 106 w 168"/>
              <a:gd name="T59" fmla="*/ 232 h 236"/>
              <a:gd name="T60" fmla="*/ 112 w 168"/>
              <a:gd name="T61" fmla="*/ 232 h 236"/>
              <a:gd name="T62" fmla="*/ 154 w 168"/>
              <a:gd name="T63" fmla="*/ 230 h 236"/>
              <a:gd name="T64" fmla="*/ 150 w 168"/>
              <a:gd name="T65" fmla="*/ 224 h 236"/>
              <a:gd name="T66" fmla="*/ 140 w 168"/>
              <a:gd name="T67" fmla="*/ 210 h 236"/>
              <a:gd name="T68" fmla="*/ 136 w 168"/>
              <a:gd name="T69" fmla="*/ 142 h 236"/>
              <a:gd name="T70" fmla="*/ 166 w 168"/>
              <a:gd name="T71" fmla="*/ 138 h 236"/>
              <a:gd name="T72" fmla="*/ 168 w 168"/>
              <a:gd name="T73" fmla="*/ 122 h 236"/>
              <a:gd name="T74" fmla="*/ 166 w 168"/>
              <a:gd name="T75" fmla="*/ 112 h 236"/>
              <a:gd name="T76" fmla="*/ 150 w 168"/>
              <a:gd name="T77" fmla="*/ 114 h 236"/>
              <a:gd name="T78" fmla="*/ 144 w 168"/>
              <a:gd name="T79" fmla="*/ 112 h 236"/>
              <a:gd name="T80" fmla="*/ 142 w 168"/>
              <a:gd name="T81" fmla="*/ 100 h 236"/>
              <a:gd name="T82" fmla="*/ 142 w 168"/>
              <a:gd name="T83" fmla="*/ 88 h 236"/>
              <a:gd name="T84" fmla="*/ 138 w 168"/>
              <a:gd name="T85" fmla="*/ 80 h 236"/>
              <a:gd name="T86" fmla="*/ 136 w 168"/>
              <a:gd name="T87" fmla="*/ 72 h 236"/>
              <a:gd name="T88" fmla="*/ 136 w 168"/>
              <a:gd name="T89" fmla="*/ 64 h 236"/>
              <a:gd name="T90" fmla="*/ 134 w 168"/>
              <a:gd name="T91" fmla="*/ 54 h 236"/>
              <a:gd name="T92" fmla="*/ 122 w 168"/>
              <a:gd name="T93" fmla="*/ 46 h 236"/>
              <a:gd name="T94" fmla="*/ 114 w 168"/>
              <a:gd name="T95" fmla="*/ 46 h 236"/>
              <a:gd name="T96" fmla="*/ 106 w 168"/>
              <a:gd name="T97" fmla="*/ 46 h 236"/>
              <a:gd name="T98" fmla="*/ 106 w 168"/>
              <a:gd name="T99" fmla="*/ 56 h 236"/>
              <a:gd name="T100" fmla="*/ 100 w 168"/>
              <a:gd name="T101" fmla="*/ 58 h 236"/>
              <a:gd name="T102" fmla="*/ 96 w 168"/>
              <a:gd name="T103" fmla="*/ 62 h 236"/>
              <a:gd name="T104" fmla="*/ 84 w 168"/>
              <a:gd name="T105" fmla="*/ 60 h 236"/>
              <a:gd name="T106" fmla="*/ 80 w 168"/>
              <a:gd name="T107" fmla="*/ 52 h 236"/>
              <a:gd name="T108" fmla="*/ 78 w 168"/>
              <a:gd name="T109" fmla="*/ 38 h 236"/>
              <a:gd name="T110" fmla="*/ 48 w 168"/>
              <a:gd name="T111" fmla="*/ 26 h 236"/>
              <a:gd name="T112" fmla="*/ 26 w 168"/>
              <a:gd name="T113" fmla="*/ 24 h 236"/>
              <a:gd name="T114" fmla="*/ 12 w 168"/>
              <a:gd name="T115" fmla="*/ 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236">
                <a:moveTo>
                  <a:pt x="6" y="16"/>
                </a:moveTo>
                <a:lnTo>
                  <a:pt x="12" y="12"/>
                </a:lnTo>
                <a:lnTo>
                  <a:pt x="12" y="12"/>
                </a:lnTo>
                <a:lnTo>
                  <a:pt x="12" y="12"/>
                </a:lnTo>
                <a:lnTo>
                  <a:pt x="12" y="8"/>
                </a:lnTo>
                <a:lnTo>
                  <a:pt x="12" y="8"/>
                </a:lnTo>
                <a:lnTo>
                  <a:pt x="12" y="6"/>
                </a:lnTo>
                <a:lnTo>
                  <a:pt x="14" y="4"/>
                </a:lnTo>
                <a:lnTo>
                  <a:pt x="16" y="2"/>
                </a:lnTo>
                <a:lnTo>
                  <a:pt x="16" y="2"/>
                </a:lnTo>
                <a:lnTo>
                  <a:pt x="14" y="0"/>
                </a:lnTo>
                <a:lnTo>
                  <a:pt x="12" y="0"/>
                </a:lnTo>
                <a:lnTo>
                  <a:pt x="10" y="0"/>
                </a:lnTo>
                <a:lnTo>
                  <a:pt x="10" y="0"/>
                </a:lnTo>
                <a:lnTo>
                  <a:pt x="8" y="4"/>
                </a:lnTo>
                <a:lnTo>
                  <a:pt x="10" y="4"/>
                </a:lnTo>
                <a:lnTo>
                  <a:pt x="10" y="4"/>
                </a:lnTo>
                <a:lnTo>
                  <a:pt x="6" y="4"/>
                </a:lnTo>
                <a:lnTo>
                  <a:pt x="6" y="4"/>
                </a:lnTo>
                <a:lnTo>
                  <a:pt x="2" y="4"/>
                </a:lnTo>
                <a:lnTo>
                  <a:pt x="2" y="6"/>
                </a:lnTo>
                <a:lnTo>
                  <a:pt x="2" y="6"/>
                </a:lnTo>
                <a:lnTo>
                  <a:pt x="2" y="10"/>
                </a:lnTo>
                <a:lnTo>
                  <a:pt x="2" y="14"/>
                </a:lnTo>
                <a:lnTo>
                  <a:pt x="2" y="14"/>
                </a:lnTo>
                <a:lnTo>
                  <a:pt x="6" y="16"/>
                </a:lnTo>
                <a:lnTo>
                  <a:pt x="6" y="16"/>
                </a:lnTo>
                <a:close/>
                <a:moveTo>
                  <a:pt x="10" y="32"/>
                </a:moveTo>
                <a:lnTo>
                  <a:pt x="10" y="32"/>
                </a:lnTo>
                <a:lnTo>
                  <a:pt x="10" y="38"/>
                </a:lnTo>
                <a:lnTo>
                  <a:pt x="10" y="38"/>
                </a:lnTo>
                <a:lnTo>
                  <a:pt x="14" y="48"/>
                </a:lnTo>
                <a:lnTo>
                  <a:pt x="14" y="48"/>
                </a:lnTo>
                <a:lnTo>
                  <a:pt x="18" y="52"/>
                </a:lnTo>
                <a:lnTo>
                  <a:pt x="18" y="52"/>
                </a:lnTo>
                <a:lnTo>
                  <a:pt x="18" y="56"/>
                </a:lnTo>
                <a:lnTo>
                  <a:pt x="18" y="60"/>
                </a:lnTo>
                <a:lnTo>
                  <a:pt x="18" y="60"/>
                </a:lnTo>
                <a:lnTo>
                  <a:pt x="22" y="64"/>
                </a:lnTo>
                <a:lnTo>
                  <a:pt x="22" y="64"/>
                </a:lnTo>
                <a:lnTo>
                  <a:pt x="22" y="66"/>
                </a:lnTo>
                <a:lnTo>
                  <a:pt x="20" y="70"/>
                </a:lnTo>
                <a:lnTo>
                  <a:pt x="20" y="70"/>
                </a:lnTo>
                <a:lnTo>
                  <a:pt x="24" y="74"/>
                </a:lnTo>
                <a:lnTo>
                  <a:pt x="24" y="74"/>
                </a:lnTo>
                <a:lnTo>
                  <a:pt x="24" y="76"/>
                </a:lnTo>
                <a:lnTo>
                  <a:pt x="22" y="76"/>
                </a:lnTo>
                <a:lnTo>
                  <a:pt x="22" y="76"/>
                </a:lnTo>
                <a:lnTo>
                  <a:pt x="22" y="78"/>
                </a:lnTo>
                <a:lnTo>
                  <a:pt x="22" y="80"/>
                </a:lnTo>
                <a:lnTo>
                  <a:pt x="22" y="80"/>
                </a:lnTo>
                <a:lnTo>
                  <a:pt x="20" y="82"/>
                </a:lnTo>
                <a:lnTo>
                  <a:pt x="20" y="82"/>
                </a:lnTo>
                <a:lnTo>
                  <a:pt x="20" y="92"/>
                </a:lnTo>
                <a:lnTo>
                  <a:pt x="22" y="96"/>
                </a:lnTo>
                <a:lnTo>
                  <a:pt x="22" y="96"/>
                </a:lnTo>
                <a:lnTo>
                  <a:pt x="22" y="100"/>
                </a:lnTo>
                <a:lnTo>
                  <a:pt x="20" y="102"/>
                </a:lnTo>
                <a:lnTo>
                  <a:pt x="20" y="102"/>
                </a:lnTo>
                <a:lnTo>
                  <a:pt x="26" y="110"/>
                </a:lnTo>
                <a:lnTo>
                  <a:pt x="26" y="110"/>
                </a:lnTo>
                <a:lnTo>
                  <a:pt x="28" y="116"/>
                </a:lnTo>
                <a:lnTo>
                  <a:pt x="28" y="124"/>
                </a:lnTo>
                <a:lnTo>
                  <a:pt x="26" y="138"/>
                </a:lnTo>
                <a:lnTo>
                  <a:pt x="26" y="138"/>
                </a:lnTo>
                <a:lnTo>
                  <a:pt x="22" y="144"/>
                </a:lnTo>
                <a:lnTo>
                  <a:pt x="18" y="146"/>
                </a:lnTo>
                <a:lnTo>
                  <a:pt x="18" y="146"/>
                </a:lnTo>
                <a:lnTo>
                  <a:pt x="18" y="150"/>
                </a:lnTo>
                <a:lnTo>
                  <a:pt x="18" y="152"/>
                </a:lnTo>
                <a:lnTo>
                  <a:pt x="18" y="152"/>
                </a:lnTo>
                <a:lnTo>
                  <a:pt x="16" y="156"/>
                </a:lnTo>
                <a:lnTo>
                  <a:pt x="12" y="158"/>
                </a:lnTo>
                <a:lnTo>
                  <a:pt x="12" y="158"/>
                </a:lnTo>
                <a:lnTo>
                  <a:pt x="10" y="164"/>
                </a:lnTo>
                <a:lnTo>
                  <a:pt x="10" y="168"/>
                </a:lnTo>
                <a:lnTo>
                  <a:pt x="10" y="178"/>
                </a:lnTo>
                <a:lnTo>
                  <a:pt x="10" y="178"/>
                </a:lnTo>
                <a:lnTo>
                  <a:pt x="8" y="180"/>
                </a:lnTo>
                <a:lnTo>
                  <a:pt x="8" y="180"/>
                </a:lnTo>
                <a:lnTo>
                  <a:pt x="6" y="182"/>
                </a:lnTo>
                <a:lnTo>
                  <a:pt x="6" y="186"/>
                </a:lnTo>
                <a:lnTo>
                  <a:pt x="6" y="186"/>
                </a:lnTo>
                <a:lnTo>
                  <a:pt x="2" y="192"/>
                </a:lnTo>
                <a:lnTo>
                  <a:pt x="0" y="198"/>
                </a:lnTo>
                <a:lnTo>
                  <a:pt x="0" y="198"/>
                </a:lnTo>
                <a:lnTo>
                  <a:pt x="0" y="204"/>
                </a:lnTo>
                <a:lnTo>
                  <a:pt x="2" y="210"/>
                </a:lnTo>
                <a:lnTo>
                  <a:pt x="2" y="210"/>
                </a:lnTo>
                <a:lnTo>
                  <a:pt x="0" y="212"/>
                </a:lnTo>
                <a:lnTo>
                  <a:pt x="0" y="214"/>
                </a:lnTo>
                <a:lnTo>
                  <a:pt x="0" y="214"/>
                </a:lnTo>
                <a:lnTo>
                  <a:pt x="0" y="220"/>
                </a:lnTo>
                <a:lnTo>
                  <a:pt x="0" y="220"/>
                </a:lnTo>
                <a:lnTo>
                  <a:pt x="4" y="220"/>
                </a:lnTo>
                <a:lnTo>
                  <a:pt x="10" y="220"/>
                </a:lnTo>
                <a:lnTo>
                  <a:pt x="10" y="220"/>
                </a:lnTo>
                <a:lnTo>
                  <a:pt x="12" y="220"/>
                </a:lnTo>
                <a:lnTo>
                  <a:pt x="14" y="218"/>
                </a:lnTo>
                <a:lnTo>
                  <a:pt x="16" y="218"/>
                </a:lnTo>
                <a:lnTo>
                  <a:pt x="18" y="216"/>
                </a:lnTo>
                <a:lnTo>
                  <a:pt x="18" y="216"/>
                </a:lnTo>
                <a:lnTo>
                  <a:pt x="22" y="218"/>
                </a:lnTo>
                <a:lnTo>
                  <a:pt x="26" y="220"/>
                </a:lnTo>
                <a:lnTo>
                  <a:pt x="84" y="222"/>
                </a:lnTo>
                <a:lnTo>
                  <a:pt x="84" y="222"/>
                </a:lnTo>
                <a:lnTo>
                  <a:pt x="86" y="224"/>
                </a:lnTo>
                <a:lnTo>
                  <a:pt x="88" y="226"/>
                </a:lnTo>
                <a:lnTo>
                  <a:pt x="90" y="228"/>
                </a:lnTo>
                <a:lnTo>
                  <a:pt x="90" y="228"/>
                </a:lnTo>
                <a:lnTo>
                  <a:pt x="92" y="228"/>
                </a:lnTo>
                <a:lnTo>
                  <a:pt x="92" y="230"/>
                </a:lnTo>
                <a:lnTo>
                  <a:pt x="94" y="230"/>
                </a:lnTo>
                <a:lnTo>
                  <a:pt x="96" y="230"/>
                </a:lnTo>
                <a:lnTo>
                  <a:pt x="96" y="230"/>
                </a:lnTo>
                <a:lnTo>
                  <a:pt x="100" y="230"/>
                </a:lnTo>
                <a:lnTo>
                  <a:pt x="102" y="232"/>
                </a:lnTo>
                <a:lnTo>
                  <a:pt x="104" y="232"/>
                </a:lnTo>
                <a:lnTo>
                  <a:pt x="106" y="232"/>
                </a:lnTo>
                <a:lnTo>
                  <a:pt x="106" y="232"/>
                </a:lnTo>
                <a:lnTo>
                  <a:pt x="110" y="232"/>
                </a:lnTo>
                <a:lnTo>
                  <a:pt x="110" y="232"/>
                </a:lnTo>
                <a:lnTo>
                  <a:pt x="112" y="232"/>
                </a:lnTo>
                <a:lnTo>
                  <a:pt x="112" y="232"/>
                </a:lnTo>
                <a:lnTo>
                  <a:pt x="118" y="234"/>
                </a:lnTo>
                <a:lnTo>
                  <a:pt x="122" y="236"/>
                </a:lnTo>
                <a:lnTo>
                  <a:pt x="122" y="236"/>
                </a:lnTo>
                <a:lnTo>
                  <a:pt x="154" y="230"/>
                </a:lnTo>
                <a:lnTo>
                  <a:pt x="154" y="230"/>
                </a:lnTo>
                <a:lnTo>
                  <a:pt x="152" y="230"/>
                </a:lnTo>
                <a:lnTo>
                  <a:pt x="150" y="226"/>
                </a:lnTo>
                <a:lnTo>
                  <a:pt x="150" y="224"/>
                </a:lnTo>
                <a:lnTo>
                  <a:pt x="146" y="220"/>
                </a:lnTo>
                <a:lnTo>
                  <a:pt x="146" y="220"/>
                </a:lnTo>
                <a:lnTo>
                  <a:pt x="142" y="214"/>
                </a:lnTo>
                <a:lnTo>
                  <a:pt x="140" y="210"/>
                </a:lnTo>
                <a:lnTo>
                  <a:pt x="140" y="210"/>
                </a:lnTo>
                <a:lnTo>
                  <a:pt x="138" y="204"/>
                </a:lnTo>
                <a:lnTo>
                  <a:pt x="136" y="202"/>
                </a:lnTo>
                <a:lnTo>
                  <a:pt x="136" y="142"/>
                </a:lnTo>
                <a:lnTo>
                  <a:pt x="166" y="142"/>
                </a:lnTo>
                <a:lnTo>
                  <a:pt x="166" y="142"/>
                </a:lnTo>
                <a:lnTo>
                  <a:pt x="166" y="138"/>
                </a:lnTo>
                <a:lnTo>
                  <a:pt x="166" y="138"/>
                </a:lnTo>
                <a:lnTo>
                  <a:pt x="166" y="130"/>
                </a:lnTo>
                <a:lnTo>
                  <a:pt x="166" y="130"/>
                </a:lnTo>
                <a:lnTo>
                  <a:pt x="166" y="126"/>
                </a:lnTo>
                <a:lnTo>
                  <a:pt x="168" y="122"/>
                </a:lnTo>
                <a:lnTo>
                  <a:pt x="168" y="122"/>
                </a:lnTo>
                <a:lnTo>
                  <a:pt x="168" y="116"/>
                </a:lnTo>
                <a:lnTo>
                  <a:pt x="166" y="112"/>
                </a:lnTo>
                <a:lnTo>
                  <a:pt x="166" y="112"/>
                </a:lnTo>
                <a:lnTo>
                  <a:pt x="156" y="112"/>
                </a:lnTo>
                <a:lnTo>
                  <a:pt x="156" y="112"/>
                </a:lnTo>
                <a:lnTo>
                  <a:pt x="154" y="112"/>
                </a:lnTo>
                <a:lnTo>
                  <a:pt x="150" y="114"/>
                </a:lnTo>
                <a:lnTo>
                  <a:pt x="150" y="114"/>
                </a:lnTo>
                <a:lnTo>
                  <a:pt x="148" y="116"/>
                </a:lnTo>
                <a:lnTo>
                  <a:pt x="144" y="112"/>
                </a:lnTo>
                <a:lnTo>
                  <a:pt x="144" y="112"/>
                </a:lnTo>
                <a:lnTo>
                  <a:pt x="142" y="108"/>
                </a:lnTo>
                <a:lnTo>
                  <a:pt x="142" y="104"/>
                </a:lnTo>
                <a:lnTo>
                  <a:pt x="142" y="104"/>
                </a:lnTo>
                <a:lnTo>
                  <a:pt x="142" y="100"/>
                </a:lnTo>
                <a:lnTo>
                  <a:pt x="142" y="96"/>
                </a:lnTo>
                <a:lnTo>
                  <a:pt x="142" y="96"/>
                </a:lnTo>
                <a:lnTo>
                  <a:pt x="144" y="92"/>
                </a:lnTo>
                <a:lnTo>
                  <a:pt x="142" y="88"/>
                </a:lnTo>
                <a:lnTo>
                  <a:pt x="142" y="88"/>
                </a:lnTo>
                <a:lnTo>
                  <a:pt x="140" y="86"/>
                </a:lnTo>
                <a:lnTo>
                  <a:pt x="140" y="84"/>
                </a:lnTo>
                <a:lnTo>
                  <a:pt x="138" y="80"/>
                </a:lnTo>
                <a:lnTo>
                  <a:pt x="138" y="80"/>
                </a:lnTo>
                <a:lnTo>
                  <a:pt x="136" y="76"/>
                </a:lnTo>
                <a:lnTo>
                  <a:pt x="136" y="72"/>
                </a:lnTo>
                <a:lnTo>
                  <a:pt x="136" y="72"/>
                </a:lnTo>
                <a:lnTo>
                  <a:pt x="136" y="66"/>
                </a:lnTo>
                <a:lnTo>
                  <a:pt x="136" y="64"/>
                </a:lnTo>
                <a:lnTo>
                  <a:pt x="136" y="64"/>
                </a:lnTo>
                <a:lnTo>
                  <a:pt x="136" y="64"/>
                </a:lnTo>
                <a:lnTo>
                  <a:pt x="134" y="62"/>
                </a:lnTo>
                <a:lnTo>
                  <a:pt x="134" y="60"/>
                </a:lnTo>
                <a:lnTo>
                  <a:pt x="134" y="54"/>
                </a:lnTo>
                <a:lnTo>
                  <a:pt x="134" y="54"/>
                </a:lnTo>
                <a:lnTo>
                  <a:pt x="132" y="50"/>
                </a:lnTo>
                <a:lnTo>
                  <a:pt x="128" y="50"/>
                </a:lnTo>
                <a:lnTo>
                  <a:pt x="122" y="50"/>
                </a:lnTo>
                <a:lnTo>
                  <a:pt x="122" y="46"/>
                </a:lnTo>
                <a:lnTo>
                  <a:pt x="122" y="46"/>
                </a:lnTo>
                <a:lnTo>
                  <a:pt x="122" y="46"/>
                </a:lnTo>
                <a:lnTo>
                  <a:pt x="120" y="46"/>
                </a:lnTo>
                <a:lnTo>
                  <a:pt x="114" y="46"/>
                </a:lnTo>
                <a:lnTo>
                  <a:pt x="114" y="46"/>
                </a:lnTo>
                <a:lnTo>
                  <a:pt x="108" y="44"/>
                </a:lnTo>
                <a:lnTo>
                  <a:pt x="106" y="46"/>
                </a:lnTo>
                <a:lnTo>
                  <a:pt x="106" y="46"/>
                </a:lnTo>
                <a:lnTo>
                  <a:pt x="104" y="48"/>
                </a:lnTo>
                <a:lnTo>
                  <a:pt x="104" y="52"/>
                </a:lnTo>
                <a:lnTo>
                  <a:pt x="106" y="56"/>
                </a:lnTo>
                <a:lnTo>
                  <a:pt x="106" y="56"/>
                </a:lnTo>
                <a:lnTo>
                  <a:pt x="106" y="58"/>
                </a:lnTo>
                <a:lnTo>
                  <a:pt x="104" y="60"/>
                </a:lnTo>
                <a:lnTo>
                  <a:pt x="102" y="60"/>
                </a:lnTo>
                <a:lnTo>
                  <a:pt x="100" y="58"/>
                </a:lnTo>
                <a:lnTo>
                  <a:pt x="100" y="58"/>
                </a:lnTo>
                <a:lnTo>
                  <a:pt x="100" y="58"/>
                </a:lnTo>
                <a:lnTo>
                  <a:pt x="98" y="60"/>
                </a:lnTo>
                <a:lnTo>
                  <a:pt x="96" y="62"/>
                </a:lnTo>
                <a:lnTo>
                  <a:pt x="94" y="62"/>
                </a:lnTo>
                <a:lnTo>
                  <a:pt x="94" y="62"/>
                </a:lnTo>
                <a:lnTo>
                  <a:pt x="88" y="62"/>
                </a:lnTo>
                <a:lnTo>
                  <a:pt x="84" y="60"/>
                </a:lnTo>
                <a:lnTo>
                  <a:pt x="84" y="60"/>
                </a:lnTo>
                <a:lnTo>
                  <a:pt x="82" y="58"/>
                </a:lnTo>
                <a:lnTo>
                  <a:pt x="80" y="52"/>
                </a:lnTo>
                <a:lnTo>
                  <a:pt x="80" y="52"/>
                </a:lnTo>
                <a:lnTo>
                  <a:pt x="80" y="46"/>
                </a:lnTo>
                <a:lnTo>
                  <a:pt x="78" y="42"/>
                </a:lnTo>
                <a:lnTo>
                  <a:pt x="78" y="42"/>
                </a:lnTo>
                <a:lnTo>
                  <a:pt x="78" y="38"/>
                </a:lnTo>
                <a:lnTo>
                  <a:pt x="78" y="34"/>
                </a:lnTo>
                <a:lnTo>
                  <a:pt x="78" y="34"/>
                </a:lnTo>
                <a:lnTo>
                  <a:pt x="76" y="24"/>
                </a:lnTo>
                <a:lnTo>
                  <a:pt x="48" y="26"/>
                </a:lnTo>
                <a:lnTo>
                  <a:pt x="48" y="26"/>
                </a:lnTo>
                <a:lnTo>
                  <a:pt x="32" y="24"/>
                </a:lnTo>
                <a:lnTo>
                  <a:pt x="32" y="24"/>
                </a:lnTo>
                <a:lnTo>
                  <a:pt x="26" y="24"/>
                </a:lnTo>
                <a:lnTo>
                  <a:pt x="22" y="26"/>
                </a:lnTo>
                <a:lnTo>
                  <a:pt x="18" y="28"/>
                </a:lnTo>
                <a:lnTo>
                  <a:pt x="18" y="28"/>
                </a:lnTo>
                <a:lnTo>
                  <a:pt x="12" y="32"/>
                </a:lnTo>
                <a:lnTo>
                  <a:pt x="10" y="32"/>
                </a:lnTo>
                <a:lnTo>
                  <a:pt x="10"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8" name="Freeform 264">
            <a:extLst>
              <a:ext uri="{FF2B5EF4-FFF2-40B4-BE49-F238E27FC236}">
                <a16:creationId xmlns:a16="http://schemas.microsoft.com/office/drawing/2014/main" id="{3D156F75-F8F9-48DB-9224-A775F7997550}"/>
              </a:ext>
            </a:extLst>
          </p:cNvPr>
          <p:cNvSpPr>
            <a:spLocks/>
          </p:cNvSpPr>
          <p:nvPr userDrawn="1"/>
        </p:nvSpPr>
        <p:spPr bwMode="auto">
          <a:xfrm>
            <a:off x="5889358" y="2424545"/>
            <a:ext cx="9287" cy="6864"/>
          </a:xfrm>
          <a:custGeom>
            <a:avLst/>
            <a:gdLst>
              <a:gd name="T0" fmla="*/ 6 w 6"/>
              <a:gd name="T1" fmla="*/ 2 h 4"/>
              <a:gd name="T2" fmla="*/ 2 w 6"/>
              <a:gd name="T3" fmla="*/ 4 h 4"/>
              <a:gd name="T4" fmla="*/ 0 w 6"/>
              <a:gd name="T5" fmla="*/ 0 h 4"/>
              <a:gd name="T6" fmla="*/ 0 w 6"/>
              <a:gd name="T7" fmla="*/ 0 h 4"/>
              <a:gd name="T8" fmla="*/ 2 w 6"/>
              <a:gd name="T9" fmla="*/ 0 h 4"/>
              <a:gd name="T10" fmla="*/ 4 w 6"/>
              <a:gd name="T11" fmla="*/ 0 h 4"/>
              <a:gd name="T12" fmla="*/ 4 w 6"/>
              <a:gd name="T13" fmla="*/ 0 h 4"/>
              <a:gd name="T14" fmla="*/ 6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6" y="2"/>
                </a:moveTo>
                <a:lnTo>
                  <a:pt x="2" y="4"/>
                </a:lnTo>
                <a:lnTo>
                  <a:pt x="0" y="0"/>
                </a:lnTo>
                <a:lnTo>
                  <a:pt x="0" y="0"/>
                </a:lnTo>
                <a:lnTo>
                  <a:pt x="2" y="0"/>
                </a:lnTo>
                <a:lnTo>
                  <a:pt x="4" y="0"/>
                </a:lnTo>
                <a:lnTo>
                  <a:pt x="4" y="0"/>
                </a:lnTo>
                <a:lnTo>
                  <a:pt x="6" y="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9" name="Freeform 265">
            <a:extLst>
              <a:ext uri="{FF2B5EF4-FFF2-40B4-BE49-F238E27FC236}">
                <a16:creationId xmlns:a16="http://schemas.microsoft.com/office/drawing/2014/main" id="{85634480-5DF9-455E-8E87-C55703CE1516}"/>
              </a:ext>
            </a:extLst>
          </p:cNvPr>
          <p:cNvSpPr>
            <a:spLocks/>
          </p:cNvSpPr>
          <p:nvPr userDrawn="1"/>
        </p:nvSpPr>
        <p:spPr bwMode="auto">
          <a:xfrm>
            <a:off x="5671105" y="2596144"/>
            <a:ext cx="441148" cy="535388"/>
          </a:xfrm>
          <a:custGeom>
            <a:avLst/>
            <a:gdLst>
              <a:gd name="T0" fmla="*/ 162 w 263"/>
              <a:gd name="T1" fmla="*/ 310 h 312"/>
              <a:gd name="T2" fmla="*/ 150 w 263"/>
              <a:gd name="T3" fmla="*/ 312 h 312"/>
              <a:gd name="T4" fmla="*/ 148 w 263"/>
              <a:gd name="T5" fmla="*/ 304 h 312"/>
              <a:gd name="T6" fmla="*/ 148 w 263"/>
              <a:gd name="T7" fmla="*/ 294 h 312"/>
              <a:gd name="T8" fmla="*/ 140 w 263"/>
              <a:gd name="T9" fmla="*/ 288 h 312"/>
              <a:gd name="T10" fmla="*/ 130 w 263"/>
              <a:gd name="T11" fmla="*/ 278 h 312"/>
              <a:gd name="T12" fmla="*/ 0 w 263"/>
              <a:gd name="T13" fmla="*/ 154 h 312"/>
              <a:gd name="T14" fmla="*/ 4 w 263"/>
              <a:gd name="T15" fmla="*/ 150 h 312"/>
              <a:gd name="T16" fmla="*/ 20 w 263"/>
              <a:gd name="T17" fmla="*/ 138 h 312"/>
              <a:gd name="T18" fmla="*/ 34 w 263"/>
              <a:gd name="T19" fmla="*/ 132 h 312"/>
              <a:gd name="T20" fmla="*/ 42 w 263"/>
              <a:gd name="T21" fmla="*/ 128 h 312"/>
              <a:gd name="T22" fmla="*/ 56 w 263"/>
              <a:gd name="T23" fmla="*/ 120 h 312"/>
              <a:gd name="T24" fmla="*/ 64 w 263"/>
              <a:gd name="T25" fmla="*/ 108 h 312"/>
              <a:gd name="T26" fmla="*/ 74 w 263"/>
              <a:gd name="T27" fmla="*/ 96 h 312"/>
              <a:gd name="T28" fmla="*/ 78 w 263"/>
              <a:gd name="T29" fmla="*/ 90 h 312"/>
              <a:gd name="T30" fmla="*/ 84 w 263"/>
              <a:gd name="T31" fmla="*/ 84 h 312"/>
              <a:gd name="T32" fmla="*/ 90 w 263"/>
              <a:gd name="T33" fmla="*/ 76 h 312"/>
              <a:gd name="T34" fmla="*/ 86 w 263"/>
              <a:gd name="T35" fmla="*/ 62 h 312"/>
              <a:gd name="T36" fmla="*/ 82 w 263"/>
              <a:gd name="T37" fmla="*/ 58 h 312"/>
              <a:gd name="T38" fmla="*/ 82 w 263"/>
              <a:gd name="T39" fmla="*/ 44 h 312"/>
              <a:gd name="T40" fmla="*/ 78 w 263"/>
              <a:gd name="T41" fmla="*/ 34 h 312"/>
              <a:gd name="T42" fmla="*/ 88 w 263"/>
              <a:gd name="T43" fmla="*/ 32 h 312"/>
              <a:gd name="T44" fmla="*/ 94 w 263"/>
              <a:gd name="T45" fmla="*/ 24 h 312"/>
              <a:gd name="T46" fmla="*/ 108 w 263"/>
              <a:gd name="T47" fmla="*/ 20 h 312"/>
              <a:gd name="T48" fmla="*/ 114 w 263"/>
              <a:gd name="T49" fmla="*/ 14 h 312"/>
              <a:gd name="T50" fmla="*/ 124 w 263"/>
              <a:gd name="T51" fmla="*/ 10 h 312"/>
              <a:gd name="T52" fmla="*/ 132 w 263"/>
              <a:gd name="T53" fmla="*/ 8 h 312"/>
              <a:gd name="T54" fmla="*/ 146 w 263"/>
              <a:gd name="T55" fmla="*/ 6 h 312"/>
              <a:gd name="T56" fmla="*/ 162 w 263"/>
              <a:gd name="T57" fmla="*/ 2 h 312"/>
              <a:gd name="T58" fmla="*/ 178 w 263"/>
              <a:gd name="T59" fmla="*/ 2 h 312"/>
              <a:gd name="T60" fmla="*/ 184 w 263"/>
              <a:gd name="T61" fmla="*/ 2 h 312"/>
              <a:gd name="T62" fmla="*/ 192 w 263"/>
              <a:gd name="T63" fmla="*/ 2 h 312"/>
              <a:gd name="T64" fmla="*/ 202 w 263"/>
              <a:gd name="T65" fmla="*/ 2 h 312"/>
              <a:gd name="T66" fmla="*/ 208 w 263"/>
              <a:gd name="T67" fmla="*/ 0 h 312"/>
              <a:gd name="T68" fmla="*/ 214 w 263"/>
              <a:gd name="T69" fmla="*/ 8 h 312"/>
              <a:gd name="T70" fmla="*/ 218 w 263"/>
              <a:gd name="T71" fmla="*/ 18 h 312"/>
              <a:gd name="T72" fmla="*/ 220 w 263"/>
              <a:gd name="T73" fmla="*/ 36 h 312"/>
              <a:gd name="T74" fmla="*/ 218 w 263"/>
              <a:gd name="T75" fmla="*/ 42 h 312"/>
              <a:gd name="T76" fmla="*/ 210 w 263"/>
              <a:gd name="T77" fmla="*/ 52 h 312"/>
              <a:gd name="T78" fmla="*/ 206 w 263"/>
              <a:gd name="T79" fmla="*/ 56 h 312"/>
              <a:gd name="T80" fmla="*/ 212 w 263"/>
              <a:gd name="T81" fmla="*/ 70 h 312"/>
              <a:gd name="T82" fmla="*/ 224 w 263"/>
              <a:gd name="T83" fmla="*/ 86 h 312"/>
              <a:gd name="T84" fmla="*/ 226 w 263"/>
              <a:gd name="T85" fmla="*/ 118 h 312"/>
              <a:gd name="T86" fmla="*/ 228 w 263"/>
              <a:gd name="T87" fmla="*/ 152 h 312"/>
              <a:gd name="T88" fmla="*/ 228 w 263"/>
              <a:gd name="T89" fmla="*/ 162 h 312"/>
              <a:gd name="T90" fmla="*/ 230 w 263"/>
              <a:gd name="T91" fmla="*/ 164 h 312"/>
              <a:gd name="T92" fmla="*/ 228 w 263"/>
              <a:gd name="T93" fmla="*/ 184 h 312"/>
              <a:gd name="T94" fmla="*/ 220 w 263"/>
              <a:gd name="T95" fmla="*/ 192 h 312"/>
              <a:gd name="T96" fmla="*/ 226 w 263"/>
              <a:gd name="T97" fmla="*/ 202 h 312"/>
              <a:gd name="T98" fmla="*/ 232 w 263"/>
              <a:gd name="T99" fmla="*/ 216 h 312"/>
              <a:gd name="T100" fmla="*/ 238 w 263"/>
              <a:gd name="T101" fmla="*/ 224 h 312"/>
              <a:gd name="T102" fmla="*/ 250 w 263"/>
              <a:gd name="T103" fmla="*/ 230 h 312"/>
              <a:gd name="T104" fmla="*/ 257 w 263"/>
              <a:gd name="T105" fmla="*/ 23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3" h="312">
                <a:moveTo>
                  <a:pt x="263" y="238"/>
                </a:moveTo>
                <a:lnTo>
                  <a:pt x="190" y="292"/>
                </a:lnTo>
                <a:lnTo>
                  <a:pt x="182" y="306"/>
                </a:lnTo>
                <a:lnTo>
                  <a:pt x="162" y="310"/>
                </a:lnTo>
                <a:lnTo>
                  <a:pt x="162" y="310"/>
                </a:lnTo>
                <a:lnTo>
                  <a:pt x="156" y="312"/>
                </a:lnTo>
                <a:lnTo>
                  <a:pt x="150" y="312"/>
                </a:lnTo>
                <a:lnTo>
                  <a:pt x="150" y="312"/>
                </a:lnTo>
                <a:lnTo>
                  <a:pt x="150" y="312"/>
                </a:lnTo>
                <a:lnTo>
                  <a:pt x="150" y="310"/>
                </a:lnTo>
                <a:lnTo>
                  <a:pt x="148" y="304"/>
                </a:lnTo>
                <a:lnTo>
                  <a:pt x="148" y="304"/>
                </a:lnTo>
                <a:lnTo>
                  <a:pt x="148" y="302"/>
                </a:lnTo>
                <a:lnTo>
                  <a:pt x="148" y="298"/>
                </a:lnTo>
                <a:lnTo>
                  <a:pt x="148" y="298"/>
                </a:lnTo>
                <a:lnTo>
                  <a:pt x="148" y="294"/>
                </a:lnTo>
                <a:lnTo>
                  <a:pt x="148" y="292"/>
                </a:lnTo>
                <a:lnTo>
                  <a:pt x="144" y="290"/>
                </a:lnTo>
                <a:lnTo>
                  <a:pt x="144" y="290"/>
                </a:lnTo>
                <a:lnTo>
                  <a:pt x="140" y="288"/>
                </a:lnTo>
                <a:lnTo>
                  <a:pt x="134" y="284"/>
                </a:lnTo>
                <a:lnTo>
                  <a:pt x="134" y="284"/>
                </a:lnTo>
                <a:lnTo>
                  <a:pt x="130" y="280"/>
                </a:lnTo>
                <a:lnTo>
                  <a:pt x="130" y="278"/>
                </a:lnTo>
                <a:lnTo>
                  <a:pt x="46" y="214"/>
                </a:lnTo>
                <a:lnTo>
                  <a:pt x="0" y="180"/>
                </a:lnTo>
                <a:lnTo>
                  <a:pt x="0" y="168"/>
                </a:lnTo>
                <a:lnTo>
                  <a:pt x="0" y="154"/>
                </a:lnTo>
                <a:lnTo>
                  <a:pt x="0" y="154"/>
                </a:lnTo>
                <a:lnTo>
                  <a:pt x="0" y="154"/>
                </a:lnTo>
                <a:lnTo>
                  <a:pt x="4" y="150"/>
                </a:lnTo>
                <a:lnTo>
                  <a:pt x="4" y="150"/>
                </a:lnTo>
                <a:lnTo>
                  <a:pt x="10" y="142"/>
                </a:lnTo>
                <a:lnTo>
                  <a:pt x="10" y="142"/>
                </a:lnTo>
                <a:lnTo>
                  <a:pt x="14" y="140"/>
                </a:lnTo>
                <a:lnTo>
                  <a:pt x="20" y="138"/>
                </a:lnTo>
                <a:lnTo>
                  <a:pt x="20" y="138"/>
                </a:lnTo>
                <a:lnTo>
                  <a:pt x="28" y="136"/>
                </a:lnTo>
                <a:lnTo>
                  <a:pt x="32" y="134"/>
                </a:lnTo>
                <a:lnTo>
                  <a:pt x="34" y="132"/>
                </a:lnTo>
                <a:lnTo>
                  <a:pt x="34" y="132"/>
                </a:lnTo>
                <a:lnTo>
                  <a:pt x="38" y="128"/>
                </a:lnTo>
                <a:lnTo>
                  <a:pt x="42" y="128"/>
                </a:lnTo>
                <a:lnTo>
                  <a:pt x="42" y="128"/>
                </a:lnTo>
                <a:lnTo>
                  <a:pt x="48" y="126"/>
                </a:lnTo>
                <a:lnTo>
                  <a:pt x="52" y="124"/>
                </a:lnTo>
                <a:lnTo>
                  <a:pt x="52" y="124"/>
                </a:lnTo>
                <a:lnTo>
                  <a:pt x="56" y="120"/>
                </a:lnTo>
                <a:lnTo>
                  <a:pt x="58" y="114"/>
                </a:lnTo>
                <a:lnTo>
                  <a:pt x="62" y="108"/>
                </a:lnTo>
                <a:lnTo>
                  <a:pt x="62" y="108"/>
                </a:lnTo>
                <a:lnTo>
                  <a:pt x="64" y="108"/>
                </a:lnTo>
                <a:lnTo>
                  <a:pt x="70" y="104"/>
                </a:lnTo>
                <a:lnTo>
                  <a:pt x="70" y="104"/>
                </a:lnTo>
                <a:lnTo>
                  <a:pt x="74" y="100"/>
                </a:lnTo>
                <a:lnTo>
                  <a:pt x="74" y="96"/>
                </a:lnTo>
                <a:lnTo>
                  <a:pt x="74" y="96"/>
                </a:lnTo>
                <a:lnTo>
                  <a:pt x="74" y="94"/>
                </a:lnTo>
                <a:lnTo>
                  <a:pt x="76" y="92"/>
                </a:lnTo>
                <a:lnTo>
                  <a:pt x="78" y="90"/>
                </a:lnTo>
                <a:lnTo>
                  <a:pt x="80" y="88"/>
                </a:lnTo>
                <a:lnTo>
                  <a:pt x="80" y="88"/>
                </a:lnTo>
                <a:lnTo>
                  <a:pt x="82" y="86"/>
                </a:lnTo>
                <a:lnTo>
                  <a:pt x="84" y="84"/>
                </a:lnTo>
                <a:lnTo>
                  <a:pt x="90" y="80"/>
                </a:lnTo>
                <a:lnTo>
                  <a:pt x="90" y="80"/>
                </a:lnTo>
                <a:lnTo>
                  <a:pt x="92" y="78"/>
                </a:lnTo>
                <a:lnTo>
                  <a:pt x="90" y="76"/>
                </a:lnTo>
                <a:lnTo>
                  <a:pt x="88" y="72"/>
                </a:lnTo>
                <a:lnTo>
                  <a:pt x="88" y="72"/>
                </a:lnTo>
                <a:lnTo>
                  <a:pt x="86" y="68"/>
                </a:lnTo>
                <a:lnTo>
                  <a:pt x="86" y="62"/>
                </a:lnTo>
                <a:lnTo>
                  <a:pt x="86" y="62"/>
                </a:lnTo>
                <a:lnTo>
                  <a:pt x="84" y="60"/>
                </a:lnTo>
                <a:lnTo>
                  <a:pt x="82" y="58"/>
                </a:lnTo>
                <a:lnTo>
                  <a:pt x="82" y="58"/>
                </a:lnTo>
                <a:lnTo>
                  <a:pt x="80" y="54"/>
                </a:lnTo>
                <a:lnTo>
                  <a:pt x="80" y="54"/>
                </a:lnTo>
                <a:lnTo>
                  <a:pt x="82" y="48"/>
                </a:lnTo>
                <a:lnTo>
                  <a:pt x="82" y="44"/>
                </a:lnTo>
                <a:lnTo>
                  <a:pt x="82" y="44"/>
                </a:lnTo>
                <a:lnTo>
                  <a:pt x="82" y="40"/>
                </a:lnTo>
                <a:lnTo>
                  <a:pt x="80" y="38"/>
                </a:lnTo>
                <a:lnTo>
                  <a:pt x="78" y="34"/>
                </a:lnTo>
                <a:lnTo>
                  <a:pt x="78" y="34"/>
                </a:lnTo>
                <a:lnTo>
                  <a:pt x="82" y="32"/>
                </a:lnTo>
                <a:lnTo>
                  <a:pt x="82" y="32"/>
                </a:lnTo>
                <a:lnTo>
                  <a:pt x="88" y="32"/>
                </a:lnTo>
                <a:lnTo>
                  <a:pt x="88" y="32"/>
                </a:lnTo>
                <a:lnTo>
                  <a:pt x="90" y="30"/>
                </a:lnTo>
                <a:lnTo>
                  <a:pt x="92" y="26"/>
                </a:lnTo>
                <a:lnTo>
                  <a:pt x="94" y="24"/>
                </a:lnTo>
                <a:lnTo>
                  <a:pt x="98" y="20"/>
                </a:lnTo>
                <a:lnTo>
                  <a:pt x="98" y="20"/>
                </a:lnTo>
                <a:lnTo>
                  <a:pt x="104" y="20"/>
                </a:lnTo>
                <a:lnTo>
                  <a:pt x="108" y="20"/>
                </a:lnTo>
                <a:lnTo>
                  <a:pt x="108" y="20"/>
                </a:lnTo>
                <a:lnTo>
                  <a:pt x="112" y="16"/>
                </a:lnTo>
                <a:lnTo>
                  <a:pt x="114" y="14"/>
                </a:lnTo>
                <a:lnTo>
                  <a:pt x="114" y="14"/>
                </a:lnTo>
                <a:lnTo>
                  <a:pt x="118" y="14"/>
                </a:lnTo>
                <a:lnTo>
                  <a:pt x="122" y="14"/>
                </a:lnTo>
                <a:lnTo>
                  <a:pt x="122" y="14"/>
                </a:lnTo>
                <a:lnTo>
                  <a:pt x="124" y="10"/>
                </a:lnTo>
                <a:lnTo>
                  <a:pt x="124" y="10"/>
                </a:lnTo>
                <a:lnTo>
                  <a:pt x="128" y="10"/>
                </a:lnTo>
                <a:lnTo>
                  <a:pt x="132" y="8"/>
                </a:lnTo>
                <a:lnTo>
                  <a:pt x="132" y="8"/>
                </a:lnTo>
                <a:lnTo>
                  <a:pt x="134" y="4"/>
                </a:lnTo>
                <a:lnTo>
                  <a:pt x="134" y="4"/>
                </a:lnTo>
                <a:lnTo>
                  <a:pt x="140" y="6"/>
                </a:lnTo>
                <a:lnTo>
                  <a:pt x="146" y="6"/>
                </a:lnTo>
                <a:lnTo>
                  <a:pt x="146" y="6"/>
                </a:lnTo>
                <a:lnTo>
                  <a:pt x="150" y="6"/>
                </a:lnTo>
                <a:lnTo>
                  <a:pt x="154" y="4"/>
                </a:lnTo>
                <a:lnTo>
                  <a:pt x="162" y="2"/>
                </a:lnTo>
                <a:lnTo>
                  <a:pt x="162" y="2"/>
                </a:lnTo>
                <a:lnTo>
                  <a:pt x="170" y="2"/>
                </a:lnTo>
                <a:lnTo>
                  <a:pt x="178" y="2"/>
                </a:lnTo>
                <a:lnTo>
                  <a:pt x="178" y="2"/>
                </a:lnTo>
                <a:lnTo>
                  <a:pt x="178" y="4"/>
                </a:lnTo>
                <a:lnTo>
                  <a:pt x="178" y="4"/>
                </a:lnTo>
                <a:lnTo>
                  <a:pt x="182" y="4"/>
                </a:lnTo>
                <a:lnTo>
                  <a:pt x="184" y="2"/>
                </a:lnTo>
                <a:lnTo>
                  <a:pt x="184" y="2"/>
                </a:lnTo>
                <a:lnTo>
                  <a:pt x="188" y="4"/>
                </a:lnTo>
                <a:lnTo>
                  <a:pt x="192" y="4"/>
                </a:lnTo>
                <a:lnTo>
                  <a:pt x="192" y="2"/>
                </a:lnTo>
                <a:lnTo>
                  <a:pt x="192" y="2"/>
                </a:lnTo>
                <a:lnTo>
                  <a:pt x="198" y="0"/>
                </a:lnTo>
                <a:lnTo>
                  <a:pt x="198" y="0"/>
                </a:lnTo>
                <a:lnTo>
                  <a:pt x="202" y="2"/>
                </a:lnTo>
                <a:lnTo>
                  <a:pt x="204" y="6"/>
                </a:lnTo>
                <a:lnTo>
                  <a:pt x="206" y="6"/>
                </a:lnTo>
                <a:lnTo>
                  <a:pt x="206" y="6"/>
                </a:lnTo>
                <a:lnTo>
                  <a:pt x="208" y="0"/>
                </a:lnTo>
                <a:lnTo>
                  <a:pt x="208" y="0"/>
                </a:lnTo>
                <a:lnTo>
                  <a:pt x="214" y="2"/>
                </a:lnTo>
                <a:lnTo>
                  <a:pt x="214" y="2"/>
                </a:lnTo>
                <a:lnTo>
                  <a:pt x="214" y="8"/>
                </a:lnTo>
                <a:lnTo>
                  <a:pt x="214" y="12"/>
                </a:lnTo>
                <a:lnTo>
                  <a:pt x="216" y="14"/>
                </a:lnTo>
                <a:lnTo>
                  <a:pt x="216" y="14"/>
                </a:lnTo>
                <a:lnTo>
                  <a:pt x="218" y="18"/>
                </a:lnTo>
                <a:lnTo>
                  <a:pt x="218" y="22"/>
                </a:lnTo>
                <a:lnTo>
                  <a:pt x="218" y="22"/>
                </a:lnTo>
                <a:lnTo>
                  <a:pt x="218" y="28"/>
                </a:lnTo>
                <a:lnTo>
                  <a:pt x="220" y="36"/>
                </a:lnTo>
                <a:lnTo>
                  <a:pt x="220" y="36"/>
                </a:lnTo>
                <a:lnTo>
                  <a:pt x="220" y="38"/>
                </a:lnTo>
                <a:lnTo>
                  <a:pt x="218" y="40"/>
                </a:lnTo>
                <a:lnTo>
                  <a:pt x="218" y="42"/>
                </a:lnTo>
                <a:lnTo>
                  <a:pt x="216" y="42"/>
                </a:lnTo>
                <a:lnTo>
                  <a:pt x="216" y="42"/>
                </a:lnTo>
                <a:lnTo>
                  <a:pt x="214" y="48"/>
                </a:lnTo>
                <a:lnTo>
                  <a:pt x="210" y="52"/>
                </a:lnTo>
                <a:lnTo>
                  <a:pt x="210" y="52"/>
                </a:lnTo>
                <a:lnTo>
                  <a:pt x="206" y="52"/>
                </a:lnTo>
                <a:lnTo>
                  <a:pt x="206" y="56"/>
                </a:lnTo>
                <a:lnTo>
                  <a:pt x="206" y="56"/>
                </a:lnTo>
                <a:lnTo>
                  <a:pt x="208" y="70"/>
                </a:lnTo>
                <a:lnTo>
                  <a:pt x="208" y="70"/>
                </a:lnTo>
                <a:lnTo>
                  <a:pt x="210" y="70"/>
                </a:lnTo>
                <a:lnTo>
                  <a:pt x="212" y="70"/>
                </a:lnTo>
                <a:lnTo>
                  <a:pt x="214" y="72"/>
                </a:lnTo>
                <a:lnTo>
                  <a:pt x="214" y="72"/>
                </a:lnTo>
                <a:lnTo>
                  <a:pt x="216" y="84"/>
                </a:lnTo>
                <a:lnTo>
                  <a:pt x="224" y="86"/>
                </a:lnTo>
                <a:lnTo>
                  <a:pt x="228" y="116"/>
                </a:lnTo>
                <a:lnTo>
                  <a:pt x="228" y="116"/>
                </a:lnTo>
                <a:lnTo>
                  <a:pt x="226" y="118"/>
                </a:lnTo>
                <a:lnTo>
                  <a:pt x="226" y="118"/>
                </a:lnTo>
                <a:lnTo>
                  <a:pt x="226" y="120"/>
                </a:lnTo>
                <a:lnTo>
                  <a:pt x="228" y="122"/>
                </a:lnTo>
                <a:lnTo>
                  <a:pt x="228" y="124"/>
                </a:lnTo>
                <a:lnTo>
                  <a:pt x="228" y="152"/>
                </a:lnTo>
                <a:lnTo>
                  <a:pt x="232" y="158"/>
                </a:lnTo>
                <a:lnTo>
                  <a:pt x="232" y="158"/>
                </a:lnTo>
                <a:lnTo>
                  <a:pt x="230" y="160"/>
                </a:lnTo>
                <a:lnTo>
                  <a:pt x="228" y="162"/>
                </a:lnTo>
                <a:lnTo>
                  <a:pt x="228" y="162"/>
                </a:lnTo>
                <a:lnTo>
                  <a:pt x="228" y="162"/>
                </a:lnTo>
                <a:lnTo>
                  <a:pt x="228" y="164"/>
                </a:lnTo>
                <a:lnTo>
                  <a:pt x="230" y="164"/>
                </a:lnTo>
                <a:lnTo>
                  <a:pt x="228" y="168"/>
                </a:lnTo>
                <a:lnTo>
                  <a:pt x="228" y="168"/>
                </a:lnTo>
                <a:lnTo>
                  <a:pt x="230" y="174"/>
                </a:lnTo>
                <a:lnTo>
                  <a:pt x="228" y="184"/>
                </a:lnTo>
                <a:lnTo>
                  <a:pt x="228" y="184"/>
                </a:lnTo>
                <a:lnTo>
                  <a:pt x="226" y="188"/>
                </a:lnTo>
                <a:lnTo>
                  <a:pt x="224" y="190"/>
                </a:lnTo>
                <a:lnTo>
                  <a:pt x="220" y="192"/>
                </a:lnTo>
                <a:lnTo>
                  <a:pt x="220" y="192"/>
                </a:lnTo>
                <a:lnTo>
                  <a:pt x="224" y="198"/>
                </a:lnTo>
                <a:lnTo>
                  <a:pt x="224" y="198"/>
                </a:lnTo>
                <a:lnTo>
                  <a:pt x="226" y="202"/>
                </a:lnTo>
                <a:lnTo>
                  <a:pt x="230" y="208"/>
                </a:lnTo>
                <a:lnTo>
                  <a:pt x="230" y="208"/>
                </a:lnTo>
                <a:lnTo>
                  <a:pt x="232" y="212"/>
                </a:lnTo>
                <a:lnTo>
                  <a:pt x="232" y="216"/>
                </a:lnTo>
                <a:lnTo>
                  <a:pt x="232" y="216"/>
                </a:lnTo>
                <a:lnTo>
                  <a:pt x="234" y="222"/>
                </a:lnTo>
                <a:lnTo>
                  <a:pt x="236" y="224"/>
                </a:lnTo>
                <a:lnTo>
                  <a:pt x="238" y="224"/>
                </a:lnTo>
                <a:lnTo>
                  <a:pt x="238" y="224"/>
                </a:lnTo>
                <a:lnTo>
                  <a:pt x="248" y="226"/>
                </a:lnTo>
                <a:lnTo>
                  <a:pt x="248" y="226"/>
                </a:lnTo>
                <a:lnTo>
                  <a:pt x="250" y="230"/>
                </a:lnTo>
                <a:lnTo>
                  <a:pt x="252" y="232"/>
                </a:lnTo>
                <a:lnTo>
                  <a:pt x="255" y="232"/>
                </a:lnTo>
                <a:lnTo>
                  <a:pt x="255" y="232"/>
                </a:lnTo>
                <a:lnTo>
                  <a:pt x="257" y="232"/>
                </a:lnTo>
                <a:lnTo>
                  <a:pt x="259" y="234"/>
                </a:lnTo>
                <a:lnTo>
                  <a:pt x="263" y="238"/>
                </a:lnTo>
                <a:lnTo>
                  <a:pt x="263" y="2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0" name="Freeform 266">
            <a:extLst>
              <a:ext uri="{FF2B5EF4-FFF2-40B4-BE49-F238E27FC236}">
                <a16:creationId xmlns:a16="http://schemas.microsoft.com/office/drawing/2014/main" id="{6CD7777E-66D5-4378-A953-C824A6A42753}"/>
              </a:ext>
            </a:extLst>
          </p:cNvPr>
          <p:cNvSpPr>
            <a:spLocks/>
          </p:cNvSpPr>
          <p:nvPr userDrawn="1"/>
        </p:nvSpPr>
        <p:spPr bwMode="auto">
          <a:xfrm>
            <a:off x="6285617" y="2424545"/>
            <a:ext cx="44889" cy="89231"/>
          </a:xfrm>
          <a:custGeom>
            <a:avLst/>
            <a:gdLst>
              <a:gd name="T0" fmla="*/ 0 w 26"/>
              <a:gd name="T1" fmla="*/ 10 h 52"/>
              <a:gd name="T2" fmla="*/ 0 w 26"/>
              <a:gd name="T3" fmla="*/ 10 h 52"/>
              <a:gd name="T4" fmla="*/ 2 w 26"/>
              <a:gd name="T5" fmla="*/ 12 h 52"/>
              <a:gd name="T6" fmla="*/ 2 w 26"/>
              <a:gd name="T7" fmla="*/ 12 h 52"/>
              <a:gd name="T8" fmla="*/ 6 w 26"/>
              <a:gd name="T9" fmla="*/ 12 h 52"/>
              <a:gd name="T10" fmla="*/ 6 w 26"/>
              <a:gd name="T11" fmla="*/ 12 h 52"/>
              <a:gd name="T12" fmla="*/ 4 w 26"/>
              <a:gd name="T13" fmla="*/ 20 h 52"/>
              <a:gd name="T14" fmla="*/ 6 w 26"/>
              <a:gd name="T15" fmla="*/ 22 h 52"/>
              <a:gd name="T16" fmla="*/ 6 w 26"/>
              <a:gd name="T17" fmla="*/ 24 h 52"/>
              <a:gd name="T18" fmla="*/ 6 w 26"/>
              <a:gd name="T19" fmla="*/ 24 h 52"/>
              <a:gd name="T20" fmla="*/ 4 w 26"/>
              <a:gd name="T21" fmla="*/ 30 h 52"/>
              <a:gd name="T22" fmla="*/ 4 w 26"/>
              <a:gd name="T23" fmla="*/ 38 h 52"/>
              <a:gd name="T24" fmla="*/ 4 w 26"/>
              <a:gd name="T25" fmla="*/ 38 h 52"/>
              <a:gd name="T26" fmla="*/ 4 w 26"/>
              <a:gd name="T27" fmla="*/ 42 h 52"/>
              <a:gd name="T28" fmla="*/ 8 w 26"/>
              <a:gd name="T29" fmla="*/ 44 h 52"/>
              <a:gd name="T30" fmla="*/ 14 w 26"/>
              <a:gd name="T31" fmla="*/ 48 h 52"/>
              <a:gd name="T32" fmla="*/ 14 w 26"/>
              <a:gd name="T33" fmla="*/ 48 h 52"/>
              <a:gd name="T34" fmla="*/ 14 w 26"/>
              <a:gd name="T35" fmla="*/ 52 h 52"/>
              <a:gd name="T36" fmla="*/ 14 w 26"/>
              <a:gd name="T37" fmla="*/ 52 h 52"/>
              <a:gd name="T38" fmla="*/ 18 w 26"/>
              <a:gd name="T39" fmla="*/ 52 h 52"/>
              <a:gd name="T40" fmla="*/ 18 w 26"/>
              <a:gd name="T41" fmla="*/ 52 h 52"/>
              <a:gd name="T42" fmla="*/ 20 w 26"/>
              <a:gd name="T43" fmla="*/ 52 h 52"/>
              <a:gd name="T44" fmla="*/ 20 w 26"/>
              <a:gd name="T45" fmla="*/ 52 h 52"/>
              <a:gd name="T46" fmla="*/ 20 w 26"/>
              <a:gd name="T47" fmla="*/ 50 h 52"/>
              <a:gd name="T48" fmla="*/ 20 w 26"/>
              <a:gd name="T49" fmla="*/ 50 h 52"/>
              <a:gd name="T50" fmla="*/ 20 w 26"/>
              <a:gd name="T51" fmla="*/ 50 h 52"/>
              <a:gd name="T52" fmla="*/ 24 w 26"/>
              <a:gd name="T53" fmla="*/ 48 h 52"/>
              <a:gd name="T54" fmla="*/ 24 w 26"/>
              <a:gd name="T55" fmla="*/ 48 h 52"/>
              <a:gd name="T56" fmla="*/ 26 w 26"/>
              <a:gd name="T57" fmla="*/ 42 h 52"/>
              <a:gd name="T58" fmla="*/ 26 w 26"/>
              <a:gd name="T59" fmla="*/ 36 h 52"/>
              <a:gd name="T60" fmla="*/ 26 w 26"/>
              <a:gd name="T61" fmla="*/ 36 h 52"/>
              <a:gd name="T62" fmla="*/ 24 w 26"/>
              <a:gd name="T63" fmla="*/ 34 h 52"/>
              <a:gd name="T64" fmla="*/ 22 w 26"/>
              <a:gd name="T65" fmla="*/ 30 h 52"/>
              <a:gd name="T66" fmla="*/ 22 w 26"/>
              <a:gd name="T67" fmla="*/ 30 h 52"/>
              <a:gd name="T68" fmla="*/ 20 w 26"/>
              <a:gd name="T69" fmla="*/ 26 h 52"/>
              <a:gd name="T70" fmla="*/ 22 w 26"/>
              <a:gd name="T71" fmla="*/ 24 h 52"/>
              <a:gd name="T72" fmla="*/ 22 w 26"/>
              <a:gd name="T73" fmla="*/ 24 h 52"/>
              <a:gd name="T74" fmla="*/ 22 w 26"/>
              <a:gd name="T75" fmla="*/ 18 h 52"/>
              <a:gd name="T76" fmla="*/ 22 w 26"/>
              <a:gd name="T77" fmla="*/ 16 h 52"/>
              <a:gd name="T78" fmla="*/ 20 w 26"/>
              <a:gd name="T79" fmla="*/ 8 h 52"/>
              <a:gd name="T80" fmla="*/ 14 w 26"/>
              <a:gd name="T81" fmla="*/ 2 h 52"/>
              <a:gd name="T82" fmla="*/ 12 w 26"/>
              <a:gd name="T83" fmla="*/ 6 h 52"/>
              <a:gd name="T84" fmla="*/ 10 w 26"/>
              <a:gd name="T85" fmla="*/ 0 h 52"/>
              <a:gd name="T86" fmla="*/ 2 w 26"/>
              <a:gd name="T87" fmla="*/ 4 h 52"/>
              <a:gd name="T88" fmla="*/ 0 w 26"/>
              <a:gd name="T89"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52">
                <a:moveTo>
                  <a:pt x="0" y="10"/>
                </a:moveTo>
                <a:lnTo>
                  <a:pt x="0" y="10"/>
                </a:lnTo>
                <a:lnTo>
                  <a:pt x="2" y="12"/>
                </a:lnTo>
                <a:lnTo>
                  <a:pt x="2" y="12"/>
                </a:lnTo>
                <a:lnTo>
                  <a:pt x="6" y="12"/>
                </a:lnTo>
                <a:lnTo>
                  <a:pt x="6" y="12"/>
                </a:lnTo>
                <a:lnTo>
                  <a:pt x="4" y="20"/>
                </a:lnTo>
                <a:lnTo>
                  <a:pt x="6" y="22"/>
                </a:lnTo>
                <a:lnTo>
                  <a:pt x="6" y="24"/>
                </a:lnTo>
                <a:lnTo>
                  <a:pt x="6" y="24"/>
                </a:lnTo>
                <a:lnTo>
                  <a:pt x="4" y="30"/>
                </a:lnTo>
                <a:lnTo>
                  <a:pt x="4" y="38"/>
                </a:lnTo>
                <a:lnTo>
                  <a:pt x="4" y="38"/>
                </a:lnTo>
                <a:lnTo>
                  <a:pt x="4" y="42"/>
                </a:lnTo>
                <a:lnTo>
                  <a:pt x="8" y="44"/>
                </a:lnTo>
                <a:lnTo>
                  <a:pt x="14" y="48"/>
                </a:lnTo>
                <a:lnTo>
                  <a:pt x="14" y="48"/>
                </a:lnTo>
                <a:lnTo>
                  <a:pt x="14" y="52"/>
                </a:lnTo>
                <a:lnTo>
                  <a:pt x="14" y="52"/>
                </a:lnTo>
                <a:lnTo>
                  <a:pt x="18" y="52"/>
                </a:lnTo>
                <a:lnTo>
                  <a:pt x="18" y="52"/>
                </a:lnTo>
                <a:lnTo>
                  <a:pt x="20" y="52"/>
                </a:lnTo>
                <a:lnTo>
                  <a:pt x="20" y="52"/>
                </a:lnTo>
                <a:lnTo>
                  <a:pt x="20" y="50"/>
                </a:lnTo>
                <a:lnTo>
                  <a:pt x="20" y="50"/>
                </a:lnTo>
                <a:lnTo>
                  <a:pt x="20" y="50"/>
                </a:lnTo>
                <a:lnTo>
                  <a:pt x="24" y="48"/>
                </a:lnTo>
                <a:lnTo>
                  <a:pt x="24" y="48"/>
                </a:lnTo>
                <a:lnTo>
                  <a:pt x="26" y="42"/>
                </a:lnTo>
                <a:lnTo>
                  <a:pt x="26" y="36"/>
                </a:lnTo>
                <a:lnTo>
                  <a:pt x="26" y="36"/>
                </a:lnTo>
                <a:lnTo>
                  <a:pt x="24" y="34"/>
                </a:lnTo>
                <a:lnTo>
                  <a:pt x="22" y="30"/>
                </a:lnTo>
                <a:lnTo>
                  <a:pt x="22" y="30"/>
                </a:lnTo>
                <a:lnTo>
                  <a:pt x="20" y="26"/>
                </a:lnTo>
                <a:lnTo>
                  <a:pt x="22" y="24"/>
                </a:lnTo>
                <a:lnTo>
                  <a:pt x="22" y="24"/>
                </a:lnTo>
                <a:lnTo>
                  <a:pt x="22" y="18"/>
                </a:lnTo>
                <a:lnTo>
                  <a:pt x="22" y="16"/>
                </a:lnTo>
                <a:lnTo>
                  <a:pt x="20" y="8"/>
                </a:lnTo>
                <a:lnTo>
                  <a:pt x="14" y="2"/>
                </a:lnTo>
                <a:lnTo>
                  <a:pt x="12" y="6"/>
                </a:lnTo>
                <a:lnTo>
                  <a:pt x="10" y="0"/>
                </a:lnTo>
                <a:lnTo>
                  <a:pt x="2" y="4"/>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1" name="Freeform 267">
            <a:extLst>
              <a:ext uri="{FF2B5EF4-FFF2-40B4-BE49-F238E27FC236}">
                <a16:creationId xmlns:a16="http://schemas.microsoft.com/office/drawing/2014/main" id="{32A9298B-7F9B-47FC-B99D-AE6B6A14C11C}"/>
              </a:ext>
            </a:extLst>
          </p:cNvPr>
          <p:cNvSpPr>
            <a:spLocks noEditPoints="1"/>
          </p:cNvSpPr>
          <p:nvPr userDrawn="1"/>
        </p:nvSpPr>
        <p:spPr bwMode="auto">
          <a:xfrm>
            <a:off x="2081546" y="1333177"/>
            <a:ext cx="2267660" cy="1619892"/>
          </a:xfrm>
          <a:custGeom>
            <a:avLst/>
            <a:gdLst>
              <a:gd name="T0" fmla="*/ 1058 w 1352"/>
              <a:gd name="T1" fmla="*/ 864 h 944"/>
              <a:gd name="T2" fmla="*/ 1076 w 1352"/>
              <a:gd name="T3" fmla="*/ 854 h 944"/>
              <a:gd name="T4" fmla="*/ 1134 w 1352"/>
              <a:gd name="T5" fmla="*/ 862 h 944"/>
              <a:gd name="T6" fmla="*/ 1166 w 1352"/>
              <a:gd name="T7" fmla="*/ 940 h 944"/>
              <a:gd name="T8" fmla="*/ 1168 w 1352"/>
              <a:gd name="T9" fmla="*/ 880 h 944"/>
              <a:gd name="T10" fmla="*/ 1184 w 1352"/>
              <a:gd name="T11" fmla="*/ 806 h 944"/>
              <a:gd name="T12" fmla="*/ 1234 w 1352"/>
              <a:gd name="T13" fmla="*/ 762 h 944"/>
              <a:gd name="T14" fmla="*/ 1216 w 1352"/>
              <a:gd name="T15" fmla="*/ 714 h 944"/>
              <a:gd name="T16" fmla="*/ 1226 w 1352"/>
              <a:gd name="T17" fmla="*/ 716 h 944"/>
              <a:gd name="T18" fmla="*/ 1252 w 1352"/>
              <a:gd name="T19" fmla="*/ 694 h 944"/>
              <a:gd name="T20" fmla="*/ 1294 w 1352"/>
              <a:gd name="T21" fmla="*/ 646 h 944"/>
              <a:gd name="T22" fmla="*/ 1318 w 1352"/>
              <a:gd name="T23" fmla="*/ 606 h 944"/>
              <a:gd name="T24" fmla="*/ 1350 w 1352"/>
              <a:gd name="T25" fmla="*/ 582 h 944"/>
              <a:gd name="T26" fmla="*/ 1312 w 1352"/>
              <a:gd name="T27" fmla="*/ 562 h 944"/>
              <a:gd name="T28" fmla="*/ 1220 w 1352"/>
              <a:gd name="T29" fmla="*/ 614 h 944"/>
              <a:gd name="T30" fmla="*/ 1140 w 1352"/>
              <a:gd name="T31" fmla="*/ 650 h 944"/>
              <a:gd name="T32" fmla="*/ 1130 w 1352"/>
              <a:gd name="T33" fmla="*/ 608 h 944"/>
              <a:gd name="T34" fmla="*/ 1104 w 1352"/>
              <a:gd name="T35" fmla="*/ 582 h 944"/>
              <a:gd name="T36" fmla="*/ 1080 w 1352"/>
              <a:gd name="T37" fmla="*/ 584 h 944"/>
              <a:gd name="T38" fmla="*/ 1116 w 1352"/>
              <a:gd name="T39" fmla="*/ 562 h 944"/>
              <a:gd name="T40" fmla="*/ 1072 w 1352"/>
              <a:gd name="T41" fmla="*/ 534 h 944"/>
              <a:gd name="T42" fmla="*/ 1044 w 1352"/>
              <a:gd name="T43" fmla="*/ 526 h 944"/>
              <a:gd name="T44" fmla="*/ 980 w 1352"/>
              <a:gd name="T45" fmla="*/ 500 h 944"/>
              <a:gd name="T46" fmla="*/ 592 w 1352"/>
              <a:gd name="T47" fmla="*/ 550 h 944"/>
              <a:gd name="T48" fmla="*/ 590 w 1352"/>
              <a:gd name="T49" fmla="*/ 658 h 944"/>
              <a:gd name="T50" fmla="*/ 612 w 1352"/>
              <a:gd name="T51" fmla="*/ 710 h 944"/>
              <a:gd name="T52" fmla="*/ 632 w 1352"/>
              <a:gd name="T53" fmla="*/ 762 h 944"/>
              <a:gd name="T54" fmla="*/ 832 w 1352"/>
              <a:gd name="T55" fmla="*/ 836 h 944"/>
              <a:gd name="T56" fmla="*/ 946 w 1352"/>
              <a:gd name="T57" fmla="*/ 932 h 944"/>
              <a:gd name="T58" fmla="*/ 962 w 1352"/>
              <a:gd name="T59" fmla="*/ 880 h 944"/>
              <a:gd name="T60" fmla="*/ 1016 w 1352"/>
              <a:gd name="T61" fmla="*/ 866 h 944"/>
              <a:gd name="T62" fmla="*/ 476 w 1352"/>
              <a:gd name="T63" fmla="*/ 310 h 944"/>
              <a:gd name="T64" fmla="*/ 406 w 1352"/>
              <a:gd name="T65" fmla="*/ 278 h 944"/>
              <a:gd name="T66" fmla="*/ 330 w 1352"/>
              <a:gd name="T67" fmla="*/ 26 h 944"/>
              <a:gd name="T68" fmla="*/ 248 w 1352"/>
              <a:gd name="T69" fmla="*/ 18 h 944"/>
              <a:gd name="T70" fmla="*/ 170 w 1352"/>
              <a:gd name="T71" fmla="*/ 8 h 944"/>
              <a:gd name="T72" fmla="*/ 94 w 1352"/>
              <a:gd name="T73" fmla="*/ 20 h 944"/>
              <a:gd name="T74" fmla="*/ 22 w 1352"/>
              <a:gd name="T75" fmla="*/ 78 h 944"/>
              <a:gd name="T76" fmla="*/ 72 w 1352"/>
              <a:gd name="T77" fmla="*/ 108 h 944"/>
              <a:gd name="T78" fmla="*/ 82 w 1352"/>
              <a:gd name="T79" fmla="*/ 130 h 944"/>
              <a:gd name="T80" fmla="*/ 6 w 1352"/>
              <a:gd name="T81" fmla="*/ 132 h 944"/>
              <a:gd name="T82" fmla="*/ 66 w 1352"/>
              <a:gd name="T83" fmla="*/ 166 h 944"/>
              <a:gd name="T84" fmla="*/ 44 w 1352"/>
              <a:gd name="T85" fmla="*/ 196 h 944"/>
              <a:gd name="T86" fmla="*/ 34 w 1352"/>
              <a:gd name="T87" fmla="*/ 236 h 944"/>
              <a:gd name="T88" fmla="*/ 56 w 1352"/>
              <a:gd name="T89" fmla="*/ 270 h 944"/>
              <a:gd name="T90" fmla="*/ 82 w 1352"/>
              <a:gd name="T91" fmla="*/ 292 h 944"/>
              <a:gd name="T92" fmla="*/ 130 w 1352"/>
              <a:gd name="T93" fmla="*/ 288 h 944"/>
              <a:gd name="T94" fmla="*/ 122 w 1352"/>
              <a:gd name="T95" fmla="*/ 336 h 944"/>
              <a:gd name="T96" fmla="*/ 70 w 1352"/>
              <a:gd name="T97" fmla="*/ 378 h 944"/>
              <a:gd name="T98" fmla="*/ 118 w 1352"/>
              <a:gd name="T99" fmla="*/ 350 h 944"/>
              <a:gd name="T100" fmla="*/ 164 w 1352"/>
              <a:gd name="T101" fmla="*/ 312 h 944"/>
              <a:gd name="T102" fmla="*/ 196 w 1352"/>
              <a:gd name="T103" fmla="*/ 264 h 944"/>
              <a:gd name="T104" fmla="*/ 242 w 1352"/>
              <a:gd name="T105" fmla="*/ 234 h 944"/>
              <a:gd name="T106" fmla="*/ 218 w 1352"/>
              <a:gd name="T107" fmla="*/ 282 h 944"/>
              <a:gd name="T108" fmla="*/ 266 w 1352"/>
              <a:gd name="T109" fmla="*/ 264 h 944"/>
              <a:gd name="T110" fmla="*/ 290 w 1352"/>
              <a:gd name="T111" fmla="*/ 244 h 944"/>
              <a:gd name="T112" fmla="*/ 350 w 1352"/>
              <a:gd name="T113" fmla="*/ 268 h 944"/>
              <a:gd name="T114" fmla="*/ 400 w 1352"/>
              <a:gd name="T115" fmla="*/ 280 h 944"/>
              <a:gd name="T116" fmla="*/ 444 w 1352"/>
              <a:gd name="T117" fmla="*/ 316 h 944"/>
              <a:gd name="T118" fmla="*/ 464 w 1352"/>
              <a:gd name="T119" fmla="*/ 320 h 944"/>
              <a:gd name="T120" fmla="*/ 488 w 1352"/>
              <a:gd name="T121" fmla="*/ 358 h 944"/>
              <a:gd name="T122" fmla="*/ 500 w 1352"/>
              <a:gd name="T123" fmla="*/ 38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2" h="944">
                <a:moveTo>
                  <a:pt x="1026" y="874"/>
                </a:moveTo>
                <a:lnTo>
                  <a:pt x="1026" y="874"/>
                </a:lnTo>
                <a:lnTo>
                  <a:pt x="1030" y="874"/>
                </a:lnTo>
                <a:lnTo>
                  <a:pt x="1034" y="874"/>
                </a:lnTo>
                <a:lnTo>
                  <a:pt x="1034" y="874"/>
                </a:lnTo>
                <a:lnTo>
                  <a:pt x="1036" y="872"/>
                </a:lnTo>
                <a:lnTo>
                  <a:pt x="1036" y="872"/>
                </a:lnTo>
                <a:lnTo>
                  <a:pt x="1038" y="872"/>
                </a:lnTo>
                <a:lnTo>
                  <a:pt x="1040" y="874"/>
                </a:lnTo>
                <a:lnTo>
                  <a:pt x="1040" y="874"/>
                </a:lnTo>
                <a:lnTo>
                  <a:pt x="1038" y="868"/>
                </a:lnTo>
                <a:lnTo>
                  <a:pt x="1040" y="864"/>
                </a:lnTo>
                <a:lnTo>
                  <a:pt x="1040" y="864"/>
                </a:lnTo>
                <a:lnTo>
                  <a:pt x="1050" y="868"/>
                </a:lnTo>
                <a:lnTo>
                  <a:pt x="1050" y="868"/>
                </a:lnTo>
                <a:lnTo>
                  <a:pt x="1050" y="868"/>
                </a:lnTo>
                <a:lnTo>
                  <a:pt x="1050" y="870"/>
                </a:lnTo>
                <a:lnTo>
                  <a:pt x="1050" y="872"/>
                </a:lnTo>
                <a:lnTo>
                  <a:pt x="1050" y="872"/>
                </a:lnTo>
                <a:lnTo>
                  <a:pt x="1056" y="872"/>
                </a:lnTo>
                <a:lnTo>
                  <a:pt x="1056" y="872"/>
                </a:lnTo>
                <a:lnTo>
                  <a:pt x="1056" y="876"/>
                </a:lnTo>
                <a:lnTo>
                  <a:pt x="1056" y="876"/>
                </a:lnTo>
                <a:lnTo>
                  <a:pt x="1058" y="876"/>
                </a:lnTo>
                <a:lnTo>
                  <a:pt x="1058" y="870"/>
                </a:lnTo>
                <a:lnTo>
                  <a:pt x="1058" y="870"/>
                </a:lnTo>
                <a:lnTo>
                  <a:pt x="1054" y="870"/>
                </a:lnTo>
                <a:lnTo>
                  <a:pt x="1054" y="870"/>
                </a:lnTo>
                <a:lnTo>
                  <a:pt x="1054" y="866"/>
                </a:lnTo>
                <a:lnTo>
                  <a:pt x="1054" y="866"/>
                </a:lnTo>
                <a:lnTo>
                  <a:pt x="1054" y="866"/>
                </a:lnTo>
                <a:lnTo>
                  <a:pt x="1054" y="866"/>
                </a:lnTo>
                <a:lnTo>
                  <a:pt x="1058" y="864"/>
                </a:lnTo>
                <a:lnTo>
                  <a:pt x="1058" y="860"/>
                </a:lnTo>
                <a:lnTo>
                  <a:pt x="1058" y="860"/>
                </a:lnTo>
                <a:lnTo>
                  <a:pt x="1058" y="860"/>
                </a:lnTo>
                <a:lnTo>
                  <a:pt x="1056" y="858"/>
                </a:lnTo>
                <a:lnTo>
                  <a:pt x="1056" y="858"/>
                </a:lnTo>
                <a:lnTo>
                  <a:pt x="1054" y="860"/>
                </a:lnTo>
                <a:lnTo>
                  <a:pt x="1052" y="856"/>
                </a:lnTo>
                <a:lnTo>
                  <a:pt x="1052" y="856"/>
                </a:lnTo>
                <a:lnTo>
                  <a:pt x="1048" y="858"/>
                </a:lnTo>
                <a:lnTo>
                  <a:pt x="1046" y="858"/>
                </a:lnTo>
                <a:lnTo>
                  <a:pt x="1046" y="856"/>
                </a:lnTo>
                <a:lnTo>
                  <a:pt x="1046" y="856"/>
                </a:lnTo>
                <a:lnTo>
                  <a:pt x="1044" y="854"/>
                </a:lnTo>
                <a:lnTo>
                  <a:pt x="1044" y="854"/>
                </a:lnTo>
                <a:lnTo>
                  <a:pt x="1044" y="852"/>
                </a:lnTo>
                <a:lnTo>
                  <a:pt x="1044" y="852"/>
                </a:lnTo>
                <a:lnTo>
                  <a:pt x="1048" y="854"/>
                </a:lnTo>
                <a:lnTo>
                  <a:pt x="1054" y="854"/>
                </a:lnTo>
                <a:lnTo>
                  <a:pt x="1054" y="854"/>
                </a:lnTo>
                <a:lnTo>
                  <a:pt x="1054" y="850"/>
                </a:lnTo>
                <a:lnTo>
                  <a:pt x="1054" y="850"/>
                </a:lnTo>
                <a:lnTo>
                  <a:pt x="1060" y="848"/>
                </a:lnTo>
                <a:lnTo>
                  <a:pt x="1060" y="848"/>
                </a:lnTo>
                <a:lnTo>
                  <a:pt x="1064" y="850"/>
                </a:lnTo>
                <a:lnTo>
                  <a:pt x="1068" y="852"/>
                </a:lnTo>
                <a:lnTo>
                  <a:pt x="1068" y="852"/>
                </a:lnTo>
                <a:lnTo>
                  <a:pt x="1072" y="852"/>
                </a:lnTo>
                <a:lnTo>
                  <a:pt x="1072" y="852"/>
                </a:lnTo>
                <a:lnTo>
                  <a:pt x="1072" y="848"/>
                </a:lnTo>
                <a:lnTo>
                  <a:pt x="1074" y="848"/>
                </a:lnTo>
                <a:lnTo>
                  <a:pt x="1074" y="848"/>
                </a:lnTo>
                <a:lnTo>
                  <a:pt x="1076" y="854"/>
                </a:lnTo>
                <a:lnTo>
                  <a:pt x="1076" y="854"/>
                </a:lnTo>
                <a:lnTo>
                  <a:pt x="1080" y="854"/>
                </a:lnTo>
                <a:lnTo>
                  <a:pt x="1084" y="848"/>
                </a:lnTo>
                <a:lnTo>
                  <a:pt x="1084" y="848"/>
                </a:lnTo>
                <a:lnTo>
                  <a:pt x="1086" y="850"/>
                </a:lnTo>
                <a:lnTo>
                  <a:pt x="1086" y="850"/>
                </a:lnTo>
                <a:lnTo>
                  <a:pt x="1086" y="852"/>
                </a:lnTo>
                <a:lnTo>
                  <a:pt x="1088" y="852"/>
                </a:lnTo>
                <a:lnTo>
                  <a:pt x="1090" y="852"/>
                </a:lnTo>
                <a:lnTo>
                  <a:pt x="1090" y="848"/>
                </a:lnTo>
                <a:lnTo>
                  <a:pt x="1090" y="848"/>
                </a:lnTo>
                <a:lnTo>
                  <a:pt x="1094" y="848"/>
                </a:lnTo>
                <a:lnTo>
                  <a:pt x="1094" y="848"/>
                </a:lnTo>
                <a:lnTo>
                  <a:pt x="1098" y="850"/>
                </a:lnTo>
                <a:lnTo>
                  <a:pt x="1098" y="850"/>
                </a:lnTo>
                <a:lnTo>
                  <a:pt x="1096" y="852"/>
                </a:lnTo>
                <a:lnTo>
                  <a:pt x="1096" y="854"/>
                </a:lnTo>
                <a:lnTo>
                  <a:pt x="1096" y="854"/>
                </a:lnTo>
                <a:lnTo>
                  <a:pt x="1098" y="856"/>
                </a:lnTo>
                <a:lnTo>
                  <a:pt x="1098" y="856"/>
                </a:lnTo>
                <a:lnTo>
                  <a:pt x="1106" y="856"/>
                </a:lnTo>
                <a:lnTo>
                  <a:pt x="1106" y="856"/>
                </a:lnTo>
                <a:lnTo>
                  <a:pt x="1106" y="858"/>
                </a:lnTo>
                <a:lnTo>
                  <a:pt x="1108" y="860"/>
                </a:lnTo>
                <a:lnTo>
                  <a:pt x="1108" y="860"/>
                </a:lnTo>
                <a:lnTo>
                  <a:pt x="1114" y="864"/>
                </a:lnTo>
                <a:lnTo>
                  <a:pt x="1120" y="866"/>
                </a:lnTo>
                <a:lnTo>
                  <a:pt x="1120" y="866"/>
                </a:lnTo>
                <a:lnTo>
                  <a:pt x="1122" y="862"/>
                </a:lnTo>
                <a:lnTo>
                  <a:pt x="1124" y="858"/>
                </a:lnTo>
                <a:lnTo>
                  <a:pt x="1124" y="858"/>
                </a:lnTo>
                <a:lnTo>
                  <a:pt x="1130" y="858"/>
                </a:lnTo>
                <a:lnTo>
                  <a:pt x="1130" y="858"/>
                </a:lnTo>
                <a:lnTo>
                  <a:pt x="1134" y="862"/>
                </a:lnTo>
                <a:lnTo>
                  <a:pt x="1134" y="862"/>
                </a:lnTo>
                <a:lnTo>
                  <a:pt x="1134" y="866"/>
                </a:lnTo>
                <a:lnTo>
                  <a:pt x="1136" y="870"/>
                </a:lnTo>
                <a:lnTo>
                  <a:pt x="1136" y="870"/>
                </a:lnTo>
                <a:lnTo>
                  <a:pt x="1138" y="872"/>
                </a:lnTo>
                <a:lnTo>
                  <a:pt x="1142" y="874"/>
                </a:lnTo>
                <a:lnTo>
                  <a:pt x="1142" y="874"/>
                </a:lnTo>
                <a:lnTo>
                  <a:pt x="1142" y="888"/>
                </a:lnTo>
                <a:lnTo>
                  <a:pt x="1140" y="890"/>
                </a:lnTo>
                <a:lnTo>
                  <a:pt x="1140" y="890"/>
                </a:lnTo>
                <a:lnTo>
                  <a:pt x="1140" y="896"/>
                </a:lnTo>
                <a:lnTo>
                  <a:pt x="1142" y="900"/>
                </a:lnTo>
                <a:lnTo>
                  <a:pt x="1142" y="900"/>
                </a:lnTo>
                <a:lnTo>
                  <a:pt x="1146" y="894"/>
                </a:lnTo>
                <a:lnTo>
                  <a:pt x="1146" y="894"/>
                </a:lnTo>
                <a:lnTo>
                  <a:pt x="1150" y="894"/>
                </a:lnTo>
                <a:lnTo>
                  <a:pt x="1150" y="894"/>
                </a:lnTo>
                <a:lnTo>
                  <a:pt x="1146" y="912"/>
                </a:lnTo>
                <a:lnTo>
                  <a:pt x="1146" y="912"/>
                </a:lnTo>
                <a:lnTo>
                  <a:pt x="1150" y="914"/>
                </a:lnTo>
                <a:lnTo>
                  <a:pt x="1154" y="916"/>
                </a:lnTo>
                <a:lnTo>
                  <a:pt x="1154" y="916"/>
                </a:lnTo>
                <a:lnTo>
                  <a:pt x="1156" y="922"/>
                </a:lnTo>
                <a:lnTo>
                  <a:pt x="1156" y="928"/>
                </a:lnTo>
                <a:lnTo>
                  <a:pt x="1156" y="928"/>
                </a:lnTo>
                <a:lnTo>
                  <a:pt x="1160" y="932"/>
                </a:lnTo>
                <a:lnTo>
                  <a:pt x="1160" y="932"/>
                </a:lnTo>
                <a:lnTo>
                  <a:pt x="1162" y="938"/>
                </a:lnTo>
                <a:lnTo>
                  <a:pt x="1162" y="938"/>
                </a:lnTo>
                <a:lnTo>
                  <a:pt x="1164" y="938"/>
                </a:lnTo>
                <a:lnTo>
                  <a:pt x="1166" y="938"/>
                </a:lnTo>
                <a:lnTo>
                  <a:pt x="1166" y="938"/>
                </a:lnTo>
                <a:lnTo>
                  <a:pt x="1166" y="940"/>
                </a:lnTo>
                <a:lnTo>
                  <a:pt x="1168" y="944"/>
                </a:lnTo>
                <a:lnTo>
                  <a:pt x="1168" y="944"/>
                </a:lnTo>
                <a:lnTo>
                  <a:pt x="1170" y="944"/>
                </a:lnTo>
                <a:lnTo>
                  <a:pt x="1172" y="944"/>
                </a:lnTo>
                <a:lnTo>
                  <a:pt x="1172" y="944"/>
                </a:lnTo>
                <a:lnTo>
                  <a:pt x="1172" y="940"/>
                </a:lnTo>
                <a:lnTo>
                  <a:pt x="1172" y="940"/>
                </a:lnTo>
                <a:lnTo>
                  <a:pt x="1172" y="938"/>
                </a:lnTo>
                <a:lnTo>
                  <a:pt x="1172" y="938"/>
                </a:lnTo>
                <a:lnTo>
                  <a:pt x="1172" y="936"/>
                </a:lnTo>
                <a:lnTo>
                  <a:pt x="1172" y="936"/>
                </a:lnTo>
                <a:lnTo>
                  <a:pt x="1176" y="932"/>
                </a:lnTo>
                <a:lnTo>
                  <a:pt x="1176" y="932"/>
                </a:lnTo>
                <a:lnTo>
                  <a:pt x="1176" y="922"/>
                </a:lnTo>
                <a:lnTo>
                  <a:pt x="1178" y="916"/>
                </a:lnTo>
                <a:lnTo>
                  <a:pt x="1178" y="916"/>
                </a:lnTo>
                <a:lnTo>
                  <a:pt x="1176" y="916"/>
                </a:lnTo>
                <a:lnTo>
                  <a:pt x="1176" y="914"/>
                </a:lnTo>
                <a:lnTo>
                  <a:pt x="1176" y="910"/>
                </a:lnTo>
                <a:lnTo>
                  <a:pt x="1174" y="910"/>
                </a:lnTo>
                <a:lnTo>
                  <a:pt x="1174" y="910"/>
                </a:lnTo>
                <a:lnTo>
                  <a:pt x="1174" y="904"/>
                </a:lnTo>
                <a:lnTo>
                  <a:pt x="1174" y="900"/>
                </a:lnTo>
                <a:lnTo>
                  <a:pt x="1174" y="900"/>
                </a:lnTo>
                <a:lnTo>
                  <a:pt x="1170" y="894"/>
                </a:lnTo>
                <a:lnTo>
                  <a:pt x="1170" y="894"/>
                </a:lnTo>
                <a:lnTo>
                  <a:pt x="1170" y="892"/>
                </a:lnTo>
                <a:lnTo>
                  <a:pt x="1170" y="888"/>
                </a:lnTo>
                <a:lnTo>
                  <a:pt x="1170" y="888"/>
                </a:lnTo>
                <a:lnTo>
                  <a:pt x="1168" y="886"/>
                </a:lnTo>
                <a:lnTo>
                  <a:pt x="1166" y="884"/>
                </a:lnTo>
                <a:lnTo>
                  <a:pt x="1166" y="884"/>
                </a:lnTo>
                <a:lnTo>
                  <a:pt x="1168" y="880"/>
                </a:lnTo>
                <a:lnTo>
                  <a:pt x="1168" y="880"/>
                </a:lnTo>
                <a:lnTo>
                  <a:pt x="1164" y="874"/>
                </a:lnTo>
                <a:lnTo>
                  <a:pt x="1162" y="868"/>
                </a:lnTo>
                <a:lnTo>
                  <a:pt x="1162" y="868"/>
                </a:lnTo>
                <a:lnTo>
                  <a:pt x="1162" y="862"/>
                </a:lnTo>
                <a:lnTo>
                  <a:pt x="1160" y="856"/>
                </a:lnTo>
                <a:lnTo>
                  <a:pt x="1160" y="856"/>
                </a:lnTo>
                <a:lnTo>
                  <a:pt x="1156" y="854"/>
                </a:lnTo>
                <a:lnTo>
                  <a:pt x="1156" y="852"/>
                </a:lnTo>
                <a:lnTo>
                  <a:pt x="1156" y="852"/>
                </a:lnTo>
                <a:lnTo>
                  <a:pt x="1160" y="848"/>
                </a:lnTo>
                <a:lnTo>
                  <a:pt x="1160" y="848"/>
                </a:lnTo>
                <a:lnTo>
                  <a:pt x="1160" y="844"/>
                </a:lnTo>
                <a:lnTo>
                  <a:pt x="1160" y="840"/>
                </a:lnTo>
                <a:lnTo>
                  <a:pt x="1162" y="840"/>
                </a:lnTo>
                <a:lnTo>
                  <a:pt x="1162" y="840"/>
                </a:lnTo>
                <a:lnTo>
                  <a:pt x="1164" y="830"/>
                </a:lnTo>
                <a:lnTo>
                  <a:pt x="1164" y="828"/>
                </a:lnTo>
                <a:lnTo>
                  <a:pt x="1170" y="824"/>
                </a:lnTo>
                <a:lnTo>
                  <a:pt x="1168" y="820"/>
                </a:lnTo>
                <a:lnTo>
                  <a:pt x="1168" y="820"/>
                </a:lnTo>
                <a:lnTo>
                  <a:pt x="1170" y="820"/>
                </a:lnTo>
                <a:lnTo>
                  <a:pt x="1174" y="818"/>
                </a:lnTo>
                <a:lnTo>
                  <a:pt x="1174" y="818"/>
                </a:lnTo>
                <a:lnTo>
                  <a:pt x="1174" y="816"/>
                </a:lnTo>
                <a:lnTo>
                  <a:pt x="1176" y="812"/>
                </a:lnTo>
                <a:lnTo>
                  <a:pt x="1176" y="812"/>
                </a:lnTo>
                <a:lnTo>
                  <a:pt x="1178" y="812"/>
                </a:lnTo>
                <a:lnTo>
                  <a:pt x="1180" y="812"/>
                </a:lnTo>
                <a:lnTo>
                  <a:pt x="1180" y="812"/>
                </a:lnTo>
                <a:lnTo>
                  <a:pt x="1184" y="808"/>
                </a:lnTo>
                <a:lnTo>
                  <a:pt x="1184" y="808"/>
                </a:lnTo>
                <a:lnTo>
                  <a:pt x="1184" y="806"/>
                </a:lnTo>
                <a:lnTo>
                  <a:pt x="1184" y="806"/>
                </a:lnTo>
                <a:lnTo>
                  <a:pt x="1188" y="806"/>
                </a:lnTo>
                <a:lnTo>
                  <a:pt x="1188" y="806"/>
                </a:lnTo>
                <a:lnTo>
                  <a:pt x="1190" y="798"/>
                </a:lnTo>
                <a:lnTo>
                  <a:pt x="1190" y="798"/>
                </a:lnTo>
                <a:lnTo>
                  <a:pt x="1192" y="798"/>
                </a:lnTo>
                <a:lnTo>
                  <a:pt x="1194" y="798"/>
                </a:lnTo>
                <a:lnTo>
                  <a:pt x="1194" y="798"/>
                </a:lnTo>
                <a:lnTo>
                  <a:pt x="1198" y="796"/>
                </a:lnTo>
                <a:lnTo>
                  <a:pt x="1200" y="794"/>
                </a:lnTo>
                <a:lnTo>
                  <a:pt x="1200" y="794"/>
                </a:lnTo>
                <a:lnTo>
                  <a:pt x="1202" y="794"/>
                </a:lnTo>
                <a:lnTo>
                  <a:pt x="1206" y="794"/>
                </a:lnTo>
                <a:lnTo>
                  <a:pt x="1212" y="784"/>
                </a:lnTo>
                <a:lnTo>
                  <a:pt x="1212" y="784"/>
                </a:lnTo>
                <a:lnTo>
                  <a:pt x="1212" y="782"/>
                </a:lnTo>
                <a:lnTo>
                  <a:pt x="1212" y="782"/>
                </a:lnTo>
                <a:lnTo>
                  <a:pt x="1218" y="778"/>
                </a:lnTo>
                <a:lnTo>
                  <a:pt x="1218" y="778"/>
                </a:lnTo>
                <a:lnTo>
                  <a:pt x="1216" y="772"/>
                </a:lnTo>
                <a:lnTo>
                  <a:pt x="1216" y="772"/>
                </a:lnTo>
                <a:lnTo>
                  <a:pt x="1220" y="772"/>
                </a:lnTo>
                <a:lnTo>
                  <a:pt x="1220" y="770"/>
                </a:lnTo>
                <a:lnTo>
                  <a:pt x="1222" y="770"/>
                </a:lnTo>
                <a:lnTo>
                  <a:pt x="1222" y="770"/>
                </a:lnTo>
                <a:lnTo>
                  <a:pt x="1218" y="764"/>
                </a:lnTo>
                <a:lnTo>
                  <a:pt x="1218" y="764"/>
                </a:lnTo>
                <a:lnTo>
                  <a:pt x="1226" y="762"/>
                </a:lnTo>
                <a:lnTo>
                  <a:pt x="1226" y="764"/>
                </a:lnTo>
                <a:lnTo>
                  <a:pt x="1226" y="764"/>
                </a:lnTo>
                <a:lnTo>
                  <a:pt x="1230" y="766"/>
                </a:lnTo>
                <a:lnTo>
                  <a:pt x="1230" y="766"/>
                </a:lnTo>
                <a:lnTo>
                  <a:pt x="1234" y="762"/>
                </a:lnTo>
                <a:lnTo>
                  <a:pt x="1234" y="760"/>
                </a:lnTo>
                <a:lnTo>
                  <a:pt x="1230" y="762"/>
                </a:lnTo>
                <a:lnTo>
                  <a:pt x="1230" y="762"/>
                </a:lnTo>
                <a:lnTo>
                  <a:pt x="1230" y="758"/>
                </a:lnTo>
                <a:lnTo>
                  <a:pt x="1222" y="756"/>
                </a:lnTo>
                <a:lnTo>
                  <a:pt x="1222" y="756"/>
                </a:lnTo>
                <a:lnTo>
                  <a:pt x="1222" y="752"/>
                </a:lnTo>
                <a:lnTo>
                  <a:pt x="1222" y="752"/>
                </a:lnTo>
                <a:lnTo>
                  <a:pt x="1226" y="752"/>
                </a:lnTo>
                <a:lnTo>
                  <a:pt x="1230" y="750"/>
                </a:lnTo>
                <a:lnTo>
                  <a:pt x="1230" y="750"/>
                </a:lnTo>
                <a:lnTo>
                  <a:pt x="1230" y="748"/>
                </a:lnTo>
                <a:lnTo>
                  <a:pt x="1230" y="748"/>
                </a:lnTo>
                <a:lnTo>
                  <a:pt x="1230" y="746"/>
                </a:lnTo>
                <a:lnTo>
                  <a:pt x="1228" y="744"/>
                </a:lnTo>
                <a:lnTo>
                  <a:pt x="1228" y="744"/>
                </a:lnTo>
                <a:lnTo>
                  <a:pt x="1230" y="744"/>
                </a:lnTo>
                <a:lnTo>
                  <a:pt x="1230" y="742"/>
                </a:lnTo>
                <a:lnTo>
                  <a:pt x="1220" y="738"/>
                </a:lnTo>
                <a:lnTo>
                  <a:pt x="1220" y="738"/>
                </a:lnTo>
                <a:lnTo>
                  <a:pt x="1220" y="734"/>
                </a:lnTo>
                <a:lnTo>
                  <a:pt x="1220" y="734"/>
                </a:lnTo>
                <a:lnTo>
                  <a:pt x="1218" y="732"/>
                </a:lnTo>
                <a:lnTo>
                  <a:pt x="1218" y="732"/>
                </a:lnTo>
                <a:lnTo>
                  <a:pt x="1226" y="730"/>
                </a:lnTo>
                <a:lnTo>
                  <a:pt x="1226" y="730"/>
                </a:lnTo>
                <a:lnTo>
                  <a:pt x="1224" y="726"/>
                </a:lnTo>
                <a:lnTo>
                  <a:pt x="1220" y="722"/>
                </a:lnTo>
                <a:lnTo>
                  <a:pt x="1220" y="722"/>
                </a:lnTo>
                <a:lnTo>
                  <a:pt x="1222" y="722"/>
                </a:lnTo>
                <a:lnTo>
                  <a:pt x="1222" y="720"/>
                </a:lnTo>
                <a:lnTo>
                  <a:pt x="1222" y="720"/>
                </a:lnTo>
                <a:lnTo>
                  <a:pt x="1216" y="714"/>
                </a:lnTo>
                <a:lnTo>
                  <a:pt x="1216" y="714"/>
                </a:lnTo>
                <a:lnTo>
                  <a:pt x="1218" y="712"/>
                </a:lnTo>
                <a:lnTo>
                  <a:pt x="1218" y="712"/>
                </a:lnTo>
                <a:lnTo>
                  <a:pt x="1218" y="706"/>
                </a:lnTo>
                <a:lnTo>
                  <a:pt x="1220" y="706"/>
                </a:lnTo>
                <a:lnTo>
                  <a:pt x="1220" y="706"/>
                </a:lnTo>
                <a:lnTo>
                  <a:pt x="1222" y="698"/>
                </a:lnTo>
                <a:lnTo>
                  <a:pt x="1222" y="688"/>
                </a:lnTo>
                <a:lnTo>
                  <a:pt x="1222" y="688"/>
                </a:lnTo>
                <a:lnTo>
                  <a:pt x="1226" y="688"/>
                </a:lnTo>
                <a:lnTo>
                  <a:pt x="1228" y="686"/>
                </a:lnTo>
                <a:lnTo>
                  <a:pt x="1228" y="686"/>
                </a:lnTo>
                <a:lnTo>
                  <a:pt x="1234" y="686"/>
                </a:lnTo>
                <a:lnTo>
                  <a:pt x="1234" y="686"/>
                </a:lnTo>
                <a:lnTo>
                  <a:pt x="1234" y="684"/>
                </a:lnTo>
                <a:lnTo>
                  <a:pt x="1236" y="682"/>
                </a:lnTo>
                <a:lnTo>
                  <a:pt x="1236" y="682"/>
                </a:lnTo>
                <a:lnTo>
                  <a:pt x="1236" y="686"/>
                </a:lnTo>
                <a:lnTo>
                  <a:pt x="1236" y="686"/>
                </a:lnTo>
                <a:lnTo>
                  <a:pt x="1228" y="696"/>
                </a:lnTo>
                <a:lnTo>
                  <a:pt x="1230" y="698"/>
                </a:lnTo>
                <a:lnTo>
                  <a:pt x="1230" y="698"/>
                </a:lnTo>
                <a:lnTo>
                  <a:pt x="1228" y="700"/>
                </a:lnTo>
                <a:lnTo>
                  <a:pt x="1224" y="702"/>
                </a:lnTo>
                <a:lnTo>
                  <a:pt x="1224" y="702"/>
                </a:lnTo>
                <a:lnTo>
                  <a:pt x="1226" y="704"/>
                </a:lnTo>
                <a:lnTo>
                  <a:pt x="1226" y="706"/>
                </a:lnTo>
                <a:lnTo>
                  <a:pt x="1226" y="706"/>
                </a:lnTo>
                <a:lnTo>
                  <a:pt x="1228" y="708"/>
                </a:lnTo>
                <a:lnTo>
                  <a:pt x="1226" y="708"/>
                </a:lnTo>
                <a:lnTo>
                  <a:pt x="1226" y="708"/>
                </a:lnTo>
                <a:lnTo>
                  <a:pt x="1226" y="712"/>
                </a:lnTo>
                <a:lnTo>
                  <a:pt x="1226" y="716"/>
                </a:lnTo>
                <a:lnTo>
                  <a:pt x="1226" y="716"/>
                </a:lnTo>
                <a:lnTo>
                  <a:pt x="1226" y="716"/>
                </a:lnTo>
                <a:lnTo>
                  <a:pt x="1234" y="714"/>
                </a:lnTo>
                <a:lnTo>
                  <a:pt x="1234" y="714"/>
                </a:lnTo>
                <a:lnTo>
                  <a:pt x="1234" y="720"/>
                </a:lnTo>
                <a:lnTo>
                  <a:pt x="1234" y="720"/>
                </a:lnTo>
                <a:lnTo>
                  <a:pt x="1242" y="718"/>
                </a:lnTo>
                <a:lnTo>
                  <a:pt x="1242" y="716"/>
                </a:lnTo>
                <a:lnTo>
                  <a:pt x="1242" y="716"/>
                </a:lnTo>
                <a:lnTo>
                  <a:pt x="1242" y="714"/>
                </a:lnTo>
                <a:lnTo>
                  <a:pt x="1242" y="712"/>
                </a:lnTo>
                <a:lnTo>
                  <a:pt x="1242" y="712"/>
                </a:lnTo>
                <a:lnTo>
                  <a:pt x="1242" y="710"/>
                </a:lnTo>
                <a:lnTo>
                  <a:pt x="1242" y="710"/>
                </a:lnTo>
                <a:lnTo>
                  <a:pt x="1244" y="710"/>
                </a:lnTo>
                <a:lnTo>
                  <a:pt x="1244" y="710"/>
                </a:lnTo>
                <a:lnTo>
                  <a:pt x="1244" y="706"/>
                </a:lnTo>
                <a:lnTo>
                  <a:pt x="1242" y="706"/>
                </a:lnTo>
                <a:lnTo>
                  <a:pt x="1242" y="706"/>
                </a:lnTo>
                <a:lnTo>
                  <a:pt x="1244" y="702"/>
                </a:lnTo>
                <a:lnTo>
                  <a:pt x="1244" y="700"/>
                </a:lnTo>
                <a:lnTo>
                  <a:pt x="1242" y="700"/>
                </a:lnTo>
                <a:lnTo>
                  <a:pt x="1242" y="700"/>
                </a:lnTo>
                <a:lnTo>
                  <a:pt x="1240" y="694"/>
                </a:lnTo>
                <a:lnTo>
                  <a:pt x="1240" y="694"/>
                </a:lnTo>
                <a:lnTo>
                  <a:pt x="1240" y="694"/>
                </a:lnTo>
                <a:lnTo>
                  <a:pt x="1240" y="688"/>
                </a:lnTo>
                <a:lnTo>
                  <a:pt x="1240" y="688"/>
                </a:lnTo>
                <a:lnTo>
                  <a:pt x="1244" y="690"/>
                </a:lnTo>
                <a:lnTo>
                  <a:pt x="1248" y="694"/>
                </a:lnTo>
                <a:lnTo>
                  <a:pt x="1248" y="694"/>
                </a:lnTo>
                <a:lnTo>
                  <a:pt x="1252" y="694"/>
                </a:lnTo>
                <a:lnTo>
                  <a:pt x="1252" y="694"/>
                </a:lnTo>
                <a:lnTo>
                  <a:pt x="1258" y="682"/>
                </a:lnTo>
                <a:lnTo>
                  <a:pt x="1260" y="684"/>
                </a:lnTo>
                <a:lnTo>
                  <a:pt x="1260" y="684"/>
                </a:lnTo>
                <a:lnTo>
                  <a:pt x="1262" y="678"/>
                </a:lnTo>
                <a:lnTo>
                  <a:pt x="1262" y="678"/>
                </a:lnTo>
                <a:lnTo>
                  <a:pt x="1262" y="668"/>
                </a:lnTo>
                <a:lnTo>
                  <a:pt x="1262" y="668"/>
                </a:lnTo>
                <a:lnTo>
                  <a:pt x="1260" y="668"/>
                </a:lnTo>
                <a:lnTo>
                  <a:pt x="1260" y="668"/>
                </a:lnTo>
                <a:lnTo>
                  <a:pt x="1260" y="664"/>
                </a:lnTo>
                <a:lnTo>
                  <a:pt x="1262" y="664"/>
                </a:lnTo>
                <a:lnTo>
                  <a:pt x="1262" y="662"/>
                </a:lnTo>
                <a:lnTo>
                  <a:pt x="1262" y="662"/>
                </a:lnTo>
                <a:lnTo>
                  <a:pt x="1270" y="654"/>
                </a:lnTo>
                <a:lnTo>
                  <a:pt x="1270" y="652"/>
                </a:lnTo>
                <a:lnTo>
                  <a:pt x="1270" y="652"/>
                </a:lnTo>
                <a:lnTo>
                  <a:pt x="1274" y="652"/>
                </a:lnTo>
                <a:lnTo>
                  <a:pt x="1274" y="652"/>
                </a:lnTo>
                <a:lnTo>
                  <a:pt x="1276" y="652"/>
                </a:lnTo>
                <a:lnTo>
                  <a:pt x="1278" y="650"/>
                </a:lnTo>
                <a:lnTo>
                  <a:pt x="1278" y="650"/>
                </a:lnTo>
                <a:lnTo>
                  <a:pt x="1282" y="650"/>
                </a:lnTo>
                <a:lnTo>
                  <a:pt x="1282" y="650"/>
                </a:lnTo>
                <a:lnTo>
                  <a:pt x="1284" y="646"/>
                </a:lnTo>
                <a:lnTo>
                  <a:pt x="1284" y="646"/>
                </a:lnTo>
                <a:lnTo>
                  <a:pt x="1288" y="646"/>
                </a:lnTo>
                <a:lnTo>
                  <a:pt x="1292" y="646"/>
                </a:lnTo>
                <a:lnTo>
                  <a:pt x="1292" y="648"/>
                </a:lnTo>
                <a:lnTo>
                  <a:pt x="1292" y="648"/>
                </a:lnTo>
                <a:lnTo>
                  <a:pt x="1294" y="648"/>
                </a:lnTo>
                <a:lnTo>
                  <a:pt x="1296" y="648"/>
                </a:lnTo>
                <a:lnTo>
                  <a:pt x="1296" y="648"/>
                </a:lnTo>
                <a:lnTo>
                  <a:pt x="1294" y="646"/>
                </a:lnTo>
                <a:lnTo>
                  <a:pt x="1294" y="644"/>
                </a:lnTo>
                <a:lnTo>
                  <a:pt x="1296" y="640"/>
                </a:lnTo>
                <a:lnTo>
                  <a:pt x="1296" y="640"/>
                </a:lnTo>
                <a:lnTo>
                  <a:pt x="1298" y="640"/>
                </a:lnTo>
                <a:lnTo>
                  <a:pt x="1302" y="640"/>
                </a:lnTo>
                <a:lnTo>
                  <a:pt x="1302" y="640"/>
                </a:lnTo>
                <a:lnTo>
                  <a:pt x="1302" y="644"/>
                </a:lnTo>
                <a:lnTo>
                  <a:pt x="1302" y="644"/>
                </a:lnTo>
                <a:lnTo>
                  <a:pt x="1302" y="644"/>
                </a:lnTo>
                <a:lnTo>
                  <a:pt x="1306" y="644"/>
                </a:lnTo>
                <a:lnTo>
                  <a:pt x="1306" y="644"/>
                </a:lnTo>
                <a:lnTo>
                  <a:pt x="1308" y="642"/>
                </a:lnTo>
                <a:lnTo>
                  <a:pt x="1308" y="642"/>
                </a:lnTo>
                <a:lnTo>
                  <a:pt x="1312" y="642"/>
                </a:lnTo>
                <a:lnTo>
                  <a:pt x="1312" y="642"/>
                </a:lnTo>
                <a:lnTo>
                  <a:pt x="1310" y="638"/>
                </a:lnTo>
                <a:lnTo>
                  <a:pt x="1310" y="638"/>
                </a:lnTo>
                <a:lnTo>
                  <a:pt x="1304" y="636"/>
                </a:lnTo>
                <a:lnTo>
                  <a:pt x="1302" y="634"/>
                </a:lnTo>
                <a:lnTo>
                  <a:pt x="1302" y="634"/>
                </a:lnTo>
                <a:lnTo>
                  <a:pt x="1302" y="632"/>
                </a:lnTo>
                <a:lnTo>
                  <a:pt x="1302" y="632"/>
                </a:lnTo>
                <a:lnTo>
                  <a:pt x="1308" y="630"/>
                </a:lnTo>
                <a:lnTo>
                  <a:pt x="1308" y="630"/>
                </a:lnTo>
                <a:lnTo>
                  <a:pt x="1306" y="624"/>
                </a:lnTo>
                <a:lnTo>
                  <a:pt x="1306" y="622"/>
                </a:lnTo>
                <a:lnTo>
                  <a:pt x="1312" y="616"/>
                </a:lnTo>
                <a:lnTo>
                  <a:pt x="1312" y="614"/>
                </a:lnTo>
                <a:lnTo>
                  <a:pt x="1310" y="614"/>
                </a:lnTo>
                <a:lnTo>
                  <a:pt x="1310" y="614"/>
                </a:lnTo>
                <a:lnTo>
                  <a:pt x="1314" y="606"/>
                </a:lnTo>
                <a:lnTo>
                  <a:pt x="1314" y="606"/>
                </a:lnTo>
                <a:lnTo>
                  <a:pt x="1318" y="606"/>
                </a:lnTo>
                <a:lnTo>
                  <a:pt x="1318" y="606"/>
                </a:lnTo>
                <a:lnTo>
                  <a:pt x="1318" y="608"/>
                </a:lnTo>
                <a:lnTo>
                  <a:pt x="1318" y="606"/>
                </a:lnTo>
                <a:lnTo>
                  <a:pt x="1320" y="604"/>
                </a:lnTo>
                <a:lnTo>
                  <a:pt x="1320" y="604"/>
                </a:lnTo>
                <a:lnTo>
                  <a:pt x="1322" y="606"/>
                </a:lnTo>
                <a:lnTo>
                  <a:pt x="1322" y="608"/>
                </a:lnTo>
                <a:lnTo>
                  <a:pt x="1324" y="608"/>
                </a:lnTo>
                <a:lnTo>
                  <a:pt x="1324" y="608"/>
                </a:lnTo>
                <a:lnTo>
                  <a:pt x="1324" y="604"/>
                </a:lnTo>
                <a:lnTo>
                  <a:pt x="1324" y="604"/>
                </a:lnTo>
                <a:lnTo>
                  <a:pt x="1328" y="606"/>
                </a:lnTo>
                <a:lnTo>
                  <a:pt x="1328" y="606"/>
                </a:lnTo>
                <a:lnTo>
                  <a:pt x="1332" y="594"/>
                </a:lnTo>
                <a:lnTo>
                  <a:pt x="1332" y="594"/>
                </a:lnTo>
                <a:lnTo>
                  <a:pt x="1334" y="600"/>
                </a:lnTo>
                <a:lnTo>
                  <a:pt x="1338" y="600"/>
                </a:lnTo>
                <a:lnTo>
                  <a:pt x="1338" y="600"/>
                </a:lnTo>
                <a:lnTo>
                  <a:pt x="1338" y="596"/>
                </a:lnTo>
                <a:lnTo>
                  <a:pt x="1338" y="596"/>
                </a:lnTo>
                <a:lnTo>
                  <a:pt x="1342" y="600"/>
                </a:lnTo>
                <a:lnTo>
                  <a:pt x="1342" y="600"/>
                </a:lnTo>
                <a:lnTo>
                  <a:pt x="1344" y="598"/>
                </a:lnTo>
                <a:lnTo>
                  <a:pt x="1346" y="598"/>
                </a:lnTo>
                <a:lnTo>
                  <a:pt x="1346" y="598"/>
                </a:lnTo>
                <a:lnTo>
                  <a:pt x="1348" y="594"/>
                </a:lnTo>
                <a:lnTo>
                  <a:pt x="1348" y="594"/>
                </a:lnTo>
                <a:lnTo>
                  <a:pt x="1352" y="592"/>
                </a:lnTo>
                <a:lnTo>
                  <a:pt x="1352" y="592"/>
                </a:lnTo>
                <a:lnTo>
                  <a:pt x="1350" y="582"/>
                </a:lnTo>
                <a:lnTo>
                  <a:pt x="1350" y="582"/>
                </a:lnTo>
                <a:lnTo>
                  <a:pt x="1350" y="582"/>
                </a:lnTo>
                <a:lnTo>
                  <a:pt x="1350" y="582"/>
                </a:lnTo>
                <a:lnTo>
                  <a:pt x="1350" y="580"/>
                </a:lnTo>
                <a:lnTo>
                  <a:pt x="1350" y="580"/>
                </a:lnTo>
                <a:lnTo>
                  <a:pt x="1348" y="580"/>
                </a:lnTo>
                <a:lnTo>
                  <a:pt x="1348" y="580"/>
                </a:lnTo>
                <a:lnTo>
                  <a:pt x="1348" y="578"/>
                </a:lnTo>
                <a:lnTo>
                  <a:pt x="1346" y="576"/>
                </a:lnTo>
                <a:lnTo>
                  <a:pt x="1348" y="572"/>
                </a:lnTo>
                <a:lnTo>
                  <a:pt x="1348" y="572"/>
                </a:lnTo>
                <a:lnTo>
                  <a:pt x="1346" y="570"/>
                </a:lnTo>
                <a:lnTo>
                  <a:pt x="1344" y="570"/>
                </a:lnTo>
                <a:lnTo>
                  <a:pt x="1342" y="570"/>
                </a:lnTo>
                <a:lnTo>
                  <a:pt x="1342" y="570"/>
                </a:lnTo>
                <a:lnTo>
                  <a:pt x="1342" y="564"/>
                </a:lnTo>
                <a:lnTo>
                  <a:pt x="1342" y="550"/>
                </a:lnTo>
                <a:lnTo>
                  <a:pt x="1342" y="550"/>
                </a:lnTo>
                <a:lnTo>
                  <a:pt x="1342" y="546"/>
                </a:lnTo>
                <a:lnTo>
                  <a:pt x="1340" y="544"/>
                </a:lnTo>
                <a:lnTo>
                  <a:pt x="1334" y="540"/>
                </a:lnTo>
                <a:lnTo>
                  <a:pt x="1334" y="540"/>
                </a:lnTo>
                <a:lnTo>
                  <a:pt x="1330" y="540"/>
                </a:lnTo>
                <a:lnTo>
                  <a:pt x="1328" y="544"/>
                </a:lnTo>
                <a:lnTo>
                  <a:pt x="1326" y="546"/>
                </a:lnTo>
                <a:lnTo>
                  <a:pt x="1326" y="544"/>
                </a:lnTo>
                <a:lnTo>
                  <a:pt x="1326" y="544"/>
                </a:lnTo>
                <a:lnTo>
                  <a:pt x="1324" y="540"/>
                </a:lnTo>
                <a:lnTo>
                  <a:pt x="1322" y="540"/>
                </a:lnTo>
                <a:lnTo>
                  <a:pt x="1320" y="542"/>
                </a:lnTo>
                <a:lnTo>
                  <a:pt x="1318" y="550"/>
                </a:lnTo>
                <a:lnTo>
                  <a:pt x="1318" y="550"/>
                </a:lnTo>
                <a:lnTo>
                  <a:pt x="1314" y="554"/>
                </a:lnTo>
                <a:lnTo>
                  <a:pt x="1314" y="560"/>
                </a:lnTo>
                <a:lnTo>
                  <a:pt x="1314" y="560"/>
                </a:lnTo>
                <a:lnTo>
                  <a:pt x="1312" y="562"/>
                </a:lnTo>
                <a:lnTo>
                  <a:pt x="1308" y="566"/>
                </a:lnTo>
                <a:lnTo>
                  <a:pt x="1302" y="572"/>
                </a:lnTo>
                <a:lnTo>
                  <a:pt x="1302" y="572"/>
                </a:lnTo>
                <a:lnTo>
                  <a:pt x="1298" y="574"/>
                </a:lnTo>
                <a:lnTo>
                  <a:pt x="1298" y="576"/>
                </a:lnTo>
                <a:lnTo>
                  <a:pt x="1298" y="576"/>
                </a:lnTo>
                <a:lnTo>
                  <a:pt x="1280" y="580"/>
                </a:lnTo>
                <a:lnTo>
                  <a:pt x="1258" y="582"/>
                </a:lnTo>
                <a:lnTo>
                  <a:pt x="1258" y="582"/>
                </a:lnTo>
                <a:lnTo>
                  <a:pt x="1254" y="580"/>
                </a:lnTo>
                <a:lnTo>
                  <a:pt x="1244" y="586"/>
                </a:lnTo>
                <a:lnTo>
                  <a:pt x="1244" y="586"/>
                </a:lnTo>
                <a:lnTo>
                  <a:pt x="1234" y="592"/>
                </a:lnTo>
                <a:lnTo>
                  <a:pt x="1232" y="594"/>
                </a:lnTo>
                <a:lnTo>
                  <a:pt x="1232" y="594"/>
                </a:lnTo>
                <a:lnTo>
                  <a:pt x="1232" y="596"/>
                </a:lnTo>
                <a:lnTo>
                  <a:pt x="1236" y="592"/>
                </a:lnTo>
                <a:lnTo>
                  <a:pt x="1236" y="592"/>
                </a:lnTo>
                <a:lnTo>
                  <a:pt x="1236" y="594"/>
                </a:lnTo>
                <a:lnTo>
                  <a:pt x="1236" y="598"/>
                </a:lnTo>
                <a:lnTo>
                  <a:pt x="1236" y="598"/>
                </a:lnTo>
                <a:lnTo>
                  <a:pt x="1230" y="600"/>
                </a:lnTo>
                <a:lnTo>
                  <a:pt x="1230" y="600"/>
                </a:lnTo>
                <a:lnTo>
                  <a:pt x="1232" y="602"/>
                </a:lnTo>
                <a:lnTo>
                  <a:pt x="1232" y="606"/>
                </a:lnTo>
                <a:lnTo>
                  <a:pt x="1232" y="606"/>
                </a:lnTo>
                <a:lnTo>
                  <a:pt x="1228" y="608"/>
                </a:lnTo>
                <a:lnTo>
                  <a:pt x="1228" y="608"/>
                </a:lnTo>
                <a:lnTo>
                  <a:pt x="1230" y="610"/>
                </a:lnTo>
                <a:lnTo>
                  <a:pt x="1228" y="612"/>
                </a:lnTo>
                <a:lnTo>
                  <a:pt x="1228" y="612"/>
                </a:lnTo>
                <a:lnTo>
                  <a:pt x="1224" y="612"/>
                </a:lnTo>
                <a:lnTo>
                  <a:pt x="1220" y="614"/>
                </a:lnTo>
                <a:lnTo>
                  <a:pt x="1220" y="614"/>
                </a:lnTo>
                <a:lnTo>
                  <a:pt x="1218" y="616"/>
                </a:lnTo>
                <a:lnTo>
                  <a:pt x="1218" y="616"/>
                </a:lnTo>
                <a:lnTo>
                  <a:pt x="1216" y="616"/>
                </a:lnTo>
                <a:lnTo>
                  <a:pt x="1212" y="616"/>
                </a:lnTo>
                <a:lnTo>
                  <a:pt x="1210" y="618"/>
                </a:lnTo>
                <a:lnTo>
                  <a:pt x="1210" y="618"/>
                </a:lnTo>
                <a:lnTo>
                  <a:pt x="1200" y="616"/>
                </a:lnTo>
                <a:lnTo>
                  <a:pt x="1190" y="616"/>
                </a:lnTo>
                <a:lnTo>
                  <a:pt x="1190" y="616"/>
                </a:lnTo>
                <a:lnTo>
                  <a:pt x="1190" y="618"/>
                </a:lnTo>
                <a:lnTo>
                  <a:pt x="1188" y="620"/>
                </a:lnTo>
                <a:lnTo>
                  <a:pt x="1188" y="620"/>
                </a:lnTo>
                <a:lnTo>
                  <a:pt x="1192" y="624"/>
                </a:lnTo>
                <a:lnTo>
                  <a:pt x="1192" y="624"/>
                </a:lnTo>
                <a:lnTo>
                  <a:pt x="1186" y="630"/>
                </a:lnTo>
                <a:lnTo>
                  <a:pt x="1180" y="636"/>
                </a:lnTo>
                <a:lnTo>
                  <a:pt x="1180" y="636"/>
                </a:lnTo>
                <a:lnTo>
                  <a:pt x="1174" y="636"/>
                </a:lnTo>
                <a:lnTo>
                  <a:pt x="1174" y="636"/>
                </a:lnTo>
                <a:lnTo>
                  <a:pt x="1170" y="640"/>
                </a:lnTo>
                <a:lnTo>
                  <a:pt x="1170" y="640"/>
                </a:lnTo>
                <a:lnTo>
                  <a:pt x="1164" y="640"/>
                </a:lnTo>
                <a:lnTo>
                  <a:pt x="1158" y="642"/>
                </a:lnTo>
                <a:lnTo>
                  <a:pt x="1158" y="644"/>
                </a:lnTo>
                <a:lnTo>
                  <a:pt x="1158" y="644"/>
                </a:lnTo>
                <a:lnTo>
                  <a:pt x="1154" y="648"/>
                </a:lnTo>
                <a:lnTo>
                  <a:pt x="1146" y="652"/>
                </a:lnTo>
                <a:lnTo>
                  <a:pt x="1146" y="652"/>
                </a:lnTo>
                <a:lnTo>
                  <a:pt x="1142" y="652"/>
                </a:lnTo>
                <a:lnTo>
                  <a:pt x="1138" y="650"/>
                </a:lnTo>
                <a:lnTo>
                  <a:pt x="1138" y="650"/>
                </a:lnTo>
                <a:lnTo>
                  <a:pt x="1140" y="650"/>
                </a:lnTo>
                <a:lnTo>
                  <a:pt x="1140" y="648"/>
                </a:lnTo>
                <a:lnTo>
                  <a:pt x="1140" y="648"/>
                </a:lnTo>
                <a:lnTo>
                  <a:pt x="1138" y="648"/>
                </a:lnTo>
                <a:lnTo>
                  <a:pt x="1138" y="648"/>
                </a:lnTo>
                <a:lnTo>
                  <a:pt x="1136" y="646"/>
                </a:lnTo>
                <a:lnTo>
                  <a:pt x="1136" y="644"/>
                </a:lnTo>
                <a:lnTo>
                  <a:pt x="1136" y="644"/>
                </a:lnTo>
                <a:lnTo>
                  <a:pt x="1132" y="646"/>
                </a:lnTo>
                <a:lnTo>
                  <a:pt x="1132" y="642"/>
                </a:lnTo>
                <a:lnTo>
                  <a:pt x="1132" y="642"/>
                </a:lnTo>
                <a:lnTo>
                  <a:pt x="1138" y="638"/>
                </a:lnTo>
                <a:lnTo>
                  <a:pt x="1138" y="638"/>
                </a:lnTo>
                <a:lnTo>
                  <a:pt x="1138" y="636"/>
                </a:lnTo>
                <a:lnTo>
                  <a:pt x="1138" y="636"/>
                </a:lnTo>
                <a:lnTo>
                  <a:pt x="1142" y="632"/>
                </a:lnTo>
                <a:lnTo>
                  <a:pt x="1144" y="630"/>
                </a:lnTo>
                <a:lnTo>
                  <a:pt x="1144" y="628"/>
                </a:lnTo>
                <a:lnTo>
                  <a:pt x="1144" y="628"/>
                </a:lnTo>
                <a:lnTo>
                  <a:pt x="1146" y="622"/>
                </a:lnTo>
                <a:lnTo>
                  <a:pt x="1146" y="618"/>
                </a:lnTo>
                <a:lnTo>
                  <a:pt x="1146" y="618"/>
                </a:lnTo>
                <a:lnTo>
                  <a:pt x="1144" y="620"/>
                </a:lnTo>
                <a:lnTo>
                  <a:pt x="1144" y="620"/>
                </a:lnTo>
                <a:lnTo>
                  <a:pt x="1146" y="620"/>
                </a:lnTo>
                <a:lnTo>
                  <a:pt x="1144" y="614"/>
                </a:lnTo>
                <a:lnTo>
                  <a:pt x="1144" y="614"/>
                </a:lnTo>
                <a:lnTo>
                  <a:pt x="1142" y="606"/>
                </a:lnTo>
                <a:lnTo>
                  <a:pt x="1140" y="604"/>
                </a:lnTo>
                <a:lnTo>
                  <a:pt x="1134" y="602"/>
                </a:lnTo>
                <a:lnTo>
                  <a:pt x="1134" y="602"/>
                </a:lnTo>
                <a:lnTo>
                  <a:pt x="1132" y="606"/>
                </a:lnTo>
                <a:lnTo>
                  <a:pt x="1132" y="606"/>
                </a:lnTo>
                <a:lnTo>
                  <a:pt x="1130" y="608"/>
                </a:lnTo>
                <a:lnTo>
                  <a:pt x="1130" y="608"/>
                </a:lnTo>
                <a:lnTo>
                  <a:pt x="1128" y="608"/>
                </a:lnTo>
                <a:lnTo>
                  <a:pt x="1126" y="606"/>
                </a:lnTo>
                <a:lnTo>
                  <a:pt x="1126" y="604"/>
                </a:lnTo>
                <a:lnTo>
                  <a:pt x="1130" y="604"/>
                </a:lnTo>
                <a:lnTo>
                  <a:pt x="1130" y="604"/>
                </a:lnTo>
                <a:lnTo>
                  <a:pt x="1132" y="596"/>
                </a:lnTo>
                <a:lnTo>
                  <a:pt x="1134" y="590"/>
                </a:lnTo>
                <a:lnTo>
                  <a:pt x="1134" y="586"/>
                </a:lnTo>
                <a:lnTo>
                  <a:pt x="1134" y="586"/>
                </a:lnTo>
                <a:lnTo>
                  <a:pt x="1130" y="582"/>
                </a:lnTo>
                <a:lnTo>
                  <a:pt x="1130" y="582"/>
                </a:lnTo>
                <a:lnTo>
                  <a:pt x="1130" y="580"/>
                </a:lnTo>
                <a:lnTo>
                  <a:pt x="1132" y="578"/>
                </a:lnTo>
                <a:lnTo>
                  <a:pt x="1132" y="578"/>
                </a:lnTo>
                <a:lnTo>
                  <a:pt x="1128" y="574"/>
                </a:lnTo>
                <a:lnTo>
                  <a:pt x="1128" y="574"/>
                </a:lnTo>
                <a:lnTo>
                  <a:pt x="1124" y="574"/>
                </a:lnTo>
                <a:lnTo>
                  <a:pt x="1124" y="574"/>
                </a:lnTo>
                <a:lnTo>
                  <a:pt x="1120" y="570"/>
                </a:lnTo>
                <a:lnTo>
                  <a:pt x="1118" y="568"/>
                </a:lnTo>
                <a:lnTo>
                  <a:pt x="1118" y="568"/>
                </a:lnTo>
                <a:lnTo>
                  <a:pt x="1114" y="568"/>
                </a:lnTo>
                <a:lnTo>
                  <a:pt x="1114" y="568"/>
                </a:lnTo>
                <a:lnTo>
                  <a:pt x="1112" y="570"/>
                </a:lnTo>
                <a:lnTo>
                  <a:pt x="1112" y="570"/>
                </a:lnTo>
                <a:lnTo>
                  <a:pt x="1112" y="574"/>
                </a:lnTo>
                <a:lnTo>
                  <a:pt x="1112" y="574"/>
                </a:lnTo>
                <a:lnTo>
                  <a:pt x="1110" y="576"/>
                </a:lnTo>
                <a:lnTo>
                  <a:pt x="1108" y="576"/>
                </a:lnTo>
                <a:lnTo>
                  <a:pt x="1108" y="576"/>
                </a:lnTo>
                <a:lnTo>
                  <a:pt x="1106" y="578"/>
                </a:lnTo>
                <a:lnTo>
                  <a:pt x="1104" y="582"/>
                </a:lnTo>
                <a:lnTo>
                  <a:pt x="1104" y="582"/>
                </a:lnTo>
                <a:lnTo>
                  <a:pt x="1098" y="584"/>
                </a:lnTo>
                <a:lnTo>
                  <a:pt x="1098" y="584"/>
                </a:lnTo>
                <a:lnTo>
                  <a:pt x="1096" y="598"/>
                </a:lnTo>
                <a:lnTo>
                  <a:pt x="1096" y="598"/>
                </a:lnTo>
                <a:lnTo>
                  <a:pt x="1094" y="598"/>
                </a:lnTo>
                <a:lnTo>
                  <a:pt x="1092" y="600"/>
                </a:lnTo>
                <a:lnTo>
                  <a:pt x="1092" y="600"/>
                </a:lnTo>
                <a:lnTo>
                  <a:pt x="1092" y="606"/>
                </a:lnTo>
                <a:lnTo>
                  <a:pt x="1092" y="614"/>
                </a:lnTo>
                <a:lnTo>
                  <a:pt x="1096" y="616"/>
                </a:lnTo>
                <a:lnTo>
                  <a:pt x="1096" y="616"/>
                </a:lnTo>
                <a:lnTo>
                  <a:pt x="1096" y="626"/>
                </a:lnTo>
                <a:lnTo>
                  <a:pt x="1086" y="644"/>
                </a:lnTo>
                <a:lnTo>
                  <a:pt x="1086" y="644"/>
                </a:lnTo>
                <a:lnTo>
                  <a:pt x="1082" y="644"/>
                </a:lnTo>
                <a:lnTo>
                  <a:pt x="1080" y="644"/>
                </a:lnTo>
                <a:lnTo>
                  <a:pt x="1080" y="644"/>
                </a:lnTo>
                <a:lnTo>
                  <a:pt x="1076" y="642"/>
                </a:lnTo>
                <a:lnTo>
                  <a:pt x="1076" y="642"/>
                </a:lnTo>
                <a:lnTo>
                  <a:pt x="1076" y="636"/>
                </a:lnTo>
                <a:lnTo>
                  <a:pt x="1074" y="632"/>
                </a:lnTo>
                <a:lnTo>
                  <a:pt x="1074" y="632"/>
                </a:lnTo>
                <a:lnTo>
                  <a:pt x="1072" y="616"/>
                </a:lnTo>
                <a:lnTo>
                  <a:pt x="1074" y="608"/>
                </a:lnTo>
                <a:lnTo>
                  <a:pt x="1076" y="602"/>
                </a:lnTo>
                <a:lnTo>
                  <a:pt x="1076" y="602"/>
                </a:lnTo>
                <a:lnTo>
                  <a:pt x="1080" y="594"/>
                </a:lnTo>
                <a:lnTo>
                  <a:pt x="1080" y="594"/>
                </a:lnTo>
                <a:lnTo>
                  <a:pt x="1082" y="588"/>
                </a:lnTo>
                <a:lnTo>
                  <a:pt x="1082" y="582"/>
                </a:lnTo>
                <a:lnTo>
                  <a:pt x="1082" y="582"/>
                </a:lnTo>
                <a:lnTo>
                  <a:pt x="1080" y="584"/>
                </a:lnTo>
                <a:lnTo>
                  <a:pt x="1076" y="586"/>
                </a:lnTo>
                <a:lnTo>
                  <a:pt x="1076" y="586"/>
                </a:lnTo>
                <a:lnTo>
                  <a:pt x="1076" y="590"/>
                </a:lnTo>
                <a:lnTo>
                  <a:pt x="1076" y="590"/>
                </a:lnTo>
                <a:lnTo>
                  <a:pt x="1074" y="592"/>
                </a:lnTo>
                <a:lnTo>
                  <a:pt x="1072" y="592"/>
                </a:lnTo>
                <a:lnTo>
                  <a:pt x="1072" y="592"/>
                </a:lnTo>
                <a:lnTo>
                  <a:pt x="1072" y="586"/>
                </a:lnTo>
                <a:lnTo>
                  <a:pt x="1072" y="586"/>
                </a:lnTo>
                <a:lnTo>
                  <a:pt x="1074" y="584"/>
                </a:lnTo>
                <a:lnTo>
                  <a:pt x="1078" y="582"/>
                </a:lnTo>
                <a:lnTo>
                  <a:pt x="1078" y="582"/>
                </a:lnTo>
                <a:lnTo>
                  <a:pt x="1078" y="576"/>
                </a:lnTo>
                <a:lnTo>
                  <a:pt x="1078" y="576"/>
                </a:lnTo>
                <a:lnTo>
                  <a:pt x="1084" y="566"/>
                </a:lnTo>
                <a:lnTo>
                  <a:pt x="1084" y="566"/>
                </a:lnTo>
                <a:lnTo>
                  <a:pt x="1088" y="568"/>
                </a:lnTo>
                <a:lnTo>
                  <a:pt x="1090" y="568"/>
                </a:lnTo>
                <a:lnTo>
                  <a:pt x="1090" y="564"/>
                </a:lnTo>
                <a:lnTo>
                  <a:pt x="1090" y="564"/>
                </a:lnTo>
                <a:lnTo>
                  <a:pt x="1096" y="566"/>
                </a:lnTo>
                <a:lnTo>
                  <a:pt x="1102" y="564"/>
                </a:lnTo>
                <a:lnTo>
                  <a:pt x="1102" y="564"/>
                </a:lnTo>
                <a:lnTo>
                  <a:pt x="1104" y="560"/>
                </a:lnTo>
                <a:lnTo>
                  <a:pt x="1104" y="560"/>
                </a:lnTo>
                <a:lnTo>
                  <a:pt x="1106" y="560"/>
                </a:lnTo>
                <a:lnTo>
                  <a:pt x="1108" y="562"/>
                </a:lnTo>
                <a:lnTo>
                  <a:pt x="1112" y="564"/>
                </a:lnTo>
                <a:lnTo>
                  <a:pt x="1112" y="564"/>
                </a:lnTo>
                <a:lnTo>
                  <a:pt x="1116" y="564"/>
                </a:lnTo>
                <a:lnTo>
                  <a:pt x="1116" y="564"/>
                </a:lnTo>
                <a:lnTo>
                  <a:pt x="1116" y="562"/>
                </a:lnTo>
                <a:lnTo>
                  <a:pt x="1116" y="562"/>
                </a:lnTo>
                <a:lnTo>
                  <a:pt x="1116" y="562"/>
                </a:lnTo>
                <a:lnTo>
                  <a:pt x="1120" y="562"/>
                </a:lnTo>
                <a:lnTo>
                  <a:pt x="1120" y="564"/>
                </a:lnTo>
                <a:lnTo>
                  <a:pt x="1120" y="564"/>
                </a:lnTo>
                <a:lnTo>
                  <a:pt x="1124" y="564"/>
                </a:lnTo>
                <a:lnTo>
                  <a:pt x="1124" y="564"/>
                </a:lnTo>
                <a:lnTo>
                  <a:pt x="1124" y="562"/>
                </a:lnTo>
                <a:lnTo>
                  <a:pt x="1124" y="562"/>
                </a:lnTo>
                <a:lnTo>
                  <a:pt x="1120" y="556"/>
                </a:lnTo>
                <a:lnTo>
                  <a:pt x="1112" y="556"/>
                </a:lnTo>
                <a:lnTo>
                  <a:pt x="1112" y="556"/>
                </a:lnTo>
                <a:lnTo>
                  <a:pt x="1110" y="546"/>
                </a:lnTo>
                <a:lnTo>
                  <a:pt x="1110" y="546"/>
                </a:lnTo>
                <a:lnTo>
                  <a:pt x="1096" y="552"/>
                </a:lnTo>
                <a:lnTo>
                  <a:pt x="1086" y="554"/>
                </a:lnTo>
                <a:lnTo>
                  <a:pt x="1078" y="552"/>
                </a:lnTo>
                <a:lnTo>
                  <a:pt x="1078" y="552"/>
                </a:lnTo>
                <a:lnTo>
                  <a:pt x="1076" y="544"/>
                </a:lnTo>
                <a:lnTo>
                  <a:pt x="1076" y="544"/>
                </a:lnTo>
                <a:lnTo>
                  <a:pt x="1066" y="546"/>
                </a:lnTo>
                <a:lnTo>
                  <a:pt x="1066" y="546"/>
                </a:lnTo>
                <a:lnTo>
                  <a:pt x="1064" y="544"/>
                </a:lnTo>
                <a:lnTo>
                  <a:pt x="1064" y="542"/>
                </a:lnTo>
                <a:lnTo>
                  <a:pt x="1064" y="542"/>
                </a:lnTo>
                <a:lnTo>
                  <a:pt x="1064" y="540"/>
                </a:lnTo>
                <a:lnTo>
                  <a:pt x="1064" y="540"/>
                </a:lnTo>
                <a:lnTo>
                  <a:pt x="1066" y="540"/>
                </a:lnTo>
                <a:lnTo>
                  <a:pt x="1068" y="540"/>
                </a:lnTo>
                <a:lnTo>
                  <a:pt x="1068" y="540"/>
                </a:lnTo>
                <a:lnTo>
                  <a:pt x="1072" y="538"/>
                </a:lnTo>
                <a:lnTo>
                  <a:pt x="1074" y="534"/>
                </a:lnTo>
                <a:lnTo>
                  <a:pt x="1074" y="534"/>
                </a:lnTo>
                <a:lnTo>
                  <a:pt x="1072" y="534"/>
                </a:lnTo>
                <a:lnTo>
                  <a:pt x="1068" y="532"/>
                </a:lnTo>
                <a:lnTo>
                  <a:pt x="1068" y="534"/>
                </a:lnTo>
                <a:lnTo>
                  <a:pt x="1068" y="534"/>
                </a:lnTo>
                <a:lnTo>
                  <a:pt x="1062" y="536"/>
                </a:lnTo>
                <a:lnTo>
                  <a:pt x="1062" y="538"/>
                </a:lnTo>
                <a:lnTo>
                  <a:pt x="1054" y="544"/>
                </a:lnTo>
                <a:lnTo>
                  <a:pt x="1054" y="544"/>
                </a:lnTo>
                <a:lnTo>
                  <a:pt x="1046" y="546"/>
                </a:lnTo>
                <a:lnTo>
                  <a:pt x="1046" y="546"/>
                </a:lnTo>
                <a:lnTo>
                  <a:pt x="1044" y="550"/>
                </a:lnTo>
                <a:lnTo>
                  <a:pt x="1044" y="550"/>
                </a:lnTo>
                <a:lnTo>
                  <a:pt x="1040" y="550"/>
                </a:lnTo>
                <a:lnTo>
                  <a:pt x="1038" y="550"/>
                </a:lnTo>
                <a:lnTo>
                  <a:pt x="1034" y="546"/>
                </a:lnTo>
                <a:lnTo>
                  <a:pt x="1034" y="544"/>
                </a:lnTo>
                <a:lnTo>
                  <a:pt x="1034" y="544"/>
                </a:lnTo>
                <a:lnTo>
                  <a:pt x="1028" y="546"/>
                </a:lnTo>
                <a:lnTo>
                  <a:pt x="1024" y="546"/>
                </a:lnTo>
                <a:lnTo>
                  <a:pt x="1024" y="546"/>
                </a:lnTo>
                <a:lnTo>
                  <a:pt x="1018" y="546"/>
                </a:lnTo>
                <a:lnTo>
                  <a:pt x="1018" y="546"/>
                </a:lnTo>
                <a:lnTo>
                  <a:pt x="1026" y="540"/>
                </a:lnTo>
                <a:lnTo>
                  <a:pt x="1026" y="540"/>
                </a:lnTo>
                <a:lnTo>
                  <a:pt x="1028" y="536"/>
                </a:lnTo>
                <a:lnTo>
                  <a:pt x="1028" y="536"/>
                </a:lnTo>
                <a:lnTo>
                  <a:pt x="1032" y="536"/>
                </a:lnTo>
                <a:lnTo>
                  <a:pt x="1032" y="536"/>
                </a:lnTo>
                <a:lnTo>
                  <a:pt x="1038" y="530"/>
                </a:lnTo>
                <a:lnTo>
                  <a:pt x="1038" y="530"/>
                </a:lnTo>
                <a:lnTo>
                  <a:pt x="1042" y="530"/>
                </a:lnTo>
                <a:lnTo>
                  <a:pt x="1042" y="530"/>
                </a:lnTo>
                <a:lnTo>
                  <a:pt x="1044" y="526"/>
                </a:lnTo>
                <a:lnTo>
                  <a:pt x="1044" y="526"/>
                </a:lnTo>
                <a:lnTo>
                  <a:pt x="1050" y="522"/>
                </a:lnTo>
                <a:lnTo>
                  <a:pt x="1050" y="522"/>
                </a:lnTo>
                <a:lnTo>
                  <a:pt x="1048" y="522"/>
                </a:lnTo>
                <a:lnTo>
                  <a:pt x="1044" y="520"/>
                </a:lnTo>
                <a:lnTo>
                  <a:pt x="1044" y="520"/>
                </a:lnTo>
                <a:lnTo>
                  <a:pt x="1042" y="518"/>
                </a:lnTo>
                <a:lnTo>
                  <a:pt x="1040" y="518"/>
                </a:lnTo>
                <a:lnTo>
                  <a:pt x="1036" y="518"/>
                </a:lnTo>
                <a:lnTo>
                  <a:pt x="1036" y="518"/>
                </a:lnTo>
                <a:lnTo>
                  <a:pt x="1028" y="518"/>
                </a:lnTo>
                <a:lnTo>
                  <a:pt x="1028" y="518"/>
                </a:lnTo>
                <a:lnTo>
                  <a:pt x="1024" y="518"/>
                </a:lnTo>
                <a:lnTo>
                  <a:pt x="1020" y="518"/>
                </a:lnTo>
                <a:lnTo>
                  <a:pt x="1020" y="518"/>
                </a:lnTo>
                <a:lnTo>
                  <a:pt x="1016" y="514"/>
                </a:lnTo>
                <a:lnTo>
                  <a:pt x="1010" y="512"/>
                </a:lnTo>
                <a:lnTo>
                  <a:pt x="1010" y="512"/>
                </a:lnTo>
                <a:lnTo>
                  <a:pt x="1006" y="512"/>
                </a:lnTo>
                <a:lnTo>
                  <a:pt x="1004" y="512"/>
                </a:lnTo>
                <a:lnTo>
                  <a:pt x="1004" y="514"/>
                </a:lnTo>
                <a:lnTo>
                  <a:pt x="1004" y="514"/>
                </a:lnTo>
                <a:lnTo>
                  <a:pt x="1002" y="516"/>
                </a:lnTo>
                <a:lnTo>
                  <a:pt x="1000" y="516"/>
                </a:lnTo>
                <a:lnTo>
                  <a:pt x="994" y="512"/>
                </a:lnTo>
                <a:lnTo>
                  <a:pt x="994" y="512"/>
                </a:lnTo>
                <a:lnTo>
                  <a:pt x="990" y="512"/>
                </a:lnTo>
                <a:lnTo>
                  <a:pt x="988" y="512"/>
                </a:lnTo>
                <a:lnTo>
                  <a:pt x="988" y="512"/>
                </a:lnTo>
                <a:lnTo>
                  <a:pt x="986" y="506"/>
                </a:lnTo>
                <a:lnTo>
                  <a:pt x="984" y="500"/>
                </a:lnTo>
                <a:lnTo>
                  <a:pt x="982" y="498"/>
                </a:lnTo>
                <a:lnTo>
                  <a:pt x="982" y="498"/>
                </a:lnTo>
                <a:lnTo>
                  <a:pt x="980" y="500"/>
                </a:lnTo>
                <a:lnTo>
                  <a:pt x="980" y="502"/>
                </a:lnTo>
                <a:lnTo>
                  <a:pt x="978" y="506"/>
                </a:lnTo>
                <a:lnTo>
                  <a:pt x="612" y="500"/>
                </a:lnTo>
                <a:lnTo>
                  <a:pt x="612" y="500"/>
                </a:lnTo>
                <a:lnTo>
                  <a:pt x="610" y="504"/>
                </a:lnTo>
                <a:lnTo>
                  <a:pt x="610" y="504"/>
                </a:lnTo>
                <a:lnTo>
                  <a:pt x="606" y="506"/>
                </a:lnTo>
                <a:lnTo>
                  <a:pt x="606" y="508"/>
                </a:lnTo>
                <a:lnTo>
                  <a:pt x="606" y="508"/>
                </a:lnTo>
                <a:lnTo>
                  <a:pt x="610" y="512"/>
                </a:lnTo>
                <a:lnTo>
                  <a:pt x="610" y="512"/>
                </a:lnTo>
                <a:lnTo>
                  <a:pt x="604" y="514"/>
                </a:lnTo>
                <a:lnTo>
                  <a:pt x="604" y="516"/>
                </a:lnTo>
                <a:lnTo>
                  <a:pt x="604" y="516"/>
                </a:lnTo>
                <a:lnTo>
                  <a:pt x="592" y="514"/>
                </a:lnTo>
                <a:lnTo>
                  <a:pt x="578" y="512"/>
                </a:lnTo>
                <a:lnTo>
                  <a:pt x="578" y="512"/>
                </a:lnTo>
                <a:lnTo>
                  <a:pt x="580" y="518"/>
                </a:lnTo>
                <a:lnTo>
                  <a:pt x="580" y="522"/>
                </a:lnTo>
                <a:lnTo>
                  <a:pt x="580" y="522"/>
                </a:lnTo>
                <a:lnTo>
                  <a:pt x="584" y="526"/>
                </a:lnTo>
                <a:lnTo>
                  <a:pt x="586" y="528"/>
                </a:lnTo>
                <a:lnTo>
                  <a:pt x="586" y="528"/>
                </a:lnTo>
                <a:lnTo>
                  <a:pt x="588" y="532"/>
                </a:lnTo>
                <a:lnTo>
                  <a:pt x="588" y="538"/>
                </a:lnTo>
                <a:lnTo>
                  <a:pt x="590" y="538"/>
                </a:lnTo>
                <a:lnTo>
                  <a:pt x="590" y="538"/>
                </a:lnTo>
                <a:lnTo>
                  <a:pt x="590" y="540"/>
                </a:lnTo>
                <a:lnTo>
                  <a:pt x="590" y="542"/>
                </a:lnTo>
                <a:lnTo>
                  <a:pt x="590" y="542"/>
                </a:lnTo>
                <a:lnTo>
                  <a:pt x="592" y="542"/>
                </a:lnTo>
                <a:lnTo>
                  <a:pt x="592" y="542"/>
                </a:lnTo>
                <a:lnTo>
                  <a:pt x="592" y="550"/>
                </a:lnTo>
                <a:lnTo>
                  <a:pt x="590" y="548"/>
                </a:lnTo>
                <a:lnTo>
                  <a:pt x="590" y="548"/>
                </a:lnTo>
                <a:lnTo>
                  <a:pt x="590" y="554"/>
                </a:lnTo>
                <a:lnTo>
                  <a:pt x="592" y="556"/>
                </a:lnTo>
                <a:lnTo>
                  <a:pt x="592" y="556"/>
                </a:lnTo>
                <a:lnTo>
                  <a:pt x="592" y="558"/>
                </a:lnTo>
                <a:lnTo>
                  <a:pt x="592" y="558"/>
                </a:lnTo>
                <a:lnTo>
                  <a:pt x="590" y="558"/>
                </a:lnTo>
                <a:lnTo>
                  <a:pt x="590" y="558"/>
                </a:lnTo>
                <a:lnTo>
                  <a:pt x="590" y="572"/>
                </a:lnTo>
                <a:lnTo>
                  <a:pt x="590" y="584"/>
                </a:lnTo>
                <a:lnTo>
                  <a:pt x="588" y="586"/>
                </a:lnTo>
                <a:lnTo>
                  <a:pt x="588" y="586"/>
                </a:lnTo>
                <a:lnTo>
                  <a:pt x="588" y="592"/>
                </a:lnTo>
                <a:lnTo>
                  <a:pt x="588" y="592"/>
                </a:lnTo>
                <a:lnTo>
                  <a:pt x="590" y="592"/>
                </a:lnTo>
                <a:lnTo>
                  <a:pt x="588" y="592"/>
                </a:lnTo>
                <a:lnTo>
                  <a:pt x="588" y="592"/>
                </a:lnTo>
                <a:lnTo>
                  <a:pt x="588" y="612"/>
                </a:lnTo>
                <a:lnTo>
                  <a:pt x="588" y="612"/>
                </a:lnTo>
                <a:lnTo>
                  <a:pt x="586" y="612"/>
                </a:lnTo>
                <a:lnTo>
                  <a:pt x="586" y="612"/>
                </a:lnTo>
                <a:lnTo>
                  <a:pt x="586" y="624"/>
                </a:lnTo>
                <a:lnTo>
                  <a:pt x="586" y="624"/>
                </a:lnTo>
                <a:lnTo>
                  <a:pt x="586" y="632"/>
                </a:lnTo>
                <a:lnTo>
                  <a:pt x="592" y="638"/>
                </a:lnTo>
                <a:lnTo>
                  <a:pt x="592" y="638"/>
                </a:lnTo>
                <a:lnTo>
                  <a:pt x="590" y="640"/>
                </a:lnTo>
                <a:lnTo>
                  <a:pt x="590" y="640"/>
                </a:lnTo>
                <a:lnTo>
                  <a:pt x="590" y="646"/>
                </a:lnTo>
                <a:lnTo>
                  <a:pt x="592" y="652"/>
                </a:lnTo>
                <a:lnTo>
                  <a:pt x="592" y="652"/>
                </a:lnTo>
                <a:lnTo>
                  <a:pt x="590" y="658"/>
                </a:lnTo>
                <a:lnTo>
                  <a:pt x="590" y="666"/>
                </a:lnTo>
                <a:lnTo>
                  <a:pt x="590" y="666"/>
                </a:lnTo>
                <a:lnTo>
                  <a:pt x="588" y="666"/>
                </a:lnTo>
                <a:lnTo>
                  <a:pt x="586" y="668"/>
                </a:lnTo>
                <a:lnTo>
                  <a:pt x="586" y="670"/>
                </a:lnTo>
                <a:lnTo>
                  <a:pt x="586" y="670"/>
                </a:lnTo>
                <a:lnTo>
                  <a:pt x="592" y="680"/>
                </a:lnTo>
                <a:lnTo>
                  <a:pt x="592" y="680"/>
                </a:lnTo>
                <a:lnTo>
                  <a:pt x="594" y="682"/>
                </a:lnTo>
                <a:lnTo>
                  <a:pt x="594" y="682"/>
                </a:lnTo>
                <a:lnTo>
                  <a:pt x="594" y="686"/>
                </a:lnTo>
                <a:lnTo>
                  <a:pt x="596" y="686"/>
                </a:lnTo>
                <a:lnTo>
                  <a:pt x="596" y="686"/>
                </a:lnTo>
                <a:lnTo>
                  <a:pt x="596" y="692"/>
                </a:lnTo>
                <a:lnTo>
                  <a:pt x="596" y="698"/>
                </a:lnTo>
                <a:lnTo>
                  <a:pt x="596" y="698"/>
                </a:lnTo>
                <a:lnTo>
                  <a:pt x="598" y="698"/>
                </a:lnTo>
                <a:lnTo>
                  <a:pt x="600" y="700"/>
                </a:lnTo>
                <a:lnTo>
                  <a:pt x="600" y="700"/>
                </a:lnTo>
                <a:lnTo>
                  <a:pt x="602" y="704"/>
                </a:lnTo>
                <a:lnTo>
                  <a:pt x="604" y="704"/>
                </a:lnTo>
                <a:lnTo>
                  <a:pt x="604" y="704"/>
                </a:lnTo>
                <a:lnTo>
                  <a:pt x="604" y="712"/>
                </a:lnTo>
                <a:lnTo>
                  <a:pt x="604" y="712"/>
                </a:lnTo>
                <a:lnTo>
                  <a:pt x="608" y="714"/>
                </a:lnTo>
                <a:lnTo>
                  <a:pt x="608" y="714"/>
                </a:lnTo>
                <a:lnTo>
                  <a:pt x="610" y="712"/>
                </a:lnTo>
                <a:lnTo>
                  <a:pt x="610" y="712"/>
                </a:lnTo>
                <a:lnTo>
                  <a:pt x="608" y="708"/>
                </a:lnTo>
                <a:lnTo>
                  <a:pt x="608" y="708"/>
                </a:lnTo>
                <a:lnTo>
                  <a:pt x="612" y="708"/>
                </a:lnTo>
                <a:lnTo>
                  <a:pt x="612" y="708"/>
                </a:lnTo>
                <a:lnTo>
                  <a:pt x="612" y="710"/>
                </a:lnTo>
                <a:lnTo>
                  <a:pt x="614" y="710"/>
                </a:lnTo>
                <a:lnTo>
                  <a:pt x="616" y="710"/>
                </a:lnTo>
                <a:lnTo>
                  <a:pt x="616" y="710"/>
                </a:lnTo>
                <a:lnTo>
                  <a:pt x="614" y="710"/>
                </a:lnTo>
                <a:lnTo>
                  <a:pt x="612" y="712"/>
                </a:lnTo>
                <a:lnTo>
                  <a:pt x="612" y="712"/>
                </a:lnTo>
                <a:lnTo>
                  <a:pt x="614" y="718"/>
                </a:lnTo>
                <a:lnTo>
                  <a:pt x="616" y="720"/>
                </a:lnTo>
                <a:lnTo>
                  <a:pt x="616" y="720"/>
                </a:lnTo>
                <a:lnTo>
                  <a:pt x="612" y="718"/>
                </a:lnTo>
                <a:lnTo>
                  <a:pt x="612" y="718"/>
                </a:lnTo>
                <a:lnTo>
                  <a:pt x="610" y="718"/>
                </a:lnTo>
                <a:lnTo>
                  <a:pt x="610" y="718"/>
                </a:lnTo>
                <a:lnTo>
                  <a:pt x="610" y="724"/>
                </a:lnTo>
                <a:lnTo>
                  <a:pt x="610" y="724"/>
                </a:lnTo>
                <a:lnTo>
                  <a:pt x="614" y="726"/>
                </a:lnTo>
                <a:lnTo>
                  <a:pt x="620" y="730"/>
                </a:lnTo>
                <a:lnTo>
                  <a:pt x="622" y="734"/>
                </a:lnTo>
                <a:lnTo>
                  <a:pt x="622" y="734"/>
                </a:lnTo>
                <a:lnTo>
                  <a:pt x="618" y="734"/>
                </a:lnTo>
                <a:lnTo>
                  <a:pt x="618" y="734"/>
                </a:lnTo>
                <a:lnTo>
                  <a:pt x="618" y="738"/>
                </a:lnTo>
                <a:lnTo>
                  <a:pt x="620" y="742"/>
                </a:lnTo>
                <a:lnTo>
                  <a:pt x="620" y="742"/>
                </a:lnTo>
                <a:lnTo>
                  <a:pt x="622" y="746"/>
                </a:lnTo>
                <a:lnTo>
                  <a:pt x="624" y="748"/>
                </a:lnTo>
                <a:lnTo>
                  <a:pt x="624" y="748"/>
                </a:lnTo>
                <a:lnTo>
                  <a:pt x="624" y="752"/>
                </a:lnTo>
                <a:lnTo>
                  <a:pt x="626" y="754"/>
                </a:lnTo>
                <a:lnTo>
                  <a:pt x="626" y="754"/>
                </a:lnTo>
                <a:lnTo>
                  <a:pt x="628" y="756"/>
                </a:lnTo>
                <a:lnTo>
                  <a:pt x="628" y="756"/>
                </a:lnTo>
                <a:lnTo>
                  <a:pt x="632" y="762"/>
                </a:lnTo>
                <a:lnTo>
                  <a:pt x="632" y="762"/>
                </a:lnTo>
                <a:lnTo>
                  <a:pt x="632" y="764"/>
                </a:lnTo>
                <a:lnTo>
                  <a:pt x="632" y="766"/>
                </a:lnTo>
                <a:lnTo>
                  <a:pt x="632" y="766"/>
                </a:lnTo>
                <a:lnTo>
                  <a:pt x="636" y="766"/>
                </a:lnTo>
                <a:lnTo>
                  <a:pt x="636" y="766"/>
                </a:lnTo>
                <a:lnTo>
                  <a:pt x="636" y="778"/>
                </a:lnTo>
                <a:lnTo>
                  <a:pt x="636" y="778"/>
                </a:lnTo>
                <a:lnTo>
                  <a:pt x="642" y="778"/>
                </a:lnTo>
                <a:lnTo>
                  <a:pt x="648" y="780"/>
                </a:lnTo>
                <a:lnTo>
                  <a:pt x="660" y="782"/>
                </a:lnTo>
                <a:lnTo>
                  <a:pt x="660" y="782"/>
                </a:lnTo>
                <a:lnTo>
                  <a:pt x="662" y="790"/>
                </a:lnTo>
                <a:lnTo>
                  <a:pt x="662" y="790"/>
                </a:lnTo>
                <a:lnTo>
                  <a:pt x="666" y="788"/>
                </a:lnTo>
                <a:lnTo>
                  <a:pt x="666" y="788"/>
                </a:lnTo>
                <a:lnTo>
                  <a:pt x="674" y="798"/>
                </a:lnTo>
                <a:lnTo>
                  <a:pt x="674" y="798"/>
                </a:lnTo>
                <a:lnTo>
                  <a:pt x="676" y="800"/>
                </a:lnTo>
                <a:lnTo>
                  <a:pt x="678" y="802"/>
                </a:lnTo>
                <a:lnTo>
                  <a:pt x="678" y="802"/>
                </a:lnTo>
                <a:lnTo>
                  <a:pt x="680" y="804"/>
                </a:lnTo>
                <a:lnTo>
                  <a:pt x="678" y="808"/>
                </a:lnTo>
                <a:lnTo>
                  <a:pt x="680" y="810"/>
                </a:lnTo>
                <a:lnTo>
                  <a:pt x="680" y="810"/>
                </a:lnTo>
                <a:lnTo>
                  <a:pt x="682" y="814"/>
                </a:lnTo>
                <a:lnTo>
                  <a:pt x="718" y="810"/>
                </a:lnTo>
                <a:lnTo>
                  <a:pt x="718" y="816"/>
                </a:lnTo>
                <a:lnTo>
                  <a:pt x="754" y="834"/>
                </a:lnTo>
                <a:lnTo>
                  <a:pt x="798" y="836"/>
                </a:lnTo>
                <a:lnTo>
                  <a:pt x="798" y="828"/>
                </a:lnTo>
                <a:lnTo>
                  <a:pt x="826" y="828"/>
                </a:lnTo>
                <a:lnTo>
                  <a:pt x="832" y="836"/>
                </a:lnTo>
                <a:lnTo>
                  <a:pt x="836" y="840"/>
                </a:lnTo>
                <a:lnTo>
                  <a:pt x="838" y="842"/>
                </a:lnTo>
                <a:lnTo>
                  <a:pt x="842" y="846"/>
                </a:lnTo>
                <a:lnTo>
                  <a:pt x="846" y="852"/>
                </a:lnTo>
                <a:lnTo>
                  <a:pt x="850" y="858"/>
                </a:lnTo>
                <a:lnTo>
                  <a:pt x="850" y="862"/>
                </a:lnTo>
                <a:lnTo>
                  <a:pt x="854" y="866"/>
                </a:lnTo>
                <a:lnTo>
                  <a:pt x="858" y="872"/>
                </a:lnTo>
                <a:lnTo>
                  <a:pt x="862" y="874"/>
                </a:lnTo>
                <a:lnTo>
                  <a:pt x="866" y="874"/>
                </a:lnTo>
                <a:lnTo>
                  <a:pt x="870" y="874"/>
                </a:lnTo>
                <a:lnTo>
                  <a:pt x="874" y="872"/>
                </a:lnTo>
                <a:lnTo>
                  <a:pt x="878" y="866"/>
                </a:lnTo>
                <a:lnTo>
                  <a:pt x="884" y="864"/>
                </a:lnTo>
                <a:lnTo>
                  <a:pt x="888" y="864"/>
                </a:lnTo>
                <a:lnTo>
                  <a:pt x="892" y="866"/>
                </a:lnTo>
                <a:lnTo>
                  <a:pt x="896" y="870"/>
                </a:lnTo>
                <a:lnTo>
                  <a:pt x="900" y="874"/>
                </a:lnTo>
                <a:lnTo>
                  <a:pt x="902" y="880"/>
                </a:lnTo>
                <a:lnTo>
                  <a:pt x="904" y="882"/>
                </a:lnTo>
                <a:lnTo>
                  <a:pt x="906" y="888"/>
                </a:lnTo>
                <a:lnTo>
                  <a:pt x="910" y="896"/>
                </a:lnTo>
                <a:lnTo>
                  <a:pt x="912" y="900"/>
                </a:lnTo>
                <a:lnTo>
                  <a:pt x="916" y="904"/>
                </a:lnTo>
                <a:lnTo>
                  <a:pt x="920" y="908"/>
                </a:lnTo>
                <a:lnTo>
                  <a:pt x="922" y="918"/>
                </a:lnTo>
                <a:lnTo>
                  <a:pt x="922" y="924"/>
                </a:lnTo>
                <a:lnTo>
                  <a:pt x="928" y="926"/>
                </a:lnTo>
                <a:lnTo>
                  <a:pt x="932" y="928"/>
                </a:lnTo>
                <a:lnTo>
                  <a:pt x="938" y="930"/>
                </a:lnTo>
                <a:lnTo>
                  <a:pt x="942" y="932"/>
                </a:lnTo>
                <a:lnTo>
                  <a:pt x="948" y="932"/>
                </a:lnTo>
                <a:lnTo>
                  <a:pt x="946" y="932"/>
                </a:lnTo>
                <a:lnTo>
                  <a:pt x="946" y="932"/>
                </a:lnTo>
                <a:lnTo>
                  <a:pt x="946" y="930"/>
                </a:lnTo>
                <a:lnTo>
                  <a:pt x="946" y="930"/>
                </a:lnTo>
                <a:lnTo>
                  <a:pt x="946" y="928"/>
                </a:lnTo>
                <a:lnTo>
                  <a:pt x="946" y="928"/>
                </a:lnTo>
                <a:lnTo>
                  <a:pt x="946" y="924"/>
                </a:lnTo>
                <a:lnTo>
                  <a:pt x="944" y="924"/>
                </a:lnTo>
                <a:lnTo>
                  <a:pt x="944" y="924"/>
                </a:lnTo>
                <a:lnTo>
                  <a:pt x="944" y="920"/>
                </a:lnTo>
                <a:lnTo>
                  <a:pt x="942" y="920"/>
                </a:lnTo>
                <a:lnTo>
                  <a:pt x="942" y="920"/>
                </a:lnTo>
                <a:lnTo>
                  <a:pt x="940" y="914"/>
                </a:lnTo>
                <a:lnTo>
                  <a:pt x="942" y="906"/>
                </a:lnTo>
                <a:lnTo>
                  <a:pt x="942" y="906"/>
                </a:lnTo>
                <a:lnTo>
                  <a:pt x="940" y="904"/>
                </a:lnTo>
                <a:lnTo>
                  <a:pt x="940" y="904"/>
                </a:lnTo>
                <a:lnTo>
                  <a:pt x="940" y="904"/>
                </a:lnTo>
                <a:lnTo>
                  <a:pt x="944" y="902"/>
                </a:lnTo>
                <a:lnTo>
                  <a:pt x="944" y="902"/>
                </a:lnTo>
                <a:lnTo>
                  <a:pt x="944" y="894"/>
                </a:lnTo>
                <a:lnTo>
                  <a:pt x="944" y="894"/>
                </a:lnTo>
                <a:lnTo>
                  <a:pt x="948" y="894"/>
                </a:lnTo>
                <a:lnTo>
                  <a:pt x="948" y="894"/>
                </a:lnTo>
                <a:lnTo>
                  <a:pt x="950" y="890"/>
                </a:lnTo>
                <a:lnTo>
                  <a:pt x="950" y="890"/>
                </a:lnTo>
                <a:lnTo>
                  <a:pt x="954" y="890"/>
                </a:lnTo>
                <a:lnTo>
                  <a:pt x="954" y="890"/>
                </a:lnTo>
                <a:lnTo>
                  <a:pt x="958" y="888"/>
                </a:lnTo>
                <a:lnTo>
                  <a:pt x="958" y="886"/>
                </a:lnTo>
                <a:lnTo>
                  <a:pt x="958" y="882"/>
                </a:lnTo>
                <a:lnTo>
                  <a:pt x="958" y="882"/>
                </a:lnTo>
                <a:lnTo>
                  <a:pt x="962" y="882"/>
                </a:lnTo>
                <a:lnTo>
                  <a:pt x="962" y="880"/>
                </a:lnTo>
                <a:lnTo>
                  <a:pt x="962" y="880"/>
                </a:lnTo>
                <a:lnTo>
                  <a:pt x="968" y="880"/>
                </a:lnTo>
                <a:lnTo>
                  <a:pt x="968" y="880"/>
                </a:lnTo>
                <a:lnTo>
                  <a:pt x="972" y="876"/>
                </a:lnTo>
                <a:lnTo>
                  <a:pt x="972" y="876"/>
                </a:lnTo>
                <a:lnTo>
                  <a:pt x="972" y="878"/>
                </a:lnTo>
                <a:lnTo>
                  <a:pt x="974" y="878"/>
                </a:lnTo>
                <a:lnTo>
                  <a:pt x="974" y="878"/>
                </a:lnTo>
                <a:lnTo>
                  <a:pt x="974" y="872"/>
                </a:lnTo>
                <a:lnTo>
                  <a:pt x="974" y="872"/>
                </a:lnTo>
                <a:lnTo>
                  <a:pt x="978" y="870"/>
                </a:lnTo>
                <a:lnTo>
                  <a:pt x="978" y="870"/>
                </a:lnTo>
                <a:lnTo>
                  <a:pt x="978" y="864"/>
                </a:lnTo>
                <a:lnTo>
                  <a:pt x="978" y="864"/>
                </a:lnTo>
                <a:lnTo>
                  <a:pt x="986" y="866"/>
                </a:lnTo>
                <a:lnTo>
                  <a:pt x="994" y="864"/>
                </a:lnTo>
                <a:lnTo>
                  <a:pt x="994" y="864"/>
                </a:lnTo>
                <a:lnTo>
                  <a:pt x="994" y="860"/>
                </a:lnTo>
                <a:lnTo>
                  <a:pt x="994" y="860"/>
                </a:lnTo>
                <a:lnTo>
                  <a:pt x="994" y="860"/>
                </a:lnTo>
                <a:lnTo>
                  <a:pt x="996" y="862"/>
                </a:lnTo>
                <a:lnTo>
                  <a:pt x="996" y="862"/>
                </a:lnTo>
                <a:lnTo>
                  <a:pt x="998" y="862"/>
                </a:lnTo>
                <a:lnTo>
                  <a:pt x="1000" y="860"/>
                </a:lnTo>
                <a:lnTo>
                  <a:pt x="1000" y="860"/>
                </a:lnTo>
                <a:lnTo>
                  <a:pt x="1002" y="860"/>
                </a:lnTo>
                <a:lnTo>
                  <a:pt x="1004" y="862"/>
                </a:lnTo>
                <a:lnTo>
                  <a:pt x="1004" y="862"/>
                </a:lnTo>
                <a:lnTo>
                  <a:pt x="1010" y="864"/>
                </a:lnTo>
                <a:lnTo>
                  <a:pt x="1016" y="860"/>
                </a:lnTo>
                <a:lnTo>
                  <a:pt x="1016" y="860"/>
                </a:lnTo>
                <a:lnTo>
                  <a:pt x="1016" y="866"/>
                </a:lnTo>
                <a:lnTo>
                  <a:pt x="1016" y="866"/>
                </a:lnTo>
                <a:lnTo>
                  <a:pt x="1022" y="866"/>
                </a:lnTo>
                <a:lnTo>
                  <a:pt x="1026" y="868"/>
                </a:lnTo>
                <a:lnTo>
                  <a:pt x="1026" y="868"/>
                </a:lnTo>
                <a:lnTo>
                  <a:pt x="1026" y="870"/>
                </a:lnTo>
                <a:lnTo>
                  <a:pt x="1026" y="874"/>
                </a:lnTo>
                <a:lnTo>
                  <a:pt x="1026" y="874"/>
                </a:lnTo>
                <a:close/>
                <a:moveTo>
                  <a:pt x="516" y="360"/>
                </a:moveTo>
                <a:lnTo>
                  <a:pt x="516" y="360"/>
                </a:lnTo>
                <a:lnTo>
                  <a:pt x="516" y="358"/>
                </a:lnTo>
                <a:lnTo>
                  <a:pt x="514" y="356"/>
                </a:lnTo>
                <a:lnTo>
                  <a:pt x="514" y="352"/>
                </a:lnTo>
                <a:lnTo>
                  <a:pt x="512" y="350"/>
                </a:lnTo>
                <a:lnTo>
                  <a:pt x="512" y="350"/>
                </a:lnTo>
                <a:lnTo>
                  <a:pt x="510" y="350"/>
                </a:lnTo>
                <a:lnTo>
                  <a:pt x="508" y="346"/>
                </a:lnTo>
                <a:lnTo>
                  <a:pt x="508" y="346"/>
                </a:lnTo>
                <a:lnTo>
                  <a:pt x="506" y="340"/>
                </a:lnTo>
                <a:lnTo>
                  <a:pt x="504" y="334"/>
                </a:lnTo>
                <a:lnTo>
                  <a:pt x="504" y="334"/>
                </a:lnTo>
                <a:lnTo>
                  <a:pt x="504" y="334"/>
                </a:lnTo>
                <a:lnTo>
                  <a:pt x="502" y="334"/>
                </a:lnTo>
                <a:lnTo>
                  <a:pt x="498" y="336"/>
                </a:lnTo>
                <a:lnTo>
                  <a:pt x="494" y="334"/>
                </a:lnTo>
                <a:lnTo>
                  <a:pt x="494" y="334"/>
                </a:lnTo>
                <a:lnTo>
                  <a:pt x="492" y="332"/>
                </a:lnTo>
                <a:lnTo>
                  <a:pt x="490" y="330"/>
                </a:lnTo>
                <a:lnTo>
                  <a:pt x="488" y="326"/>
                </a:lnTo>
                <a:lnTo>
                  <a:pt x="486" y="324"/>
                </a:lnTo>
                <a:lnTo>
                  <a:pt x="486" y="324"/>
                </a:lnTo>
                <a:lnTo>
                  <a:pt x="482" y="322"/>
                </a:lnTo>
                <a:lnTo>
                  <a:pt x="480" y="318"/>
                </a:lnTo>
                <a:lnTo>
                  <a:pt x="476" y="310"/>
                </a:lnTo>
                <a:lnTo>
                  <a:pt x="476" y="310"/>
                </a:lnTo>
                <a:lnTo>
                  <a:pt x="460" y="292"/>
                </a:lnTo>
                <a:lnTo>
                  <a:pt x="460" y="292"/>
                </a:lnTo>
                <a:lnTo>
                  <a:pt x="456" y="286"/>
                </a:lnTo>
                <a:lnTo>
                  <a:pt x="452" y="282"/>
                </a:lnTo>
                <a:lnTo>
                  <a:pt x="448" y="282"/>
                </a:lnTo>
                <a:lnTo>
                  <a:pt x="448" y="282"/>
                </a:lnTo>
                <a:lnTo>
                  <a:pt x="446" y="280"/>
                </a:lnTo>
                <a:lnTo>
                  <a:pt x="444" y="278"/>
                </a:lnTo>
                <a:lnTo>
                  <a:pt x="444" y="274"/>
                </a:lnTo>
                <a:lnTo>
                  <a:pt x="444" y="274"/>
                </a:lnTo>
                <a:lnTo>
                  <a:pt x="442" y="272"/>
                </a:lnTo>
                <a:lnTo>
                  <a:pt x="440" y="270"/>
                </a:lnTo>
                <a:lnTo>
                  <a:pt x="436" y="268"/>
                </a:lnTo>
                <a:lnTo>
                  <a:pt x="434" y="266"/>
                </a:lnTo>
                <a:lnTo>
                  <a:pt x="434" y="266"/>
                </a:lnTo>
                <a:lnTo>
                  <a:pt x="432" y="264"/>
                </a:lnTo>
                <a:lnTo>
                  <a:pt x="428" y="264"/>
                </a:lnTo>
                <a:lnTo>
                  <a:pt x="422" y="266"/>
                </a:lnTo>
                <a:lnTo>
                  <a:pt x="422" y="266"/>
                </a:lnTo>
                <a:lnTo>
                  <a:pt x="420" y="266"/>
                </a:lnTo>
                <a:lnTo>
                  <a:pt x="422" y="268"/>
                </a:lnTo>
                <a:lnTo>
                  <a:pt x="422" y="272"/>
                </a:lnTo>
                <a:lnTo>
                  <a:pt x="422" y="274"/>
                </a:lnTo>
                <a:lnTo>
                  <a:pt x="422" y="274"/>
                </a:lnTo>
                <a:lnTo>
                  <a:pt x="420" y="276"/>
                </a:lnTo>
                <a:lnTo>
                  <a:pt x="418" y="278"/>
                </a:lnTo>
                <a:lnTo>
                  <a:pt x="410" y="280"/>
                </a:lnTo>
                <a:lnTo>
                  <a:pt x="410" y="280"/>
                </a:lnTo>
                <a:lnTo>
                  <a:pt x="406" y="284"/>
                </a:lnTo>
                <a:lnTo>
                  <a:pt x="406" y="284"/>
                </a:lnTo>
                <a:lnTo>
                  <a:pt x="406" y="282"/>
                </a:lnTo>
                <a:lnTo>
                  <a:pt x="406" y="278"/>
                </a:lnTo>
                <a:lnTo>
                  <a:pt x="406" y="278"/>
                </a:lnTo>
                <a:lnTo>
                  <a:pt x="402" y="274"/>
                </a:lnTo>
                <a:lnTo>
                  <a:pt x="398" y="270"/>
                </a:lnTo>
                <a:lnTo>
                  <a:pt x="392" y="266"/>
                </a:lnTo>
                <a:lnTo>
                  <a:pt x="390" y="264"/>
                </a:lnTo>
                <a:lnTo>
                  <a:pt x="390" y="264"/>
                </a:lnTo>
                <a:lnTo>
                  <a:pt x="386" y="254"/>
                </a:lnTo>
                <a:lnTo>
                  <a:pt x="386" y="254"/>
                </a:lnTo>
                <a:lnTo>
                  <a:pt x="384" y="246"/>
                </a:lnTo>
                <a:lnTo>
                  <a:pt x="384" y="246"/>
                </a:lnTo>
                <a:lnTo>
                  <a:pt x="384" y="246"/>
                </a:lnTo>
                <a:lnTo>
                  <a:pt x="378" y="250"/>
                </a:lnTo>
                <a:lnTo>
                  <a:pt x="378" y="250"/>
                </a:lnTo>
                <a:lnTo>
                  <a:pt x="378" y="250"/>
                </a:lnTo>
                <a:lnTo>
                  <a:pt x="374" y="250"/>
                </a:lnTo>
                <a:lnTo>
                  <a:pt x="370" y="246"/>
                </a:lnTo>
                <a:lnTo>
                  <a:pt x="370" y="246"/>
                </a:lnTo>
                <a:lnTo>
                  <a:pt x="368" y="246"/>
                </a:lnTo>
                <a:lnTo>
                  <a:pt x="364" y="248"/>
                </a:lnTo>
                <a:lnTo>
                  <a:pt x="358" y="250"/>
                </a:lnTo>
                <a:lnTo>
                  <a:pt x="354" y="34"/>
                </a:lnTo>
                <a:lnTo>
                  <a:pt x="354" y="34"/>
                </a:lnTo>
                <a:lnTo>
                  <a:pt x="354" y="34"/>
                </a:lnTo>
                <a:lnTo>
                  <a:pt x="352" y="32"/>
                </a:lnTo>
                <a:lnTo>
                  <a:pt x="352" y="32"/>
                </a:lnTo>
                <a:lnTo>
                  <a:pt x="344" y="28"/>
                </a:lnTo>
                <a:lnTo>
                  <a:pt x="342" y="26"/>
                </a:lnTo>
                <a:lnTo>
                  <a:pt x="342" y="26"/>
                </a:lnTo>
                <a:lnTo>
                  <a:pt x="338" y="28"/>
                </a:lnTo>
                <a:lnTo>
                  <a:pt x="334" y="28"/>
                </a:lnTo>
                <a:lnTo>
                  <a:pt x="332" y="28"/>
                </a:lnTo>
                <a:lnTo>
                  <a:pt x="332" y="28"/>
                </a:lnTo>
                <a:lnTo>
                  <a:pt x="330" y="26"/>
                </a:lnTo>
                <a:lnTo>
                  <a:pt x="330" y="26"/>
                </a:lnTo>
                <a:lnTo>
                  <a:pt x="326" y="26"/>
                </a:lnTo>
                <a:lnTo>
                  <a:pt x="326" y="26"/>
                </a:lnTo>
                <a:lnTo>
                  <a:pt x="324" y="30"/>
                </a:lnTo>
                <a:lnTo>
                  <a:pt x="324" y="30"/>
                </a:lnTo>
                <a:lnTo>
                  <a:pt x="324" y="30"/>
                </a:lnTo>
                <a:lnTo>
                  <a:pt x="324" y="30"/>
                </a:lnTo>
                <a:lnTo>
                  <a:pt x="322" y="32"/>
                </a:lnTo>
                <a:lnTo>
                  <a:pt x="322" y="32"/>
                </a:lnTo>
                <a:lnTo>
                  <a:pt x="320" y="30"/>
                </a:lnTo>
                <a:lnTo>
                  <a:pt x="318" y="28"/>
                </a:lnTo>
                <a:lnTo>
                  <a:pt x="318" y="28"/>
                </a:lnTo>
                <a:lnTo>
                  <a:pt x="316" y="30"/>
                </a:lnTo>
                <a:lnTo>
                  <a:pt x="314" y="30"/>
                </a:lnTo>
                <a:lnTo>
                  <a:pt x="314" y="30"/>
                </a:lnTo>
                <a:lnTo>
                  <a:pt x="314" y="28"/>
                </a:lnTo>
                <a:lnTo>
                  <a:pt x="314" y="28"/>
                </a:lnTo>
                <a:lnTo>
                  <a:pt x="296" y="26"/>
                </a:lnTo>
                <a:lnTo>
                  <a:pt x="296" y="24"/>
                </a:lnTo>
                <a:lnTo>
                  <a:pt x="296" y="24"/>
                </a:lnTo>
                <a:lnTo>
                  <a:pt x="290" y="24"/>
                </a:lnTo>
                <a:lnTo>
                  <a:pt x="286" y="24"/>
                </a:lnTo>
                <a:lnTo>
                  <a:pt x="286" y="24"/>
                </a:lnTo>
                <a:lnTo>
                  <a:pt x="276" y="24"/>
                </a:lnTo>
                <a:lnTo>
                  <a:pt x="266" y="24"/>
                </a:lnTo>
                <a:lnTo>
                  <a:pt x="264" y="22"/>
                </a:lnTo>
                <a:lnTo>
                  <a:pt x="264" y="22"/>
                </a:lnTo>
                <a:lnTo>
                  <a:pt x="262" y="22"/>
                </a:lnTo>
                <a:lnTo>
                  <a:pt x="258" y="22"/>
                </a:lnTo>
                <a:lnTo>
                  <a:pt x="258" y="22"/>
                </a:lnTo>
                <a:lnTo>
                  <a:pt x="252" y="16"/>
                </a:lnTo>
                <a:lnTo>
                  <a:pt x="252" y="16"/>
                </a:lnTo>
                <a:lnTo>
                  <a:pt x="250" y="18"/>
                </a:lnTo>
                <a:lnTo>
                  <a:pt x="248" y="18"/>
                </a:lnTo>
                <a:lnTo>
                  <a:pt x="246" y="16"/>
                </a:lnTo>
                <a:lnTo>
                  <a:pt x="246" y="16"/>
                </a:lnTo>
                <a:lnTo>
                  <a:pt x="242" y="18"/>
                </a:lnTo>
                <a:lnTo>
                  <a:pt x="238" y="20"/>
                </a:lnTo>
                <a:lnTo>
                  <a:pt x="238" y="20"/>
                </a:lnTo>
                <a:lnTo>
                  <a:pt x="232" y="20"/>
                </a:lnTo>
                <a:lnTo>
                  <a:pt x="232" y="20"/>
                </a:lnTo>
                <a:lnTo>
                  <a:pt x="230" y="22"/>
                </a:lnTo>
                <a:lnTo>
                  <a:pt x="230" y="22"/>
                </a:lnTo>
                <a:lnTo>
                  <a:pt x="218" y="16"/>
                </a:lnTo>
                <a:lnTo>
                  <a:pt x="218" y="16"/>
                </a:lnTo>
                <a:lnTo>
                  <a:pt x="212" y="16"/>
                </a:lnTo>
                <a:lnTo>
                  <a:pt x="210" y="14"/>
                </a:lnTo>
                <a:lnTo>
                  <a:pt x="210" y="14"/>
                </a:lnTo>
                <a:lnTo>
                  <a:pt x="206" y="16"/>
                </a:lnTo>
                <a:lnTo>
                  <a:pt x="202" y="14"/>
                </a:lnTo>
                <a:lnTo>
                  <a:pt x="202" y="12"/>
                </a:lnTo>
                <a:lnTo>
                  <a:pt x="202" y="12"/>
                </a:lnTo>
                <a:lnTo>
                  <a:pt x="204" y="12"/>
                </a:lnTo>
                <a:lnTo>
                  <a:pt x="204" y="12"/>
                </a:lnTo>
                <a:lnTo>
                  <a:pt x="202" y="10"/>
                </a:lnTo>
                <a:lnTo>
                  <a:pt x="202" y="10"/>
                </a:lnTo>
                <a:lnTo>
                  <a:pt x="196" y="10"/>
                </a:lnTo>
                <a:lnTo>
                  <a:pt x="196" y="10"/>
                </a:lnTo>
                <a:lnTo>
                  <a:pt x="186" y="12"/>
                </a:lnTo>
                <a:lnTo>
                  <a:pt x="182" y="12"/>
                </a:lnTo>
                <a:lnTo>
                  <a:pt x="178" y="12"/>
                </a:lnTo>
                <a:lnTo>
                  <a:pt x="178" y="12"/>
                </a:lnTo>
                <a:lnTo>
                  <a:pt x="176" y="12"/>
                </a:lnTo>
                <a:lnTo>
                  <a:pt x="176" y="10"/>
                </a:lnTo>
                <a:lnTo>
                  <a:pt x="174" y="6"/>
                </a:lnTo>
                <a:lnTo>
                  <a:pt x="174" y="6"/>
                </a:lnTo>
                <a:lnTo>
                  <a:pt x="170" y="8"/>
                </a:lnTo>
                <a:lnTo>
                  <a:pt x="170" y="8"/>
                </a:lnTo>
                <a:lnTo>
                  <a:pt x="166" y="8"/>
                </a:lnTo>
                <a:lnTo>
                  <a:pt x="166" y="8"/>
                </a:lnTo>
                <a:lnTo>
                  <a:pt x="160" y="12"/>
                </a:lnTo>
                <a:lnTo>
                  <a:pt x="160" y="12"/>
                </a:lnTo>
                <a:lnTo>
                  <a:pt x="162" y="4"/>
                </a:lnTo>
                <a:lnTo>
                  <a:pt x="162" y="4"/>
                </a:lnTo>
                <a:lnTo>
                  <a:pt x="154" y="2"/>
                </a:lnTo>
                <a:lnTo>
                  <a:pt x="148" y="0"/>
                </a:lnTo>
                <a:lnTo>
                  <a:pt x="144" y="0"/>
                </a:lnTo>
                <a:lnTo>
                  <a:pt x="144" y="2"/>
                </a:lnTo>
                <a:lnTo>
                  <a:pt x="144" y="2"/>
                </a:lnTo>
                <a:lnTo>
                  <a:pt x="136" y="8"/>
                </a:lnTo>
                <a:lnTo>
                  <a:pt x="128" y="12"/>
                </a:lnTo>
                <a:lnTo>
                  <a:pt x="128" y="12"/>
                </a:lnTo>
                <a:lnTo>
                  <a:pt x="122" y="12"/>
                </a:lnTo>
                <a:lnTo>
                  <a:pt x="118" y="12"/>
                </a:lnTo>
                <a:lnTo>
                  <a:pt x="118" y="12"/>
                </a:lnTo>
                <a:lnTo>
                  <a:pt x="114" y="14"/>
                </a:lnTo>
                <a:lnTo>
                  <a:pt x="114" y="14"/>
                </a:lnTo>
                <a:lnTo>
                  <a:pt x="112" y="10"/>
                </a:lnTo>
                <a:lnTo>
                  <a:pt x="112" y="10"/>
                </a:lnTo>
                <a:lnTo>
                  <a:pt x="110" y="16"/>
                </a:lnTo>
                <a:lnTo>
                  <a:pt x="108" y="16"/>
                </a:lnTo>
                <a:lnTo>
                  <a:pt x="108" y="16"/>
                </a:lnTo>
                <a:lnTo>
                  <a:pt x="106" y="16"/>
                </a:lnTo>
                <a:lnTo>
                  <a:pt x="104" y="14"/>
                </a:lnTo>
                <a:lnTo>
                  <a:pt x="104" y="14"/>
                </a:lnTo>
                <a:lnTo>
                  <a:pt x="104" y="18"/>
                </a:lnTo>
                <a:lnTo>
                  <a:pt x="104" y="18"/>
                </a:lnTo>
                <a:lnTo>
                  <a:pt x="100" y="20"/>
                </a:lnTo>
                <a:lnTo>
                  <a:pt x="100" y="20"/>
                </a:lnTo>
                <a:lnTo>
                  <a:pt x="94" y="20"/>
                </a:lnTo>
                <a:lnTo>
                  <a:pt x="90" y="20"/>
                </a:lnTo>
                <a:lnTo>
                  <a:pt x="90" y="20"/>
                </a:lnTo>
                <a:lnTo>
                  <a:pt x="86" y="22"/>
                </a:lnTo>
                <a:lnTo>
                  <a:pt x="84" y="24"/>
                </a:lnTo>
                <a:lnTo>
                  <a:pt x="84" y="24"/>
                </a:lnTo>
                <a:lnTo>
                  <a:pt x="80" y="24"/>
                </a:lnTo>
                <a:lnTo>
                  <a:pt x="80" y="24"/>
                </a:lnTo>
                <a:lnTo>
                  <a:pt x="78" y="28"/>
                </a:lnTo>
                <a:lnTo>
                  <a:pt x="76" y="34"/>
                </a:lnTo>
                <a:lnTo>
                  <a:pt x="76" y="34"/>
                </a:lnTo>
                <a:lnTo>
                  <a:pt x="72" y="34"/>
                </a:lnTo>
                <a:lnTo>
                  <a:pt x="70" y="36"/>
                </a:lnTo>
                <a:lnTo>
                  <a:pt x="70" y="36"/>
                </a:lnTo>
                <a:lnTo>
                  <a:pt x="68" y="40"/>
                </a:lnTo>
                <a:lnTo>
                  <a:pt x="68" y="44"/>
                </a:lnTo>
                <a:lnTo>
                  <a:pt x="68" y="44"/>
                </a:lnTo>
                <a:lnTo>
                  <a:pt x="64" y="48"/>
                </a:lnTo>
                <a:lnTo>
                  <a:pt x="64" y="48"/>
                </a:lnTo>
                <a:lnTo>
                  <a:pt x="62" y="60"/>
                </a:lnTo>
                <a:lnTo>
                  <a:pt x="62" y="60"/>
                </a:lnTo>
                <a:lnTo>
                  <a:pt x="54" y="62"/>
                </a:lnTo>
                <a:lnTo>
                  <a:pt x="46" y="64"/>
                </a:lnTo>
                <a:lnTo>
                  <a:pt x="46" y="64"/>
                </a:lnTo>
                <a:lnTo>
                  <a:pt x="44" y="64"/>
                </a:lnTo>
                <a:lnTo>
                  <a:pt x="40" y="64"/>
                </a:lnTo>
                <a:lnTo>
                  <a:pt x="38" y="66"/>
                </a:lnTo>
                <a:lnTo>
                  <a:pt x="38" y="66"/>
                </a:lnTo>
                <a:lnTo>
                  <a:pt x="30" y="66"/>
                </a:lnTo>
                <a:lnTo>
                  <a:pt x="22" y="64"/>
                </a:lnTo>
                <a:lnTo>
                  <a:pt x="22" y="64"/>
                </a:lnTo>
                <a:lnTo>
                  <a:pt x="24" y="76"/>
                </a:lnTo>
                <a:lnTo>
                  <a:pt x="24" y="76"/>
                </a:lnTo>
                <a:lnTo>
                  <a:pt x="22" y="78"/>
                </a:lnTo>
                <a:lnTo>
                  <a:pt x="22" y="80"/>
                </a:lnTo>
                <a:lnTo>
                  <a:pt x="22" y="80"/>
                </a:lnTo>
                <a:lnTo>
                  <a:pt x="20" y="80"/>
                </a:lnTo>
                <a:lnTo>
                  <a:pt x="18" y="80"/>
                </a:lnTo>
                <a:lnTo>
                  <a:pt x="18" y="80"/>
                </a:lnTo>
                <a:lnTo>
                  <a:pt x="26" y="82"/>
                </a:lnTo>
                <a:lnTo>
                  <a:pt x="26" y="82"/>
                </a:lnTo>
                <a:lnTo>
                  <a:pt x="28" y="84"/>
                </a:lnTo>
                <a:lnTo>
                  <a:pt x="32" y="88"/>
                </a:lnTo>
                <a:lnTo>
                  <a:pt x="32" y="88"/>
                </a:lnTo>
                <a:lnTo>
                  <a:pt x="34" y="88"/>
                </a:lnTo>
                <a:lnTo>
                  <a:pt x="38" y="88"/>
                </a:lnTo>
                <a:lnTo>
                  <a:pt x="38" y="88"/>
                </a:lnTo>
                <a:lnTo>
                  <a:pt x="48" y="98"/>
                </a:lnTo>
                <a:lnTo>
                  <a:pt x="48" y="98"/>
                </a:lnTo>
                <a:lnTo>
                  <a:pt x="54" y="98"/>
                </a:lnTo>
                <a:lnTo>
                  <a:pt x="54" y="98"/>
                </a:lnTo>
                <a:lnTo>
                  <a:pt x="56" y="98"/>
                </a:lnTo>
                <a:lnTo>
                  <a:pt x="56" y="100"/>
                </a:lnTo>
                <a:lnTo>
                  <a:pt x="54" y="100"/>
                </a:lnTo>
                <a:lnTo>
                  <a:pt x="54" y="100"/>
                </a:lnTo>
                <a:lnTo>
                  <a:pt x="56" y="106"/>
                </a:lnTo>
                <a:lnTo>
                  <a:pt x="56" y="106"/>
                </a:lnTo>
                <a:lnTo>
                  <a:pt x="58" y="108"/>
                </a:lnTo>
                <a:lnTo>
                  <a:pt x="62" y="108"/>
                </a:lnTo>
                <a:lnTo>
                  <a:pt x="62" y="106"/>
                </a:lnTo>
                <a:lnTo>
                  <a:pt x="62" y="106"/>
                </a:lnTo>
                <a:lnTo>
                  <a:pt x="66" y="104"/>
                </a:lnTo>
                <a:lnTo>
                  <a:pt x="70" y="104"/>
                </a:lnTo>
                <a:lnTo>
                  <a:pt x="70" y="106"/>
                </a:lnTo>
                <a:lnTo>
                  <a:pt x="70" y="106"/>
                </a:lnTo>
                <a:lnTo>
                  <a:pt x="72" y="108"/>
                </a:lnTo>
                <a:lnTo>
                  <a:pt x="72" y="108"/>
                </a:lnTo>
                <a:lnTo>
                  <a:pt x="76" y="108"/>
                </a:lnTo>
                <a:lnTo>
                  <a:pt x="82" y="106"/>
                </a:lnTo>
                <a:lnTo>
                  <a:pt x="82" y="106"/>
                </a:lnTo>
                <a:lnTo>
                  <a:pt x="82" y="108"/>
                </a:lnTo>
                <a:lnTo>
                  <a:pt x="82" y="110"/>
                </a:lnTo>
                <a:lnTo>
                  <a:pt x="80" y="110"/>
                </a:lnTo>
                <a:lnTo>
                  <a:pt x="80" y="110"/>
                </a:lnTo>
                <a:lnTo>
                  <a:pt x="78" y="112"/>
                </a:lnTo>
                <a:lnTo>
                  <a:pt x="78" y="114"/>
                </a:lnTo>
                <a:lnTo>
                  <a:pt x="78" y="114"/>
                </a:lnTo>
                <a:lnTo>
                  <a:pt x="82" y="114"/>
                </a:lnTo>
                <a:lnTo>
                  <a:pt x="82" y="114"/>
                </a:lnTo>
                <a:lnTo>
                  <a:pt x="84" y="116"/>
                </a:lnTo>
                <a:lnTo>
                  <a:pt x="84" y="116"/>
                </a:lnTo>
                <a:lnTo>
                  <a:pt x="90" y="116"/>
                </a:lnTo>
                <a:lnTo>
                  <a:pt x="96" y="116"/>
                </a:lnTo>
                <a:lnTo>
                  <a:pt x="96" y="116"/>
                </a:lnTo>
                <a:lnTo>
                  <a:pt x="96" y="118"/>
                </a:lnTo>
                <a:lnTo>
                  <a:pt x="96" y="122"/>
                </a:lnTo>
                <a:lnTo>
                  <a:pt x="96" y="122"/>
                </a:lnTo>
                <a:lnTo>
                  <a:pt x="84" y="122"/>
                </a:lnTo>
                <a:lnTo>
                  <a:pt x="78" y="122"/>
                </a:lnTo>
                <a:lnTo>
                  <a:pt x="78" y="124"/>
                </a:lnTo>
                <a:lnTo>
                  <a:pt x="82" y="126"/>
                </a:lnTo>
                <a:lnTo>
                  <a:pt x="82" y="126"/>
                </a:lnTo>
                <a:lnTo>
                  <a:pt x="82" y="124"/>
                </a:lnTo>
                <a:lnTo>
                  <a:pt x="84" y="124"/>
                </a:lnTo>
                <a:lnTo>
                  <a:pt x="84" y="124"/>
                </a:lnTo>
                <a:lnTo>
                  <a:pt x="86" y="126"/>
                </a:lnTo>
                <a:lnTo>
                  <a:pt x="88" y="126"/>
                </a:lnTo>
                <a:lnTo>
                  <a:pt x="88" y="132"/>
                </a:lnTo>
                <a:lnTo>
                  <a:pt x="88" y="132"/>
                </a:lnTo>
                <a:lnTo>
                  <a:pt x="82" y="130"/>
                </a:lnTo>
                <a:lnTo>
                  <a:pt x="78" y="134"/>
                </a:lnTo>
                <a:lnTo>
                  <a:pt x="78" y="132"/>
                </a:lnTo>
                <a:lnTo>
                  <a:pt x="78" y="132"/>
                </a:lnTo>
                <a:lnTo>
                  <a:pt x="68" y="132"/>
                </a:lnTo>
                <a:lnTo>
                  <a:pt x="58" y="132"/>
                </a:lnTo>
                <a:lnTo>
                  <a:pt x="58" y="132"/>
                </a:lnTo>
                <a:lnTo>
                  <a:pt x="56" y="128"/>
                </a:lnTo>
                <a:lnTo>
                  <a:pt x="56" y="128"/>
                </a:lnTo>
                <a:lnTo>
                  <a:pt x="50" y="128"/>
                </a:lnTo>
                <a:lnTo>
                  <a:pt x="50" y="128"/>
                </a:lnTo>
                <a:lnTo>
                  <a:pt x="50" y="126"/>
                </a:lnTo>
                <a:lnTo>
                  <a:pt x="52" y="126"/>
                </a:lnTo>
                <a:lnTo>
                  <a:pt x="52" y="126"/>
                </a:lnTo>
                <a:lnTo>
                  <a:pt x="52" y="120"/>
                </a:lnTo>
                <a:lnTo>
                  <a:pt x="52" y="116"/>
                </a:lnTo>
                <a:lnTo>
                  <a:pt x="52" y="116"/>
                </a:lnTo>
                <a:lnTo>
                  <a:pt x="50" y="114"/>
                </a:lnTo>
                <a:lnTo>
                  <a:pt x="50" y="114"/>
                </a:lnTo>
                <a:lnTo>
                  <a:pt x="44" y="114"/>
                </a:lnTo>
                <a:lnTo>
                  <a:pt x="44" y="114"/>
                </a:lnTo>
                <a:lnTo>
                  <a:pt x="42" y="116"/>
                </a:lnTo>
                <a:lnTo>
                  <a:pt x="42" y="116"/>
                </a:lnTo>
                <a:lnTo>
                  <a:pt x="34" y="120"/>
                </a:lnTo>
                <a:lnTo>
                  <a:pt x="26" y="124"/>
                </a:lnTo>
                <a:lnTo>
                  <a:pt x="26" y="124"/>
                </a:lnTo>
                <a:lnTo>
                  <a:pt x="26" y="130"/>
                </a:lnTo>
                <a:lnTo>
                  <a:pt x="26" y="130"/>
                </a:lnTo>
                <a:lnTo>
                  <a:pt x="26" y="130"/>
                </a:lnTo>
                <a:lnTo>
                  <a:pt x="24" y="130"/>
                </a:lnTo>
                <a:lnTo>
                  <a:pt x="24" y="130"/>
                </a:lnTo>
                <a:lnTo>
                  <a:pt x="14" y="130"/>
                </a:lnTo>
                <a:lnTo>
                  <a:pt x="6" y="132"/>
                </a:lnTo>
                <a:lnTo>
                  <a:pt x="6" y="132"/>
                </a:lnTo>
                <a:lnTo>
                  <a:pt x="0" y="138"/>
                </a:lnTo>
                <a:lnTo>
                  <a:pt x="0" y="142"/>
                </a:lnTo>
                <a:lnTo>
                  <a:pt x="0" y="142"/>
                </a:lnTo>
                <a:lnTo>
                  <a:pt x="8" y="142"/>
                </a:lnTo>
                <a:lnTo>
                  <a:pt x="14" y="144"/>
                </a:lnTo>
                <a:lnTo>
                  <a:pt x="14" y="144"/>
                </a:lnTo>
                <a:lnTo>
                  <a:pt x="20" y="144"/>
                </a:lnTo>
                <a:lnTo>
                  <a:pt x="20" y="146"/>
                </a:lnTo>
                <a:lnTo>
                  <a:pt x="20" y="146"/>
                </a:lnTo>
                <a:lnTo>
                  <a:pt x="12" y="148"/>
                </a:lnTo>
                <a:lnTo>
                  <a:pt x="12" y="148"/>
                </a:lnTo>
                <a:lnTo>
                  <a:pt x="12" y="150"/>
                </a:lnTo>
                <a:lnTo>
                  <a:pt x="12" y="150"/>
                </a:lnTo>
                <a:lnTo>
                  <a:pt x="12" y="150"/>
                </a:lnTo>
                <a:lnTo>
                  <a:pt x="18" y="156"/>
                </a:lnTo>
                <a:lnTo>
                  <a:pt x="18" y="156"/>
                </a:lnTo>
                <a:lnTo>
                  <a:pt x="18" y="158"/>
                </a:lnTo>
                <a:lnTo>
                  <a:pt x="20" y="162"/>
                </a:lnTo>
                <a:lnTo>
                  <a:pt x="34" y="166"/>
                </a:lnTo>
                <a:lnTo>
                  <a:pt x="34" y="166"/>
                </a:lnTo>
                <a:lnTo>
                  <a:pt x="38" y="164"/>
                </a:lnTo>
                <a:lnTo>
                  <a:pt x="40" y="162"/>
                </a:lnTo>
                <a:lnTo>
                  <a:pt x="40" y="162"/>
                </a:lnTo>
                <a:lnTo>
                  <a:pt x="50" y="160"/>
                </a:lnTo>
                <a:lnTo>
                  <a:pt x="60" y="162"/>
                </a:lnTo>
                <a:lnTo>
                  <a:pt x="60" y="162"/>
                </a:lnTo>
                <a:lnTo>
                  <a:pt x="60" y="160"/>
                </a:lnTo>
                <a:lnTo>
                  <a:pt x="62" y="158"/>
                </a:lnTo>
                <a:lnTo>
                  <a:pt x="62" y="158"/>
                </a:lnTo>
                <a:lnTo>
                  <a:pt x="66" y="164"/>
                </a:lnTo>
                <a:lnTo>
                  <a:pt x="66" y="164"/>
                </a:lnTo>
                <a:lnTo>
                  <a:pt x="66" y="166"/>
                </a:lnTo>
                <a:lnTo>
                  <a:pt x="66" y="166"/>
                </a:lnTo>
                <a:lnTo>
                  <a:pt x="70" y="168"/>
                </a:lnTo>
                <a:lnTo>
                  <a:pt x="70" y="168"/>
                </a:lnTo>
                <a:lnTo>
                  <a:pt x="74" y="162"/>
                </a:lnTo>
                <a:lnTo>
                  <a:pt x="74" y="162"/>
                </a:lnTo>
                <a:lnTo>
                  <a:pt x="86" y="160"/>
                </a:lnTo>
                <a:lnTo>
                  <a:pt x="96" y="160"/>
                </a:lnTo>
                <a:lnTo>
                  <a:pt x="96" y="160"/>
                </a:lnTo>
                <a:lnTo>
                  <a:pt x="96" y="164"/>
                </a:lnTo>
                <a:lnTo>
                  <a:pt x="96" y="164"/>
                </a:lnTo>
                <a:lnTo>
                  <a:pt x="92" y="168"/>
                </a:lnTo>
                <a:lnTo>
                  <a:pt x="92" y="168"/>
                </a:lnTo>
                <a:lnTo>
                  <a:pt x="92" y="172"/>
                </a:lnTo>
                <a:lnTo>
                  <a:pt x="94" y="178"/>
                </a:lnTo>
                <a:lnTo>
                  <a:pt x="94" y="178"/>
                </a:lnTo>
                <a:lnTo>
                  <a:pt x="94" y="186"/>
                </a:lnTo>
                <a:lnTo>
                  <a:pt x="94" y="186"/>
                </a:lnTo>
                <a:lnTo>
                  <a:pt x="88" y="190"/>
                </a:lnTo>
                <a:lnTo>
                  <a:pt x="82" y="192"/>
                </a:lnTo>
                <a:lnTo>
                  <a:pt x="82" y="192"/>
                </a:lnTo>
                <a:lnTo>
                  <a:pt x="80" y="190"/>
                </a:lnTo>
                <a:lnTo>
                  <a:pt x="76" y="190"/>
                </a:lnTo>
                <a:lnTo>
                  <a:pt x="76" y="190"/>
                </a:lnTo>
                <a:lnTo>
                  <a:pt x="76" y="194"/>
                </a:lnTo>
                <a:lnTo>
                  <a:pt x="76" y="194"/>
                </a:lnTo>
                <a:lnTo>
                  <a:pt x="70" y="198"/>
                </a:lnTo>
                <a:lnTo>
                  <a:pt x="64" y="198"/>
                </a:lnTo>
                <a:lnTo>
                  <a:pt x="60" y="198"/>
                </a:lnTo>
                <a:lnTo>
                  <a:pt x="60" y="198"/>
                </a:lnTo>
                <a:lnTo>
                  <a:pt x="56" y="194"/>
                </a:lnTo>
                <a:lnTo>
                  <a:pt x="54" y="192"/>
                </a:lnTo>
                <a:lnTo>
                  <a:pt x="50" y="192"/>
                </a:lnTo>
                <a:lnTo>
                  <a:pt x="50" y="192"/>
                </a:lnTo>
                <a:lnTo>
                  <a:pt x="44" y="196"/>
                </a:lnTo>
                <a:lnTo>
                  <a:pt x="44" y="196"/>
                </a:lnTo>
                <a:lnTo>
                  <a:pt x="44" y="198"/>
                </a:lnTo>
                <a:lnTo>
                  <a:pt x="44" y="198"/>
                </a:lnTo>
                <a:lnTo>
                  <a:pt x="44" y="198"/>
                </a:lnTo>
                <a:lnTo>
                  <a:pt x="44" y="198"/>
                </a:lnTo>
                <a:lnTo>
                  <a:pt x="44" y="200"/>
                </a:lnTo>
                <a:lnTo>
                  <a:pt x="46" y="200"/>
                </a:lnTo>
                <a:lnTo>
                  <a:pt x="46" y="200"/>
                </a:lnTo>
                <a:lnTo>
                  <a:pt x="48" y="204"/>
                </a:lnTo>
                <a:lnTo>
                  <a:pt x="48" y="210"/>
                </a:lnTo>
                <a:lnTo>
                  <a:pt x="48" y="210"/>
                </a:lnTo>
                <a:lnTo>
                  <a:pt x="48" y="210"/>
                </a:lnTo>
                <a:lnTo>
                  <a:pt x="48" y="208"/>
                </a:lnTo>
                <a:lnTo>
                  <a:pt x="48" y="208"/>
                </a:lnTo>
                <a:lnTo>
                  <a:pt x="42" y="206"/>
                </a:lnTo>
                <a:lnTo>
                  <a:pt x="40" y="214"/>
                </a:lnTo>
                <a:lnTo>
                  <a:pt x="40" y="214"/>
                </a:lnTo>
                <a:lnTo>
                  <a:pt x="38" y="214"/>
                </a:lnTo>
                <a:lnTo>
                  <a:pt x="38" y="214"/>
                </a:lnTo>
                <a:lnTo>
                  <a:pt x="30" y="220"/>
                </a:lnTo>
                <a:lnTo>
                  <a:pt x="30" y="220"/>
                </a:lnTo>
                <a:lnTo>
                  <a:pt x="30" y="224"/>
                </a:lnTo>
                <a:lnTo>
                  <a:pt x="30" y="226"/>
                </a:lnTo>
                <a:lnTo>
                  <a:pt x="30" y="226"/>
                </a:lnTo>
                <a:lnTo>
                  <a:pt x="26" y="228"/>
                </a:lnTo>
                <a:lnTo>
                  <a:pt x="26" y="228"/>
                </a:lnTo>
                <a:lnTo>
                  <a:pt x="24" y="232"/>
                </a:lnTo>
                <a:lnTo>
                  <a:pt x="24" y="232"/>
                </a:lnTo>
                <a:lnTo>
                  <a:pt x="28" y="232"/>
                </a:lnTo>
                <a:lnTo>
                  <a:pt x="28" y="232"/>
                </a:lnTo>
                <a:lnTo>
                  <a:pt x="28" y="236"/>
                </a:lnTo>
                <a:lnTo>
                  <a:pt x="28" y="236"/>
                </a:lnTo>
                <a:lnTo>
                  <a:pt x="34" y="236"/>
                </a:lnTo>
                <a:lnTo>
                  <a:pt x="34" y="236"/>
                </a:lnTo>
                <a:lnTo>
                  <a:pt x="34" y="240"/>
                </a:lnTo>
                <a:lnTo>
                  <a:pt x="34" y="240"/>
                </a:lnTo>
                <a:lnTo>
                  <a:pt x="36" y="240"/>
                </a:lnTo>
                <a:lnTo>
                  <a:pt x="36" y="242"/>
                </a:lnTo>
                <a:lnTo>
                  <a:pt x="36" y="242"/>
                </a:lnTo>
                <a:lnTo>
                  <a:pt x="44" y="242"/>
                </a:lnTo>
                <a:lnTo>
                  <a:pt x="50" y="244"/>
                </a:lnTo>
                <a:lnTo>
                  <a:pt x="50" y="244"/>
                </a:lnTo>
                <a:lnTo>
                  <a:pt x="50" y="242"/>
                </a:lnTo>
                <a:lnTo>
                  <a:pt x="50" y="242"/>
                </a:lnTo>
                <a:lnTo>
                  <a:pt x="56" y="242"/>
                </a:lnTo>
                <a:lnTo>
                  <a:pt x="56" y="244"/>
                </a:lnTo>
                <a:lnTo>
                  <a:pt x="56" y="244"/>
                </a:lnTo>
                <a:lnTo>
                  <a:pt x="52" y="246"/>
                </a:lnTo>
                <a:lnTo>
                  <a:pt x="52" y="246"/>
                </a:lnTo>
                <a:lnTo>
                  <a:pt x="50" y="250"/>
                </a:lnTo>
                <a:lnTo>
                  <a:pt x="50" y="250"/>
                </a:lnTo>
                <a:lnTo>
                  <a:pt x="48" y="252"/>
                </a:lnTo>
                <a:lnTo>
                  <a:pt x="48" y="252"/>
                </a:lnTo>
                <a:lnTo>
                  <a:pt x="48" y="256"/>
                </a:lnTo>
                <a:lnTo>
                  <a:pt x="48" y="256"/>
                </a:lnTo>
                <a:lnTo>
                  <a:pt x="46" y="260"/>
                </a:lnTo>
                <a:lnTo>
                  <a:pt x="46" y="260"/>
                </a:lnTo>
                <a:lnTo>
                  <a:pt x="48" y="260"/>
                </a:lnTo>
                <a:lnTo>
                  <a:pt x="48" y="262"/>
                </a:lnTo>
                <a:lnTo>
                  <a:pt x="48" y="262"/>
                </a:lnTo>
                <a:lnTo>
                  <a:pt x="52" y="262"/>
                </a:lnTo>
                <a:lnTo>
                  <a:pt x="52" y="262"/>
                </a:lnTo>
                <a:lnTo>
                  <a:pt x="52" y="266"/>
                </a:lnTo>
                <a:lnTo>
                  <a:pt x="52" y="266"/>
                </a:lnTo>
                <a:lnTo>
                  <a:pt x="56" y="270"/>
                </a:lnTo>
                <a:lnTo>
                  <a:pt x="56" y="270"/>
                </a:lnTo>
                <a:lnTo>
                  <a:pt x="64" y="268"/>
                </a:lnTo>
                <a:lnTo>
                  <a:pt x="68" y="266"/>
                </a:lnTo>
                <a:lnTo>
                  <a:pt x="70" y="264"/>
                </a:lnTo>
                <a:lnTo>
                  <a:pt x="70" y="264"/>
                </a:lnTo>
                <a:lnTo>
                  <a:pt x="70" y="260"/>
                </a:lnTo>
                <a:lnTo>
                  <a:pt x="70" y="258"/>
                </a:lnTo>
                <a:lnTo>
                  <a:pt x="72" y="254"/>
                </a:lnTo>
                <a:lnTo>
                  <a:pt x="74" y="254"/>
                </a:lnTo>
                <a:lnTo>
                  <a:pt x="74" y="254"/>
                </a:lnTo>
                <a:lnTo>
                  <a:pt x="76" y="258"/>
                </a:lnTo>
                <a:lnTo>
                  <a:pt x="76" y="260"/>
                </a:lnTo>
                <a:lnTo>
                  <a:pt x="74" y="260"/>
                </a:lnTo>
                <a:lnTo>
                  <a:pt x="74" y="260"/>
                </a:lnTo>
                <a:lnTo>
                  <a:pt x="74" y="266"/>
                </a:lnTo>
                <a:lnTo>
                  <a:pt x="74" y="266"/>
                </a:lnTo>
                <a:lnTo>
                  <a:pt x="78" y="268"/>
                </a:lnTo>
                <a:lnTo>
                  <a:pt x="78" y="268"/>
                </a:lnTo>
                <a:lnTo>
                  <a:pt x="80" y="274"/>
                </a:lnTo>
                <a:lnTo>
                  <a:pt x="80" y="278"/>
                </a:lnTo>
                <a:lnTo>
                  <a:pt x="80" y="278"/>
                </a:lnTo>
                <a:lnTo>
                  <a:pt x="78" y="280"/>
                </a:lnTo>
                <a:lnTo>
                  <a:pt x="78" y="284"/>
                </a:lnTo>
                <a:lnTo>
                  <a:pt x="78" y="284"/>
                </a:lnTo>
                <a:lnTo>
                  <a:pt x="84" y="284"/>
                </a:lnTo>
                <a:lnTo>
                  <a:pt x="84" y="284"/>
                </a:lnTo>
                <a:lnTo>
                  <a:pt x="82" y="286"/>
                </a:lnTo>
                <a:lnTo>
                  <a:pt x="82" y="286"/>
                </a:lnTo>
                <a:lnTo>
                  <a:pt x="80" y="290"/>
                </a:lnTo>
                <a:lnTo>
                  <a:pt x="80" y="290"/>
                </a:lnTo>
                <a:lnTo>
                  <a:pt x="82" y="290"/>
                </a:lnTo>
                <a:lnTo>
                  <a:pt x="82" y="290"/>
                </a:lnTo>
                <a:lnTo>
                  <a:pt x="82" y="292"/>
                </a:lnTo>
                <a:lnTo>
                  <a:pt x="82" y="292"/>
                </a:lnTo>
                <a:lnTo>
                  <a:pt x="82" y="292"/>
                </a:lnTo>
                <a:lnTo>
                  <a:pt x="82" y="292"/>
                </a:lnTo>
                <a:lnTo>
                  <a:pt x="82" y="296"/>
                </a:lnTo>
                <a:lnTo>
                  <a:pt x="82" y="296"/>
                </a:lnTo>
                <a:lnTo>
                  <a:pt x="86" y="294"/>
                </a:lnTo>
                <a:lnTo>
                  <a:pt x="88" y="292"/>
                </a:lnTo>
                <a:lnTo>
                  <a:pt x="92" y="288"/>
                </a:lnTo>
                <a:lnTo>
                  <a:pt x="92" y="288"/>
                </a:lnTo>
                <a:lnTo>
                  <a:pt x="102" y="282"/>
                </a:lnTo>
                <a:lnTo>
                  <a:pt x="104" y="282"/>
                </a:lnTo>
                <a:lnTo>
                  <a:pt x="104" y="282"/>
                </a:lnTo>
                <a:lnTo>
                  <a:pt x="106" y="284"/>
                </a:lnTo>
                <a:lnTo>
                  <a:pt x="108" y="288"/>
                </a:lnTo>
                <a:lnTo>
                  <a:pt x="108" y="288"/>
                </a:lnTo>
                <a:lnTo>
                  <a:pt x="108" y="288"/>
                </a:lnTo>
                <a:lnTo>
                  <a:pt x="114" y="286"/>
                </a:lnTo>
                <a:lnTo>
                  <a:pt x="114" y="286"/>
                </a:lnTo>
                <a:lnTo>
                  <a:pt x="116" y="290"/>
                </a:lnTo>
                <a:lnTo>
                  <a:pt x="118" y="294"/>
                </a:lnTo>
                <a:lnTo>
                  <a:pt x="118" y="294"/>
                </a:lnTo>
                <a:lnTo>
                  <a:pt x="120" y="296"/>
                </a:lnTo>
                <a:lnTo>
                  <a:pt x="120" y="296"/>
                </a:lnTo>
                <a:lnTo>
                  <a:pt x="122" y="298"/>
                </a:lnTo>
                <a:lnTo>
                  <a:pt x="122" y="298"/>
                </a:lnTo>
                <a:lnTo>
                  <a:pt x="124" y="296"/>
                </a:lnTo>
                <a:lnTo>
                  <a:pt x="124" y="296"/>
                </a:lnTo>
                <a:lnTo>
                  <a:pt x="122" y="294"/>
                </a:lnTo>
                <a:lnTo>
                  <a:pt x="124" y="292"/>
                </a:lnTo>
                <a:lnTo>
                  <a:pt x="124" y="292"/>
                </a:lnTo>
                <a:lnTo>
                  <a:pt x="128" y="292"/>
                </a:lnTo>
                <a:lnTo>
                  <a:pt x="128" y="292"/>
                </a:lnTo>
                <a:lnTo>
                  <a:pt x="130" y="288"/>
                </a:lnTo>
                <a:lnTo>
                  <a:pt x="130" y="288"/>
                </a:lnTo>
                <a:lnTo>
                  <a:pt x="132" y="294"/>
                </a:lnTo>
                <a:lnTo>
                  <a:pt x="132" y="294"/>
                </a:lnTo>
                <a:lnTo>
                  <a:pt x="138" y="292"/>
                </a:lnTo>
                <a:lnTo>
                  <a:pt x="144" y="290"/>
                </a:lnTo>
                <a:lnTo>
                  <a:pt x="144" y="290"/>
                </a:lnTo>
                <a:lnTo>
                  <a:pt x="146" y="286"/>
                </a:lnTo>
                <a:lnTo>
                  <a:pt x="146" y="286"/>
                </a:lnTo>
                <a:lnTo>
                  <a:pt x="150" y="286"/>
                </a:lnTo>
                <a:lnTo>
                  <a:pt x="150" y="286"/>
                </a:lnTo>
                <a:lnTo>
                  <a:pt x="148" y="292"/>
                </a:lnTo>
                <a:lnTo>
                  <a:pt x="146" y="296"/>
                </a:lnTo>
                <a:lnTo>
                  <a:pt x="146" y="296"/>
                </a:lnTo>
                <a:lnTo>
                  <a:pt x="144" y="298"/>
                </a:lnTo>
                <a:lnTo>
                  <a:pt x="140" y="302"/>
                </a:lnTo>
                <a:lnTo>
                  <a:pt x="140" y="302"/>
                </a:lnTo>
                <a:lnTo>
                  <a:pt x="140" y="304"/>
                </a:lnTo>
                <a:lnTo>
                  <a:pt x="140" y="308"/>
                </a:lnTo>
                <a:lnTo>
                  <a:pt x="136" y="308"/>
                </a:lnTo>
                <a:lnTo>
                  <a:pt x="136" y="308"/>
                </a:lnTo>
                <a:lnTo>
                  <a:pt x="136" y="320"/>
                </a:lnTo>
                <a:lnTo>
                  <a:pt x="136" y="320"/>
                </a:lnTo>
                <a:lnTo>
                  <a:pt x="134" y="320"/>
                </a:lnTo>
                <a:lnTo>
                  <a:pt x="134" y="320"/>
                </a:lnTo>
                <a:lnTo>
                  <a:pt x="132" y="324"/>
                </a:lnTo>
                <a:lnTo>
                  <a:pt x="132" y="326"/>
                </a:lnTo>
                <a:lnTo>
                  <a:pt x="132" y="326"/>
                </a:lnTo>
                <a:lnTo>
                  <a:pt x="128" y="330"/>
                </a:lnTo>
                <a:lnTo>
                  <a:pt x="126" y="332"/>
                </a:lnTo>
                <a:lnTo>
                  <a:pt x="126" y="332"/>
                </a:lnTo>
                <a:lnTo>
                  <a:pt x="126" y="336"/>
                </a:lnTo>
                <a:lnTo>
                  <a:pt x="126" y="336"/>
                </a:lnTo>
                <a:lnTo>
                  <a:pt x="122" y="336"/>
                </a:lnTo>
                <a:lnTo>
                  <a:pt x="122" y="336"/>
                </a:lnTo>
                <a:lnTo>
                  <a:pt x="120" y="338"/>
                </a:lnTo>
                <a:lnTo>
                  <a:pt x="116" y="342"/>
                </a:lnTo>
                <a:lnTo>
                  <a:pt x="116" y="342"/>
                </a:lnTo>
                <a:lnTo>
                  <a:pt x="114" y="342"/>
                </a:lnTo>
                <a:lnTo>
                  <a:pt x="114" y="342"/>
                </a:lnTo>
                <a:lnTo>
                  <a:pt x="108" y="344"/>
                </a:lnTo>
                <a:lnTo>
                  <a:pt x="104" y="346"/>
                </a:lnTo>
                <a:lnTo>
                  <a:pt x="102" y="350"/>
                </a:lnTo>
                <a:lnTo>
                  <a:pt x="102" y="356"/>
                </a:lnTo>
                <a:lnTo>
                  <a:pt x="102" y="356"/>
                </a:lnTo>
                <a:lnTo>
                  <a:pt x="94" y="358"/>
                </a:lnTo>
                <a:lnTo>
                  <a:pt x="94" y="358"/>
                </a:lnTo>
                <a:lnTo>
                  <a:pt x="96" y="354"/>
                </a:lnTo>
                <a:lnTo>
                  <a:pt x="96" y="354"/>
                </a:lnTo>
                <a:lnTo>
                  <a:pt x="86" y="356"/>
                </a:lnTo>
                <a:lnTo>
                  <a:pt x="78" y="358"/>
                </a:lnTo>
                <a:lnTo>
                  <a:pt x="78" y="358"/>
                </a:lnTo>
                <a:lnTo>
                  <a:pt x="78" y="360"/>
                </a:lnTo>
                <a:lnTo>
                  <a:pt x="78" y="364"/>
                </a:lnTo>
                <a:lnTo>
                  <a:pt x="78" y="364"/>
                </a:lnTo>
                <a:lnTo>
                  <a:pt x="74" y="366"/>
                </a:lnTo>
                <a:lnTo>
                  <a:pt x="74" y="366"/>
                </a:lnTo>
                <a:lnTo>
                  <a:pt x="72" y="370"/>
                </a:lnTo>
                <a:lnTo>
                  <a:pt x="72" y="370"/>
                </a:lnTo>
                <a:lnTo>
                  <a:pt x="68" y="374"/>
                </a:lnTo>
                <a:lnTo>
                  <a:pt x="64" y="376"/>
                </a:lnTo>
                <a:lnTo>
                  <a:pt x="64" y="376"/>
                </a:lnTo>
                <a:lnTo>
                  <a:pt x="64" y="378"/>
                </a:lnTo>
                <a:lnTo>
                  <a:pt x="64" y="378"/>
                </a:lnTo>
                <a:lnTo>
                  <a:pt x="66" y="376"/>
                </a:lnTo>
                <a:lnTo>
                  <a:pt x="66" y="376"/>
                </a:lnTo>
                <a:lnTo>
                  <a:pt x="66" y="378"/>
                </a:lnTo>
                <a:lnTo>
                  <a:pt x="70" y="378"/>
                </a:lnTo>
                <a:lnTo>
                  <a:pt x="70" y="374"/>
                </a:lnTo>
                <a:lnTo>
                  <a:pt x="72" y="374"/>
                </a:lnTo>
                <a:lnTo>
                  <a:pt x="72" y="374"/>
                </a:lnTo>
                <a:lnTo>
                  <a:pt x="74" y="376"/>
                </a:lnTo>
                <a:lnTo>
                  <a:pt x="76" y="378"/>
                </a:lnTo>
                <a:lnTo>
                  <a:pt x="76" y="378"/>
                </a:lnTo>
                <a:lnTo>
                  <a:pt x="84" y="362"/>
                </a:lnTo>
                <a:lnTo>
                  <a:pt x="84" y="362"/>
                </a:lnTo>
                <a:lnTo>
                  <a:pt x="90" y="362"/>
                </a:lnTo>
                <a:lnTo>
                  <a:pt x="90" y="362"/>
                </a:lnTo>
                <a:lnTo>
                  <a:pt x="90" y="362"/>
                </a:lnTo>
                <a:lnTo>
                  <a:pt x="88" y="364"/>
                </a:lnTo>
                <a:lnTo>
                  <a:pt x="86" y="366"/>
                </a:lnTo>
                <a:lnTo>
                  <a:pt x="86" y="366"/>
                </a:lnTo>
                <a:lnTo>
                  <a:pt x="94" y="366"/>
                </a:lnTo>
                <a:lnTo>
                  <a:pt x="94" y="364"/>
                </a:lnTo>
                <a:lnTo>
                  <a:pt x="94" y="364"/>
                </a:lnTo>
                <a:lnTo>
                  <a:pt x="102" y="362"/>
                </a:lnTo>
                <a:lnTo>
                  <a:pt x="106" y="358"/>
                </a:lnTo>
                <a:lnTo>
                  <a:pt x="106" y="358"/>
                </a:lnTo>
                <a:lnTo>
                  <a:pt x="110" y="358"/>
                </a:lnTo>
                <a:lnTo>
                  <a:pt x="110" y="358"/>
                </a:lnTo>
                <a:lnTo>
                  <a:pt x="110" y="362"/>
                </a:lnTo>
                <a:lnTo>
                  <a:pt x="110" y="362"/>
                </a:lnTo>
                <a:lnTo>
                  <a:pt x="112" y="360"/>
                </a:lnTo>
                <a:lnTo>
                  <a:pt x="112" y="356"/>
                </a:lnTo>
                <a:lnTo>
                  <a:pt x="112" y="356"/>
                </a:lnTo>
                <a:lnTo>
                  <a:pt x="114" y="358"/>
                </a:lnTo>
                <a:lnTo>
                  <a:pt x="116" y="358"/>
                </a:lnTo>
                <a:lnTo>
                  <a:pt x="116" y="358"/>
                </a:lnTo>
                <a:lnTo>
                  <a:pt x="118" y="354"/>
                </a:lnTo>
                <a:lnTo>
                  <a:pt x="118" y="350"/>
                </a:lnTo>
                <a:lnTo>
                  <a:pt x="118" y="350"/>
                </a:lnTo>
                <a:lnTo>
                  <a:pt x="122" y="354"/>
                </a:lnTo>
                <a:lnTo>
                  <a:pt x="124" y="348"/>
                </a:lnTo>
                <a:lnTo>
                  <a:pt x="124" y="348"/>
                </a:lnTo>
                <a:lnTo>
                  <a:pt x="122" y="348"/>
                </a:lnTo>
                <a:lnTo>
                  <a:pt x="122" y="346"/>
                </a:lnTo>
                <a:lnTo>
                  <a:pt x="122" y="346"/>
                </a:lnTo>
                <a:lnTo>
                  <a:pt x="124" y="346"/>
                </a:lnTo>
                <a:lnTo>
                  <a:pt x="124" y="346"/>
                </a:lnTo>
                <a:lnTo>
                  <a:pt x="124" y="346"/>
                </a:lnTo>
                <a:lnTo>
                  <a:pt x="124" y="346"/>
                </a:lnTo>
                <a:lnTo>
                  <a:pt x="132" y="342"/>
                </a:lnTo>
                <a:lnTo>
                  <a:pt x="132" y="342"/>
                </a:lnTo>
                <a:lnTo>
                  <a:pt x="130" y="342"/>
                </a:lnTo>
                <a:lnTo>
                  <a:pt x="130" y="340"/>
                </a:lnTo>
                <a:lnTo>
                  <a:pt x="130" y="340"/>
                </a:lnTo>
                <a:lnTo>
                  <a:pt x="134" y="340"/>
                </a:lnTo>
                <a:lnTo>
                  <a:pt x="136" y="340"/>
                </a:lnTo>
                <a:lnTo>
                  <a:pt x="136" y="340"/>
                </a:lnTo>
                <a:lnTo>
                  <a:pt x="138" y="334"/>
                </a:lnTo>
                <a:lnTo>
                  <a:pt x="138" y="334"/>
                </a:lnTo>
                <a:lnTo>
                  <a:pt x="142" y="336"/>
                </a:lnTo>
                <a:lnTo>
                  <a:pt x="142" y="336"/>
                </a:lnTo>
                <a:lnTo>
                  <a:pt x="148" y="330"/>
                </a:lnTo>
                <a:lnTo>
                  <a:pt x="148" y="330"/>
                </a:lnTo>
                <a:lnTo>
                  <a:pt x="148" y="324"/>
                </a:lnTo>
                <a:lnTo>
                  <a:pt x="148" y="324"/>
                </a:lnTo>
                <a:lnTo>
                  <a:pt x="154" y="322"/>
                </a:lnTo>
                <a:lnTo>
                  <a:pt x="154" y="320"/>
                </a:lnTo>
                <a:lnTo>
                  <a:pt x="154" y="320"/>
                </a:lnTo>
                <a:lnTo>
                  <a:pt x="156" y="320"/>
                </a:lnTo>
                <a:lnTo>
                  <a:pt x="156" y="320"/>
                </a:lnTo>
                <a:lnTo>
                  <a:pt x="160" y="316"/>
                </a:lnTo>
                <a:lnTo>
                  <a:pt x="164" y="312"/>
                </a:lnTo>
                <a:lnTo>
                  <a:pt x="164" y="312"/>
                </a:lnTo>
                <a:lnTo>
                  <a:pt x="168" y="310"/>
                </a:lnTo>
                <a:lnTo>
                  <a:pt x="168" y="310"/>
                </a:lnTo>
                <a:lnTo>
                  <a:pt x="168" y="308"/>
                </a:lnTo>
                <a:lnTo>
                  <a:pt x="172" y="304"/>
                </a:lnTo>
                <a:lnTo>
                  <a:pt x="172" y="304"/>
                </a:lnTo>
                <a:lnTo>
                  <a:pt x="180" y="302"/>
                </a:lnTo>
                <a:lnTo>
                  <a:pt x="180" y="302"/>
                </a:lnTo>
                <a:lnTo>
                  <a:pt x="182" y="300"/>
                </a:lnTo>
                <a:lnTo>
                  <a:pt x="182" y="300"/>
                </a:lnTo>
                <a:lnTo>
                  <a:pt x="182" y="296"/>
                </a:lnTo>
                <a:lnTo>
                  <a:pt x="182" y="296"/>
                </a:lnTo>
                <a:lnTo>
                  <a:pt x="184" y="294"/>
                </a:lnTo>
                <a:lnTo>
                  <a:pt x="186" y="292"/>
                </a:lnTo>
                <a:lnTo>
                  <a:pt x="186" y="290"/>
                </a:lnTo>
                <a:lnTo>
                  <a:pt x="186" y="290"/>
                </a:lnTo>
                <a:lnTo>
                  <a:pt x="190" y="288"/>
                </a:lnTo>
                <a:lnTo>
                  <a:pt x="190" y="288"/>
                </a:lnTo>
                <a:lnTo>
                  <a:pt x="190" y="284"/>
                </a:lnTo>
                <a:lnTo>
                  <a:pt x="190" y="284"/>
                </a:lnTo>
                <a:lnTo>
                  <a:pt x="182" y="284"/>
                </a:lnTo>
                <a:lnTo>
                  <a:pt x="182" y="284"/>
                </a:lnTo>
                <a:lnTo>
                  <a:pt x="182" y="280"/>
                </a:lnTo>
                <a:lnTo>
                  <a:pt x="182" y="276"/>
                </a:lnTo>
                <a:lnTo>
                  <a:pt x="182" y="276"/>
                </a:lnTo>
                <a:lnTo>
                  <a:pt x="186" y="272"/>
                </a:lnTo>
                <a:lnTo>
                  <a:pt x="186" y="272"/>
                </a:lnTo>
                <a:lnTo>
                  <a:pt x="186" y="268"/>
                </a:lnTo>
                <a:lnTo>
                  <a:pt x="186" y="268"/>
                </a:lnTo>
                <a:lnTo>
                  <a:pt x="194" y="268"/>
                </a:lnTo>
                <a:lnTo>
                  <a:pt x="194" y="268"/>
                </a:lnTo>
                <a:lnTo>
                  <a:pt x="196" y="264"/>
                </a:lnTo>
                <a:lnTo>
                  <a:pt x="196" y="264"/>
                </a:lnTo>
                <a:lnTo>
                  <a:pt x="200" y="262"/>
                </a:lnTo>
                <a:lnTo>
                  <a:pt x="200" y="262"/>
                </a:lnTo>
                <a:lnTo>
                  <a:pt x="198" y="258"/>
                </a:lnTo>
                <a:lnTo>
                  <a:pt x="198" y="258"/>
                </a:lnTo>
                <a:lnTo>
                  <a:pt x="202" y="260"/>
                </a:lnTo>
                <a:lnTo>
                  <a:pt x="202" y="260"/>
                </a:lnTo>
                <a:lnTo>
                  <a:pt x="204" y="258"/>
                </a:lnTo>
                <a:lnTo>
                  <a:pt x="206" y="258"/>
                </a:lnTo>
                <a:lnTo>
                  <a:pt x="206" y="258"/>
                </a:lnTo>
                <a:lnTo>
                  <a:pt x="208" y="252"/>
                </a:lnTo>
                <a:lnTo>
                  <a:pt x="208" y="248"/>
                </a:lnTo>
                <a:lnTo>
                  <a:pt x="212" y="246"/>
                </a:lnTo>
                <a:lnTo>
                  <a:pt x="212" y="246"/>
                </a:lnTo>
                <a:lnTo>
                  <a:pt x="214" y="246"/>
                </a:lnTo>
                <a:lnTo>
                  <a:pt x="216" y="246"/>
                </a:lnTo>
                <a:lnTo>
                  <a:pt x="216" y="246"/>
                </a:lnTo>
                <a:lnTo>
                  <a:pt x="218" y="240"/>
                </a:lnTo>
                <a:lnTo>
                  <a:pt x="218" y="240"/>
                </a:lnTo>
                <a:lnTo>
                  <a:pt x="220" y="238"/>
                </a:lnTo>
                <a:lnTo>
                  <a:pt x="224" y="238"/>
                </a:lnTo>
                <a:lnTo>
                  <a:pt x="224" y="238"/>
                </a:lnTo>
                <a:lnTo>
                  <a:pt x="232" y="230"/>
                </a:lnTo>
                <a:lnTo>
                  <a:pt x="232" y="230"/>
                </a:lnTo>
                <a:lnTo>
                  <a:pt x="234" y="234"/>
                </a:lnTo>
                <a:lnTo>
                  <a:pt x="234" y="234"/>
                </a:lnTo>
                <a:lnTo>
                  <a:pt x="242" y="232"/>
                </a:lnTo>
                <a:lnTo>
                  <a:pt x="242" y="232"/>
                </a:lnTo>
                <a:lnTo>
                  <a:pt x="244" y="230"/>
                </a:lnTo>
                <a:lnTo>
                  <a:pt x="244" y="230"/>
                </a:lnTo>
                <a:lnTo>
                  <a:pt x="246" y="230"/>
                </a:lnTo>
                <a:lnTo>
                  <a:pt x="244" y="234"/>
                </a:lnTo>
                <a:lnTo>
                  <a:pt x="244" y="234"/>
                </a:lnTo>
                <a:lnTo>
                  <a:pt x="242" y="234"/>
                </a:lnTo>
                <a:lnTo>
                  <a:pt x="242" y="236"/>
                </a:lnTo>
                <a:lnTo>
                  <a:pt x="242" y="236"/>
                </a:lnTo>
                <a:lnTo>
                  <a:pt x="242" y="236"/>
                </a:lnTo>
                <a:lnTo>
                  <a:pt x="246" y="240"/>
                </a:lnTo>
                <a:lnTo>
                  <a:pt x="246" y="240"/>
                </a:lnTo>
                <a:lnTo>
                  <a:pt x="246" y="242"/>
                </a:lnTo>
                <a:lnTo>
                  <a:pt x="244" y="242"/>
                </a:lnTo>
                <a:lnTo>
                  <a:pt x="240" y="242"/>
                </a:lnTo>
                <a:lnTo>
                  <a:pt x="232" y="240"/>
                </a:lnTo>
                <a:lnTo>
                  <a:pt x="232" y="240"/>
                </a:lnTo>
                <a:lnTo>
                  <a:pt x="230" y="242"/>
                </a:lnTo>
                <a:lnTo>
                  <a:pt x="230" y="242"/>
                </a:lnTo>
                <a:lnTo>
                  <a:pt x="220" y="246"/>
                </a:lnTo>
                <a:lnTo>
                  <a:pt x="220" y="246"/>
                </a:lnTo>
                <a:lnTo>
                  <a:pt x="222" y="262"/>
                </a:lnTo>
                <a:lnTo>
                  <a:pt x="222" y="262"/>
                </a:lnTo>
                <a:lnTo>
                  <a:pt x="216" y="266"/>
                </a:lnTo>
                <a:lnTo>
                  <a:pt x="216" y="266"/>
                </a:lnTo>
                <a:lnTo>
                  <a:pt x="218" y="270"/>
                </a:lnTo>
                <a:lnTo>
                  <a:pt x="218" y="272"/>
                </a:lnTo>
                <a:lnTo>
                  <a:pt x="218" y="272"/>
                </a:lnTo>
                <a:lnTo>
                  <a:pt x="220" y="272"/>
                </a:lnTo>
                <a:lnTo>
                  <a:pt x="222" y="272"/>
                </a:lnTo>
                <a:lnTo>
                  <a:pt x="222" y="272"/>
                </a:lnTo>
                <a:lnTo>
                  <a:pt x="224" y="272"/>
                </a:lnTo>
                <a:lnTo>
                  <a:pt x="224" y="272"/>
                </a:lnTo>
                <a:lnTo>
                  <a:pt x="222" y="276"/>
                </a:lnTo>
                <a:lnTo>
                  <a:pt x="222" y="276"/>
                </a:lnTo>
                <a:lnTo>
                  <a:pt x="216" y="276"/>
                </a:lnTo>
                <a:lnTo>
                  <a:pt x="216" y="276"/>
                </a:lnTo>
                <a:lnTo>
                  <a:pt x="214" y="282"/>
                </a:lnTo>
                <a:lnTo>
                  <a:pt x="214" y="282"/>
                </a:lnTo>
                <a:lnTo>
                  <a:pt x="218" y="282"/>
                </a:lnTo>
                <a:lnTo>
                  <a:pt x="222" y="282"/>
                </a:lnTo>
                <a:lnTo>
                  <a:pt x="222" y="282"/>
                </a:lnTo>
                <a:lnTo>
                  <a:pt x="224" y="280"/>
                </a:lnTo>
                <a:lnTo>
                  <a:pt x="224" y="280"/>
                </a:lnTo>
                <a:lnTo>
                  <a:pt x="228" y="280"/>
                </a:lnTo>
                <a:lnTo>
                  <a:pt x="230" y="280"/>
                </a:lnTo>
                <a:lnTo>
                  <a:pt x="230" y="278"/>
                </a:lnTo>
                <a:lnTo>
                  <a:pt x="230" y="278"/>
                </a:lnTo>
                <a:lnTo>
                  <a:pt x="232" y="278"/>
                </a:lnTo>
                <a:lnTo>
                  <a:pt x="236" y="276"/>
                </a:lnTo>
                <a:lnTo>
                  <a:pt x="236" y="276"/>
                </a:lnTo>
                <a:lnTo>
                  <a:pt x="236" y="272"/>
                </a:lnTo>
                <a:lnTo>
                  <a:pt x="236" y="272"/>
                </a:lnTo>
                <a:lnTo>
                  <a:pt x="240" y="272"/>
                </a:lnTo>
                <a:lnTo>
                  <a:pt x="244" y="270"/>
                </a:lnTo>
                <a:lnTo>
                  <a:pt x="244" y="270"/>
                </a:lnTo>
                <a:lnTo>
                  <a:pt x="242" y="268"/>
                </a:lnTo>
                <a:lnTo>
                  <a:pt x="244" y="266"/>
                </a:lnTo>
                <a:lnTo>
                  <a:pt x="244" y="266"/>
                </a:lnTo>
                <a:lnTo>
                  <a:pt x="246" y="266"/>
                </a:lnTo>
                <a:lnTo>
                  <a:pt x="248" y="268"/>
                </a:lnTo>
                <a:lnTo>
                  <a:pt x="248" y="268"/>
                </a:lnTo>
                <a:lnTo>
                  <a:pt x="248" y="264"/>
                </a:lnTo>
                <a:lnTo>
                  <a:pt x="248" y="264"/>
                </a:lnTo>
                <a:lnTo>
                  <a:pt x="250" y="260"/>
                </a:lnTo>
                <a:lnTo>
                  <a:pt x="250" y="260"/>
                </a:lnTo>
                <a:lnTo>
                  <a:pt x="252" y="262"/>
                </a:lnTo>
                <a:lnTo>
                  <a:pt x="252" y="264"/>
                </a:lnTo>
                <a:lnTo>
                  <a:pt x="252" y="264"/>
                </a:lnTo>
                <a:lnTo>
                  <a:pt x="254" y="262"/>
                </a:lnTo>
                <a:lnTo>
                  <a:pt x="254" y="262"/>
                </a:lnTo>
                <a:lnTo>
                  <a:pt x="266" y="264"/>
                </a:lnTo>
                <a:lnTo>
                  <a:pt x="266" y="264"/>
                </a:lnTo>
                <a:lnTo>
                  <a:pt x="266" y="258"/>
                </a:lnTo>
                <a:lnTo>
                  <a:pt x="266" y="258"/>
                </a:lnTo>
                <a:lnTo>
                  <a:pt x="270" y="258"/>
                </a:lnTo>
                <a:lnTo>
                  <a:pt x="270" y="258"/>
                </a:lnTo>
                <a:lnTo>
                  <a:pt x="270" y="254"/>
                </a:lnTo>
                <a:lnTo>
                  <a:pt x="270" y="248"/>
                </a:lnTo>
                <a:lnTo>
                  <a:pt x="270" y="248"/>
                </a:lnTo>
                <a:lnTo>
                  <a:pt x="268" y="250"/>
                </a:lnTo>
                <a:lnTo>
                  <a:pt x="266" y="250"/>
                </a:lnTo>
                <a:lnTo>
                  <a:pt x="266" y="248"/>
                </a:lnTo>
                <a:lnTo>
                  <a:pt x="266" y="248"/>
                </a:lnTo>
                <a:lnTo>
                  <a:pt x="264" y="248"/>
                </a:lnTo>
                <a:lnTo>
                  <a:pt x="264" y="248"/>
                </a:lnTo>
                <a:lnTo>
                  <a:pt x="262" y="238"/>
                </a:lnTo>
                <a:lnTo>
                  <a:pt x="262" y="238"/>
                </a:lnTo>
                <a:lnTo>
                  <a:pt x="270" y="240"/>
                </a:lnTo>
                <a:lnTo>
                  <a:pt x="276" y="242"/>
                </a:lnTo>
                <a:lnTo>
                  <a:pt x="276" y="242"/>
                </a:lnTo>
                <a:lnTo>
                  <a:pt x="276" y="238"/>
                </a:lnTo>
                <a:lnTo>
                  <a:pt x="276" y="238"/>
                </a:lnTo>
                <a:lnTo>
                  <a:pt x="278" y="240"/>
                </a:lnTo>
                <a:lnTo>
                  <a:pt x="278" y="240"/>
                </a:lnTo>
                <a:lnTo>
                  <a:pt x="278" y="240"/>
                </a:lnTo>
                <a:lnTo>
                  <a:pt x="284" y="240"/>
                </a:lnTo>
                <a:lnTo>
                  <a:pt x="284" y="240"/>
                </a:lnTo>
                <a:lnTo>
                  <a:pt x="286" y="236"/>
                </a:lnTo>
                <a:lnTo>
                  <a:pt x="286" y="236"/>
                </a:lnTo>
                <a:lnTo>
                  <a:pt x="286" y="240"/>
                </a:lnTo>
                <a:lnTo>
                  <a:pt x="286" y="240"/>
                </a:lnTo>
                <a:lnTo>
                  <a:pt x="286" y="240"/>
                </a:lnTo>
                <a:lnTo>
                  <a:pt x="286" y="242"/>
                </a:lnTo>
                <a:lnTo>
                  <a:pt x="286" y="242"/>
                </a:lnTo>
                <a:lnTo>
                  <a:pt x="290" y="244"/>
                </a:lnTo>
                <a:lnTo>
                  <a:pt x="290" y="244"/>
                </a:lnTo>
                <a:lnTo>
                  <a:pt x="286" y="246"/>
                </a:lnTo>
                <a:lnTo>
                  <a:pt x="286" y="246"/>
                </a:lnTo>
                <a:lnTo>
                  <a:pt x="292" y="246"/>
                </a:lnTo>
                <a:lnTo>
                  <a:pt x="292" y="248"/>
                </a:lnTo>
                <a:lnTo>
                  <a:pt x="292" y="248"/>
                </a:lnTo>
                <a:lnTo>
                  <a:pt x="298" y="248"/>
                </a:lnTo>
                <a:lnTo>
                  <a:pt x="298" y="248"/>
                </a:lnTo>
                <a:lnTo>
                  <a:pt x="296" y="252"/>
                </a:lnTo>
                <a:lnTo>
                  <a:pt x="296" y="252"/>
                </a:lnTo>
                <a:lnTo>
                  <a:pt x="296" y="252"/>
                </a:lnTo>
                <a:lnTo>
                  <a:pt x="296" y="256"/>
                </a:lnTo>
                <a:lnTo>
                  <a:pt x="296" y="256"/>
                </a:lnTo>
                <a:lnTo>
                  <a:pt x="302" y="254"/>
                </a:lnTo>
                <a:lnTo>
                  <a:pt x="302" y="254"/>
                </a:lnTo>
                <a:lnTo>
                  <a:pt x="306" y="252"/>
                </a:lnTo>
                <a:lnTo>
                  <a:pt x="306" y="252"/>
                </a:lnTo>
                <a:lnTo>
                  <a:pt x="306" y="258"/>
                </a:lnTo>
                <a:lnTo>
                  <a:pt x="306" y="258"/>
                </a:lnTo>
                <a:lnTo>
                  <a:pt x="310" y="260"/>
                </a:lnTo>
                <a:lnTo>
                  <a:pt x="310" y="260"/>
                </a:lnTo>
                <a:lnTo>
                  <a:pt x="314" y="260"/>
                </a:lnTo>
                <a:lnTo>
                  <a:pt x="314" y="260"/>
                </a:lnTo>
                <a:lnTo>
                  <a:pt x="318" y="264"/>
                </a:lnTo>
                <a:lnTo>
                  <a:pt x="318" y="264"/>
                </a:lnTo>
                <a:lnTo>
                  <a:pt x="332" y="268"/>
                </a:lnTo>
                <a:lnTo>
                  <a:pt x="332" y="268"/>
                </a:lnTo>
                <a:lnTo>
                  <a:pt x="336" y="266"/>
                </a:lnTo>
                <a:lnTo>
                  <a:pt x="340" y="264"/>
                </a:lnTo>
                <a:lnTo>
                  <a:pt x="342" y="264"/>
                </a:lnTo>
                <a:lnTo>
                  <a:pt x="342" y="264"/>
                </a:lnTo>
                <a:lnTo>
                  <a:pt x="346" y="266"/>
                </a:lnTo>
                <a:lnTo>
                  <a:pt x="350" y="268"/>
                </a:lnTo>
                <a:lnTo>
                  <a:pt x="350" y="268"/>
                </a:lnTo>
                <a:lnTo>
                  <a:pt x="352" y="266"/>
                </a:lnTo>
                <a:lnTo>
                  <a:pt x="354" y="266"/>
                </a:lnTo>
                <a:lnTo>
                  <a:pt x="354" y="266"/>
                </a:lnTo>
                <a:lnTo>
                  <a:pt x="356" y="270"/>
                </a:lnTo>
                <a:lnTo>
                  <a:pt x="356" y="270"/>
                </a:lnTo>
                <a:lnTo>
                  <a:pt x="366" y="272"/>
                </a:lnTo>
                <a:lnTo>
                  <a:pt x="372" y="272"/>
                </a:lnTo>
                <a:lnTo>
                  <a:pt x="378" y="272"/>
                </a:lnTo>
                <a:lnTo>
                  <a:pt x="378" y="272"/>
                </a:lnTo>
                <a:lnTo>
                  <a:pt x="382" y="268"/>
                </a:lnTo>
                <a:lnTo>
                  <a:pt x="382" y="268"/>
                </a:lnTo>
                <a:lnTo>
                  <a:pt x="382" y="276"/>
                </a:lnTo>
                <a:lnTo>
                  <a:pt x="382" y="276"/>
                </a:lnTo>
                <a:lnTo>
                  <a:pt x="378" y="278"/>
                </a:lnTo>
                <a:lnTo>
                  <a:pt x="378" y="278"/>
                </a:lnTo>
                <a:lnTo>
                  <a:pt x="382" y="280"/>
                </a:lnTo>
                <a:lnTo>
                  <a:pt x="382" y="280"/>
                </a:lnTo>
                <a:lnTo>
                  <a:pt x="386" y="280"/>
                </a:lnTo>
                <a:lnTo>
                  <a:pt x="386" y="280"/>
                </a:lnTo>
                <a:lnTo>
                  <a:pt x="388" y="284"/>
                </a:lnTo>
                <a:lnTo>
                  <a:pt x="388" y="284"/>
                </a:lnTo>
                <a:lnTo>
                  <a:pt x="392" y="284"/>
                </a:lnTo>
                <a:lnTo>
                  <a:pt x="392" y="284"/>
                </a:lnTo>
                <a:lnTo>
                  <a:pt x="394" y="284"/>
                </a:lnTo>
                <a:lnTo>
                  <a:pt x="394" y="284"/>
                </a:lnTo>
                <a:lnTo>
                  <a:pt x="394" y="284"/>
                </a:lnTo>
                <a:lnTo>
                  <a:pt x="394" y="282"/>
                </a:lnTo>
                <a:lnTo>
                  <a:pt x="394" y="282"/>
                </a:lnTo>
                <a:lnTo>
                  <a:pt x="394" y="280"/>
                </a:lnTo>
                <a:lnTo>
                  <a:pt x="394" y="280"/>
                </a:lnTo>
                <a:lnTo>
                  <a:pt x="400" y="280"/>
                </a:lnTo>
                <a:lnTo>
                  <a:pt x="400" y="280"/>
                </a:lnTo>
                <a:lnTo>
                  <a:pt x="396" y="288"/>
                </a:lnTo>
                <a:lnTo>
                  <a:pt x="396" y="288"/>
                </a:lnTo>
                <a:lnTo>
                  <a:pt x="408" y="302"/>
                </a:lnTo>
                <a:lnTo>
                  <a:pt x="408" y="302"/>
                </a:lnTo>
                <a:lnTo>
                  <a:pt x="414" y="302"/>
                </a:lnTo>
                <a:lnTo>
                  <a:pt x="416" y="302"/>
                </a:lnTo>
                <a:lnTo>
                  <a:pt x="416" y="302"/>
                </a:lnTo>
                <a:lnTo>
                  <a:pt x="416" y="306"/>
                </a:lnTo>
                <a:lnTo>
                  <a:pt x="416" y="306"/>
                </a:lnTo>
                <a:lnTo>
                  <a:pt x="420" y="306"/>
                </a:lnTo>
                <a:lnTo>
                  <a:pt x="424" y="312"/>
                </a:lnTo>
                <a:lnTo>
                  <a:pt x="424" y="312"/>
                </a:lnTo>
                <a:lnTo>
                  <a:pt x="424" y="316"/>
                </a:lnTo>
                <a:lnTo>
                  <a:pt x="424" y="318"/>
                </a:lnTo>
                <a:lnTo>
                  <a:pt x="424" y="318"/>
                </a:lnTo>
                <a:lnTo>
                  <a:pt x="428" y="320"/>
                </a:lnTo>
                <a:lnTo>
                  <a:pt x="430" y="320"/>
                </a:lnTo>
                <a:lnTo>
                  <a:pt x="430" y="320"/>
                </a:lnTo>
                <a:lnTo>
                  <a:pt x="434" y="326"/>
                </a:lnTo>
                <a:lnTo>
                  <a:pt x="434" y="326"/>
                </a:lnTo>
                <a:lnTo>
                  <a:pt x="436" y="326"/>
                </a:lnTo>
                <a:lnTo>
                  <a:pt x="436" y="326"/>
                </a:lnTo>
                <a:lnTo>
                  <a:pt x="436" y="320"/>
                </a:lnTo>
                <a:lnTo>
                  <a:pt x="436" y="320"/>
                </a:lnTo>
                <a:lnTo>
                  <a:pt x="442" y="326"/>
                </a:lnTo>
                <a:lnTo>
                  <a:pt x="442" y="326"/>
                </a:lnTo>
                <a:lnTo>
                  <a:pt x="446" y="326"/>
                </a:lnTo>
                <a:lnTo>
                  <a:pt x="446" y="326"/>
                </a:lnTo>
                <a:lnTo>
                  <a:pt x="446" y="318"/>
                </a:lnTo>
                <a:lnTo>
                  <a:pt x="446" y="318"/>
                </a:lnTo>
                <a:lnTo>
                  <a:pt x="442" y="318"/>
                </a:lnTo>
                <a:lnTo>
                  <a:pt x="442" y="318"/>
                </a:lnTo>
                <a:lnTo>
                  <a:pt x="444" y="316"/>
                </a:lnTo>
                <a:lnTo>
                  <a:pt x="444" y="314"/>
                </a:lnTo>
                <a:lnTo>
                  <a:pt x="440" y="312"/>
                </a:lnTo>
                <a:lnTo>
                  <a:pt x="424" y="310"/>
                </a:lnTo>
                <a:lnTo>
                  <a:pt x="424" y="310"/>
                </a:lnTo>
                <a:lnTo>
                  <a:pt x="424" y="306"/>
                </a:lnTo>
                <a:lnTo>
                  <a:pt x="424" y="306"/>
                </a:lnTo>
                <a:lnTo>
                  <a:pt x="426" y="308"/>
                </a:lnTo>
                <a:lnTo>
                  <a:pt x="426" y="308"/>
                </a:lnTo>
                <a:lnTo>
                  <a:pt x="432" y="306"/>
                </a:lnTo>
                <a:lnTo>
                  <a:pt x="438" y="302"/>
                </a:lnTo>
                <a:lnTo>
                  <a:pt x="438" y="302"/>
                </a:lnTo>
                <a:lnTo>
                  <a:pt x="440" y="306"/>
                </a:lnTo>
                <a:lnTo>
                  <a:pt x="442" y="306"/>
                </a:lnTo>
                <a:lnTo>
                  <a:pt x="442" y="306"/>
                </a:lnTo>
                <a:lnTo>
                  <a:pt x="440" y="300"/>
                </a:lnTo>
                <a:lnTo>
                  <a:pt x="442" y="292"/>
                </a:lnTo>
                <a:lnTo>
                  <a:pt x="442" y="292"/>
                </a:lnTo>
                <a:lnTo>
                  <a:pt x="444" y="294"/>
                </a:lnTo>
                <a:lnTo>
                  <a:pt x="444" y="294"/>
                </a:lnTo>
                <a:lnTo>
                  <a:pt x="444" y="300"/>
                </a:lnTo>
                <a:lnTo>
                  <a:pt x="446" y="304"/>
                </a:lnTo>
                <a:lnTo>
                  <a:pt x="450" y="306"/>
                </a:lnTo>
                <a:lnTo>
                  <a:pt x="450" y="306"/>
                </a:lnTo>
                <a:lnTo>
                  <a:pt x="454" y="304"/>
                </a:lnTo>
                <a:lnTo>
                  <a:pt x="454" y="304"/>
                </a:lnTo>
                <a:lnTo>
                  <a:pt x="456" y="310"/>
                </a:lnTo>
                <a:lnTo>
                  <a:pt x="456" y="310"/>
                </a:lnTo>
                <a:lnTo>
                  <a:pt x="458" y="310"/>
                </a:lnTo>
                <a:lnTo>
                  <a:pt x="460" y="310"/>
                </a:lnTo>
                <a:lnTo>
                  <a:pt x="460" y="310"/>
                </a:lnTo>
                <a:lnTo>
                  <a:pt x="460" y="312"/>
                </a:lnTo>
                <a:lnTo>
                  <a:pt x="460" y="316"/>
                </a:lnTo>
                <a:lnTo>
                  <a:pt x="464" y="320"/>
                </a:lnTo>
                <a:lnTo>
                  <a:pt x="464" y="320"/>
                </a:lnTo>
                <a:lnTo>
                  <a:pt x="464" y="324"/>
                </a:lnTo>
                <a:lnTo>
                  <a:pt x="466" y="332"/>
                </a:lnTo>
                <a:lnTo>
                  <a:pt x="466" y="332"/>
                </a:lnTo>
                <a:lnTo>
                  <a:pt x="472" y="334"/>
                </a:lnTo>
                <a:lnTo>
                  <a:pt x="472" y="334"/>
                </a:lnTo>
                <a:lnTo>
                  <a:pt x="472" y="336"/>
                </a:lnTo>
                <a:lnTo>
                  <a:pt x="472" y="340"/>
                </a:lnTo>
                <a:lnTo>
                  <a:pt x="472" y="340"/>
                </a:lnTo>
                <a:lnTo>
                  <a:pt x="472" y="340"/>
                </a:lnTo>
                <a:lnTo>
                  <a:pt x="474" y="342"/>
                </a:lnTo>
                <a:lnTo>
                  <a:pt x="474" y="342"/>
                </a:lnTo>
                <a:lnTo>
                  <a:pt x="476" y="342"/>
                </a:lnTo>
                <a:lnTo>
                  <a:pt x="476" y="342"/>
                </a:lnTo>
                <a:lnTo>
                  <a:pt x="482" y="348"/>
                </a:lnTo>
                <a:lnTo>
                  <a:pt x="482" y="348"/>
                </a:lnTo>
                <a:lnTo>
                  <a:pt x="480" y="348"/>
                </a:lnTo>
                <a:lnTo>
                  <a:pt x="480" y="350"/>
                </a:lnTo>
                <a:lnTo>
                  <a:pt x="480" y="350"/>
                </a:lnTo>
                <a:lnTo>
                  <a:pt x="482" y="352"/>
                </a:lnTo>
                <a:lnTo>
                  <a:pt x="482" y="352"/>
                </a:lnTo>
                <a:lnTo>
                  <a:pt x="482" y="350"/>
                </a:lnTo>
                <a:lnTo>
                  <a:pt x="484" y="348"/>
                </a:lnTo>
                <a:lnTo>
                  <a:pt x="484" y="348"/>
                </a:lnTo>
                <a:lnTo>
                  <a:pt x="486" y="350"/>
                </a:lnTo>
                <a:lnTo>
                  <a:pt x="486" y="350"/>
                </a:lnTo>
                <a:lnTo>
                  <a:pt x="484" y="364"/>
                </a:lnTo>
                <a:lnTo>
                  <a:pt x="484" y="364"/>
                </a:lnTo>
                <a:lnTo>
                  <a:pt x="486" y="364"/>
                </a:lnTo>
                <a:lnTo>
                  <a:pt x="488" y="364"/>
                </a:lnTo>
                <a:lnTo>
                  <a:pt x="488" y="364"/>
                </a:lnTo>
                <a:lnTo>
                  <a:pt x="488" y="358"/>
                </a:lnTo>
                <a:lnTo>
                  <a:pt x="488" y="358"/>
                </a:lnTo>
                <a:lnTo>
                  <a:pt x="494" y="356"/>
                </a:lnTo>
                <a:lnTo>
                  <a:pt x="494" y="356"/>
                </a:lnTo>
                <a:lnTo>
                  <a:pt x="494" y="360"/>
                </a:lnTo>
                <a:lnTo>
                  <a:pt x="494" y="360"/>
                </a:lnTo>
                <a:lnTo>
                  <a:pt x="492" y="360"/>
                </a:lnTo>
                <a:lnTo>
                  <a:pt x="492" y="360"/>
                </a:lnTo>
                <a:lnTo>
                  <a:pt x="490" y="366"/>
                </a:lnTo>
                <a:lnTo>
                  <a:pt x="490" y="366"/>
                </a:lnTo>
                <a:lnTo>
                  <a:pt x="492" y="372"/>
                </a:lnTo>
                <a:lnTo>
                  <a:pt x="492" y="372"/>
                </a:lnTo>
                <a:lnTo>
                  <a:pt x="498" y="372"/>
                </a:lnTo>
                <a:lnTo>
                  <a:pt x="498" y="364"/>
                </a:lnTo>
                <a:lnTo>
                  <a:pt x="498" y="364"/>
                </a:lnTo>
                <a:lnTo>
                  <a:pt x="500" y="366"/>
                </a:lnTo>
                <a:lnTo>
                  <a:pt x="500" y="366"/>
                </a:lnTo>
                <a:lnTo>
                  <a:pt x="502" y="372"/>
                </a:lnTo>
                <a:lnTo>
                  <a:pt x="502" y="372"/>
                </a:lnTo>
                <a:lnTo>
                  <a:pt x="502" y="374"/>
                </a:lnTo>
                <a:lnTo>
                  <a:pt x="502" y="376"/>
                </a:lnTo>
                <a:lnTo>
                  <a:pt x="502" y="376"/>
                </a:lnTo>
                <a:lnTo>
                  <a:pt x="498" y="376"/>
                </a:lnTo>
                <a:lnTo>
                  <a:pt x="496" y="376"/>
                </a:lnTo>
                <a:lnTo>
                  <a:pt x="496" y="376"/>
                </a:lnTo>
                <a:lnTo>
                  <a:pt x="496" y="376"/>
                </a:lnTo>
                <a:lnTo>
                  <a:pt x="498" y="378"/>
                </a:lnTo>
                <a:lnTo>
                  <a:pt x="498" y="378"/>
                </a:lnTo>
                <a:lnTo>
                  <a:pt x="498" y="378"/>
                </a:lnTo>
                <a:lnTo>
                  <a:pt x="498" y="380"/>
                </a:lnTo>
                <a:lnTo>
                  <a:pt x="500" y="380"/>
                </a:lnTo>
                <a:lnTo>
                  <a:pt x="502" y="380"/>
                </a:lnTo>
                <a:lnTo>
                  <a:pt x="502" y="380"/>
                </a:lnTo>
                <a:lnTo>
                  <a:pt x="498" y="382"/>
                </a:lnTo>
                <a:lnTo>
                  <a:pt x="500" y="384"/>
                </a:lnTo>
                <a:lnTo>
                  <a:pt x="500" y="384"/>
                </a:lnTo>
                <a:lnTo>
                  <a:pt x="502" y="384"/>
                </a:lnTo>
                <a:lnTo>
                  <a:pt x="506" y="386"/>
                </a:lnTo>
                <a:lnTo>
                  <a:pt x="506" y="386"/>
                </a:lnTo>
                <a:lnTo>
                  <a:pt x="508" y="382"/>
                </a:lnTo>
                <a:lnTo>
                  <a:pt x="510" y="378"/>
                </a:lnTo>
                <a:lnTo>
                  <a:pt x="510" y="378"/>
                </a:lnTo>
                <a:lnTo>
                  <a:pt x="512" y="378"/>
                </a:lnTo>
                <a:lnTo>
                  <a:pt x="512" y="378"/>
                </a:lnTo>
                <a:lnTo>
                  <a:pt x="512" y="376"/>
                </a:lnTo>
                <a:lnTo>
                  <a:pt x="512" y="376"/>
                </a:lnTo>
                <a:lnTo>
                  <a:pt x="514" y="372"/>
                </a:lnTo>
                <a:lnTo>
                  <a:pt x="514" y="372"/>
                </a:lnTo>
                <a:lnTo>
                  <a:pt x="516" y="370"/>
                </a:lnTo>
                <a:lnTo>
                  <a:pt x="514" y="366"/>
                </a:lnTo>
                <a:lnTo>
                  <a:pt x="514" y="366"/>
                </a:lnTo>
                <a:lnTo>
                  <a:pt x="514" y="364"/>
                </a:lnTo>
                <a:lnTo>
                  <a:pt x="516" y="362"/>
                </a:lnTo>
                <a:lnTo>
                  <a:pt x="518" y="360"/>
                </a:lnTo>
                <a:lnTo>
                  <a:pt x="516" y="360"/>
                </a:lnTo>
                <a:lnTo>
                  <a:pt x="516" y="36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2" name="Freeform 268">
            <a:extLst>
              <a:ext uri="{FF2B5EF4-FFF2-40B4-BE49-F238E27FC236}">
                <a16:creationId xmlns:a16="http://schemas.microsoft.com/office/drawing/2014/main" id="{125D072A-D848-4204-8AE6-D236B3AE7C6F}"/>
              </a:ext>
            </a:extLst>
          </p:cNvPr>
          <p:cNvSpPr>
            <a:spLocks/>
          </p:cNvSpPr>
          <p:nvPr userDrawn="1"/>
        </p:nvSpPr>
        <p:spPr bwMode="auto">
          <a:xfrm>
            <a:off x="7218996" y="2578984"/>
            <a:ext cx="298743" cy="243670"/>
          </a:xfrm>
          <a:custGeom>
            <a:avLst/>
            <a:gdLst>
              <a:gd name="T0" fmla="*/ 178 w 178"/>
              <a:gd name="T1" fmla="*/ 18 h 142"/>
              <a:gd name="T2" fmla="*/ 170 w 178"/>
              <a:gd name="T3" fmla="*/ 22 h 142"/>
              <a:gd name="T4" fmla="*/ 154 w 178"/>
              <a:gd name="T5" fmla="*/ 24 h 142"/>
              <a:gd name="T6" fmla="*/ 130 w 178"/>
              <a:gd name="T7" fmla="*/ 36 h 142"/>
              <a:gd name="T8" fmla="*/ 126 w 178"/>
              <a:gd name="T9" fmla="*/ 46 h 142"/>
              <a:gd name="T10" fmla="*/ 126 w 178"/>
              <a:gd name="T11" fmla="*/ 60 h 142"/>
              <a:gd name="T12" fmla="*/ 114 w 178"/>
              <a:gd name="T13" fmla="*/ 60 h 142"/>
              <a:gd name="T14" fmla="*/ 116 w 178"/>
              <a:gd name="T15" fmla="*/ 70 h 142"/>
              <a:gd name="T16" fmla="*/ 110 w 178"/>
              <a:gd name="T17" fmla="*/ 82 h 142"/>
              <a:gd name="T18" fmla="*/ 108 w 178"/>
              <a:gd name="T19" fmla="*/ 94 h 142"/>
              <a:gd name="T20" fmla="*/ 98 w 178"/>
              <a:gd name="T21" fmla="*/ 94 h 142"/>
              <a:gd name="T22" fmla="*/ 92 w 178"/>
              <a:gd name="T23" fmla="*/ 94 h 142"/>
              <a:gd name="T24" fmla="*/ 90 w 178"/>
              <a:gd name="T25" fmla="*/ 104 h 142"/>
              <a:gd name="T26" fmla="*/ 84 w 178"/>
              <a:gd name="T27" fmla="*/ 110 h 142"/>
              <a:gd name="T28" fmla="*/ 72 w 178"/>
              <a:gd name="T29" fmla="*/ 120 h 142"/>
              <a:gd name="T30" fmla="*/ 64 w 178"/>
              <a:gd name="T31" fmla="*/ 130 h 142"/>
              <a:gd name="T32" fmla="*/ 54 w 178"/>
              <a:gd name="T33" fmla="*/ 138 h 142"/>
              <a:gd name="T34" fmla="*/ 46 w 178"/>
              <a:gd name="T35" fmla="*/ 140 h 142"/>
              <a:gd name="T36" fmla="*/ 28 w 178"/>
              <a:gd name="T37" fmla="*/ 140 h 142"/>
              <a:gd name="T38" fmla="*/ 10 w 178"/>
              <a:gd name="T39" fmla="*/ 134 h 142"/>
              <a:gd name="T40" fmla="*/ 24 w 178"/>
              <a:gd name="T41" fmla="*/ 114 h 142"/>
              <a:gd name="T42" fmla="*/ 10 w 178"/>
              <a:gd name="T43" fmla="*/ 108 h 142"/>
              <a:gd name="T44" fmla="*/ 8 w 178"/>
              <a:gd name="T45" fmla="*/ 98 h 142"/>
              <a:gd name="T46" fmla="*/ 0 w 178"/>
              <a:gd name="T47" fmla="*/ 84 h 142"/>
              <a:gd name="T48" fmla="*/ 4 w 178"/>
              <a:gd name="T49" fmla="*/ 74 h 142"/>
              <a:gd name="T50" fmla="*/ 0 w 178"/>
              <a:gd name="T51" fmla="*/ 68 h 142"/>
              <a:gd name="T52" fmla="*/ 4 w 178"/>
              <a:gd name="T53" fmla="*/ 52 h 142"/>
              <a:gd name="T54" fmla="*/ 12 w 178"/>
              <a:gd name="T55" fmla="*/ 50 h 142"/>
              <a:gd name="T56" fmla="*/ 16 w 178"/>
              <a:gd name="T57" fmla="*/ 38 h 142"/>
              <a:gd name="T58" fmla="*/ 26 w 178"/>
              <a:gd name="T59" fmla="*/ 38 h 142"/>
              <a:gd name="T60" fmla="*/ 42 w 178"/>
              <a:gd name="T61" fmla="*/ 34 h 142"/>
              <a:gd name="T62" fmla="*/ 48 w 178"/>
              <a:gd name="T63" fmla="*/ 20 h 142"/>
              <a:gd name="T64" fmla="*/ 50 w 178"/>
              <a:gd name="T65" fmla="*/ 8 h 142"/>
              <a:gd name="T66" fmla="*/ 54 w 178"/>
              <a:gd name="T67" fmla="*/ 0 h 142"/>
              <a:gd name="T68" fmla="*/ 64 w 178"/>
              <a:gd name="T69" fmla="*/ 4 h 142"/>
              <a:gd name="T70" fmla="*/ 76 w 178"/>
              <a:gd name="T71" fmla="*/ 6 h 142"/>
              <a:gd name="T72" fmla="*/ 86 w 178"/>
              <a:gd name="T73" fmla="*/ 10 h 142"/>
              <a:gd name="T74" fmla="*/ 100 w 178"/>
              <a:gd name="T75" fmla="*/ 10 h 142"/>
              <a:gd name="T76" fmla="*/ 108 w 178"/>
              <a:gd name="T77" fmla="*/ 4 h 142"/>
              <a:gd name="T78" fmla="*/ 116 w 178"/>
              <a:gd name="T79" fmla="*/ 2 h 142"/>
              <a:gd name="T80" fmla="*/ 122 w 178"/>
              <a:gd name="T81" fmla="*/ 12 h 142"/>
              <a:gd name="T82" fmla="*/ 118 w 178"/>
              <a:gd name="T83" fmla="*/ 26 h 142"/>
              <a:gd name="T84" fmla="*/ 130 w 178"/>
              <a:gd name="T85" fmla="*/ 30 h 142"/>
              <a:gd name="T86" fmla="*/ 140 w 178"/>
              <a:gd name="T87" fmla="*/ 20 h 142"/>
              <a:gd name="T88" fmla="*/ 154 w 178"/>
              <a:gd name="T89" fmla="*/ 14 h 142"/>
              <a:gd name="T90" fmla="*/ 168 w 178"/>
              <a:gd name="T91" fmla="*/ 1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8" h="142">
                <a:moveTo>
                  <a:pt x="178" y="14"/>
                </a:moveTo>
                <a:lnTo>
                  <a:pt x="178" y="18"/>
                </a:lnTo>
                <a:lnTo>
                  <a:pt x="176" y="22"/>
                </a:lnTo>
                <a:lnTo>
                  <a:pt x="170" y="22"/>
                </a:lnTo>
                <a:lnTo>
                  <a:pt x="162" y="22"/>
                </a:lnTo>
                <a:lnTo>
                  <a:pt x="154" y="24"/>
                </a:lnTo>
                <a:lnTo>
                  <a:pt x="144" y="26"/>
                </a:lnTo>
                <a:lnTo>
                  <a:pt x="130" y="36"/>
                </a:lnTo>
                <a:lnTo>
                  <a:pt x="130" y="44"/>
                </a:lnTo>
                <a:lnTo>
                  <a:pt x="126" y="46"/>
                </a:lnTo>
                <a:lnTo>
                  <a:pt x="128" y="52"/>
                </a:lnTo>
                <a:lnTo>
                  <a:pt x="126" y="60"/>
                </a:lnTo>
                <a:lnTo>
                  <a:pt x="120" y="62"/>
                </a:lnTo>
                <a:lnTo>
                  <a:pt x="114" y="60"/>
                </a:lnTo>
                <a:lnTo>
                  <a:pt x="112" y="66"/>
                </a:lnTo>
                <a:lnTo>
                  <a:pt x="116" y="70"/>
                </a:lnTo>
                <a:lnTo>
                  <a:pt x="116" y="78"/>
                </a:lnTo>
                <a:lnTo>
                  <a:pt x="110" y="82"/>
                </a:lnTo>
                <a:lnTo>
                  <a:pt x="110" y="88"/>
                </a:lnTo>
                <a:lnTo>
                  <a:pt x="108" y="94"/>
                </a:lnTo>
                <a:lnTo>
                  <a:pt x="104" y="96"/>
                </a:lnTo>
                <a:lnTo>
                  <a:pt x="98" y="94"/>
                </a:lnTo>
                <a:lnTo>
                  <a:pt x="96" y="90"/>
                </a:lnTo>
                <a:lnTo>
                  <a:pt x="92" y="94"/>
                </a:lnTo>
                <a:lnTo>
                  <a:pt x="86" y="98"/>
                </a:lnTo>
                <a:lnTo>
                  <a:pt x="90" y="104"/>
                </a:lnTo>
                <a:lnTo>
                  <a:pt x="88" y="108"/>
                </a:lnTo>
                <a:lnTo>
                  <a:pt x="84" y="110"/>
                </a:lnTo>
                <a:lnTo>
                  <a:pt x="80" y="108"/>
                </a:lnTo>
                <a:lnTo>
                  <a:pt x="72" y="120"/>
                </a:lnTo>
                <a:lnTo>
                  <a:pt x="64" y="124"/>
                </a:lnTo>
                <a:lnTo>
                  <a:pt x="64" y="130"/>
                </a:lnTo>
                <a:lnTo>
                  <a:pt x="62" y="136"/>
                </a:lnTo>
                <a:lnTo>
                  <a:pt x="54" y="138"/>
                </a:lnTo>
                <a:lnTo>
                  <a:pt x="52" y="142"/>
                </a:lnTo>
                <a:lnTo>
                  <a:pt x="46" y="140"/>
                </a:lnTo>
                <a:lnTo>
                  <a:pt x="34" y="140"/>
                </a:lnTo>
                <a:lnTo>
                  <a:pt x="28" y="140"/>
                </a:lnTo>
                <a:lnTo>
                  <a:pt x="24" y="142"/>
                </a:lnTo>
                <a:lnTo>
                  <a:pt x="10" y="134"/>
                </a:lnTo>
                <a:lnTo>
                  <a:pt x="24" y="118"/>
                </a:lnTo>
                <a:lnTo>
                  <a:pt x="24" y="114"/>
                </a:lnTo>
                <a:lnTo>
                  <a:pt x="22" y="110"/>
                </a:lnTo>
                <a:lnTo>
                  <a:pt x="10" y="108"/>
                </a:lnTo>
                <a:lnTo>
                  <a:pt x="8" y="106"/>
                </a:lnTo>
                <a:lnTo>
                  <a:pt x="8" y="98"/>
                </a:lnTo>
                <a:lnTo>
                  <a:pt x="6" y="90"/>
                </a:lnTo>
                <a:lnTo>
                  <a:pt x="0" y="84"/>
                </a:lnTo>
                <a:lnTo>
                  <a:pt x="0" y="78"/>
                </a:lnTo>
                <a:lnTo>
                  <a:pt x="4" y="74"/>
                </a:lnTo>
                <a:lnTo>
                  <a:pt x="0" y="72"/>
                </a:lnTo>
                <a:lnTo>
                  <a:pt x="0" y="68"/>
                </a:lnTo>
                <a:lnTo>
                  <a:pt x="0" y="58"/>
                </a:lnTo>
                <a:lnTo>
                  <a:pt x="4" y="52"/>
                </a:lnTo>
                <a:lnTo>
                  <a:pt x="6" y="50"/>
                </a:lnTo>
                <a:lnTo>
                  <a:pt x="12" y="50"/>
                </a:lnTo>
                <a:lnTo>
                  <a:pt x="14" y="44"/>
                </a:lnTo>
                <a:lnTo>
                  <a:pt x="16" y="38"/>
                </a:lnTo>
                <a:lnTo>
                  <a:pt x="22" y="40"/>
                </a:lnTo>
                <a:lnTo>
                  <a:pt x="26" y="38"/>
                </a:lnTo>
                <a:lnTo>
                  <a:pt x="30" y="40"/>
                </a:lnTo>
                <a:lnTo>
                  <a:pt x="42" y="34"/>
                </a:lnTo>
                <a:lnTo>
                  <a:pt x="40" y="28"/>
                </a:lnTo>
                <a:lnTo>
                  <a:pt x="48" y="20"/>
                </a:lnTo>
                <a:lnTo>
                  <a:pt x="50" y="16"/>
                </a:lnTo>
                <a:lnTo>
                  <a:pt x="50" y="8"/>
                </a:lnTo>
                <a:lnTo>
                  <a:pt x="52" y="4"/>
                </a:lnTo>
                <a:lnTo>
                  <a:pt x="54" y="0"/>
                </a:lnTo>
                <a:lnTo>
                  <a:pt x="60" y="2"/>
                </a:lnTo>
                <a:lnTo>
                  <a:pt x="64" y="4"/>
                </a:lnTo>
                <a:lnTo>
                  <a:pt x="70" y="6"/>
                </a:lnTo>
                <a:lnTo>
                  <a:pt x="76" y="6"/>
                </a:lnTo>
                <a:lnTo>
                  <a:pt x="80" y="12"/>
                </a:lnTo>
                <a:lnTo>
                  <a:pt x="86" y="10"/>
                </a:lnTo>
                <a:lnTo>
                  <a:pt x="96" y="8"/>
                </a:lnTo>
                <a:lnTo>
                  <a:pt x="100" y="10"/>
                </a:lnTo>
                <a:lnTo>
                  <a:pt x="106" y="6"/>
                </a:lnTo>
                <a:lnTo>
                  <a:pt x="108" y="4"/>
                </a:lnTo>
                <a:lnTo>
                  <a:pt x="112" y="0"/>
                </a:lnTo>
                <a:lnTo>
                  <a:pt x="116" y="2"/>
                </a:lnTo>
                <a:lnTo>
                  <a:pt x="118" y="6"/>
                </a:lnTo>
                <a:lnTo>
                  <a:pt x="122" y="12"/>
                </a:lnTo>
                <a:lnTo>
                  <a:pt x="120" y="16"/>
                </a:lnTo>
                <a:lnTo>
                  <a:pt x="118" y="26"/>
                </a:lnTo>
                <a:lnTo>
                  <a:pt x="124" y="32"/>
                </a:lnTo>
                <a:lnTo>
                  <a:pt x="130" y="30"/>
                </a:lnTo>
                <a:lnTo>
                  <a:pt x="136" y="24"/>
                </a:lnTo>
                <a:lnTo>
                  <a:pt x="140" y="20"/>
                </a:lnTo>
                <a:lnTo>
                  <a:pt x="144" y="18"/>
                </a:lnTo>
                <a:lnTo>
                  <a:pt x="154" y="14"/>
                </a:lnTo>
                <a:lnTo>
                  <a:pt x="158" y="12"/>
                </a:lnTo>
                <a:lnTo>
                  <a:pt x="168" y="14"/>
                </a:lnTo>
                <a:lnTo>
                  <a:pt x="178"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 name="TextBox 1">
            <a:extLst>
              <a:ext uri="{FF2B5EF4-FFF2-40B4-BE49-F238E27FC236}">
                <a16:creationId xmlns:a16="http://schemas.microsoft.com/office/drawing/2014/main" id="{5A6548B4-CB3B-47DD-A576-EE37E929B4F3}"/>
              </a:ext>
            </a:extLst>
          </p:cNvPr>
          <p:cNvSpPr txBox="1"/>
          <p:nvPr userDrawn="1"/>
        </p:nvSpPr>
        <p:spPr>
          <a:xfrm>
            <a:off x="6298159" y="1976925"/>
            <a:ext cx="85923" cy="276999"/>
          </a:xfrm>
          <a:prstGeom prst="rect">
            <a:avLst/>
          </a:prstGeom>
          <a:solidFill>
            <a:srgbClr val="8BBDFF"/>
          </a:solidFill>
        </p:spPr>
        <p:txBody>
          <a:bodyPr wrap="square" rtlCol="0">
            <a:spAutoFit/>
          </a:bodyPr>
          <a:lstStyle/>
          <a:p>
            <a:endParaRPr lang="en-US" sz="1200">
              <a:solidFill>
                <a:schemeClr val="accent1"/>
              </a:solidFill>
              <a:latin typeface="Ford Antenna Light" charset="0"/>
              <a:ea typeface="Ford Antenna Light" charset="0"/>
              <a:cs typeface="Ford Antenna Light" charset="0"/>
            </a:endParaRPr>
          </a:p>
        </p:txBody>
      </p:sp>
      <p:sp>
        <p:nvSpPr>
          <p:cNvPr id="283" name="Text Placeholder 4">
            <a:extLst>
              <a:ext uri="{FF2B5EF4-FFF2-40B4-BE49-F238E27FC236}">
                <a16:creationId xmlns:a16="http://schemas.microsoft.com/office/drawing/2014/main" id="{F4608CC9-D540-4869-9EE7-0F9E4CF84E26}"/>
              </a:ext>
            </a:extLst>
          </p:cNvPr>
          <p:cNvSpPr>
            <a:spLocks noGrp="1"/>
          </p:cNvSpPr>
          <p:nvPr>
            <p:ph type="body" sz="quarter" idx="10" hasCustomPrompt="1"/>
          </p:nvPr>
        </p:nvSpPr>
        <p:spPr>
          <a:xfrm>
            <a:off x="1170421" y="5481639"/>
            <a:ext cx="9851159" cy="996696"/>
          </a:xfrm>
          <a:prstGeom prst="rect">
            <a:avLst/>
          </a:prstGeom>
        </p:spPr>
        <p:txBody>
          <a:bodyPr anchor="ctr"/>
          <a:lstStyle>
            <a:lvl1pPr algn="ctr">
              <a:lnSpc>
                <a:spcPct val="100000"/>
              </a:lnSpc>
              <a:spcBef>
                <a:spcPts val="0"/>
              </a:spcBef>
              <a:defRPr sz="2000" spc="0">
                <a:solidFill>
                  <a:schemeClr val="accent1"/>
                </a:solidFill>
                <a:latin typeface="Ford Antenna Regular" panose="02000505000000020004" pitchFamily="50" charset="0"/>
              </a:defRPr>
            </a:lvl1pPr>
          </a:lstStyle>
          <a:p>
            <a:pPr lvl="0"/>
            <a:r>
              <a:rPr lang="en-US"/>
              <a:t>Click To Edit Text</a:t>
            </a:r>
          </a:p>
        </p:txBody>
      </p:sp>
      <p:sp>
        <p:nvSpPr>
          <p:cNvPr id="285" name="Text Box 14">
            <a:extLst>
              <a:ext uri="{FF2B5EF4-FFF2-40B4-BE49-F238E27FC236}">
                <a16:creationId xmlns:a16="http://schemas.microsoft.com/office/drawing/2014/main" id="{5D47F5C1-FC34-4481-BF6B-E1E8910B362C}"/>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5705910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wo Row 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a:solidFill>
                <a:schemeClr val="tx1"/>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5034769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标题幻灯片">
    <p:bg>
      <p:bgRef idx="1001">
        <a:schemeClr val="bg1"/>
      </p:bgRef>
    </p:bg>
    <p:spTree>
      <p:nvGrpSpPr>
        <p:cNvPr id="1" name=""/>
        <p:cNvGrpSpPr/>
        <p:nvPr/>
      </p:nvGrpSpPr>
      <p:grpSpPr>
        <a:xfrm>
          <a:off x="0" y="0"/>
          <a:ext cx="0" cy="0"/>
          <a:chOff x="0" y="0"/>
          <a:chExt cx="0" cy="0"/>
        </a:xfrm>
      </p:grpSpPr>
      <p:pic>
        <p:nvPicPr>
          <p:cNvPr id="7" name="图片 6" descr="截屏2021-03-03下午5.28.40">
            <a:extLst>
              <a:ext uri="{FF2B5EF4-FFF2-40B4-BE49-F238E27FC236}">
                <a16:creationId xmlns:a16="http://schemas.microsoft.com/office/drawing/2014/main" id="{8D8FFD57-4F54-4CCC-8767-737709C5FDDB}"/>
              </a:ext>
            </a:extLst>
          </p:cNvPr>
          <p:cNvPicPr>
            <a:picLocks noChangeAspect="1"/>
          </p:cNvPicPr>
          <p:nvPr userDrawn="1"/>
        </p:nvPicPr>
        <p:blipFill>
          <a:blip r:embed="rId2"/>
          <a:stretch>
            <a:fillRect/>
          </a:stretch>
        </p:blipFill>
        <p:spPr>
          <a:xfrm>
            <a:off x="0" y="-10607"/>
            <a:ext cx="12192000" cy="6868607"/>
          </a:xfrm>
          <a:prstGeom prst="rect">
            <a:avLst/>
          </a:prstGeom>
        </p:spPr>
      </p:pic>
      <p:pic>
        <p:nvPicPr>
          <p:cNvPr id="12" name="图片 11" descr="文本, 徽标&#10;&#10;描述已自动生成"/>
          <p:cNvPicPr>
            <a:picLocks noChangeAspect="1"/>
          </p:cNvPicPr>
          <p:nvPr userDrawn="1"/>
        </p:nvPicPr>
        <p:blipFill>
          <a:blip r:embed="rId3"/>
          <a:stretch>
            <a:fillRect/>
          </a:stretch>
        </p:blipFill>
        <p:spPr>
          <a:xfrm>
            <a:off x="259184" y="73717"/>
            <a:ext cx="2085718" cy="581941"/>
          </a:xfrm>
          <a:prstGeom prst="rect">
            <a:avLst/>
          </a:prstGeom>
        </p:spPr>
      </p:pic>
      <p:sp>
        <p:nvSpPr>
          <p:cNvPr id="9" name="标题 1">
            <a:extLst>
              <a:ext uri="{FF2B5EF4-FFF2-40B4-BE49-F238E27FC236}">
                <a16:creationId xmlns:a16="http://schemas.microsoft.com/office/drawing/2014/main" id="{028761EE-1E4F-8C46-869E-6D6D961E61E1}"/>
              </a:ext>
            </a:extLst>
          </p:cNvPr>
          <p:cNvSpPr>
            <a:spLocks noGrp="1"/>
          </p:cNvSpPr>
          <p:nvPr>
            <p:ph type="ctrTitle"/>
          </p:nvPr>
        </p:nvSpPr>
        <p:spPr>
          <a:xfrm>
            <a:off x="449580" y="738160"/>
            <a:ext cx="8192942" cy="2213505"/>
          </a:xfrm>
          <a:prstGeom prst="rect">
            <a:avLst/>
          </a:prstGeom>
        </p:spPr>
        <p:txBody>
          <a:bodyPr anchor="b">
            <a:normAutofit/>
          </a:bodyPr>
          <a:lstStyle>
            <a:lvl1pPr algn="l">
              <a:defRPr sz="4800" baseline="0">
                <a:solidFill>
                  <a:schemeClr val="bg2">
                    <a:lumMod val="10000"/>
                  </a:schemeClr>
                </a:solidFill>
                <a:latin typeface="Tahoma" panose="020B0604030504040204" pitchFamily="34" charset="0"/>
                <a:ea typeface="微软雅黑" panose="020B0503020204020204" pitchFamily="34" charset="-122"/>
              </a:defRPr>
            </a:lvl1pPr>
          </a:lstStyle>
          <a:p>
            <a:endParaRPr kumimoji="1" lang="zh-CN" altLang="en-US" dirty="0"/>
          </a:p>
        </p:txBody>
      </p:sp>
      <p:sp>
        <p:nvSpPr>
          <p:cNvPr id="10" name="副标题 2">
            <a:extLst>
              <a:ext uri="{FF2B5EF4-FFF2-40B4-BE49-F238E27FC236}">
                <a16:creationId xmlns:a16="http://schemas.microsoft.com/office/drawing/2014/main" id="{E17D8EF8-CABD-5749-A28B-E5E3292F74E8}"/>
              </a:ext>
            </a:extLst>
          </p:cNvPr>
          <p:cNvSpPr>
            <a:spLocks noGrp="1"/>
          </p:cNvSpPr>
          <p:nvPr>
            <p:ph type="subTitle" idx="1"/>
          </p:nvPr>
        </p:nvSpPr>
        <p:spPr>
          <a:xfrm>
            <a:off x="449580" y="3177560"/>
            <a:ext cx="8192942" cy="534094"/>
          </a:xfrm>
          <a:prstGeom prst="rect">
            <a:avLst/>
          </a:prstGeom>
        </p:spPr>
        <p:txBody>
          <a:bodyPr anchor="ctr">
            <a:normAutofit/>
          </a:bodyPr>
          <a:lstStyle>
            <a:lvl1pPr marL="0" indent="0" algn="l">
              <a:buNone/>
              <a:defRPr baseline="0">
                <a:solidFill>
                  <a:schemeClr val="bg2">
                    <a:lumMod val="10000"/>
                  </a:schemeClr>
                </a:solidFill>
                <a:latin typeface="Tahoma" panose="020B0604030504040204" pitchFamily="34" charset="0"/>
                <a:ea typeface="微软雅黑" panose="020B0503020204020204" pitchFamily="34" charset="-122"/>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endParaRPr kumimoji="1" lang="zh-CN" altLang="en-US" dirty="0"/>
          </a:p>
        </p:txBody>
      </p:sp>
      <p:sp>
        <p:nvSpPr>
          <p:cNvPr id="11" name="文本占位符 15">
            <a:extLst>
              <a:ext uri="{FF2B5EF4-FFF2-40B4-BE49-F238E27FC236}">
                <a16:creationId xmlns:a16="http://schemas.microsoft.com/office/drawing/2014/main" id="{26FA3372-907A-B64A-B6D2-FA1184AF6D68}"/>
              </a:ext>
            </a:extLst>
          </p:cNvPr>
          <p:cNvSpPr>
            <a:spLocks noGrp="1"/>
          </p:cNvSpPr>
          <p:nvPr>
            <p:ph type="body" sz="quarter" idx="13"/>
          </p:nvPr>
        </p:nvSpPr>
        <p:spPr>
          <a:xfrm>
            <a:off x="449263" y="4114983"/>
            <a:ext cx="3999084" cy="442656"/>
          </a:xfrm>
          <a:prstGeom prst="rect">
            <a:avLst/>
          </a:prstGeom>
        </p:spPr>
        <p:txBody>
          <a:bodyPr anchor="ctr">
            <a:normAutofit/>
          </a:bodyPr>
          <a:lstStyle>
            <a:lvl1pPr marL="0" indent="0" algn="l">
              <a:buNone/>
              <a:defRPr sz="2000" baseline="0">
                <a:solidFill>
                  <a:schemeClr val="bg2">
                    <a:lumMod val="10000"/>
                  </a:schemeClr>
                </a:solidFill>
                <a:latin typeface="Tahoma" panose="020B0604030504040204" pitchFamily="34" charset="0"/>
                <a:ea typeface="微软雅黑" panose="020B0503020204020204" pitchFamily="34" charset="-122"/>
              </a:defRPr>
            </a:lvl1pPr>
          </a:lstStyle>
          <a:p>
            <a:pPr lvl="0"/>
            <a:endParaRPr kumimoji="1" lang="zh-CN" altLang="en-US" dirty="0"/>
          </a:p>
        </p:txBody>
      </p:sp>
      <p:sp>
        <p:nvSpPr>
          <p:cNvPr id="3" name="灯片编号占位符 2">
            <a:extLst>
              <a:ext uri="{FF2B5EF4-FFF2-40B4-BE49-F238E27FC236}">
                <a16:creationId xmlns:a16="http://schemas.microsoft.com/office/drawing/2014/main" id="{3D011D25-F9FE-4076-9ECE-0BCFA38AF86E}"/>
              </a:ext>
            </a:extLst>
          </p:cNvPr>
          <p:cNvSpPr>
            <a:spLocks noGrp="1"/>
          </p:cNvSpPr>
          <p:nvPr>
            <p:ph type="sldNum" sz="quarter" idx="14"/>
          </p:nvPr>
        </p:nvSpPr>
        <p:spPr/>
        <p:txBody>
          <a:bodyPr/>
          <a:lstStyle/>
          <a:p>
            <a:fld id="{33C93463-57C3-49E1-B626-1DD525CDA143}" type="slidenum">
              <a:rPr lang="zh-CN" altLang="en-US" smtClean="0"/>
              <a:t>‹#›</a:t>
            </a:fld>
            <a:endParaRPr lang="zh-CN" altLang="en-US" dirty="0"/>
          </a:p>
        </p:txBody>
      </p:sp>
    </p:spTree>
    <p:extLst>
      <p:ext uri="{BB962C8B-B14F-4D97-AF65-F5344CB8AC3E}">
        <p14:creationId xmlns:p14="http://schemas.microsoft.com/office/powerpoint/2010/main" val="2191799738"/>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 hasCustomPrompt="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3" name="Rectangle 12"/>
          <p:cNvSpPr/>
          <p:nvPr/>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27766927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Div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3108960"/>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3" name="Rectangle 12"/>
          <p:cNvSpPr/>
          <p:nvPr/>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40647636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Lincoln Collage">
    <p:spTree>
      <p:nvGrpSpPr>
        <p:cNvPr id="1" name=""/>
        <p:cNvGrpSpPr/>
        <p:nvPr/>
      </p:nvGrpSpPr>
      <p:grpSpPr>
        <a:xfrm>
          <a:off x="0" y="0"/>
          <a:ext cx="0" cy="0"/>
          <a:chOff x="0" y="0"/>
          <a:chExt cx="0" cy="0"/>
        </a:xfrm>
      </p:grpSpPr>
      <p:pic>
        <p:nvPicPr>
          <p:cNvPr id="3" name="Picture 9" descr="12LINC_Hz_K_R03.eps"/>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80579" y="234952"/>
            <a:ext cx="2438400" cy="846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68478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2875286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9218781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353080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076F9-3049-4907-ABDE-92E94AA8C126}"/>
              </a:ext>
            </a:extLst>
          </p:cNvPr>
          <p:cNvSpPr>
            <a:spLocks noGrp="1"/>
          </p:cNvSpPr>
          <p:nvPr>
            <p:ph type="title"/>
          </p:nvPr>
        </p:nvSpPr>
        <p:spPr/>
        <p:txBody>
          <a:body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08EA0055-8337-438C-A6EA-CB871305DC99}"/>
              </a:ext>
            </a:extLst>
          </p:cNvPr>
          <p:cNvSpPr>
            <a:spLocks noGrp="1"/>
          </p:cNvSpPr>
          <p:nvPr>
            <p:ph sz="half" idx="1"/>
          </p:nvPr>
        </p:nvSpPr>
        <p:spPr>
          <a:xfrm>
            <a:off x="838200" y="1825625"/>
            <a:ext cx="5181600" cy="435133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Content Placeholder 3">
            <a:extLst>
              <a:ext uri="{FF2B5EF4-FFF2-40B4-BE49-F238E27FC236}">
                <a16:creationId xmlns:a16="http://schemas.microsoft.com/office/drawing/2014/main" id="{42FF5327-9815-4FBD-A86A-88B238B7C225}"/>
              </a:ext>
            </a:extLst>
          </p:cNvPr>
          <p:cNvSpPr>
            <a:spLocks noGrp="1"/>
          </p:cNvSpPr>
          <p:nvPr>
            <p:ph sz="half" idx="2"/>
          </p:nvPr>
        </p:nvSpPr>
        <p:spPr>
          <a:xfrm>
            <a:off x="6172200" y="1825625"/>
            <a:ext cx="5181600" cy="435133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Date Placeholder 4">
            <a:extLst>
              <a:ext uri="{FF2B5EF4-FFF2-40B4-BE49-F238E27FC236}">
                <a16:creationId xmlns:a16="http://schemas.microsoft.com/office/drawing/2014/main" id="{C0DDABD7-937D-4D45-9DEA-35571C80C192}"/>
              </a:ext>
            </a:extLst>
          </p:cNvPr>
          <p:cNvSpPr>
            <a:spLocks noGrp="1"/>
          </p:cNvSpPr>
          <p:nvPr>
            <p:ph type="dt" sz="half" idx="10"/>
          </p:nvPr>
        </p:nvSpPr>
        <p:spPr/>
        <p:txBody>
          <a:bodyPr/>
          <a:lstStyle/>
          <a:p>
            <a:fld id="{752959B0-7B04-44EF-BC76-BB1434632F60}" type="datetimeFigureOut">
              <a:rPr lang="zh-CN" altLang="en-US" smtClean="0"/>
              <a:t>2023/2/3</a:t>
            </a:fld>
            <a:endParaRPr lang="zh-CN" altLang="en-US"/>
          </a:p>
        </p:txBody>
      </p:sp>
      <p:sp>
        <p:nvSpPr>
          <p:cNvPr id="6" name="Footer Placeholder 5">
            <a:extLst>
              <a:ext uri="{FF2B5EF4-FFF2-40B4-BE49-F238E27FC236}">
                <a16:creationId xmlns:a16="http://schemas.microsoft.com/office/drawing/2014/main" id="{1B18C780-1BDC-4B91-A774-64F15EF73A6D}"/>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1F2186A2-7A59-4481-B26B-CF75611EA5C0}"/>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1637392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3" name="Left Brace 12"/>
          <p:cNvSpPr/>
          <p:nvPr/>
        </p:nvSpPr>
        <p:spPr>
          <a:xfrm rot="16200000">
            <a:off x="2880750" y="4647516"/>
            <a:ext cx="204301" cy="1882067"/>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14" name="TextBox 13"/>
          <p:cNvSpPr txBox="1"/>
          <p:nvPr/>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r>
              <a:rPr lang="en-US" dirty="0">
                <a:sym typeface="Ford Antenna Cond Regular"/>
              </a:rPr>
              <a:t>$432</a:t>
            </a:r>
          </a:p>
        </p:txBody>
      </p:sp>
      <p:sp>
        <p:nvSpPr>
          <p:cNvPr id="15" name="TextBox 14"/>
          <p:cNvSpPr txBox="1"/>
          <p:nvPr/>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609585" hangingPunct="0"/>
            <a:r>
              <a:rPr lang="en-US" sz="1200" b="1" dirty="0">
                <a:latin typeface="Arial" panose="020B0604020202020204" pitchFamily="34" charset="0"/>
                <a:ea typeface="Ford Antenna Cond Regular"/>
                <a:cs typeface="Arial" panose="020B0604020202020204" pitchFamily="34" charset="0"/>
                <a:sym typeface="Ford Antenna Cond Regular"/>
              </a:rPr>
              <a:t>Market Factors</a:t>
            </a:r>
          </a:p>
        </p:txBody>
      </p:sp>
      <p:sp>
        <p:nvSpPr>
          <p:cNvPr id="16" name="Rectangle 72"/>
          <p:cNvSpPr>
            <a:spLocks noChangeArrowheads="1"/>
          </p:cNvSpPr>
          <p:nvPr/>
        </p:nvSpPr>
        <p:spPr bwMode="auto">
          <a:xfrm>
            <a:off x="1763079" y="5080555"/>
            <a:ext cx="1289304" cy="363176"/>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a:solidFill>
                  <a:schemeClr val="tx1"/>
                </a:solidFill>
                <a:cs typeface="Arial" charset="0"/>
              </a:rPr>
              <a:t>Volume /</a:t>
            </a:r>
            <a:endParaRPr lang="en-US" sz="1200" b="1" dirty="0">
              <a:solidFill>
                <a:schemeClr val="tx1"/>
              </a:solidFill>
              <a:cs typeface="Arial" charset="0"/>
            </a:endParaRPr>
          </a:p>
          <a:p>
            <a:pPr algn="ctr" defTabSz="1009625" eaLnBrk="0" hangingPunct="0">
              <a:lnSpc>
                <a:spcPct val="85000"/>
              </a:lnSpc>
              <a:defRPr/>
            </a:pPr>
            <a:r>
              <a:rPr lang="en-US" sz="1200" b="1" dirty="0">
                <a:solidFill>
                  <a:schemeClr val="tx1"/>
                </a:solidFill>
                <a:cs typeface="Arial" charset="0"/>
              </a:rPr>
              <a:t>Mix</a:t>
            </a:r>
          </a:p>
        </p:txBody>
      </p:sp>
      <p:sp>
        <p:nvSpPr>
          <p:cNvPr id="17" name="Rectangle 73"/>
          <p:cNvSpPr>
            <a:spLocks noChangeArrowheads="1"/>
          </p:cNvSpPr>
          <p:nvPr/>
        </p:nvSpPr>
        <p:spPr bwMode="auto">
          <a:xfrm>
            <a:off x="2962278" y="5080555"/>
            <a:ext cx="1289304" cy="363176"/>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Net</a:t>
            </a:r>
          </a:p>
          <a:p>
            <a:pPr algn="ctr" defTabSz="1009625" eaLnBrk="0" hangingPunct="0">
              <a:lnSpc>
                <a:spcPct val="85000"/>
              </a:lnSpc>
              <a:defRPr/>
            </a:pPr>
            <a:r>
              <a:rPr lang="en-US" sz="1200" b="1" dirty="0">
                <a:solidFill>
                  <a:schemeClr val="tx1"/>
                </a:solidFill>
                <a:cs typeface="Arial" charset="0"/>
              </a:rPr>
              <a:t>Pricing</a:t>
            </a:r>
          </a:p>
        </p:txBody>
      </p:sp>
      <p:sp>
        <p:nvSpPr>
          <p:cNvPr id="18" name="Rectangle 77"/>
          <p:cNvSpPr>
            <a:spLocks noChangeArrowheads="1"/>
          </p:cNvSpPr>
          <p:nvPr/>
        </p:nvSpPr>
        <p:spPr bwMode="auto">
          <a:xfrm>
            <a:off x="5398151"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Other</a:t>
            </a:r>
          </a:p>
        </p:txBody>
      </p:sp>
      <p:sp>
        <p:nvSpPr>
          <p:cNvPr id="19" name="Rectangle 73"/>
          <p:cNvSpPr>
            <a:spLocks noChangeArrowheads="1"/>
          </p:cNvSpPr>
          <p:nvPr/>
        </p:nvSpPr>
        <p:spPr bwMode="auto">
          <a:xfrm>
            <a:off x="4161477"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Cost</a:t>
            </a:r>
          </a:p>
        </p:txBody>
      </p:sp>
      <p:sp>
        <p:nvSpPr>
          <p:cNvPr id="20" name="Rectangle 70"/>
          <p:cNvSpPr>
            <a:spLocks noChangeArrowheads="1"/>
          </p:cNvSpPr>
          <p:nvPr/>
        </p:nvSpPr>
        <p:spPr bwMode="auto">
          <a:xfrm>
            <a:off x="6597348"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1Q 2018</a:t>
            </a:r>
          </a:p>
        </p:txBody>
      </p:sp>
      <p:sp>
        <p:nvSpPr>
          <p:cNvPr id="21" name="Rectangle 71"/>
          <p:cNvSpPr>
            <a:spLocks noChangeArrowheads="1"/>
          </p:cNvSpPr>
          <p:nvPr/>
        </p:nvSpPr>
        <p:spPr bwMode="auto">
          <a:xfrm>
            <a:off x="563880"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1Q 2017</a:t>
            </a:r>
          </a:p>
        </p:txBody>
      </p:sp>
      <p:cxnSp>
        <p:nvCxnSpPr>
          <p:cNvPr id="22" name="Straight Connector 21"/>
          <p:cNvCxnSpPr/>
          <p:nvPr/>
        </p:nvCxnSpPr>
        <p:spPr>
          <a:xfrm flipH="1">
            <a:off x="570906" y="4905148"/>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44629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5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67534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6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 name="Picture 4">
            <a:extLst>
              <a:ext uri="{FF2B5EF4-FFF2-40B4-BE49-F238E27FC236}">
                <a16:creationId xmlns:a16="http://schemas.microsoft.com/office/drawing/2014/main" id="{EF2D2BEF-481A-9A44-AF7C-88F068E6179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094" t="15129" r="7776" b="16320"/>
          <a:stretch/>
        </p:blipFill>
        <p:spPr>
          <a:xfrm>
            <a:off x="9308592" y="3063240"/>
            <a:ext cx="2038524" cy="830512"/>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21030746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_Title &amp; Side Bumper">
    <p:spTree>
      <p:nvGrpSpPr>
        <p:cNvPr id="1" name=""/>
        <p:cNvGrpSpPr/>
        <p:nvPr/>
      </p:nvGrpSpPr>
      <p:grpSpPr>
        <a:xfrm>
          <a:off x="0" y="0"/>
          <a:ext cx="0" cy="0"/>
          <a:chOff x="0" y="0"/>
          <a:chExt cx="0" cy="0"/>
        </a:xfrm>
      </p:grpSpPr>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26100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7"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11"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3"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4"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5"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6" name="TextBox 15"/>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7" name="TextBox 16"/>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18"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19"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0680949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Major Initiativ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32"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33"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34"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35"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36"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37"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38" name="TextBox 37"/>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39" name="TextBox 38"/>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40"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41"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2006787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4620724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1"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12"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13"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5"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6"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7"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8" name="TextBox 17"/>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9" name="TextBox 18"/>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20"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21"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Tree>
    <p:extLst>
      <p:ext uri="{BB962C8B-B14F-4D97-AF65-F5344CB8AC3E}">
        <p14:creationId xmlns:p14="http://schemas.microsoft.com/office/powerpoint/2010/main" val="22461912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8384167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7591894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B4225-528E-431B-9B85-29D959DACF0D}"/>
              </a:ext>
            </a:extLst>
          </p:cNvPr>
          <p:cNvSpPr>
            <a:spLocks noGrp="1"/>
          </p:cNvSpPr>
          <p:nvPr>
            <p:ph type="title"/>
          </p:nvPr>
        </p:nvSpPr>
        <p:spPr>
          <a:xfrm>
            <a:off x="839788" y="365125"/>
            <a:ext cx="10515600" cy="1325563"/>
          </a:xfrm>
        </p:spPr>
        <p:txBody>
          <a:body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2F3BB9FC-5A45-4C0C-935B-91F8444C48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a:extLst>
              <a:ext uri="{FF2B5EF4-FFF2-40B4-BE49-F238E27FC236}">
                <a16:creationId xmlns:a16="http://schemas.microsoft.com/office/drawing/2014/main" id="{4F69E81D-9638-46FE-B4CB-298C71D4E7D2}"/>
              </a:ext>
            </a:extLst>
          </p:cNvPr>
          <p:cNvSpPr>
            <a:spLocks noGrp="1"/>
          </p:cNvSpPr>
          <p:nvPr>
            <p:ph sz="half" idx="2"/>
          </p:nvPr>
        </p:nvSpPr>
        <p:spPr>
          <a:xfrm>
            <a:off x="839788" y="2505075"/>
            <a:ext cx="5157787" cy="368458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Text Placeholder 4">
            <a:extLst>
              <a:ext uri="{FF2B5EF4-FFF2-40B4-BE49-F238E27FC236}">
                <a16:creationId xmlns:a16="http://schemas.microsoft.com/office/drawing/2014/main" id="{F24FDEDA-3E2A-4246-8F61-A804C868411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a:extLst>
              <a:ext uri="{FF2B5EF4-FFF2-40B4-BE49-F238E27FC236}">
                <a16:creationId xmlns:a16="http://schemas.microsoft.com/office/drawing/2014/main" id="{749CDD20-F955-4086-9DD2-ADC22A81874E}"/>
              </a:ext>
            </a:extLst>
          </p:cNvPr>
          <p:cNvSpPr>
            <a:spLocks noGrp="1"/>
          </p:cNvSpPr>
          <p:nvPr>
            <p:ph sz="quarter" idx="4"/>
          </p:nvPr>
        </p:nvSpPr>
        <p:spPr>
          <a:xfrm>
            <a:off x="6172200" y="2505075"/>
            <a:ext cx="5183188" cy="368458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7" name="Date Placeholder 6">
            <a:extLst>
              <a:ext uri="{FF2B5EF4-FFF2-40B4-BE49-F238E27FC236}">
                <a16:creationId xmlns:a16="http://schemas.microsoft.com/office/drawing/2014/main" id="{DF42B95E-2161-4AB4-8FAD-3237D4D1402F}"/>
              </a:ext>
            </a:extLst>
          </p:cNvPr>
          <p:cNvSpPr>
            <a:spLocks noGrp="1"/>
          </p:cNvSpPr>
          <p:nvPr>
            <p:ph type="dt" sz="half" idx="10"/>
          </p:nvPr>
        </p:nvSpPr>
        <p:spPr/>
        <p:txBody>
          <a:bodyPr/>
          <a:lstStyle/>
          <a:p>
            <a:fld id="{752959B0-7B04-44EF-BC76-BB1434632F60}" type="datetimeFigureOut">
              <a:rPr lang="zh-CN" altLang="en-US" smtClean="0"/>
              <a:t>2023/2/3</a:t>
            </a:fld>
            <a:endParaRPr lang="zh-CN" altLang="en-US"/>
          </a:p>
        </p:txBody>
      </p:sp>
      <p:sp>
        <p:nvSpPr>
          <p:cNvPr id="8" name="Footer Placeholder 7">
            <a:extLst>
              <a:ext uri="{FF2B5EF4-FFF2-40B4-BE49-F238E27FC236}">
                <a16:creationId xmlns:a16="http://schemas.microsoft.com/office/drawing/2014/main" id="{F24AF819-8C05-48BB-B787-CD60E499FD06}"/>
              </a:ext>
            </a:extLst>
          </p:cNvPr>
          <p:cNvSpPr>
            <a:spLocks noGrp="1"/>
          </p:cNvSpPr>
          <p:nvPr>
            <p:ph type="ftr" sz="quarter" idx="11"/>
          </p:nvPr>
        </p:nvSpPr>
        <p:spPr/>
        <p:txBody>
          <a:bodyPr/>
          <a:lstStyle/>
          <a:p>
            <a:endParaRPr lang="zh-CN" altLang="en-US"/>
          </a:p>
        </p:txBody>
      </p:sp>
      <p:sp>
        <p:nvSpPr>
          <p:cNvPr id="9" name="Slide Number Placeholder 8">
            <a:extLst>
              <a:ext uri="{FF2B5EF4-FFF2-40B4-BE49-F238E27FC236}">
                <a16:creationId xmlns:a16="http://schemas.microsoft.com/office/drawing/2014/main" id="{8653F7E4-47F0-410D-98C2-5D573A879DC3}"/>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2786639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8394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2" name="TextBox 11"/>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3"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3811448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Text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13" name="TextBox 12"/>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4"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0966835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0" name="Text Placeholder 16"/>
          <p:cNvSpPr>
            <a:spLocks noGrp="1"/>
          </p:cNvSpPr>
          <p:nvPr>
            <p:ph type="body" sz="quarter" idx="11" hasCustomPrompt="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2" name="Straight Connector 11"/>
          <p:cNvCxnSpPr/>
          <p:nvPr/>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838200" y="186292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17651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Boxer w_bumpe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0" name="Text Placeholder 16"/>
          <p:cNvSpPr>
            <a:spLocks noGrp="1"/>
          </p:cNvSpPr>
          <p:nvPr>
            <p:ph type="body" sz="quarter" idx="11" hasCustomPrompt="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2" name="Straight Connector 11"/>
          <p:cNvCxnSpPr/>
          <p:nvPr/>
        </p:nvCxnSpPr>
        <p:spPr>
          <a:xfrm flipH="1">
            <a:off x="838200" y="504152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838200" y="164050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5"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0454364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8" name="Text Placeholder 7"/>
          <p:cNvSpPr txBox="1">
            <a:spLocks/>
          </p:cNvSpPr>
          <p:nvPr/>
        </p:nvSpPr>
        <p:spPr>
          <a:xfrm>
            <a:off x="915893" y="6576595"/>
            <a:ext cx="4700544" cy="255409"/>
          </a:xfrm>
          <a:prstGeom prst="rect">
            <a:avLst/>
          </a:prstGeom>
        </p:spPr>
        <p:txBody>
          <a:bodyPr lIns="0">
            <a:noAutofit/>
          </a:bodyPr>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zh-CN" sz="700" b="0" i="0" u="none" strike="noStrike" kern="1200" cap="none" spc="0" normalizeH="0" baseline="0" noProof="0" dirty="0">
                <a:ln>
                  <a:noFill/>
                </a:ln>
                <a:solidFill>
                  <a:srgbClr val="C8CCD1">
                    <a:lumMod val="50000"/>
                  </a:srgbClr>
                </a:solidFill>
                <a:effectLst/>
                <a:uLnTx/>
                <a:uFillTx/>
                <a:latin typeface="Arial" panose="020B0604020202020204"/>
              </a:rPr>
              <a:t>The information contained herein does not constitute the Company’s forecast of financial performance and has been prepared solely for business planning purposes to determine actions the Company may take to meet its plan</a:t>
            </a:r>
          </a:p>
        </p:txBody>
      </p:sp>
      <p:cxnSp>
        <p:nvCxnSpPr>
          <p:cNvPr id="12" name="Straight Connector 11"/>
          <p:cNvCxnSpPr/>
          <p:nvPr/>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62264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 Box 11"/>
          <p:cNvSpPr txBox="1">
            <a:spLocks noChangeArrowheads="1"/>
          </p:cNvSpPr>
          <p:nvPr/>
        </p:nvSpPr>
        <p:spPr bwMode="blackWhite">
          <a:xfrm>
            <a:off x="1105969"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16" name="Text Box 26"/>
          <p:cNvSpPr txBox="1">
            <a:spLocks noChangeArrowheads="1"/>
          </p:cNvSpPr>
          <p:nvPr/>
        </p:nvSpPr>
        <p:spPr bwMode="blackWhite">
          <a:xfrm>
            <a:off x="2139970"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17" name="Text Box 26"/>
          <p:cNvSpPr txBox="1">
            <a:spLocks noChangeArrowheads="1"/>
          </p:cNvSpPr>
          <p:nvPr/>
        </p:nvSpPr>
        <p:spPr bwMode="blackWhite">
          <a:xfrm>
            <a:off x="3173817"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18" name="Text Box 26"/>
          <p:cNvSpPr txBox="1">
            <a:spLocks noChangeArrowheads="1"/>
          </p:cNvSpPr>
          <p:nvPr/>
        </p:nvSpPr>
        <p:spPr bwMode="blackWhite">
          <a:xfrm>
            <a:off x="5275406" y="4973768"/>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grpSp>
        <p:nvGrpSpPr>
          <p:cNvPr id="19" name="Group 18"/>
          <p:cNvGrpSpPr/>
          <p:nvPr/>
        </p:nvGrpSpPr>
        <p:grpSpPr>
          <a:xfrm>
            <a:off x="776217" y="1546076"/>
            <a:ext cx="10848145" cy="0"/>
            <a:chOff x="928615" y="4581960"/>
            <a:chExt cx="10848145" cy="0"/>
          </a:xfrm>
        </p:grpSpPr>
        <p:cxnSp>
          <p:nvCxnSpPr>
            <p:cNvPr id="20" name="Straight Connector 19"/>
            <p:cNvCxnSpPr/>
            <p:nvPr/>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2" name="Text Box 26"/>
          <p:cNvSpPr txBox="1">
            <a:spLocks noChangeArrowheads="1"/>
          </p:cNvSpPr>
          <p:nvPr/>
        </p:nvSpPr>
        <p:spPr bwMode="blackWhite">
          <a:xfrm>
            <a:off x="4204381"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3" name="Text Box 11"/>
          <p:cNvSpPr txBox="1">
            <a:spLocks noChangeArrowheads="1"/>
          </p:cNvSpPr>
          <p:nvPr/>
        </p:nvSpPr>
        <p:spPr bwMode="blackWhite">
          <a:xfrm>
            <a:off x="6752837"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24" name="Text Box 26"/>
          <p:cNvSpPr txBox="1">
            <a:spLocks noChangeArrowheads="1"/>
          </p:cNvSpPr>
          <p:nvPr/>
        </p:nvSpPr>
        <p:spPr bwMode="blackWhite">
          <a:xfrm>
            <a:off x="7786838"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25" name="Text Box 26"/>
          <p:cNvSpPr txBox="1">
            <a:spLocks noChangeArrowheads="1"/>
          </p:cNvSpPr>
          <p:nvPr/>
        </p:nvSpPr>
        <p:spPr bwMode="blackWhite">
          <a:xfrm>
            <a:off x="8820685"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26" name="Text Box 26"/>
          <p:cNvSpPr txBox="1">
            <a:spLocks noChangeArrowheads="1"/>
          </p:cNvSpPr>
          <p:nvPr/>
        </p:nvSpPr>
        <p:spPr bwMode="blackWhite">
          <a:xfrm>
            <a:off x="10922274" y="4980512"/>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sp>
        <p:nvSpPr>
          <p:cNvPr id="27" name="Text Box 26"/>
          <p:cNvSpPr txBox="1">
            <a:spLocks noChangeArrowheads="1"/>
          </p:cNvSpPr>
          <p:nvPr/>
        </p:nvSpPr>
        <p:spPr bwMode="blackWhite">
          <a:xfrm>
            <a:off x="9851249"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1" name="Rectangle 27"/>
          <p:cNvSpPr>
            <a:spLocks noChangeArrowheads="1"/>
          </p:cNvSpPr>
          <p:nvPr/>
        </p:nvSpPr>
        <p:spPr bwMode="blackWhite">
          <a:xfrm>
            <a:off x="819309" y="1669202"/>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32" name="Freeform 28"/>
          <p:cNvSpPr>
            <a:spLocks noChangeAspect="1"/>
          </p:cNvSpPr>
          <p:nvPr/>
        </p:nvSpPr>
        <p:spPr bwMode="blackWhite">
          <a:xfrm rot="4200000">
            <a:off x="819404" y="1829248"/>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33" name="Text Box 26"/>
          <p:cNvSpPr txBox="1">
            <a:spLocks noChangeArrowheads="1"/>
          </p:cNvSpPr>
          <p:nvPr/>
        </p:nvSpPr>
        <p:spPr bwMode="blackWhite">
          <a:xfrm>
            <a:off x="956325" y="1586835"/>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34" name="Oval 33"/>
          <p:cNvSpPr/>
          <p:nvPr/>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Tree>
    <p:extLst>
      <p:ext uri="{BB962C8B-B14F-4D97-AF65-F5344CB8AC3E}">
        <p14:creationId xmlns:p14="http://schemas.microsoft.com/office/powerpoint/2010/main" val="31232457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Boxer w_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776217" y="1546076"/>
            <a:ext cx="10848145" cy="0"/>
            <a:chOff x="928615" y="4581960"/>
            <a:chExt cx="10848145" cy="0"/>
          </a:xfrm>
        </p:grpSpPr>
        <p:cxnSp>
          <p:nvCxnSpPr>
            <p:cNvPr id="20" name="Straight Connector 19"/>
            <p:cNvCxnSpPr/>
            <p:nvPr/>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41523149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7991593" y="4955755"/>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971456"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991593" y="1546076"/>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71456"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p:nvCxnSpPr>
        <p:spPr>
          <a:xfrm flipH="1">
            <a:off x="4452080"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452080"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3" name="Text Box 15"/>
          <p:cNvSpPr txBox="1">
            <a:spLocks noChangeArrowheads="1"/>
          </p:cNvSpPr>
          <p:nvPr/>
        </p:nvSpPr>
        <p:spPr bwMode="auto">
          <a:xfrm>
            <a:off x="2232341"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4" name="Text Box 16"/>
          <p:cNvSpPr txBox="1">
            <a:spLocks noChangeArrowheads="1"/>
          </p:cNvSpPr>
          <p:nvPr/>
        </p:nvSpPr>
        <p:spPr bwMode="auto">
          <a:xfrm>
            <a:off x="1175323"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	</a:t>
            </a:r>
          </a:p>
        </p:txBody>
      </p:sp>
      <p:sp>
        <p:nvSpPr>
          <p:cNvPr id="25" name="Text Box 15"/>
          <p:cNvSpPr txBox="1">
            <a:spLocks noChangeArrowheads="1"/>
          </p:cNvSpPr>
          <p:nvPr/>
        </p:nvSpPr>
        <p:spPr bwMode="auto">
          <a:xfrm>
            <a:off x="330080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26" name="Text Box 15"/>
          <p:cNvSpPr txBox="1">
            <a:spLocks noChangeArrowheads="1"/>
          </p:cNvSpPr>
          <p:nvPr/>
        </p:nvSpPr>
        <p:spPr bwMode="auto">
          <a:xfrm>
            <a:off x="571210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7" name="Text Box 16"/>
          <p:cNvSpPr txBox="1">
            <a:spLocks noChangeArrowheads="1"/>
          </p:cNvSpPr>
          <p:nvPr/>
        </p:nvSpPr>
        <p:spPr bwMode="auto">
          <a:xfrm>
            <a:off x="4637531"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1" name="Text Box 15"/>
          <p:cNvSpPr txBox="1">
            <a:spLocks noChangeArrowheads="1"/>
          </p:cNvSpPr>
          <p:nvPr/>
        </p:nvSpPr>
        <p:spPr bwMode="auto">
          <a:xfrm>
            <a:off x="678058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32" name="Text Box 15"/>
          <p:cNvSpPr txBox="1">
            <a:spLocks noChangeArrowheads="1"/>
          </p:cNvSpPr>
          <p:nvPr/>
        </p:nvSpPr>
        <p:spPr bwMode="auto">
          <a:xfrm>
            <a:off x="924947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33" name="Text Box 16"/>
          <p:cNvSpPr txBox="1">
            <a:spLocks noChangeArrowheads="1"/>
          </p:cNvSpPr>
          <p:nvPr/>
        </p:nvSpPr>
        <p:spPr bwMode="auto">
          <a:xfrm>
            <a:off x="817986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4" name="Text Box 15"/>
          <p:cNvSpPr txBox="1">
            <a:spLocks noChangeArrowheads="1"/>
          </p:cNvSpPr>
          <p:nvPr/>
        </p:nvSpPr>
        <p:spPr bwMode="auto">
          <a:xfrm>
            <a:off x="1032099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Tree>
    <p:extLst>
      <p:ext uri="{BB962C8B-B14F-4D97-AF65-F5344CB8AC3E}">
        <p14:creationId xmlns:p14="http://schemas.microsoft.com/office/powerpoint/2010/main" val="8563323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Boxer w/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245975"/>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09" name="TextBox 10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1" name="Picture 1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960573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D5D2F-0947-4CC7-9781-1934A8C9A676}"/>
              </a:ext>
            </a:extLst>
          </p:cNvPr>
          <p:cNvSpPr>
            <a:spLocks noGrp="1"/>
          </p:cNvSpPr>
          <p:nvPr>
            <p:ph type="title"/>
          </p:nvPr>
        </p:nvSpPr>
        <p:spPr/>
        <p:txBody>
          <a:bodyPr/>
          <a:lstStyle/>
          <a:p>
            <a:r>
              <a:rPr lang="en-US" altLang="zh-CN"/>
              <a:t>Click to edit Master title style</a:t>
            </a:r>
            <a:endParaRPr lang="zh-CN" altLang="en-US"/>
          </a:p>
        </p:txBody>
      </p:sp>
      <p:sp>
        <p:nvSpPr>
          <p:cNvPr id="3" name="Date Placeholder 2">
            <a:extLst>
              <a:ext uri="{FF2B5EF4-FFF2-40B4-BE49-F238E27FC236}">
                <a16:creationId xmlns:a16="http://schemas.microsoft.com/office/drawing/2014/main" id="{C2FF235D-4CCF-4B57-B5A9-7EEECD60550D}"/>
              </a:ext>
            </a:extLst>
          </p:cNvPr>
          <p:cNvSpPr>
            <a:spLocks noGrp="1"/>
          </p:cNvSpPr>
          <p:nvPr>
            <p:ph type="dt" sz="half" idx="10"/>
          </p:nvPr>
        </p:nvSpPr>
        <p:spPr/>
        <p:txBody>
          <a:bodyPr/>
          <a:lstStyle/>
          <a:p>
            <a:fld id="{752959B0-7B04-44EF-BC76-BB1434632F60}" type="datetimeFigureOut">
              <a:rPr lang="zh-CN" altLang="en-US" smtClean="0"/>
              <a:t>2023/2/3</a:t>
            </a:fld>
            <a:endParaRPr lang="zh-CN" altLang="en-US"/>
          </a:p>
        </p:txBody>
      </p:sp>
      <p:sp>
        <p:nvSpPr>
          <p:cNvPr id="4" name="Footer Placeholder 3">
            <a:extLst>
              <a:ext uri="{FF2B5EF4-FFF2-40B4-BE49-F238E27FC236}">
                <a16:creationId xmlns:a16="http://schemas.microsoft.com/office/drawing/2014/main" id="{8E5A284E-F2CB-464A-B80B-4B2121943367}"/>
              </a:ext>
            </a:extLst>
          </p:cNvPr>
          <p:cNvSpPr>
            <a:spLocks noGrp="1"/>
          </p:cNvSpPr>
          <p:nvPr>
            <p:ph type="ftr" sz="quarter" idx="11"/>
          </p:nvPr>
        </p:nvSpPr>
        <p:spPr/>
        <p:txBody>
          <a:bodyPr/>
          <a:lstStyle/>
          <a:p>
            <a:endParaRPr lang="zh-CN" altLang="en-US"/>
          </a:p>
        </p:txBody>
      </p:sp>
      <p:sp>
        <p:nvSpPr>
          <p:cNvPr id="5" name="Slide Number Placeholder 4">
            <a:extLst>
              <a:ext uri="{FF2B5EF4-FFF2-40B4-BE49-F238E27FC236}">
                <a16:creationId xmlns:a16="http://schemas.microsoft.com/office/drawing/2014/main" id="{8A2CF7C1-FA6F-4B82-81A0-95135BCDDAD7}"/>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7813870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4-Box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245975"/>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4043271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4-Boxer no bumper">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1850511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4-Boxer 1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2" name="Picture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593000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4-Boxer middle memo no bump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78204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78319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p:nvSpPr>
        <p:spPr bwMode="auto">
          <a:xfrm>
            <a:off x="78455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996876"/>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996876"/>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644571"/>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64457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644571"/>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64457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996876"/>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996876"/>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301144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301144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68694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68694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40918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40918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2" name="Picture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346323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Boxer two-row 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884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2044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801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837055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6-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8187878" y="3044584"/>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41663"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p:nvCxnSpPr>
        <p:spPr>
          <a:xfrm flipH="1">
            <a:off x="4358640"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p:nvSpPr>
        <p:spPr bwMode="auto">
          <a:xfrm>
            <a:off x="107028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p:nvSpPr>
        <p:spPr bwMode="auto">
          <a:xfrm>
            <a:off x="168084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p:nvSpPr>
        <p:spPr bwMode="auto">
          <a:xfrm>
            <a:off x="229139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p:nvSpPr>
        <p:spPr bwMode="auto">
          <a:xfrm>
            <a:off x="45973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p:nvSpPr>
        <p:spPr bwMode="auto">
          <a:xfrm>
            <a:off x="290195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p:nvSpPr>
        <p:spPr bwMode="auto">
          <a:xfrm>
            <a:off x="351251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p:nvSpPr>
        <p:spPr bwMode="auto">
          <a:xfrm>
            <a:off x="487458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p:nvSpPr>
        <p:spPr bwMode="auto">
          <a:xfrm>
            <a:off x="548513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p:nvSpPr>
        <p:spPr bwMode="auto">
          <a:xfrm>
            <a:off x="609569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p:nvSpPr>
        <p:spPr bwMode="auto">
          <a:xfrm>
            <a:off x="426402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p:nvSpPr>
        <p:spPr bwMode="auto">
          <a:xfrm>
            <a:off x="670624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p:nvSpPr>
        <p:spPr bwMode="auto">
          <a:xfrm>
            <a:off x="7316801"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p:nvSpPr>
        <p:spPr bwMode="auto">
          <a:xfrm>
            <a:off x="871921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p:nvSpPr>
        <p:spPr bwMode="auto">
          <a:xfrm>
            <a:off x="932977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p:nvSpPr>
        <p:spPr bwMode="auto">
          <a:xfrm>
            <a:off x="994032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p:nvSpPr>
        <p:spPr bwMode="auto">
          <a:xfrm>
            <a:off x="810866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p:nvSpPr>
        <p:spPr bwMode="auto">
          <a:xfrm>
            <a:off x="1055088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p:nvSpPr>
        <p:spPr bwMode="auto">
          <a:xfrm>
            <a:off x="11161438"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p:nvCxnSpPr>
        <p:spPr>
          <a:xfrm flipH="1">
            <a:off x="8207409" y="513743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44718"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207409" y="36389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44718"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4369933"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369933"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p:nvSpPr>
        <p:spPr bwMode="auto">
          <a:xfrm>
            <a:off x="107334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p:nvSpPr>
        <p:spPr bwMode="auto">
          <a:xfrm>
            <a:off x="168389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p:nvSpPr>
        <p:spPr bwMode="auto">
          <a:xfrm>
            <a:off x="229445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p:nvSpPr>
        <p:spPr bwMode="auto">
          <a:xfrm>
            <a:off x="46278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p:nvSpPr>
        <p:spPr bwMode="auto">
          <a:xfrm>
            <a:off x="290500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p:nvSpPr>
        <p:spPr bwMode="auto">
          <a:xfrm>
            <a:off x="3515565"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p:nvSpPr>
        <p:spPr bwMode="auto">
          <a:xfrm>
            <a:off x="488587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p:nvSpPr>
        <p:spPr bwMode="auto">
          <a:xfrm>
            <a:off x="549642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p:nvSpPr>
        <p:spPr bwMode="auto">
          <a:xfrm>
            <a:off x="610698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p:nvSpPr>
        <p:spPr bwMode="auto">
          <a:xfrm>
            <a:off x="427531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p:nvSpPr>
        <p:spPr bwMode="auto">
          <a:xfrm>
            <a:off x="671753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p:nvSpPr>
        <p:spPr bwMode="auto">
          <a:xfrm>
            <a:off x="732809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p:nvSpPr>
        <p:spPr bwMode="auto">
          <a:xfrm>
            <a:off x="873874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p:nvSpPr>
        <p:spPr bwMode="auto">
          <a:xfrm>
            <a:off x="934930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p:nvSpPr>
        <p:spPr bwMode="auto">
          <a:xfrm>
            <a:off x="995985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p:nvSpPr>
        <p:spPr bwMode="auto">
          <a:xfrm>
            <a:off x="812819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p:nvSpPr>
        <p:spPr bwMode="auto">
          <a:xfrm>
            <a:off x="1057041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p:nvSpPr>
        <p:spPr bwMode="auto">
          <a:xfrm>
            <a:off x="1118096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34685978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6-Boxer no 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8187878" y="3275248"/>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41663"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cxnSp>
        <p:nvCxnSpPr>
          <p:cNvPr id="16" name="Straight Connector 15"/>
          <p:cNvCxnSpPr/>
          <p:nvPr/>
        </p:nvCxnSpPr>
        <p:spPr>
          <a:xfrm flipH="1">
            <a:off x="4358640"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p:nvSpPr>
        <p:spPr bwMode="auto">
          <a:xfrm>
            <a:off x="107028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p:nvSpPr>
        <p:spPr bwMode="auto">
          <a:xfrm>
            <a:off x="168084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p:nvSpPr>
        <p:spPr bwMode="auto">
          <a:xfrm>
            <a:off x="229139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p:nvSpPr>
        <p:spPr bwMode="auto">
          <a:xfrm>
            <a:off x="45973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p:nvSpPr>
        <p:spPr bwMode="auto">
          <a:xfrm>
            <a:off x="290195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p:nvSpPr>
        <p:spPr bwMode="auto">
          <a:xfrm>
            <a:off x="351251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p:nvSpPr>
        <p:spPr bwMode="auto">
          <a:xfrm>
            <a:off x="487458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p:nvSpPr>
        <p:spPr bwMode="auto">
          <a:xfrm>
            <a:off x="548513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p:nvSpPr>
        <p:spPr bwMode="auto">
          <a:xfrm>
            <a:off x="609569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p:nvSpPr>
        <p:spPr bwMode="auto">
          <a:xfrm>
            <a:off x="426402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p:nvSpPr>
        <p:spPr bwMode="auto">
          <a:xfrm>
            <a:off x="670624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p:nvSpPr>
        <p:spPr bwMode="auto">
          <a:xfrm>
            <a:off x="7316801"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p:nvSpPr>
        <p:spPr bwMode="auto">
          <a:xfrm>
            <a:off x="871921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p:nvSpPr>
        <p:spPr bwMode="auto">
          <a:xfrm>
            <a:off x="932977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p:nvSpPr>
        <p:spPr bwMode="auto">
          <a:xfrm>
            <a:off x="994032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p:nvSpPr>
        <p:spPr bwMode="auto">
          <a:xfrm>
            <a:off x="810866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p:nvSpPr>
        <p:spPr bwMode="auto">
          <a:xfrm>
            <a:off x="1055088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p:nvSpPr>
        <p:spPr bwMode="auto">
          <a:xfrm>
            <a:off x="11161438"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p:nvCxnSpPr>
        <p:spPr>
          <a:xfrm flipH="1">
            <a:off x="8207409" y="57882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44718"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207409" y="405905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44718"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4369933"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369933"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p:nvSpPr>
        <p:spPr bwMode="auto">
          <a:xfrm>
            <a:off x="107334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p:nvSpPr>
        <p:spPr bwMode="auto">
          <a:xfrm>
            <a:off x="168389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p:nvSpPr>
        <p:spPr bwMode="auto">
          <a:xfrm>
            <a:off x="229445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p:nvSpPr>
        <p:spPr bwMode="auto">
          <a:xfrm>
            <a:off x="46278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p:nvSpPr>
        <p:spPr bwMode="auto">
          <a:xfrm>
            <a:off x="290500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p:nvSpPr>
        <p:spPr bwMode="auto">
          <a:xfrm>
            <a:off x="3515565"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p:nvSpPr>
        <p:spPr bwMode="auto">
          <a:xfrm>
            <a:off x="488587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p:nvSpPr>
        <p:spPr bwMode="auto">
          <a:xfrm>
            <a:off x="549642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p:nvSpPr>
        <p:spPr bwMode="auto">
          <a:xfrm>
            <a:off x="610698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p:nvSpPr>
        <p:spPr bwMode="auto">
          <a:xfrm>
            <a:off x="427531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p:nvSpPr>
        <p:spPr bwMode="auto">
          <a:xfrm>
            <a:off x="671753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p:nvSpPr>
        <p:spPr bwMode="auto">
          <a:xfrm>
            <a:off x="732809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p:nvSpPr>
        <p:spPr bwMode="auto">
          <a:xfrm>
            <a:off x="873874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p:nvSpPr>
        <p:spPr bwMode="auto">
          <a:xfrm>
            <a:off x="934930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p:nvSpPr>
        <p:spPr bwMode="auto">
          <a:xfrm>
            <a:off x="995985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p:nvSpPr>
        <p:spPr bwMode="auto">
          <a:xfrm>
            <a:off x="812819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p:nvSpPr>
        <p:spPr bwMode="auto">
          <a:xfrm>
            <a:off x="1057041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p:nvSpPr>
        <p:spPr bwMode="auto">
          <a:xfrm>
            <a:off x="1118096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20777478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6-Boxer, bumper - months">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8191628" y="2805682"/>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372171"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191628" y="1307174"/>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372171"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p:nvCxnSpPr>
        <p:spPr>
          <a:xfrm flipH="1">
            <a:off x="4271772"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271772"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p:nvSpPr>
        <p:spPr bwMode="auto">
          <a:xfrm>
            <a:off x="761388" y="2811466"/>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38" name="Text Box 39"/>
          <p:cNvSpPr txBox="1">
            <a:spLocks noChangeArrowheads="1"/>
          </p:cNvSpPr>
          <p:nvPr/>
        </p:nvSpPr>
        <p:spPr bwMode="auto">
          <a:xfrm>
            <a:off x="1160922" y="2811466"/>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39" name="Text Box 40"/>
          <p:cNvSpPr txBox="1">
            <a:spLocks noChangeArrowheads="1"/>
          </p:cNvSpPr>
          <p:nvPr/>
        </p:nvSpPr>
        <p:spPr bwMode="auto">
          <a:xfrm>
            <a:off x="1570074" y="2811466"/>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40" name="Text Box 41"/>
          <p:cNvSpPr txBox="1">
            <a:spLocks noChangeArrowheads="1"/>
          </p:cNvSpPr>
          <p:nvPr/>
        </p:nvSpPr>
        <p:spPr bwMode="auto">
          <a:xfrm>
            <a:off x="278497" y="2811466"/>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1" name="Text Box 42"/>
          <p:cNvSpPr txBox="1">
            <a:spLocks noChangeArrowheads="1"/>
          </p:cNvSpPr>
          <p:nvPr/>
        </p:nvSpPr>
        <p:spPr bwMode="auto">
          <a:xfrm>
            <a:off x="1977623"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42" name="Text Box 42"/>
          <p:cNvSpPr txBox="1">
            <a:spLocks noChangeArrowheads="1"/>
          </p:cNvSpPr>
          <p:nvPr/>
        </p:nvSpPr>
        <p:spPr bwMode="auto">
          <a:xfrm>
            <a:off x="3017141"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55" name="Text Placeholder 16"/>
          <p:cNvSpPr>
            <a:spLocks noGrp="1"/>
          </p:cNvSpPr>
          <p:nvPr>
            <p:ph type="body" sz="quarter" idx="16" hasCustomPrompt="1"/>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p:nvCxnSpPr>
        <p:spPr>
          <a:xfrm flipH="1">
            <a:off x="8191628" y="5055057"/>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372171"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191628" y="3556549"/>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372171"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4271772"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271772"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2" name="Text Box 42"/>
          <p:cNvSpPr txBox="1">
            <a:spLocks noChangeArrowheads="1"/>
          </p:cNvSpPr>
          <p:nvPr/>
        </p:nvSpPr>
        <p:spPr bwMode="auto">
          <a:xfrm>
            <a:off x="2497382"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83" name="Text Box 38"/>
          <p:cNvSpPr txBox="1">
            <a:spLocks noChangeArrowheads="1"/>
          </p:cNvSpPr>
          <p:nvPr/>
        </p:nvSpPr>
        <p:spPr bwMode="auto">
          <a:xfrm>
            <a:off x="3536898"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93" name="Text Box 38"/>
          <p:cNvSpPr txBox="1">
            <a:spLocks noChangeArrowheads="1"/>
          </p:cNvSpPr>
          <p:nvPr/>
        </p:nvSpPr>
        <p:spPr bwMode="auto">
          <a:xfrm>
            <a:off x="761388" y="506504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p:nvSpPr>
        <p:spPr bwMode="auto">
          <a:xfrm>
            <a:off x="1160922" y="506504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p:nvSpPr>
        <p:spPr bwMode="auto">
          <a:xfrm>
            <a:off x="1570074" y="506504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p:nvSpPr>
        <p:spPr bwMode="auto">
          <a:xfrm>
            <a:off x="278497" y="506504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p:nvSpPr>
        <p:spPr bwMode="auto">
          <a:xfrm>
            <a:off x="1977623"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p:nvSpPr>
        <p:spPr bwMode="auto">
          <a:xfrm>
            <a:off x="3017141"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99" name="Text Box 42"/>
          <p:cNvSpPr txBox="1">
            <a:spLocks noChangeArrowheads="1"/>
          </p:cNvSpPr>
          <p:nvPr/>
        </p:nvSpPr>
        <p:spPr bwMode="auto">
          <a:xfrm>
            <a:off x="2497382"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0" name="Text Box 38"/>
          <p:cNvSpPr txBox="1">
            <a:spLocks noChangeArrowheads="1"/>
          </p:cNvSpPr>
          <p:nvPr/>
        </p:nvSpPr>
        <p:spPr bwMode="auto">
          <a:xfrm>
            <a:off x="3536898"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p:nvSpPr>
        <p:spPr bwMode="auto">
          <a:xfrm>
            <a:off x="8570870" y="280821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p:nvSpPr>
        <p:spPr bwMode="auto">
          <a:xfrm>
            <a:off x="8971793" y="280821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p:nvSpPr>
        <p:spPr bwMode="auto">
          <a:xfrm>
            <a:off x="9382334" y="280821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p:nvSpPr>
        <p:spPr bwMode="auto">
          <a:xfrm>
            <a:off x="8086590" y="280821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p:nvSpPr>
        <p:spPr bwMode="auto">
          <a:xfrm>
            <a:off x="9791272"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p:nvSpPr>
        <p:spPr bwMode="auto">
          <a:xfrm>
            <a:off x="10833568"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32" name="Text Box 42"/>
          <p:cNvSpPr txBox="1">
            <a:spLocks noChangeArrowheads="1"/>
          </p:cNvSpPr>
          <p:nvPr/>
        </p:nvSpPr>
        <p:spPr bwMode="auto">
          <a:xfrm>
            <a:off x="10312420"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p:nvSpPr>
        <p:spPr bwMode="auto">
          <a:xfrm>
            <a:off x="11354719" y="280821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p:nvSpPr>
        <p:spPr bwMode="auto">
          <a:xfrm>
            <a:off x="8570870" y="50715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p:nvSpPr>
        <p:spPr bwMode="auto">
          <a:xfrm>
            <a:off x="8971793" y="50715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p:nvSpPr>
        <p:spPr bwMode="auto">
          <a:xfrm>
            <a:off x="9382334" y="50715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p:nvSpPr>
        <p:spPr bwMode="auto">
          <a:xfrm>
            <a:off x="8086590" y="50715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p:nvSpPr>
        <p:spPr bwMode="auto">
          <a:xfrm>
            <a:off x="9791272"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p:nvSpPr>
        <p:spPr bwMode="auto">
          <a:xfrm>
            <a:off x="10833568"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0" name="Text Box 42"/>
          <p:cNvSpPr txBox="1">
            <a:spLocks noChangeArrowheads="1"/>
          </p:cNvSpPr>
          <p:nvPr/>
        </p:nvSpPr>
        <p:spPr bwMode="auto">
          <a:xfrm>
            <a:off x="10312420"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p:nvSpPr>
        <p:spPr bwMode="auto">
          <a:xfrm>
            <a:off x="11354719"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p:nvSpPr>
        <p:spPr bwMode="auto">
          <a:xfrm>
            <a:off x="4650608" y="28082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p:nvSpPr>
        <p:spPr bwMode="auto">
          <a:xfrm>
            <a:off x="5051531" y="28082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p:nvSpPr>
        <p:spPr bwMode="auto">
          <a:xfrm>
            <a:off x="5462072" y="28082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p:nvSpPr>
        <p:spPr bwMode="auto">
          <a:xfrm>
            <a:off x="4166328" y="28082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p:nvSpPr>
        <p:spPr bwMode="auto">
          <a:xfrm>
            <a:off x="5871010"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p:nvSpPr>
        <p:spPr bwMode="auto">
          <a:xfrm>
            <a:off x="6913306"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8" name="Text Box 42"/>
          <p:cNvSpPr txBox="1">
            <a:spLocks noChangeArrowheads="1"/>
          </p:cNvSpPr>
          <p:nvPr/>
        </p:nvSpPr>
        <p:spPr bwMode="auto">
          <a:xfrm>
            <a:off x="6392158"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p:nvSpPr>
        <p:spPr bwMode="auto">
          <a:xfrm>
            <a:off x="7434457"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50" name="Text Box 38"/>
          <p:cNvSpPr txBox="1">
            <a:spLocks noChangeArrowheads="1"/>
          </p:cNvSpPr>
          <p:nvPr/>
        </p:nvSpPr>
        <p:spPr bwMode="auto">
          <a:xfrm>
            <a:off x="4650608" y="507152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51" name="Text Box 39"/>
          <p:cNvSpPr txBox="1">
            <a:spLocks noChangeArrowheads="1"/>
          </p:cNvSpPr>
          <p:nvPr/>
        </p:nvSpPr>
        <p:spPr bwMode="auto">
          <a:xfrm>
            <a:off x="5051531" y="507152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52" name="Text Box 40"/>
          <p:cNvSpPr txBox="1">
            <a:spLocks noChangeArrowheads="1"/>
          </p:cNvSpPr>
          <p:nvPr/>
        </p:nvSpPr>
        <p:spPr bwMode="auto">
          <a:xfrm>
            <a:off x="5462072" y="507152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53" name="Text Box 41"/>
          <p:cNvSpPr txBox="1">
            <a:spLocks noChangeArrowheads="1"/>
          </p:cNvSpPr>
          <p:nvPr/>
        </p:nvSpPr>
        <p:spPr bwMode="auto">
          <a:xfrm>
            <a:off x="4166328" y="507152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54" name="Text Box 42"/>
          <p:cNvSpPr txBox="1">
            <a:spLocks noChangeArrowheads="1"/>
          </p:cNvSpPr>
          <p:nvPr/>
        </p:nvSpPr>
        <p:spPr bwMode="auto">
          <a:xfrm>
            <a:off x="5871010"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5" name="Text Box 42"/>
          <p:cNvSpPr txBox="1">
            <a:spLocks noChangeArrowheads="1"/>
          </p:cNvSpPr>
          <p:nvPr/>
        </p:nvSpPr>
        <p:spPr bwMode="auto">
          <a:xfrm>
            <a:off x="6913306"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56" name="Text Box 42"/>
          <p:cNvSpPr txBox="1">
            <a:spLocks noChangeArrowheads="1"/>
          </p:cNvSpPr>
          <p:nvPr/>
        </p:nvSpPr>
        <p:spPr bwMode="auto">
          <a:xfrm>
            <a:off x="6392158"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7" name="Text Box 38"/>
          <p:cNvSpPr txBox="1">
            <a:spLocks noChangeArrowheads="1"/>
          </p:cNvSpPr>
          <p:nvPr/>
        </p:nvSpPr>
        <p:spPr bwMode="auto">
          <a:xfrm>
            <a:off x="7434457"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Tree>
    <p:extLst>
      <p:ext uri="{BB962C8B-B14F-4D97-AF65-F5344CB8AC3E}">
        <p14:creationId xmlns:p14="http://schemas.microsoft.com/office/powerpoint/2010/main" val="3756530549"/>
      </p:ext>
    </p:extLst>
  </p:cSld>
  <p:clrMapOvr>
    <a:masterClrMapping/>
  </p:clrMapOvr>
  <p:extLst>
    <p:ext uri="{DCECCB84-F9BA-43D5-87BE-67443E8EF086}">
      <p15:sldGuideLst xmlns:p15="http://schemas.microsoft.com/office/powerpoint/2012/main">
        <p15:guide id="1" orient="horz" pos="2160">
          <p15:clr>
            <a:srgbClr val="FBAE40"/>
          </p15:clr>
        </p15:guide>
        <p15:guide id="2" pos="240">
          <p15:clr>
            <a:srgbClr val="FBAE40"/>
          </p15:clr>
        </p15:guide>
        <p15:guide id="3" pos="5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6-Boxer, no bumper - months">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84" name="Text Placeholder 16"/>
          <p:cNvSpPr>
            <a:spLocks noGrp="1"/>
          </p:cNvSpPr>
          <p:nvPr>
            <p:ph type="body" sz="quarter" idx="12" hasCustomPrompt="1"/>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85" name="Straight Connector 84"/>
          <p:cNvCxnSpPr/>
          <p:nvPr/>
        </p:nvCxnSpPr>
        <p:spPr>
          <a:xfrm flipH="1">
            <a:off x="8191628" y="304887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H="1">
            <a:off x="372171"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8191628" y="1550365"/>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a:off x="372171"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4271772"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H="1">
            <a:off x="4271772"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 Placeholder 16"/>
          <p:cNvSpPr>
            <a:spLocks noGrp="1"/>
          </p:cNvSpPr>
          <p:nvPr>
            <p:ph type="body" sz="quarter" idx="14" hasCustomPrompt="1"/>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2" name="Text Placeholder 16"/>
          <p:cNvSpPr>
            <a:spLocks noGrp="1"/>
          </p:cNvSpPr>
          <p:nvPr>
            <p:ph type="body" sz="quarter" idx="15" hasCustomPrompt="1"/>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3" name="Text Box 38"/>
          <p:cNvSpPr txBox="1">
            <a:spLocks noChangeArrowheads="1"/>
          </p:cNvSpPr>
          <p:nvPr/>
        </p:nvSpPr>
        <p:spPr bwMode="auto">
          <a:xfrm>
            <a:off x="761388" y="305465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p:nvSpPr>
        <p:spPr bwMode="auto">
          <a:xfrm>
            <a:off x="1160922" y="305465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p:nvSpPr>
        <p:spPr bwMode="auto">
          <a:xfrm>
            <a:off x="1570074" y="305465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p:nvSpPr>
        <p:spPr bwMode="auto">
          <a:xfrm>
            <a:off x="278497" y="305465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p:nvSpPr>
        <p:spPr bwMode="auto">
          <a:xfrm>
            <a:off x="1977623"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p:nvSpPr>
        <p:spPr bwMode="auto">
          <a:xfrm>
            <a:off x="3017141"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99" name="Text Placeholder 16"/>
          <p:cNvSpPr>
            <a:spLocks noGrp="1"/>
          </p:cNvSpPr>
          <p:nvPr>
            <p:ph type="body" sz="quarter" idx="16" hasCustomPrompt="1"/>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00" name="Straight Connector 99"/>
          <p:cNvCxnSpPr/>
          <p:nvPr/>
        </p:nvCxnSpPr>
        <p:spPr>
          <a:xfrm flipH="1">
            <a:off x="8191628" y="5560901"/>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372171"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8191628" y="406239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a:off x="372171"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4271772"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4271772"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6" name="Text Placeholder 16"/>
          <p:cNvSpPr>
            <a:spLocks noGrp="1"/>
          </p:cNvSpPr>
          <p:nvPr>
            <p:ph type="body" sz="quarter" idx="17" hasCustomPrompt="1"/>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7" name="Text Placeholder 16"/>
          <p:cNvSpPr>
            <a:spLocks noGrp="1"/>
          </p:cNvSpPr>
          <p:nvPr>
            <p:ph type="body" sz="quarter" idx="18" hasCustomPrompt="1"/>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8" name="Text Box 42"/>
          <p:cNvSpPr txBox="1">
            <a:spLocks noChangeArrowheads="1"/>
          </p:cNvSpPr>
          <p:nvPr/>
        </p:nvSpPr>
        <p:spPr bwMode="auto">
          <a:xfrm>
            <a:off x="2497382"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9" name="Text Box 38"/>
          <p:cNvSpPr txBox="1">
            <a:spLocks noChangeArrowheads="1"/>
          </p:cNvSpPr>
          <p:nvPr/>
        </p:nvSpPr>
        <p:spPr bwMode="auto">
          <a:xfrm>
            <a:off x="3536898"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0" name="Text Box 38"/>
          <p:cNvSpPr txBox="1">
            <a:spLocks noChangeArrowheads="1"/>
          </p:cNvSpPr>
          <p:nvPr/>
        </p:nvSpPr>
        <p:spPr bwMode="auto">
          <a:xfrm>
            <a:off x="761388" y="557088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1" name="Text Box 39"/>
          <p:cNvSpPr txBox="1">
            <a:spLocks noChangeArrowheads="1"/>
          </p:cNvSpPr>
          <p:nvPr/>
        </p:nvSpPr>
        <p:spPr bwMode="auto">
          <a:xfrm>
            <a:off x="1160922" y="557088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12" name="Text Box 40"/>
          <p:cNvSpPr txBox="1">
            <a:spLocks noChangeArrowheads="1"/>
          </p:cNvSpPr>
          <p:nvPr/>
        </p:nvSpPr>
        <p:spPr bwMode="auto">
          <a:xfrm>
            <a:off x="1570074" y="557088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13" name="Text Box 41"/>
          <p:cNvSpPr txBox="1">
            <a:spLocks noChangeArrowheads="1"/>
          </p:cNvSpPr>
          <p:nvPr/>
        </p:nvSpPr>
        <p:spPr bwMode="auto">
          <a:xfrm>
            <a:off x="278497" y="557088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14" name="Text Box 42"/>
          <p:cNvSpPr txBox="1">
            <a:spLocks noChangeArrowheads="1"/>
          </p:cNvSpPr>
          <p:nvPr/>
        </p:nvSpPr>
        <p:spPr bwMode="auto">
          <a:xfrm>
            <a:off x="1977623"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5" name="Text Box 42"/>
          <p:cNvSpPr txBox="1">
            <a:spLocks noChangeArrowheads="1"/>
          </p:cNvSpPr>
          <p:nvPr/>
        </p:nvSpPr>
        <p:spPr bwMode="auto">
          <a:xfrm>
            <a:off x="3017141"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16" name="Text Box 42"/>
          <p:cNvSpPr txBox="1">
            <a:spLocks noChangeArrowheads="1"/>
          </p:cNvSpPr>
          <p:nvPr/>
        </p:nvSpPr>
        <p:spPr bwMode="auto">
          <a:xfrm>
            <a:off x="2497382"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7" name="Text Box 38"/>
          <p:cNvSpPr txBox="1">
            <a:spLocks noChangeArrowheads="1"/>
          </p:cNvSpPr>
          <p:nvPr/>
        </p:nvSpPr>
        <p:spPr bwMode="auto">
          <a:xfrm>
            <a:off x="3536898"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8" name="Text Box 38"/>
          <p:cNvSpPr txBox="1">
            <a:spLocks noChangeArrowheads="1"/>
          </p:cNvSpPr>
          <p:nvPr/>
        </p:nvSpPr>
        <p:spPr bwMode="auto">
          <a:xfrm>
            <a:off x="8570870" y="3051409"/>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9" name="Text Box 39"/>
          <p:cNvSpPr txBox="1">
            <a:spLocks noChangeArrowheads="1"/>
          </p:cNvSpPr>
          <p:nvPr/>
        </p:nvSpPr>
        <p:spPr bwMode="auto">
          <a:xfrm>
            <a:off x="8971793" y="3051409"/>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0" name="Text Box 40"/>
          <p:cNvSpPr txBox="1">
            <a:spLocks noChangeArrowheads="1"/>
          </p:cNvSpPr>
          <p:nvPr/>
        </p:nvSpPr>
        <p:spPr bwMode="auto">
          <a:xfrm>
            <a:off x="9382334" y="3051409"/>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1" name="Text Box 41"/>
          <p:cNvSpPr txBox="1">
            <a:spLocks noChangeArrowheads="1"/>
          </p:cNvSpPr>
          <p:nvPr/>
        </p:nvSpPr>
        <p:spPr bwMode="auto">
          <a:xfrm>
            <a:off x="8086590" y="3051409"/>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22" name="Text Box 42"/>
          <p:cNvSpPr txBox="1">
            <a:spLocks noChangeArrowheads="1"/>
          </p:cNvSpPr>
          <p:nvPr/>
        </p:nvSpPr>
        <p:spPr bwMode="auto">
          <a:xfrm>
            <a:off x="9791272"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3" name="Text Box 42"/>
          <p:cNvSpPr txBox="1">
            <a:spLocks noChangeArrowheads="1"/>
          </p:cNvSpPr>
          <p:nvPr/>
        </p:nvSpPr>
        <p:spPr bwMode="auto">
          <a:xfrm>
            <a:off x="10833568"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24" name="Text Box 42"/>
          <p:cNvSpPr txBox="1">
            <a:spLocks noChangeArrowheads="1"/>
          </p:cNvSpPr>
          <p:nvPr/>
        </p:nvSpPr>
        <p:spPr bwMode="auto">
          <a:xfrm>
            <a:off x="10312420"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5" name="Text Box 38"/>
          <p:cNvSpPr txBox="1">
            <a:spLocks noChangeArrowheads="1"/>
          </p:cNvSpPr>
          <p:nvPr/>
        </p:nvSpPr>
        <p:spPr bwMode="auto">
          <a:xfrm>
            <a:off x="11354719"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p:nvSpPr>
        <p:spPr bwMode="auto">
          <a:xfrm>
            <a:off x="8570870" y="557736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p:nvSpPr>
        <p:spPr bwMode="auto">
          <a:xfrm>
            <a:off x="8971793" y="557736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p:nvSpPr>
        <p:spPr bwMode="auto">
          <a:xfrm>
            <a:off x="9382334" y="557736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p:nvSpPr>
        <p:spPr bwMode="auto">
          <a:xfrm>
            <a:off x="8086590" y="557736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p:nvSpPr>
        <p:spPr bwMode="auto">
          <a:xfrm>
            <a:off x="9791272"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p:nvSpPr>
        <p:spPr bwMode="auto">
          <a:xfrm>
            <a:off x="10833568"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32" name="Text Box 42"/>
          <p:cNvSpPr txBox="1">
            <a:spLocks noChangeArrowheads="1"/>
          </p:cNvSpPr>
          <p:nvPr/>
        </p:nvSpPr>
        <p:spPr bwMode="auto">
          <a:xfrm>
            <a:off x="10312420"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p:nvSpPr>
        <p:spPr bwMode="auto">
          <a:xfrm>
            <a:off x="11354719"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p:nvSpPr>
        <p:spPr bwMode="auto">
          <a:xfrm>
            <a:off x="4650608" y="3051414"/>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p:nvSpPr>
        <p:spPr bwMode="auto">
          <a:xfrm>
            <a:off x="5051531" y="3051414"/>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p:nvSpPr>
        <p:spPr bwMode="auto">
          <a:xfrm>
            <a:off x="5462072" y="3051414"/>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p:nvSpPr>
        <p:spPr bwMode="auto">
          <a:xfrm>
            <a:off x="4166328" y="3051414"/>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p:nvSpPr>
        <p:spPr bwMode="auto">
          <a:xfrm>
            <a:off x="5871010"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p:nvSpPr>
        <p:spPr bwMode="auto">
          <a:xfrm>
            <a:off x="6913306"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0" name="Text Box 42"/>
          <p:cNvSpPr txBox="1">
            <a:spLocks noChangeArrowheads="1"/>
          </p:cNvSpPr>
          <p:nvPr/>
        </p:nvSpPr>
        <p:spPr bwMode="auto">
          <a:xfrm>
            <a:off x="6392158"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p:nvSpPr>
        <p:spPr bwMode="auto">
          <a:xfrm>
            <a:off x="7434457"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p:nvSpPr>
        <p:spPr bwMode="auto">
          <a:xfrm>
            <a:off x="4650608" y="5577372"/>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p:nvSpPr>
        <p:spPr bwMode="auto">
          <a:xfrm>
            <a:off x="5051531" y="5577372"/>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p:nvSpPr>
        <p:spPr bwMode="auto">
          <a:xfrm>
            <a:off x="5462072" y="5577372"/>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p:nvSpPr>
        <p:spPr bwMode="auto">
          <a:xfrm>
            <a:off x="4166328" y="5577372"/>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p:nvSpPr>
        <p:spPr bwMode="auto">
          <a:xfrm>
            <a:off x="5871010"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p:nvSpPr>
        <p:spPr bwMode="auto">
          <a:xfrm>
            <a:off x="6913306"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8" name="Text Box 42"/>
          <p:cNvSpPr txBox="1">
            <a:spLocks noChangeArrowheads="1"/>
          </p:cNvSpPr>
          <p:nvPr/>
        </p:nvSpPr>
        <p:spPr bwMode="auto">
          <a:xfrm>
            <a:off x="6392158"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p:nvSpPr>
        <p:spPr bwMode="auto">
          <a:xfrm>
            <a:off x="7434457"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Tree>
    <p:extLst>
      <p:ext uri="{BB962C8B-B14F-4D97-AF65-F5344CB8AC3E}">
        <p14:creationId xmlns:p14="http://schemas.microsoft.com/office/powerpoint/2010/main" val="37907247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705882"/>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D133E7-423F-4CF1-BBA4-66C4A2BADF61}"/>
              </a:ext>
            </a:extLst>
          </p:cNvPr>
          <p:cNvSpPr>
            <a:spLocks noGrp="1"/>
          </p:cNvSpPr>
          <p:nvPr>
            <p:ph type="dt" sz="half" idx="10"/>
          </p:nvPr>
        </p:nvSpPr>
        <p:spPr/>
        <p:txBody>
          <a:bodyPr/>
          <a:lstStyle/>
          <a:p>
            <a:fld id="{752959B0-7B04-44EF-BC76-BB1434632F60}" type="datetimeFigureOut">
              <a:rPr lang="zh-CN" altLang="en-US" smtClean="0"/>
              <a:t>2023/2/3</a:t>
            </a:fld>
            <a:endParaRPr lang="zh-CN" altLang="en-US"/>
          </a:p>
        </p:txBody>
      </p:sp>
      <p:sp>
        <p:nvSpPr>
          <p:cNvPr id="3" name="Footer Placeholder 2">
            <a:extLst>
              <a:ext uri="{FF2B5EF4-FFF2-40B4-BE49-F238E27FC236}">
                <a16:creationId xmlns:a16="http://schemas.microsoft.com/office/drawing/2014/main" id="{4B011ADA-BB22-459A-B603-2F678680ED43}"/>
              </a:ext>
            </a:extLst>
          </p:cNvPr>
          <p:cNvSpPr>
            <a:spLocks noGrp="1"/>
          </p:cNvSpPr>
          <p:nvPr>
            <p:ph type="ftr" sz="quarter" idx="11"/>
          </p:nvPr>
        </p:nvSpPr>
        <p:spPr/>
        <p:txBody>
          <a:bodyPr/>
          <a:lstStyle/>
          <a:p>
            <a:endParaRPr lang="zh-CN" altLang="en-US"/>
          </a:p>
        </p:txBody>
      </p:sp>
      <p:sp>
        <p:nvSpPr>
          <p:cNvPr id="4" name="Slide Number Placeholder 3">
            <a:extLst>
              <a:ext uri="{FF2B5EF4-FFF2-40B4-BE49-F238E27FC236}">
                <a16:creationId xmlns:a16="http://schemas.microsoft.com/office/drawing/2014/main" id="{AAC5810F-6289-4C3A-BBD0-22FD37363A0C}"/>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15459776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 hasCustomPrompt="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3" name="Rectangle 12"/>
          <p:cNvSpPr/>
          <p:nvPr userDrawn="1"/>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20688602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Div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3108960"/>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3" name="Rectangle 12"/>
          <p:cNvSpPr/>
          <p:nvPr userDrawn="1"/>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5244802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758696" y="112233"/>
            <a:ext cx="10835640" cy="579120"/>
          </a:xfrm>
          <a:prstGeom prst="rect">
            <a:avLst/>
          </a:prstGeom>
        </p:spPr>
        <p:txBody>
          <a:bodyPr anchor="t">
            <a:noAutofit/>
          </a:bodyPr>
          <a:lstStyle>
            <a:lvl1pPr algn="l">
              <a:defRPr sz="24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77084" y="910483"/>
            <a:ext cx="10835640" cy="4675613"/>
          </a:xfrm>
          <a:prstGeom prst="rect">
            <a:avLst/>
          </a:prstGeom>
        </p:spPr>
        <p:txBody>
          <a:bodyPr>
            <a:noAutofit/>
          </a:bodyPr>
          <a:lstStyle>
            <a:lvl1pPr marL="346075" indent="-346075">
              <a:lnSpc>
                <a:spcPct val="125000"/>
              </a:lnSpc>
              <a:spcBef>
                <a:spcPts val="0"/>
              </a:spcBef>
              <a:spcAft>
                <a:spcPts val="600"/>
              </a:spcAft>
              <a:defRPr sz="1600" b="0">
                <a:latin typeface="Arial" panose="020B0604020202020204" pitchFamily="34" charset="0"/>
                <a:cs typeface="Arial" panose="020B0604020202020204" pitchFamily="34" charset="0"/>
              </a:defRPr>
            </a:lvl1pPr>
            <a:lvl2pPr marL="692150" indent="-346075">
              <a:lnSpc>
                <a:spcPct val="125000"/>
              </a:lnSpc>
              <a:spcBef>
                <a:spcPts val="0"/>
              </a:spcBef>
              <a:spcAft>
                <a:spcPts val="600"/>
              </a:spcAft>
              <a:buFont typeface="Arial" panose="020B0604020202020204" pitchFamily="34" charset="0"/>
              <a:buChar char="–"/>
              <a:defRPr sz="1600" b="0">
                <a:latin typeface="Arial" panose="020B0604020202020204" pitchFamily="34" charset="0"/>
                <a:cs typeface="Arial" panose="020B0604020202020204" pitchFamily="34" charset="0"/>
              </a:defRPr>
            </a:lvl2pPr>
            <a:lvl3pPr marL="1025525" indent="-333375">
              <a:lnSpc>
                <a:spcPct val="125000"/>
              </a:lnSpc>
              <a:spcBef>
                <a:spcPts val="0"/>
              </a:spcBef>
              <a:spcAft>
                <a:spcPts val="600"/>
              </a:spcAft>
              <a:buFont typeface="Ford Antenna Medium" pitchFamily="50" charset="0"/>
              <a:buChar char="»"/>
              <a:defRPr sz="1600" b="0">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p:txBody>
      </p:sp>
      <p:sp>
        <p:nvSpPr>
          <p:cNvPr id="9" name="TextBox 8"/>
          <p:cNvSpPr txBox="1">
            <a:spLocks noChangeArrowheads="1"/>
          </p:cNvSpPr>
          <p:nvPr userDrawn="1"/>
        </p:nvSpPr>
        <p:spPr bwMode="auto">
          <a:xfrm>
            <a:off x="113399" y="6484195"/>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cxnSp>
        <p:nvCxnSpPr>
          <p:cNvPr id="13" name="Straight Connector 12"/>
          <p:cNvCxnSpPr>
            <a:cxnSpLocks/>
          </p:cNvCxnSpPr>
          <p:nvPr userDrawn="1"/>
        </p:nvCxnSpPr>
        <p:spPr>
          <a:xfrm>
            <a:off x="1504950" y="602980"/>
            <a:ext cx="8623554"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13A9799-8E3A-46C0-BDC7-A82131F21221}"/>
              </a:ext>
            </a:extLst>
          </p:cNvPr>
          <p:cNvPicPr>
            <a:picLocks noChangeAspect="1"/>
          </p:cNvPicPr>
          <p:nvPr userDrawn="1"/>
        </p:nvPicPr>
        <p:blipFill>
          <a:blip r:embed="rId2"/>
          <a:stretch>
            <a:fillRect/>
          </a:stretch>
        </p:blipFill>
        <p:spPr>
          <a:xfrm>
            <a:off x="10240269" y="82869"/>
            <a:ext cx="1806438" cy="608484"/>
          </a:xfrm>
          <a:prstGeom prst="rect">
            <a:avLst/>
          </a:prstGeom>
        </p:spPr>
      </p:pic>
      <p:sp>
        <p:nvSpPr>
          <p:cNvPr id="19" name="Rectangle 18">
            <a:extLst>
              <a:ext uri="{FF2B5EF4-FFF2-40B4-BE49-F238E27FC236}">
                <a16:creationId xmlns:a16="http://schemas.microsoft.com/office/drawing/2014/main" id="{53ED048A-C7B8-4168-849D-F07F4D0213E1}"/>
              </a:ext>
            </a:extLst>
          </p:cNvPr>
          <p:cNvSpPr/>
          <p:nvPr userDrawn="1"/>
        </p:nvSpPr>
        <p:spPr>
          <a:xfrm>
            <a:off x="10249234" y="379107"/>
            <a:ext cx="446019" cy="160125"/>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b="1" dirty="0">
              <a:solidFill>
                <a:schemeClr val="tx1"/>
              </a:solidFill>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2320F74A-924D-4151-94C0-2830C483528E}"/>
              </a:ext>
            </a:extLst>
          </p:cNvPr>
          <p:cNvPicPr>
            <a:picLocks noChangeAspect="1"/>
          </p:cNvPicPr>
          <p:nvPr userDrawn="1"/>
        </p:nvPicPr>
        <p:blipFill>
          <a:blip r:embed="rId3"/>
          <a:stretch>
            <a:fillRect/>
          </a:stretch>
        </p:blipFill>
        <p:spPr>
          <a:xfrm>
            <a:off x="113399" y="162023"/>
            <a:ext cx="1298561" cy="573074"/>
          </a:xfrm>
          <a:prstGeom prst="rect">
            <a:avLst/>
          </a:prstGeom>
        </p:spPr>
      </p:pic>
    </p:spTree>
    <p:extLst>
      <p:ext uri="{BB962C8B-B14F-4D97-AF65-F5344CB8AC3E}">
        <p14:creationId xmlns:p14="http://schemas.microsoft.com/office/powerpoint/2010/main" val="2532490441"/>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ext 2 Column">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US" dirty="0"/>
          </a:p>
        </p:txBody>
      </p:sp>
      <p:sp>
        <p:nvSpPr>
          <p:cNvPr id="11" name="Text Placeholder 10"/>
          <p:cNvSpPr>
            <a:spLocks noGrp="1"/>
          </p:cNvSpPr>
          <p:nvPr>
            <p:ph type="body" sz="quarter" idx="10"/>
          </p:nvPr>
        </p:nvSpPr>
        <p:spPr>
          <a:xfrm>
            <a:off x="627241" y="989015"/>
            <a:ext cx="5308835" cy="4860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0"/>
          <p:cNvSpPr>
            <a:spLocks noGrp="1"/>
          </p:cNvSpPr>
          <p:nvPr>
            <p:ph type="body" sz="quarter" idx="11"/>
          </p:nvPr>
        </p:nvSpPr>
        <p:spPr>
          <a:xfrm>
            <a:off x="6197604" y="989015"/>
            <a:ext cx="5393703" cy="48609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2"/>
          </p:nvPr>
        </p:nvSpPr>
        <p:spPr/>
        <p:txBody>
          <a:bodyPr/>
          <a:lstStyle>
            <a:lvl1pPr>
              <a:defRPr/>
            </a:lvl1pPr>
          </a:lstStyle>
          <a:p>
            <a:pPr>
              <a:defRPr/>
            </a:pPr>
            <a:fld id="{112C47E0-B0C4-4097-870D-58EDF7E79327}" type="slidenum">
              <a:rPr lang="en-US" altLang="en-US"/>
              <a:pPr>
                <a:defRPr/>
              </a:pPr>
              <a:t>‹#›</a:t>
            </a:fld>
            <a:endParaRPr lang="en-US" altLang="en-US" dirty="0"/>
          </a:p>
        </p:txBody>
      </p:sp>
    </p:spTree>
    <p:extLst>
      <p:ext uri="{BB962C8B-B14F-4D97-AF65-F5344CB8AC3E}">
        <p14:creationId xmlns:p14="http://schemas.microsoft.com/office/powerpoint/2010/main" val="3748645630"/>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5_Heading and Sub Hea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lIns="91426" tIns="45713" rIns="91426" bIns="45713"/>
          <a:lstStyle/>
          <a:p>
            <a:endParaRPr lang="en-US" dirty="0">
              <a:solidFill>
                <a:srgbClr val="000000">
                  <a:tint val="75000"/>
                </a:srgbClr>
              </a:solidFill>
            </a:endParaRPr>
          </a:p>
        </p:txBody>
      </p:sp>
      <p:sp>
        <p:nvSpPr>
          <p:cNvPr id="6" name="Slide Number Placeholder 5"/>
          <p:cNvSpPr>
            <a:spLocks noGrp="1"/>
          </p:cNvSpPr>
          <p:nvPr>
            <p:ph type="sldNum" sz="quarter" idx="12"/>
          </p:nvPr>
        </p:nvSpPr>
        <p:spPr>
          <a:xfrm>
            <a:off x="11703867" y="6577518"/>
            <a:ext cx="488139" cy="348587"/>
          </a:xfrm>
          <a:prstGeom prst="rect">
            <a:avLst/>
          </a:prstGeom>
        </p:spPr>
        <p:txBody>
          <a:bodyPr/>
          <a:lstStyle/>
          <a:p>
            <a:fld id="{1B3D55C6-5A66-944B-AAE2-1E74F191E52A}"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433948520"/>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6"/>
          </a:xfrm>
          <a:prstGeom prst="rect">
            <a:avLst/>
          </a:prstGeom>
        </p:spPr>
        <p:txBody>
          <a:bodyPr anchor="t"/>
          <a:lstStyle>
            <a:lvl1pPr algn="l">
              <a:defRPr sz="4800" b="1" cap="all"/>
            </a:lvl1pPr>
          </a:lstStyle>
          <a:p>
            <a:r>
              <a:rPr lang="en-US" dirty="0"/>
              <a:t>Click to edit Master title style</a:t>
            </a:r>
          </a:p>
        </p:txBody>
      </p:sp>
      <p:sp>
        <p:nvSpPr>
          <p:cNvPr id="3" name="Text Placeholder 2"/>
          <p:cNvSpPr>
            <a:spLocks noGrp="1"/>
          </p:cNvSpPr>
          <p:nvPr>
            <p:ph type="body" idx="1"/>
          </p:nvPr>
        </p:nvSpPr>
        <p:spPr>
          <a:xfrm>
            <a:off x="963084" y="2906718"/>
            <a:ext cx="10363200" cy="1500187"/>
          </a:xfrm>
          <a:prstGeom prst="rect">
            <a:avLst/>
          </a:prstGeom>
        </p:spPr>
        <p:txBody>
          <a:bodyPr anchor="b"/>
          <a:lstStyle>
            <a:lvl1pPr marL="0" indent="0">
              <a:buNone/>
              <a:defRPr sz="2400"/>
            </a:lvl1pPr>
            <a:lvl2pPr marL="548528" indent="0">
              <a:buNone/>
              <a:defRPr sz="2160"/>
            </a:lvl2pPr>
            <a:lvl3pPr marL="1097057" indent="0">
              <a:buNone/>
              <a:defRPr sz="1920"/>
            </a:lvl3pPr>
            <a:lvl4pPr marL="1645585" indent="0">
              <a:buNone/>
              <a:defRPr sz="1680"/>
            </a:lvl4pPr>
            <a:lvl5pPr marL="2194114" indent="0">
              <a:buNone/>
              <a:defRPr sz="1680"/>
            </a:lvl5pPr>
            <a:lvl6pPr marL="2742642" indent="0">
              <a:buNone/>
              <a:defRPr sz="1680"/>
            </a:lvl6pPr>
            <a:lvl7pPr marL="3291170" indent="0">
              <a:buNone/>
              <a:defRPr sz="1680"/>
            </a:lvl7pPr>
            <a:lvl8pPr marL="3839698" indent="0">
              <a:buNone/>
              <a:defRPr sz="1680"/>
            </a:lvl8pPr>
            <a:lvl9pPr marL="4388227" indent="0">
              <a:buNone/>
              <a:defRPr sz="1680"/>
            </a:lvl9pPr>
          </a:lstStyle>
          <a:p>
            <a:pPr lvl="0"/>
            <a:r>
              <a:rPr lang="en-US"/>
              <a:t>Click to edit Master text styles</a:t>
            </a:r>
          </a:p>
        </p:txBody>
      </p:sp>
    </p:spTree>
    <p:extLst>
      <p:ext uri="{BB962C8B-B14F-4D97-AF65-F5344CB8AC3E}">
        <p14:creationId xmlns:p14="http://schemas.microsoft.com/office/powerpoint/2010/main" val="3163957573"/>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标题和内容">
    <p:spTree>
      <p:nvGrpSpPr>
        <p:cNvPr id="1" name=""/>
        <p:cNvGrpSpPr/>
        <p:nvPr/>
      </p:nvGrpSpPr>
      <p:grpSpPr>
        <a:xfrm>
          <a:off x="0" y="0"/>
          <a:ext cx="0" cy="0"/>
          <a:chOff x="0" y="0"/>
          <a:chExt cx="0" cy="0"/>
        </a:xfrm>
      </p:grpSpPr>
      <p:sp>
        <p:nvSpPr>
          <p:cNvPr id="8" name="标题 1"/>
          <p:cNvSpPr>
            <a:spLocks noGrp="1"/>
          </p:cNvSpPr>
          <p:nvPr>
            <p:ph type="title"/>
          </p:nvPr>
        </p:nvSpPr>
        <p:spPr>
          <a:xfrm>
            <a:off x="250860" y="274640"/>
            <a:ext cx="6914363" cy="581819"/>
          </a:xfrm>
          <a:prstGeom prst="rect">
            <a:avLst/>
          </a:prstGeom>
        </p:spPr>
        <p:txBody>
          <a:bodyPr lIns="86411" tIns="43205" rIns="86411" bIns="43205"/>
          <a:lstStyle>
            <a:lvl1pPr algn="l">
              <a:defRPr sz="2750" b="1">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9" name="内容占位符 2"/>
          <p:cNvSpPr>
            <a:spLocks noGrp="1"/>
          </p:cNvSpPr>
          <p:nvPr>
            <p:ph idx="1"/>
          </p:nvPr>
        </p:nvSpPr>
        <p:spPr>
          <a:xfrm>
            <a:off x="250859" y="1137998"/>
            <a:ext cx="11678549" cy="5372187"/>
          </a:xfrm>
          <a:prstGeom prst="rect">
            <a:avLst/>
          </a:prstGeom>
        </p:spPr>
        <p:txBody>
          <a:bodyPr lIns="86411" tIns="43205" rIns="86411" bIns="43205"/>
          <a:lstStyle>
            <a:lvl1pPr marL="0" indent="0">
              <a:lnSpc>
                <a:spcPct val="120000"/>
              </a:lnSpc>
              <a:spcBef>
                <a:spcPts val="600"/>
              </a:spcBef>
              <a:buNone/>
              <a:defRPr sz="2009">
                <a:solidFill>
                  <a:schemeClr val="bg1">
                    <a:lumMod val="50000"/>
                  </a:schemeClr>
                </a:solidFill>
                <a:latin typeface="微软雅黑" panose="020B0503020204020204" pitchFamily="34" charset="-122"/>
                <a:ea typeface="微软雅黑" panose="020B0503020204020204" pitchFamily="34" charset="-122"/>
              </a:defRPr>
            </a:lvl1pPr>
            <a:lvl2pPr marL="742729" indent="-285666">
              <a:lnSpc>
                <a:spcPct val="120000"/>
              </a:lnSpc>
              <a:spcBef>
                <a:spcPts val="600"/>
              </a:spcBef>
              <a:buFont typeface="Arial" panose="020B0604020202020204" pitchFamily="34" charset="0"/>
              <a:buChar char="•"/>
              <a:defRPr sz="1799">
                <a:solidFill>
                  <a:schemeClr val="bg1">
                    <a:lumMod val="50000"/>
                  </a:schemeClr>
                </a:solidFill>
                <a:latin typeface="微软雅黑" panose="020B0503020204020204" pitchFamily="34" charset="-122"/>
                <a:ea typeface="微软雅黑" panose="020B0503020204020204" pitchFamily="34" charset="-122"/>
              </a:defRPr>
            </a:lvl2pPr>
            <a:lvl3pPr marL="1142661" indent="-228532">
              <a:lnSpc>
                <a:spcPct val="120000"/>
              </a:lnSpc>
              <a:spcBef>
                <a:spcPts val="600"/>
              </a:spcBef>
              <a:buFont typeface="Arial" panose="020B0604020202020204" pitchFamily="34" charset="0"/>
              <a:buChar char="­"/>
              <a:defRPr sz="1587">
                <a:solidFill>
                  <a:schemeClr val="bg1">
                    <a:lumMod val="50000"/>
                  </a:schemeClr>
                </a:solidFill>
                <a:latin typeface="微软雅黑" panose="020B0503020204020204" pitchFamily="34" charset="-122"/>
                <a:ea typeface="微软雅黑" panose="020B0503020204020204" pitchFamily="34" charset="-122"/>
              </a:defRPr>
            </a:lvl3pPr>
            <a:lvl4pPr marL="1371193" indent="0">
              <a:lnSpc>
                <a:spcPct val="120000"/>
              </a:lnSpc>
              <a:spcBef>
                <a:spcPts val="600"/>
              </a:spcBef>
              <a:buNone/>
              <a:defRPr sz="1376">
                <a:solidFill>
                  <a:schemeClr val="bg1">
                    <a:lumMod val="50000"/>
                  </a:schemeClr>
                </a:solidFill>
                <a:latin typeface="微软雅黑" panose="020B0503020204020204" pitchFamily="34" charset="-122"/>
                <a:ea typeface="微软雅黑" panose="020B0503020204020204" pitchFamily="34" charset="-122"/>
              </a:defRPr>
            </a:lvl4pPr>
            <a:lvl5pPr marL="1828257" indent="0">
              <a:lnSpc>
                <a:spcPct val="120000"/>
              </a:lnSpc>
              <a:spcBef>
                <a:spcPts val="600"/>
              </a:spcBef>
              <a:buNone/>
              <a:defRPr sz="1376">
                <a:solidFill>
                  <a:schemeClr val="bg1">
                    <a:lumMod val="50000"/>
                  </a:schemeClr>
                </a:solidFill>
                <a:latin typeface="微软雅黑" panose="020B0503020204020204" pitchFamily="34" charset="-122"/>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cxnSp>
        <p:nvCxnSpPr>
          <p:cNvPr id="11" name="直接连接符 13"/>
          <p:cNvCxnSpPr/>
          <p:nvPr userDrawn="1"/>
        </p:nvCxnSpPr>
        <p:spPr>
          <a:xfrm>
            <a:off x="250859" y="908050"/>
            <a:ext cx="1168569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6"/>
          <p:cNvSpPr txBox="1">
            <a:spLocks noChangeArrowheads="1"/>
          </p:cNvSpPr>
          <p:nvPr userDrawn="1"/>
        </p:nvSpPr>
        <p:spPr bwMode="auto">
          <a:xfrm>
            <a:off x="9624852" y="6510185"/>
            <a:ext cx="2311701" cy="231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0" tIns="49519" rIns="99040" bIns="49519" numCol="1" anchor="t" anchorCtr="0" compatLnSpc="1">
            <a:prstTxWarp prst="textNoShape">
              <a:avLst/>
            </a:prstTxWarp>
          </a:bodyPr>
          <a:lstStyle>
            <a:defPPr>
              <a:defRPr lang="zh-CN"/>
            </a:defPPr>
            <a:lvl1pPr algn="r" rtl="0" fontAlgn="base">
              <a:spcBef>
                <a:spcPct val="0"/>
              </a:spcBef>
              <a:spcAft>
                <a:spcPct val="0"/>
              </a:spcAft>
              <a:buFont typeface="Arial" pitchFamily="34" charset="0"/>
              <a:defRPr sz="1400" kern="1200">
                <a:solidFill>
                  <a:schemeClr val="bg1"/>
                </a:solidFill>
                <a:latin typeface="微软雅黑" pitchFamily="34" charset="-122"/>
                <a:ea typeface="微软雅黑" pitchFamily="34" charset="-122"/>
                <a:cs typeface="+mn-cs"/>
              </a:defRPr>
            </a:lvl1pPr>
            <a:lvl2pPr marL="4572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0" marR="0" lvl="0" indent="0" algn="r" defTabSz="914129" rtl="0" eaLnBrk="1" fontAlgn="base" latinLnBrk="0" hangingPunct="1">
              <a:lnSpc>
                <a:spcPct val="100000"/>
              </a:lnSpc>
              <a:spcBef>
                <a:spcPct val="0"/>
              </a:spcBef>
              <a:spcAft>
                <a:spcPct val="0"/>
              </a:spcAft>
              <a:buClrTx/>
              <a:buSzTx/>
              <a:buFont typeface="Arial" pitchFamily="34" charset="0"/>
              <a:buNone/>
              <a:tabLst/>
              <a:defRPr/>
            </a:pPr>
            <a:r>
              <a:rPr kumimoji="0" lang="en-US" altLang="zh-CN" sz="952" b="1" i="1" u="none" strike="noStrike" kern="1200" cap="none" spc="0" normalizeH="0" baseline="0" noProof="0" dirty="0">
                <a:ln>
                  <a:noFill/>
                </a:ln>
                <a:solidFill>
                  <a:prstClr val="white">
                    <a:lumMod val="75000"/>
                  </a:prstClr>
                </a:solidFill>
                <a:effectLst/>
                <a:uLnTx/>
                <a:uFillTx/>
                <a:latin typeface="微软雅黑" pitchFamily="34" charset="-122"/>
                <a:ea typeface="微软雅黑" pitchFamily="34" charset="-122"/>
                <a:cs typeface="+mn-cs"/>
              </a:rPr>
              <a:t>Page </a:t>
            </a:r>
            <a:fld id="{6595F9F5-2627-4162-83AD-5693C1CF3FF4}" type="slidenum">
              <a:rPr kumimoji="0" lang="zh-CN" altLang="zh-CN" sz="952" b="1" i="1" u="none" strike="noStrike" kern="1200" cap="none" spc="0" normalizeH="0" baseline="0" noProof="0" smtClean="0">
                <a:ln>
                  <a:noFill/>
                </a:ln>
                <a:solidFill>
                  <a:prstClr val="white">
                    <a:lumMod val="75000"/>
                  </a:prstClr>
                </a:solidFill>
                <a:effectLst/>
                <a:uLnTx/>
                <a:uFillTx/>
                <a:latin typeface="微软雅黑" pitchFamily="34" charset="-122"/>
                <a:ea typeface="微软雅黑" pitchFamily="34" charset="-122"/>
                <a:cs typeface="+mn-cs"/>
              </a:rPr>
              <a:pPr marL="0" marR="0" lvl="0" indent="0" algn="r" defTabSz="914129" rtl="0" eaLnBrk="1" fontAlgn="base" latinLnBrk="0" hangingPunct="1">
                <a:lnSpc>
                  <a:spcPct val="100000"/>
                </a:lnSpc>
                <a:spcBef>
                  <a:spcPct val="0"/>
                </a:spcBef>
                <a:spcAft>
                  <a:spcPct val="0"/>
                </a:spcAft>
                <a:buClrTx/>
                <a:buSzTx/>
                <a:buFont typeface="Arial" pitchFamily="34" charset="0"/>
                <a:buNone/>
                <a:tabLst/>
                <a:defRPr/>
              </a:pPr>
              <a:t>‹#›</a:t>
            </a:fld>
            <a:endParaRPr kumimoji="0" lang="zh-CN" altLang="zh-CN" sz="952" b="1" i="1" u="none" strike="noStrike" kern="1200" cap="none" spc="0" normalizeH="0" baseline="0" noProof="0" dirty="0">
              <a:ln>
                <a:noFill/>
              </a:ln>
              <a:solidFill>
                <a:prstClr val="white">
                  <a:lumMod val="75000"/>
                </a:prstClr>
              </a:solidFill>
              <a:effectLst/>
              <a:uLnTx/>
              <a:uFillTx/>
              <a:latin typeface="微软雅黑" pitchFamily="34" charset="-122"/>
              <a:ea typeface="微软雅黑" pitchFamily="34" charset="-122"/>
              <a:cs typeface="+mn-cs"/>
            </a:endParaRPr>
          </a:p>
        </p:txBody>
      </p:sp>
      <p:pic>
        <p:nvPicPr>
          <p:cNvPr id="15" name="图片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3361" y="192016"/>
            <a:ext cx="763193" cy="583200"/>
          </a:xfrm>
          <a:prstGeom prst="rect">
            <a:avLst/>
          </a:prstGeom>
        </p:spPr>
      </p:pic>
    </p:spTree>
    <p:extLst>
      <p:ext uri="{BB962C8B-B14F-4D97-AF65-F5344CB8AC3E}">
        <p14:creationId xmlns:p14="http://schemas.microsoft.com/office/powerpoint/2010/main" val="28610889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93A67-CC5F-4174-B2CB-EB56E849112C}"/>
              </a:ext>
            </a:extLst>
          </p:cNvPr>
          <p:cNvSpPr>
            <a:spLocks noGrp="1"/>
          </p:cNvSpPr>
          <p:nvPr>
            <p:ph type="title"/>
          </p:nvPr>
        </p:nvSpPr>
        <p:spPr>
          <a:xfrm>
            <a:off x="839788" y="457200"/>
            <a:ext cx="3932237" cy="1600200"/>
          </a:xfrm>
        </p:spPr>
        <p:txBody>
          <a:bodyPr anchor="b"/>
          <a:lstStyle>
            <a:lvl1pPr>
              <a:defRPr sz="3200"/>
            </a:lvl1p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62F5529D-9AE0-44D5-AAC6-DE017CF4AC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Text Placeholder 3">
            <a:extLst>
              <a:ext uri="{FF2B5EF4-FFF2-40B4-BE49-F238E27FC236}">
                <a16:creationId xmlns:a16="http://schemas.microsoft.com/office/drawing/2014/main" id="{179D43CE-246A-4609-9FBD-AC59B10436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013DB3B6-3655-46AD-9746-06F6E5123446}"/>
              </a:ext>
            </a:extLst>
          </p:cNvPr>
          <p:cNvSpPr>
            <a:spLocks noGrp="1"/>
          </p:cNvSpPr>
          <p:nvPr>
            <p:ph type="dt" sz="half" idx="10"/>
          </p:nvPr>
        </p:nvSpPr>
        <p:spPr/>
        <p:txBody>
          <a:bodyPr/>
          <a:lstStyle/>
          <a:p>
            <a:fld id="{752959B0-7B04-44EF-BC76-BB1434632F60}" type="datetimeFigureOut">
              <a:rPr lang="zh-CN" altLang="en-US" smtClean="0"/>
              <a:t>2023/2/3</a:t>
            </a:fld>
            <a:endParaRPr lang="zh-CN" altLang="en-US"/>
          </a:p>
        </p:txBody>
      </p:sp>
      <p:sp>
        <p:nvSpPr>
          <p:cNvPr id="6" name="Footer Placeholder 5">
            <a:extLst>
              <a:ext uri="{FF2B5EF4-FFF2-40B4-BE49-F238E27FC236}">
                <a16:creationId xmlns:a16="http://schemas.microsoft.com/office/drawing/2014/main" id="{22E41A1D-39F8-4600-A6A8-D7CB3E5E2D5D}"/>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F6640583-659D-40E9-8FE7-A8D4AA18BCBA}"/>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1496094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C4E45-90C0-4C02-A489-F68E69BA5003}"/>
              </a:ext>
            </a:extLst>
          </p:cNvPr>
          <p:cNvSpPr>
            <a:spLocks noGrp="1"/>
          </p:cNvSpPr>
          <p:nvPr>
            <p:ph type="title"/>
          </p:nvPr>
        </p:nvSpPr>
        <p:spPr>
          <a:xfrm>
            <a:off x="839788" y="457200"/>
            <a:ext cx="3932237" cy="1600200"/>
          </a:xfrm>
        </p:spPr>
        <p:txBody>
          <a:bodyPr anchor="b"/>
          <a:lstStyle>
            <a:lvl1pPr>
              <a:defRPr sz="3200"/>
            </a:lvl1pPr>
          </a:lstStyle>
          <a:p>
            <a:r>
              <a:rPr lang="en-US" altLang="zh-CN"/>
              <a:t>Click to edit Master title style</a:t>
            </a:r>
            <a:endParaRPr lang="zh-CN" altLang="en-US"/>
          </a:p>
        </p:txBody>
      </p:sp>
      <p:sp>
        <p:nvSpPr>
          <p:cNvPr id="3" name="Picture Placeholder 2">
            <a:extLst>
              <a:ext uri="{FF2B5EF4-FFF2-40B4-BE49-F238E27FC236}">
                <a16:creationId xmlns:a16="http://schemas.microsoft.com/office/drawing/2014/main" id="{7E86D00F-BEAD-4C56-9495-FB1AD16E60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Text Placeholder 3">
            <a:extLst>
              <a:ext uri="{FF2B5EF4-FFF2-40B4-BE49-F238E27FC236}">
                <a16:creationId xmlns:a16="http://schemas.microsoft.com/office/drawing/2014/main" id="{0DB4F1AE-A25B-40B0-A1DC-045927D01D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DD4CAE17-5645-45BB-B16A-4394EF9335CD}"/>
              </a:ext>
            </a:extLst>
          </p:cNvPr>
          <p:cNvSpPr>
            <a:spLocks noGrp="1"/>
          </p:cNvSpPr>
          <p:nvPr>
            <p:ph type="dt" sz="half" idx="10"/>
          </p:nvPr>
        </p:nvSpPr>
        <p:spPr/>
        <p:txBody>
          <a:bodyPr/>
          <a:lstStyle/>
          <a:p>
            <a:fld id="{752959B0-7B04-44EF-BC76-BB1434632F60}" type="datetimeFigureOut">
              <a:rPr lang="zh-CN" altLang="en-US" smtClean="0"/>
              <a:t>2023/2/3</a:t>
            </a:fld>
            <a:endParaRPr lang="zh-CN" altLang="en-US"/>
          </a:p>
        </p:txBody>
      </p:sp>
      <p:sp>
        <p:nvSpPr>
          <p:cNvPr id="6" name="Footer Placeholder 5">
            <a:extLst>
              <a:ext uri="{FF2B5EF4-FFF2-40B4-BE49-F238E27FC236}">
                <a16:creationId xmlns:a16="http://schemas.microsoft.com/office/drawing/2014/main" id="{E070AD88-9DFE-400E-B79F-913A76CD47DE}"/>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1D15BD05-E9A9-45A8-87FF-472E73893C47}"/>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6029476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theme" Target="../theme/theme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8" Type="http://schemas.openxmlformats.org/officeDocument/2006/relationships/slideLayout" Target="../slideLayouts/slideLayout41.xml"/><Relationship Id="rId3"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72.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5" Type="http://schemas.openxmlformats.org/officeDocument/2006/relationships/slideLayout" Target="../slideLayouts/slideLayout74.xml"/><Relationship Id="rId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093811-0989-4D02-8876-04E64A13AB87}"/>
              </a:ext>
            </a:extLst>
          </p:cNvPr>
          <p:cNvGraphicFramePr>
            <a:graphicFrameLocks noChangeAspect="1"/>
          </p:cNvGraphicFramePr>
          <p:nvPr userDrawn="1">
            <p:custDataLst>
              <p:tags r:id="rId15"/>
            </p:custDataLst>
            <p:extLst>
              <p:ext uri="{D42A27DB-BD31-4B8C-83A1-F6EECF244321}">
                <p14:modId xmlns:p14="http://schemas.microsoft.com/office/powerpoint/2010/main" val="818440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3" name="think-cell Slide" r:id="rId16" imgW="384" imgH="385" progId="TCLayout.ActiveDocument.1">
                  <p:embed/>
                </p:oleObj>
              </mc:Choice>
              <mc:Fallback>
                <p:oleObj name="think-cell Slide" r:id="rId16" imgW="384" imgH="385" progId="TCLayout.ActiveDocument.1">
                  <p:embed/>
                  <p:pic>
                    <p:nvPicPr>
                      <p:cNvPr id="8" name="Object 7" hidden="1">
                        <a:extLst>
                          <a:ext uri="{FF2B5EF4-FFF2-40B4-BE49-F238E27FC236}">
                            <a16:creationId xmlns:a16="http://schemas.microsoft.com/office/drawing/2014/main" id="{41093811-0989-4D02-8876-04E64A13AB8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B592263-F1D7-4184-8073-26B760B74A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96AF16B6-F9F6-4B56-90E7-C36BD2D5D54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C2C54FB7-C44F-4717-8AF4-05D2FE5E1F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2959B0-7B04-44EF-BC76-BB1434632F60}" type="datetimeFigureOut">
              <a:rPr lang="zh-CN" altLang="en-US" smtClean="0"/>
              <a:t>2023/2/3</a:t>
            </a:fld>
            <a:endParaRPr lang="zh-CN" altLang="en-US"/>
          </a:p>
        </p:txBody>
      </p:sp>
      <p:sp>
        <p:nvSpPr>
          <p:cNvPr id="5" name="Footer Placeholder 4">
            <a:extLst>
              <a:ext uri="{FF2B5EF4-FFF2-40B4-BE49-F238E27FC236}">
                <a16:creationId xmlns:a16="http://schemas.microsoft.com/office/drawing/2014/main" id="{33100FAE-EA26-4947-B071-41A3E2FF32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a:extLst>
              <a:ext uri="{FF2B5EF4-FFF2-40B4-BE49-F238E27FC236}">
                <a16:creationId xmlns:a16="http://schemas.microsoft.com/office/drawing/2014/main" id="{58DD9FBF-34F8-49FB-AF75-316ADC8600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7163236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94100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729" r:id="rId21"/>
  </p:sldLayoutIdLst>
  <p:hf hdr="0" dt="0"/>
  <p:txStyles>
    <p:titleStyle>
      <a:lvl1pPr algn="l" defTabSz="914400" rtl="0" eaLnBrk="1" latinLnBrk="0" hangingPunct="1">
        <a:lnSpc>
          <a:spcPct val="90000"/>
        </a:lnSpc>
        <a:spcBef>
          <a:spcPct val="0"/>
        </a:spcBef>
        <a:buNone/>
        <a:defRPr sz="4400" b="1" i="0" kern="1200" spc="-60" baseline="0">
          <a:solidFill>
            <a:schemeClr val="accent1"/>
          </a:solidFill>
          <a:latin typeface="Arial Nova" panose="020B0504020202020204" pitchFamily="34" charset="0"/>
          <a:ea typeface="Arial Nova" panose="020B0504020202020204" pitchFamily="34" charset="0"/>
          <a:cs typeface="Arial Nova" panose="020B0504020202020204" pitchFamily="34" charset="0"/>
        </a:defRPr>
      </a:lvl1pPr>
    </p:titleStyle>
    <p:bodyStyle>
      <a:lvl1pPr marL="0" indent="0" algn="l" defTabSz="914400" rtl="0" eaLnBrk="1" latinLnBrk="0" hangingPunct="1">
        <a:lnSpc>
          <a:spcPct val="90000"/>
        </a:lnSpc>
        <a:spcBef>
          <a:spcPts val="1000"/>
        </a:spcBef>
        <a:buFont typeface="Arial"/>
        <a:buNone/>
        <a:defRPr sz="1900" b="0" i="0" kern="1200" spc="50" baseline="0">
          <a:solidFill>
            <a:schemeClr val="accent1"/>
          </a:solidFill>
          <a:latin typeface="Arial Nova Light" panose="020B0304020202020204" pitchFamily="34" charset="0"/>
          <a:ea typeface="Arial Nova Light" panose="020B0304020202020204" pitchFamily="34" charset="0"/>
          <a:cs typeface="Arial Nova Light" panose="020B0304020202020204" pitchFamily="34" charset="0"/>
        </a:defRPr>
      </a:lvl1pPr>
      <a:lvl2pPr marL="115888" indent="-115888" algn="l" defTabSz="914400" rtl="0" eaLnBrk="1" latinLnBrk="0" hangingPunct="1">
        <a:lnSpc>
          <a:spcPct val="90000"/>
        </a:lnSpc>
        <a:spcBef>
          <a:spcPts val="500"/>
        </a:spcBef>
        <a:buFont typeface="Arial"/>
        <a:buChar char="•"/>
        <a:tabLst/>
        <a:defRPr sz="1400" kern="1200">
          <a:solidFill>
            <a:schemeClr val="accent1"/>
          </a:solidFill>
          <a:latin typeface="Arial Nova Light" panose="020B0304020202020204" pitchFamily="34" charset="0"/>
          <a:ea typeface="Arial Nova Light" panose="020B0304020202020204" pitchFamily="34" charset="0"/>
          <a:cs typeface="Arial Nova Light" panose="020B0304020202020204" pitchFamily="34" charset="0"/>
        </a:defRPr>
      </a:lvl2pPr>
      <a:lvl3pPr marL="401638" indent="-158750" algn="l" defTabSz="914400" rtl="0" eaLnBrk="1" latinLnBrk="0" hangingPunct="1">
        <a:lnSpc>
          <a:spcPct val="90000"/>
        </a:lnSpc>
        <a:spcBef>
          <a:spcPts val="500"/>
        </a:spcBef>
        <a:buFont typeface="Arial"/>
        <a:buChar char="•"/>
        <a:tabLst/>
        <a:defRPr sz="1400" kern="1200">
          <a:solidFill>
            <a:schemeClr val="accent1"/>
          </a:solidFill>
          <a:latin typeface="Arial Nova Light" panose="020B0304020202020204" pitchFamily="34" charset="0"/>
          <a:ea typeface="Arial Nova Light" panose="020B0304020202020204" pitchFamily="34" charset="0"/>
          <a:cs typeface="Arial Nova Light" panose="020B0304020202020204" pitchFamily="34" charset="0"/>
        </a:defRPr>
      </a:lvl3pPr>
      <a:lvl4pPr marL="16002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36">
          <p15:clr>
            <a:srgbClr val="F26B43"/>
          </p15:clr>
        </p15:guide>
        <p15:guide id="4" pos="7029">
          <p15:clr>
            <a:srgbClr val="F26B43"/>
          </p15:clr>
        </p15:guide>
        <p15:guide id="5" pos="2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655959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92107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p15:clr>
            <a:srgbClr val="F26B43"/>
          </p15:clr>
        </p15:guide>
        <p15:guide id="2" pos="7256">
          <p15:clr>
            <a:srgbClr val="F26B43"/>
          </p15:clr>
        </p15:guide>
        <p15:guide id="3" orient="horz" pos="648">
          <p15:clr>
            <a:srgbClr val="F26B43"/>
          </p15:clr>
        </p15:guide>
        <p15:guide id="4" orient="horz" pos="712">
          <p15:clr>
            <a:srgbClr val="F26B43"/>
          </p15:clr>
        </p15:guide>
        <p15:guide id="5" orient="horz" pos="392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19.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DA07493-4D7B-4723-BB85-722C53262673}"/>
              </a:ext>
            </a:extLst>
          </p:cNvPr>
          <p:cNvSpPr>
            <a:spLocks noGrp="1"/>
          </p:cNvSpPr>
          <p:nvPr>
            <p:ph type="body" sz="quarter" idx="10"/>
          </p:nvPr>
        </p:nvSpPr>
        <p:spPr/>
        <p:txBody>
          <a:bodyPr>
            <a:normAutofit fontScale="85000" lnSpcReduction="20000"/>
          </a:bodyPr>
          <a:lstStyle/>
          <a:p>
            <a:pPr marL="0" indent="0">
              <a:buNone/>
            </a:pPr>
            <a:r>
              <a:rPr lang="en-US" altLang="zh-CN" b="1" dirty="0"/>
              <a:t>CDX707 IVI </a:t>
            </a:r>
            <a:r>
              <a:rPr lang="en-US" altLang="zh-CN" b="1" dirty="0" smtClean="0"/>
              <a:t>R07</a:t>
            </a:r>
            <a:r>
              <a:rPr lang="en-US" altLang="zh-CN" b="1" dirty="0"/>
              <a:t>  Go No Go Review</a:t>
            </a:r>
            <a:endParaRPr lang="en-US" altLang="zh-CN" sz="4800" dirty="0"/>
          </a:p>
        </p:txBody>
      </p:sp>
      <p:sp>
        <p:nvSpPr>
          <p:cNvPr id="4" name="Text Placeholder 3">
            <a:extLst>
              <a:ext uri="{FF2B5EF4-FFF2-40B4-BE49-F238E27FC236}">
                <a16:creationId xmlns:a16="http://schemas.microsoft.com/office/drawing/2014/main" id="{9F52A62A-C58D-4F39-AD42-2BF9E46452A0}"/>
              </a:ext>
            </a:extLst>
          </p:cNvPr>
          <p:cNvSpPr>
            <a:spLocks noGrp="1"/>
          </p:cNvSpPr>
          <p:nvPr>
            <p:ph type="body" sz="quarter" idx="11"/>
          </p:nvPr>
        </p:nvSpPr>
        <p:spPr/>
        <p:txBody>
          <a:bodyPr/>
          <a:lstStyle/>
          <a:p>
            <a:r>
              <a:rPr lang="en-US" sz="1800" dirty="0" smtClean="0">
                <a:latin typeface="Ford Antenna Regular" panose="02000505000000020004" pitchFamily="2" charset="0"/>
              </a:rPr>
              <a:t>J</a:t>
            </a:r>
            <a:r>
              <a:rPr lang="en-US" altLang="zh-CN" sz="1800" dirty="0" smtClean="0">
                <a:latin typeface="Ford Antenna Regular" panose="02000505000000020004" pitchFamily="2" charset="0"/>
              </a:rPr>
              <a:t>an</a:t>
            </a:r>
            <a:r>
              <a:rPr lang="en-US" sz="1800" spc="0" dirty="0" smtClean="0">
                <a:latin typeface="Ford Antenna Regular" panose="02000505000000020004" pitchFamily="2" charset="0"/>
              </a:rPr>
              <a:t> 2023</a:t>
            </a:r>
            <a:endParaRPr lang="en-US" sz="1800" spc="0" dirty="0">
              <a:latin typeface="Ford Antenna Regular" panose="02000505000000020004" pitchFamily="2" charset="0"/>
            </a:endParaRPr>
          </a:p>
        </p:txBody>
      </p:sp>
      <p:grpSp>
        <p:nvGrpSpPr>
          <p:cNvPr id="21" name="Group 20">
            <a:extLst>
              <a:ext uri="{FF2B5EF4-FFF2-40B4-BE49-F238E27FC236}">
                <a16:creationId xmlns:a16="http://schemas.microsoft.com/office/drawing/2014/main" id="{CA0FAE52-5FCF-43EB-929E-36E9401F61D0}"/>
              </a:ext>
            </a:extLst>
          </p:cNvPr>
          <p:cNvGrpSpPr/>
          <p:nvPr/>
        </p:nvGrpSpPr>
        <p:grpSpPr>
          <a:xfrm>
            <a:off x="195850" y="5165608"/>
            <a:ext cx="5351684" cy="1385878"/>
            <a:chOff x="4956319" y="4393480"/>
            <a:chExt cx="5351684" cy="1385878"/>
          </a:xfrm>
        </p:grpSpPr>
        <p:sp>
          <p:nvSpPr>
            <p:cNvPr id="23" name="TextBox 22">
              <a:extLst>
                <a:ext uri="{FF2B5EF4-FFF2-40B4-BE49-F238E27FC236}">
                  <a16:creationId xmlns:a16="http://schemas.microsoft.com/office/drawing/2014/main" id="{ED47E35C-8F96-414D-B6EF-6688E1D81350}"/>
                </a:ext>
              </a:extLst>
            </p:cNvPr>
            <p:cNvSpPr txBox="1"/>
            <p:nvPr/>
          </p:nvSpPr>
          <p:spPr>
            <a:xfrm>
              <a:off x="4956319" y="5317693"/>
              <a:ext cx="197052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Turn Arou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Automotive Operations</a:t>
              </a:r>
            </a:p>
          </p:txBody>
        </p:sp>
        <p:pic>
          <p:nvPicPr>
            <p:cNvPr id="24" name="Picture 23">
              <a:extLst>
                <a:ext uri="{FF2B5EF4-FFF2-40B4-BE49-F238E27FC236}">
                  <a16:creationId xmlns:a16="http://schemas.microsoft.com/office/drawing/2014/main" id="{2B95E6B4-8A5B-4816-8032-2067F50E5DE6}"/>
                </a:ext>
              </a:extLst>
            </p:cNvPr>
            <p:cNvPicPr>
              <a:picLocks noChangeAspect="1"/>
            </p:cNvPicPr>
            <p:nvPr/>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Lst>
            </a:blip>
            <a:srcRect l="17961" r="14943" b="29906"/>
            <a:stretch/>
          </p:blipFill>
          <p:spPr>
            <a:xfrm>
              <a:off x="5427728" y="4454800"/>
              <a:ext cx="1027704" cy="882911"/>
            </a:xfrm>
            <a:prstGeom prst="rect">
              <a:avLst/>
            </a:prstGeom>
          </p:spPr>
        </p:pic>
        <p:sp>
          <p:nvSpPr>
            <p:cNvPr id="26" name="TextBox 25">
              <a:extLst>
                <a:ext uri="{FF2B5EF4-FFF2-40B4-BE49-F238E27FC236}">
                  <a16:creationId xmlns:a16="http://schemas.microsoft.com/office/drawing/2014/main" id="{D16E668B-B50F-4650-94EF-9EF4526E230E}"/>
                </a:ext>
              </a:extLst>
            </p:cNvPr>
            <p:cNvSpPr txBox="1"/>
            <p:nvPr/>
          </p:nvSpPr>
          <p:spPr>
            <a:xfrm>
              <a:off x="7182705" y="5317693"/>
              <a:ext cx="130280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Modernize</a:t>
              </a:r>
              <a:b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b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Everywhere</a:t>
              </a:r>
            </a:p>
          </p:txBody>
        </p:sp>
        <p:pic>
          <p:nvPicPr>
            <p:cNvPr id="32" name="Picture 31">
              <a:extLst>
                <a:ext uri="{FF2B5EF4-FFF2-40B4-BE49-F238E27FC236}">
                  <a16:creationId xmlns:a16="http://schemas.microsoft.com/office/drawing/2014/main" id="{C36580BF-DBEF-4E75-A065-5C36329FADF5}"/>
                </a:ext>
              </a:extLst>
            </p:cNvPr>
            <p:cNvPicPr>
              <a:picLocks noChangeAspect="1"/>
            </p:cNvPicPr>
            <p:nvPr/>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Lst>
            </a:blip>
            <a:srcRect b="29282"/>
            <a:stretch/>
          </p:blipFill>
          <p:spPr>
            <a:xfrm>
              <a:off x="7373091" y="4393480"/>
              <a:ext cx="922037" cy="944231"/>
            </a:xfrm>
            <a:prstGeom prst="rect">
              <a:avLst/>
            </a:prstGeom>
          </p:spPr>
        </p:pic>
        <p:sp>
          <p:nvSpPr>
            <p:cNvPr id="37" name="TextBox 36">
              <a:extLst>
                <a:ext uri="{FF2B5EF4-FFF2-40B4-BE49-F238E27FC236}">
                  <a16:creationId xmlns:a16="http://schemas.microsoft.com/office/drawing/2014/main" id="{0CA88807-2FD6-46B4-9C14-EBD7668099B3}"/>
                </a:ext>
              </a:extLst>
            </p:cNvPr>
            <p:cNvSpPr txBox="1"/>
            <p:nvPr/>
          </p:nvSpPr>
          <p:spPr>
            <a:xfrm>
              <a:off x="9005195" y="5317693"/>
              <a:ext cx="130280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Disrupt</a:t>
              </a:r>
              <a:b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b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Ourselves</a:t>
              </a:r>
            </a:p>
          </p:txBody>
        </p:sp>
        <p:pic>
          <p:nvPicPr>
            <p:cNvPr id="38" name="Picture 37">
              <a:extLst>
                <a:ext uri="{FF2B5EF4-FFF2-40B4-BE49-F238E27FC236}">
                  <a16:creationId xmlns:a16="http://schemas.microsoft.com/office/drawing/2014/main" id="{19A6DC26-3B22-42C9-8532-AE01D105A3BF}"/>
                </a:ext>
              </a:extLst>
            </p:cNvPr>
            <p:cNvPicPr>
              <a:picLocks noChangeAspect="1"/>
            </p:cNvPicPr>
            <p:nvPr/>
          </p:nvPicPr>
          <p:blipFill rotWithShape="1">
            <a:blip r:embed="rId7">
              <a:duotone>
                <a:schemeClr val="bg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b="31038"/>
            <a:stretch/>
          </p:blipFill>
          <p:spPr>
            <a:xfrm>
              <a:off x="9268638" y="4469057"/>
              <a:ext cx="775922" cy="868654"/>
            </a:xfrm>
            <a:prstGeom prst="rect">
              <a:avLst/>
            </a:prstGeom>
          </p:spPr>
        </p:pic>
      </p:grpSp>
    </p:spTree>
    <p:extLst>
      <p:ext uri="{BB962C8B-B14F-4D97-AF65-F5344CB8AC3E}">
        <p14:creationId xmlns:p14="http://schemas.microsoft.com/office/powerpoint/2010/main" val="6666302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5940" y="48125"/>
            <a:ext cx="10835640" cy="502920"/>
          </a:xfrm>
        </p:spPr>
        <p:txBody>
          <a:bodyPr anchor="t">
            <a:noAutofit/>
          </a:bodyPr>
          <a:lstStyle/>
          <a:p>
            <a:r>
              <a:rPr lang="en-US" altLang="zh-CN" sz="2400" dirty="0" smtClean="0"/>
              <a:t>R07</a:t>
            </a:r>
            <a:r>
              <a:rPr lang="zh-CN" altLang="en-US" sz="2400" dirty="0" smtClean="0"/>
              <a:t>检出未关闭问题分析</a:t>
            </a:r>
            <a:endParaRPr lang="en-US" sz="2400" dirty="0"/>
          </a:p>
        </p:txBody>
      </p:sp>
      <p:graphicFrame>
        <p:nvGraphicFramePr>
          <p:cNvPr id="8" name="表格 7"/>
          <p:cNvGraphicFramePr>
            <a:graphicFrameLocks noGrp="1"/>
          </p:cNvGraphicFramePr>
          <p:nvPr>
            <p:extLst>
              <p:ext uri="{D42A27DB-BD31-4B8C-83A1-F6EECF244321}">
                <p14:modId xmlns:p14="http://schemas.microsoft.com/office/powerpoint/2010/main" val="1038104048"/>
              </p:ext>
            </p:extLst>
          </p:nvPr>
        </p:nvGraphicFramePr>
        <p:xfrm>
          <a:off x="1" y="551045"/>
          <a:ext cx="11830928" cy="4930498"/>
        </p:xfrm>
        <a:graphic>
          <a:graphicData uri="http://schemas.openxmlformats.org/drawingml/2006/table">
            <a:tbl>
              <a:tblPr firstRow="1" firstCol="1" bandRow="1">
                <a:tableStyleId>{21E4AEA4-8DFA-4A89-87EB-49C32662AFE0}</a:tableStyleId>
              </a:tblPr>
              <a:tblGrid>
                <a:gridCol w="903686">
                  <a:extLst>
                    <a:ext uri="{9D8B030D-6E8A-4147-A177-3AD203B41FA5}">
                      <a16:colId xmlns:a16="http://schemas.microsoft.com/office/drawing/2014/main" val="20000"/>
                    </a:ext>
                  </a:extLst>
                </a:gridCol>
                <a:gridCol w="970406">
                  <a:extLst>
                    <a:ext uri="{9D8B030D-6E8A-4147-A177-3AD203B41FA5}">
                      <a16:colId xmlns:a16="http://schemas.microsoft.com/office/drawing/2014/main" val="20001"/>
                    </a:ext>
                  </a:extLst>
                </a:gridCol>
                <a:gridCol w="1234867">
                  <a:extLst>
                    <a:ext uri="{9D8B030D-6E8A-4147-A177-3AD203B41FA5}">
                      <a16:colId xmlns:a16="http://schemas.microsoft.com/office/drawing/2014/main" val="20002"/>
                    </a:ext>
                  </a:extLst>
                </a:gridCol>
                <a:gridCol w="2803568">
                  <a:extLst>
                    <a:ext uri="{9D8B030D-6E8A-4147-A177-3AD203B41FA5}">
                      <a16:colId xmlns:a16="http://schemas.microsoft.com/office/drawing/2014/main" val="20003"/>
                    </a:ext>
                  </a:extLst>
                </a:gridCol>
                <a:gridCol w="2050742">
                  <a:extLst>
                    <a:ext uri="{9D8B030D-6E8A-4147-A177-3AD203B41FA5}">
                      <a16:colId xmlns:a16="http://schemas.microsoft.com/office/drawing/2014/main" val="20004"/>
                    </a:ext>
                  </a:extLst>
                </a:gridCol>
                <a:gridCol w="2529460">
                  <a:extLst>
                    <a:ext uri="{9D8B030D-6E8A-4147-A177-3AD203B41FA5}">
                      <a16:colId xmlns:a16="http://schemas.microsoft.com/office/drawing/2014/main" val="20005"/>
                    </a:ext>
                  </a:extLst>
                </a:gridCol>
                <a:gridCol w="1338199">
                  <a:extLst>
                    <a:ext uri="{9D8B030D-6E8A-4147-A177-3AD203B41FA5}">
                      <a16:colId xmlns:a16="http://schemas.microsoft.com/office/drawing/2014/main" val="20006"/>
                    </a:ext>
                  </a:extLst>
                </a:gridCol>
              </a:tblGrid>
              <a:tr h="348343">
                <a:tc>
                  <a:txBody>
                    <a:bodyPr/>
                    <a:lstStyle/>
                    <a:p>
                      <a:pPr algn="ctr">
                        <a:spcAft>
                          <a:spcPts val="0"/>
                        </a:spcAft>
                      </a:pPr>
                      <a:r>
                        <a:rPr lang="en-US" sz="1200" dirty="0">
                          <a:effectLst/>
                        </a:rPr>
                        <a:t>NO.</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en-US" sz="1200" dirty="0">
                          <a:effectLst/>
                        </a:rPr>
                        <a:t>Component</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en-US" altLang="zh-CN" sz="1200" dirty="0" smtClean="0">
                          <a:effectLst/>
                          <a:latin typeface="宋体" pitchFamily="2" charset="-122"/>
                          <a:ea typeface="宋体" pitchFamily="2" charset="-122"/>
                          <a:cs typeface="宋体" pitchFamily="2" charset="-122"/>
                        </a:rPr>
                        <a:t>Jira</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失效模式</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恢复手段</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对客户的影响</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en-US" altLang="zh-CN" sz="1200" dirty="0" smtClean="0">
                          <a:effectLst/>
                          <a:latin typeface="+mn-lt"/>
                          <a:ea typeface="+mn-ea"/>
                          <a:cs typeface="+mn-cs"/>
                        </a:rPr>
                        <a:t>Next Action</a:t>
                      </a:r>
                      <a:endParaRPr lang="zh-CN" sz="1200" dirty="0">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0"/>
                  </a:ext>
                </a:extLst>
              </a:tr>
              <a:tr h="748791">
                <a:tc>
                  <a:txBody>
                    <a:bodyPr/>
                    <a:lstStyle/>
                    <a:p>
                      <a:pPr algn="ctr">
                        <a:spcAft>
                          <a:spcPts val="0"/>
                        </a:spcAft>
                      </a:pPr>
                      <a:r>
                        <a:rPr lang="en-US" altLang="zh-CN" sz="1200" dirty="0" smtClean="0">
                          <a:effectLst/>
                          <a:latin typeface="宋体" pitchFamily="2" charset="-122"/>
                          <a:ea typeface="宋体" pitchFamily="2" charset="-122"/>
                          <a:cs typeface="宋体" pitchFamily="2" charset="-122"/>
                        </a:rPr>
                        <a:t>13</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VR</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APIMCIM-16653</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sz="1100" b="0">
                          <a:solidFill>
                            <a:schemeClr val="dk1"/>
                          </a:solidFill>
                          <a:latin typeface="宋体" charset="0"/>
                          <a:ea typeface="宋体" charset="0"/>
                          <a:cs typeface="宋体" charset="0"/>
                        </a:rPr>
                        <a:t>车机系统控制-语音“打开小程序”/“启动小程序”-执行错误</a:t>
                      </a:r>
                    </a:p>
                  </a:txBody>
                  <a:tcPr marL="51229" marR="51229" marT="0" marB="0" anchor="ctr"/>
                </a:tc>
                <a:tc>
                  <a:txBody>
                    <a:bodyPr/>
                    <a:lstStyle/>
                    <a:p>
                      <a:pPr algn="ctr">
                        <a:spcAft>
                          <a:spcPts val="0"/>
                        </a:spcAft>
                      </a:pPr>
                      <a:r>
                        <a:rPr lang="en-US" altLang="zh-CN" sz="1100" dirty="0">
                          <a:effectLst/>
                          <a:latin typeface="宋体" pitchFamily="2" charset="-122"/>
                          <a:ea typeface="宋体" pitchFamily="2" charset="-122"/>
                          <a:cs typeface="宋体" pitchFamily="2" charset="-122"/>
                        </a:rPr>
                        <a:t>NA</a:t>
                      </a:r>
                      <a:endParaRPr lang="zh-CN" sz="11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100" dirty="0">
                          <a:effectLst/>
                          <a:latin typeface="宋体" pitchFamily="2" charset="-122"/>
                          <a:ea typeface="宋体" pitchFamily="2" charset="-122"/>
                          <a:cs typeface="宋体" pitchFamily="2" charset="-122"/>
                        </a:rPr>
                        <a:t>无法使用语音打开小程序</a:t>
                      </a:r>
                      <a:r>
                        <a:rPr lang="en-US" altLang="zh-CN" sz="1100" dirty="0">
                          <a:effectLst/>
                          <a:latin typeface="宋体" pitchFamily="2" charset="-122"/>
                          <a:ea typeface="宋体" pitchFamily="2" charset="-122"/>
                          <a:cs typeface="宋体" pitchFamily="2" charset="-122"/>
                        </a:rPr>
                        <a:t>,</a:t>
                      </a:r>
                      <a:r>
                        <a:rPr lang="zh-CN" altLang="en-US" sz="1100" dirty="0">
                          <a:effectLst/>
                          <a:latin typeface="宋体" pitchFamily="2" charset="-122"/>
                          <a:ea typeface="宋体" pitchFamily="2" charset="-122"/>
                          <a:cs typeface="宋体" pitchFamily="2" charset="-122"/>
                        </a:rPr>
                        <a:t>该功能使用频率不高，对客户影响较小</a:t>
                      </a:r>
                      <a:endParaRPr lang="zh-CN" altLang="zh-CN" sz="11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100" dirty="0">
                          <a:effectLst/>
                          <a:latin typeface="宋体" pitchFamily="2" charset="-122"/>
                          <a:ea typeface="宋体" pitchFamily="2" charset="-122"/>
                          <a:cs typeface="宋体" pitchFamily="2" charset="-122"/>
                        </a:rPr>
                        <a:t>合入</a:t>
                      </a:r>
                      <a:r>
                        <a:rPr lang="en-US" altLang="zh-CN" sz="1100" dirty="0">
                          <a:effectLst/>
                          <a:latin typeface="宋体" pitchFamily="2" charset="-122"/>
                          <a:ea typeface="宋体" pitchFamily="2" charset="-122"/>
                          <a:cs typeface="宋体" pitchFamily="2" charset="-122"/>
                        </a:rPr>
                        <a:t>R07.1</a:t>
                      </a:r>
                      <a:endParaRPr lang="zh-CN" sz="1100" dirty="0">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1"/>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14</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MMOTA</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6591</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solidFill>
                            <a:schemeClr val="dk1"/>
                          </a:solidFill>
                          <a:effectLst/>
                          <a:latin typeface="宋体" pitchFamily="2" charset="-122"/>
                          <a:ea typeface="宋体" pitchFamily="2" charset="-122"/>
                          <a:cs typeface="宋体" pitchFamily="2" charset="-122"/>
                        </a:rPr>
                        <a:t>更新条款弹窗被拉升，显示比例与</a:t>
                      </a:r>
                      <a:r>
                        <a:rPr lang="en-US" altLang="zh-CN" sz="1100" dirty="0">
                          <a:solidFill>
                            <a:schemeClr val="dk1"/>
                          </a:solidFill>
                          <a:effectLst/>
                          <a:latin typeface="宋体" pitchFamily="2" charset="-122"/>
                          <a:ea typeface="宋体" pitchFamily="2" charset="-122"/>
                          <a:cs typeface="宋体" pitchFamily="2" charset="-122"/>
                        </a:rPr>
                        <a:t>UI</a:t>
                      </a:r>
                      <a:r>
                        <a:rPr lang="zh-CN" altLang="en-US" sz="1100" dirty="0">
                          <a:solidFill>
                            <a:schemeClr val="dk1"/>
                          </a:solidFill>
                          <a:effectLst/>
                          <a:latin typeface="宋体" pitchFamily="2" charset="-122"/>
                          <a:ea typeface="宋体" pitchFamily="2" charset="-122"/>
                          <a:cs typeface="宋体" pitchFamily="2" charset="-122"/>
                        </a:rPr>
                        <a:t>不符</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en-US" altLang="zh-CN" sz="1100" kern="1200" dirty="0">
                          <a:solidFill>
                            <a:schemeClr val="dk1"/>
                          </a:solidFill>
                          <a:effectLst/>
                          <a:latin typeface="宋体" pitchFamily="2" charset="-122"/>
                          <a:ea typeface="宋体" pitchFamily="2" charset="-122"/>
                          <a:cs typeface="宋体" pitchFamily="2" charset="-122"/>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en-US" altLang="zh-CN" sz="1100" dirty="0" smtClean="0">
                          <a:effectLst/>
                          <a:latin typeface="宋体" pitchFamily="2" charset="-122"/>
                          <a:ea typeface="宋体" pitchFamily="2" charset="-122"/>
                          <a:cs typeface="宋体" pitchFamily="2" charset="-122"/>
                          <a:sym typeface="+mn-ea"/>
                        </a:rPr>
                        <a:t>UI</a:t>
                      </a:r>
                      <a:r>
                        <a:rPr lang="zh-CN" altLang="en-US" sz="1100" dirty="0" smtClean="0">
                          <a:effectLst/>
                          <a:latin typeface="宋体" pitchFamily="2" charset="-122"/>
                          <a:ea typeface="宋体" pitchFamily="2" charset="-122"/>
                          <a:cs typeface="宋体" pitchFamily="2" charset="-122"/>
                          <a:sym typeface="+mn-ea"/>
                        </a:rPr>
                        <a:t>界面显示问题，不影响功能，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3"/>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15</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vMerge="1">
                  <a:txBody>
                    <a:bodyPr/>
                    <a:lstStyle/>
                    <a:p>
                      <a:endParaRPr lang="zh-CN"/>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4961</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en-US" altLang="zh-CN" sz="1100" kern="1200" dirty="0">
                          <a:solidFill>
                            <a:schemeClr val="dk1"/>
                          </a:solidFill>
                          <a:effectLst/>
                          <a:latin typeface="宋体" pitchFamily="2" charset="-122"/>
                          <a:ea typeface="宋体" pitchFamily="2" charset="-122"/>
                          <a:cs typeface="宋体" pitchFamily="2" charset="-122"/>
                        </a:rPr>
                        <a:t>U</a:t>
                      </a:r>
                      <a:r>
                        <a:rPr lang="zh-CN" altLang="en-US" sz="1100" kern="1200" dirty="0">
                          <a:solidFill>
                            <a:schemeClr val="dk1"/>
                          </a:solidFill>
                          <a:effectLst/>
                          <a:latin typeface="宋体" pitchFamily="2" charset="-122"/>
                          <a:ea typeface="宋体" pitchFamily="2" charset="-122"/>
                          <a:cs typeface="宋体" pitchFamily="2" charset="-122"/>
                        </a:rPr>
                        <a:t>盘升级时进度条会偶现在</a:t>
                      </a:r>
                      <a:r>
                        <a:rPr lang="en-US" altLang="zh-CN" sz="1100" kern="1200" dirty="0">
                          <a:solidFill>
                            <a:schemeClr val="dk1"/>
                          </a:solidFill>
                          <a:effectLst/>
                          <a:latin typeface="宋体" pitchFamily="2" charset="-122"/>
                          <a:ea typeface="宋体" pitchFamily="2" charset="-122"/>
                          <a:cs typeface="宋体" pitchFamily="2" charset="-122"/>
                        </a:rPr>
                        <a:t>30%</a:t>
                      </a:r>
                      <a:r>
                        <a:rPr lang="zh-CN" altLang="en-US" sz="1100" kern="1200" dirty="0">
                          <a:solidFill>
                            <a:schemeClr val="dk1"/>
                          </a:solidFill>
                          <a:effectLst/>
                          <a:latin typeface="宋体" pitchFamily="2" charset="-122"/>
                          <a:ea typeface="宋体" pitchFamily="2" charset="-122"/>
                          <a:cs typeface="宋体" pitchFamily="2" charset="-122"/>
                        </a:rPr>
                        <a:t>卡顿一段时间</a:t>
                      </a:r>
                    </a:p>
                  </a:txBody>
                  <a:tcPr marL="51229" marR="51229" marT="0" marB="0" anchor="ctr"/>
                </a:tc>
                <a:tc>
                  <a:txBody>
                    <a:bodyPr/>
                    <a:lstStyle/>
                    <a:p>
                      <a:pPr marL="0" algn="ctr" defTabSz="914400" rtl="0" eaLnBrk="1" latinLnBrk="0" hangingPunct="1">
                        <a:spcAft>
                          <a:spcPts val="0"/>
                        </a:spcAft>
                      </a:pPr>
                      <a:r>
                        <a:rPr lang="en-US" altLang="zh-CN" sz="1100" kern="1200" dirty="0">
                          <a:solidFill>
                            <a:schemeClr val="dk1"/>
                          </a:solidFill>
                          <a:effectLst/>
                          <a:latin typeface="宋体" pitchFamily="2" charset="-122"/>
                          <a:ea typeface="宋体" pitchFamily="2" charset="-122"/>
                          <a:cs typeface="宋体" pitchFamily="2" charset="-122"/>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en-US" altLang="zh-CN" sz="1100" dirty="0" smtClean="0">
                          <a:effectLst/>
                          <a:latin typeface="宋体" pitchFamily="2" charset="-122"/>
                          <a:ea typeface="宋体" pitchFamily="2" charset="-122"/>
                          <a:cs typeface="宋体" pitchFamily="2" charset="-122"/>
                          <a:sym typeface="+mn-ea"/>
                        </a:rPr>
                        <a:t>UI</a:t>
                      </a:r>
                      <a:r>
                        <a:rPr lang="zh-CN" altLang="en-US" sz="1100" dirty="0" smtClean="0">
                          <a:effectLst/>
                          <a:latin typeface="宋体" pitchFamily="2" charset="-122"/>
                          <a:ea typeface="宋体" pitchFamily="2" charset="-122"/>
                          <a:cs typeface="宋体" pitchFamily="2" charset="-122"/>
                          <a:sym typeface="+mn-ea"/>
                        </a:rPr>
                        <a:t>界面显示问题，不影响功能，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4"/>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16</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Auto Air Refresh</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6293</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kern="1200" dirty="0">
                          <a:solidFill>
                            <a:schemeClr val="dk1"/>
                          </a:solidFill>
                          <a:effectLst/>
                          <a:latin typeface="宋体" pitchFamily="2" charset="-122"/>
                          <a:ea typeface="宋体" pitchFamily="2" charset="-122"/>
                          <a:cs typeface="宋体" pitchFamily="2" charset="-122"/>
                        </a:rPr>
                        <a:t>在重新打开车机后，未打开过空调和</a:t>
                      </a:r>
                      <a:r>
                        <a:rPr lang="en-US" altLang="zh-CN" sz="1100" kern="1200" dirty="0">
                          <a:solidFill>
                            <a:schemeClr val="dk1"/>
                          </a:solidFill>
                          <a:effectLst/>
                          <a:latin typeface="宋体" pitchFamily="2" charset="-122"/>
                          <a:ea typeface="宋体" pitchFamily="2" charset="-122"/>
                          <a:cs typeface="宋体" pitchFamily="2" charset="-122"/>
                        </a:rPr>
                        <a:t>AAR</a:t>
                      </a:r>
                      <a:r>
                        <a:rPr lang="zh-CN" altLang="en-US" sz="1100" kern="1200" dirty="0">
                          <a:solidFill>
                            <a:schemeClr val="dk1"/>
                          </a:solidFill>
                          <a:effectLst/>
                          <a:latin typeface="宋体" pitchFamily="2" charset="-122"/>
                          <a:ea typeface="宋体" pitchFamily="2" charset="-122"/>
                          <a:cs typeface="宋体" pitchFamily="2" charset="-122"/>
                        </a:rPr>
                        <a:t>页面的情况下，且保证</a:t>
                      </a:r>
                      <a:r>
                        <a:rPr lang="en-US" altLang="zh-CN" sz="1100" kern="1200" dirty="0">
                          <a:solidFill>
                            <a:schemeClr val="dk1"/>
                          </a:solidFill>
                          <a:effectLst/>
                          <a:latin typeface="宋体" pitchFamily="2" charset="-122"/>
                          <a:ea typeface="宋体" pitchFamily="2" charset="-122"/>
                          <a:cs typeface="宋体" pitchFamily="2" charset="-122"/>
                        </a:rPr>
                        <a:t>0x373</a:t>
                      </a:r>
                      <a:r>
                        <a:rPr lang="zh-CN" altLang="en-US" sz="1100" kern="1200" dirty="0">
                          <a:solidFill>
                            <a:schemeClr val="dk1"/>
                          </a:solidFill>
                          <a:effectLst/>
                          <a:latin typeface="宋体" pitchFamily="2" charset="-122"/>
                          <a:ea typeface="宋体" pitchFamily="2" charset="-122"/>
                          <a:cs typeface="宋体" pitchFamily="2" charset="-122"/>
                        </a:rPr>
                        <a:t>和</a:t>
                      </a:r>
                      <a:r>
                        <a:rPr lang="en-US" altLang="zh-CN" sz="1100" kern="1200" dirty="0">
                          <a:solidFill>
                            <a:schemeClr val="dk1"/>
                          </a:solidFill>
                          <a:effectLst/>
                          <a:latin typeface="宋体" pitchFamily="2" charset="-122"/>
                          <a:ea typeface="宋体" pitchFamily="2" charset="-122"/>
                          <a:cs typeface="宋体" pitchFamily="2" charset="-122"/>
                        </a:rPr>
                        <a:t>0x374</a:t>
                      </a:r>
                      <a:r>
                        <a:rPr lang="zh-CN" altLang="en-US" sz="1100" kern="1200" dirty="0">
                          <a:solidFill>
                            <a:schemeClr val="dk1"/>
                          </a:solidFill>
                          <a:effectLst/>
                          <a:latin typeface="宋体" pitchFamily="2" charset="-122"/>
                          <a:ea typeface="宋体" pitchFamily="2" charset="-122"/>
                          <a:cs typeface="宋体" pitchFamily="2" charset="-122"/>
                        </a:rPr>
                        <a:t>两个信号至少一个丢失的情况下，发送一次空调电源信号。随后再打开空调页面，</a:t>
                      </a:r>
                      <a:r>
                        <a:rPr lang="en-US" altLang="zh-CN" sz="1100" kern="1200" dirty="0">
                          <a:solidFill>
                            <a:schemeClr val="dk1"/>
                          </a:solidFill>
                          <a:effectLst/>
                          <a:latin typeface="宋体" pitchFamily="2" charset="-122"/>
                          <a:ea typeface="宋体" pitchFamily="2" charset="-122"/>
                          <a:cs typeface="宋体" pitchFamily="2" charset="-122"/>
                        </a:rPr>
                        <a:t>AAR</a:t>
                      </a:r>
                      <a:r>
                        <a:rPr lang="zh-CN" altLang="en-US" sz="1100" kern="1200" dirty="0">
                          <a:solidFill>
                            <a:schemeClr val="dk1"/>
                          </a:solidFill>
                          <a:effectLst/>
                          <a:latin typeface="宋体" pitchFamily="2" charset="-122"/>
                          <a:ea typeface="宋体" pitchFamily="2" charset="-122"/>
                          <a:cs typeface="宋体" pitchFamily="2" charset="-122"/>
                        </a:rPr>
                        <a:t>的图标显示有误</a:t>
                      </a:r>
                    </a:p>
                  </a:txBody>
                  <a:tcPr marL="51229" marR="51229" marT="0" marB="0" anchor="ctr"/>
                </a:tc>
                <a:tc>
                  <a:txBody>
                    <a:bodyPr/>
                    <a:lstStyle/>
                    <a:p>
                      <a:pPr marL="0" algn="ctr" defTabSz="914400" rtl="0" eaLnBrk="1" latinLnBrk="0" hangingPunct="1">
                        <a:spcAft>
                          <a:spcPts val="0"/>
                        </a:spcAft>
                      </a:pPr>
                      <a:r>
                        <a:rPr lang="en-US" altLang="zh-CN" sz="1100" kern="1200" dirty="0">
                          <a:solidFill>
                            <a:schemeClr val="dk1"/>
                          </a:solidFill>
                          <a:effectLst/>
                          <a:latin typeface="宋体" pitchFamily="2" charset="-122"/>
                          <a:ea typeface="宋体" pitchFamily="2" charset="-122"/>
                          <a:cs typeface="宋体" pitchFamily="2" charset="-122"/>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en-US" altLang="zh-CN" sz="1100" dirty="0" smtClean="0">
                          <a:effectLst/>
                          <a:latin typeface="宋体" pitchFamily="2" charset="-122"/>
                          <a:ea typeface="宋体" pitchFamily="2" charset="-122"/>
                          <a:cs typeface="宋体" pitchFamily="2" charset="-122"/>
                          <a:sym typeface="+mn-ea"/>
                        </a:rPr>
                        <a:t>UI</a:t>
                      </a:r>
                      <a:r>
                        <a:rPr lang="zh-CN" altLang="en-US" sz="1100" dirty="0" smtClean="0">
                          <a:effectLst/>
                          <a:latin typeface="宋体" pitchFamily="2" charset="-122"/>
                          <a:ea typeface="宋体" pitchFamily="2" charset="-122"/>
                          <a:cs typeface="宋体" pitchFamily="2" charset="-122"/>
                          <a:sym typeface="+mn-ea"/>
                        </a:rPr>
                        <a:t>界面显示问题，且需要在信号丢失这个异常条件下首次进入才会出现一次，不影响功能，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5"/>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17</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Audio</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APIMCIM-16782</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en-US" altLang="zh-CN" sz="1050" dirty="0">
                          <a:effectLst/>
                          <a:latin typeface="宋体" pitchFamily="2" charset="-122"/>
                          <a:ea typeface="宋体" pitchFamily="2" charset="-122"/>
                          <a:cs typeface="宋体" pitchFamily="2" charset="-122"/>
                          <a:sym typeface="+mn-ea"/>
                        </a:rPr>
                        <a:t>AudioOff</a:t>
                      </a:r>
                      <a:r>
                        <a:rPr lang="zh-CN" altLang="en-US" sz="1050" dirty="0">
                          <a:effectLst/>
                          <a:latin typeface="宋体" pitchFamily="2" charset="-122"/>
                          <a:ea typeface="宋体" pitchFamily="2" charset="-122"/>
                          <a:cs typeface="宋体" pitchFamily="2" charset="-122"/>
                          <a:sym typeface="+mn-ea"/>
                        </a:rPr>
                        <a:t>的情况下，进行导航播报的过程中，解除</a:t>
                      </a:r>
                      <a:r>
                        <a:rPr lang="en-US" altLang="zh-CN" sz="1050" dirty="0">
                          <a:effectLst/>
                          <a:latin typeface="宋体" pitchFamily="2" charset="-122"/>
                          <a:ea typeface="宋体" pitchFamily="2" charset="-122"/>
                          <a:cs typeface="宋体" pitchFamily="2" charset="-122"/>
                          <a:sym typeface="+mn-ea"/>
                        </a:rPr>
                        <a:t>AudioOff</a:t>
                      </a:r>
                      <a:r>
                        <a:rPr lang="zh-CN" altLang="en-US" sz="1050" dirty="0">
                          <a:effectLst/>
                          <a:latin typeface="宋体" pitchFamily="2" charset="-122"/>
                          <a:ea typeface="宋体" pitchFamily="2" charset="-122"/>
                          <a:cs typeface="宋体" pitchFamily="2" charset="-122"/>
                          <a:sym typeface="+mn-ea"/>
                        </a:rPr>
                        <a:t>状态，</a:t>
                      </a:r>
                      <a:r>
                        <a:rPr lang="zh-CN" altLang="en-US" sz="1050" b="0" dirty="0">
                          <a:solidFill>
                            <a:srgbClr val="172B4D"/>
                          </a:solidFill>
                          <a:effectLst/>
                          <a:latin typeface="宋体" pitchFamily="2" charset="-122"/>
                          <a:ea typeface="-apple-system" charset="0"/>
                          <a:cs typeface="宋体" pitchFamily="2" charset="-122"/>
                        </a:rPr>
                        <a:t>媒体音未恢复</a:t>
                      </a:r>
                      <a:endParaRPr lang="zh-CN" sz="11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100" dirty="0">
                          <a:effectLst/>
                          <a:latin typeface="宋体" pitchFamily="2" charset="-122"/>
                          <a:ea typeface="宋体" pitchFamily="2" charset="-122"/>
                          <a:cs typeface="宋体" pitchFamily="2" charset="-122"/>
                        </a:rPr>
                        <a:t>导航播报结束后媒体音可恢复</a:t>
                      </a:r>
                      <a:endParaRPr lang="zh-CN" sz="11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100" dirty="0">
                          <a:effectLst/>
                          <a:latin typeface="宋体" pitchFamily="2" charset="-122"/>
                          <a:ea typeface="宋体" pitchFamily="2" charset="-122"/>
                          <a:cs typeface="宋体" pitchFamily="2" charset="-122"/>
                        </a:rPr>
                        <a:t>仅在进行导航播报的过程中解除</a:t>
                      </a:r>
                      <a:r>
                        <a:rPr lang="en-US" altLang="zh-CN" sz="1100" dirty="0">
                          <a:effectLst/>
                          <a:latin typeface="宋体" pitchFamily="2" charset="-122"/>
                          <a:ea typeface="宋体" pitchFamily="2" charset="-122"/>
                          <a:cs typeface="宋体" pitchFamily="2" charset="-122"/>
                          <a:sym typeface="+mn-ea"/>
                        </a:rPr>
                        <a:t>AudioOff</a:t>
                      </a:r>
                      <a:r>
                        <a:rPr lang="zh-CN" altLang="en-US" sz="1100" dirty="0">
                          <a:effectLst/>
                          <a:latin typeface="宋体" pitchFamily="2" charset="-122"/>
                          <a:ea typeface="宋体" pitchFamily="2" charset="-122"/>
                          <a:cs typeface="宋体" pitchFamily="2" charset="-122"/>
                          <a:sym typeface="+mn-ea"/>
                        </a:rPr>
                        <a:t>状态时，媒体不会出声，播报结束后可自动恢复，对客户影响较小</a:t>
                      </a:r>
                      <a:endParaRPr lang="zh-CN" altLang="zh-CN" sz="11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100" dirty="0">
                          <a:effectLst/>
                          <a:latin typeface="宋体" pitchFamily="2" charset="-122"/>
                          <a:ea typeface="宋体" pitchFamily="2" charset="-122"/>
                          <a:cs typeface="宋体" pitchFamily="2" charset="-122"/>
                        </a:rPr>
                        <a:t>合入</a:t>
                      </a:r>
                      <a:r>
                        <a:rPr lang="en-US" altLang="zh-CN" sz="1100" dirty="0">
                          <a:effectLst/>
                          <a:latin typeface="宋体" pitchFamily="2" charset="-122"/>
                          <a:ea typeface="宋体" pitchFamily="2" charset="-122"/>
                          <a:cs typeface="宋体" pitchFamily="2" charset="-122"/>
                        </a:rPr>
                        <a:t>R07.1</a:t>
                      </a:r>
                      <a:endParaRPr lang="zh-CN" sz="1100" dirty="0">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266992515"/>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18</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6776</a:t>
                      </a: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sym typeface="+mn-ea"/>
                        </a:rPr>
                        <a:t>APIMCIM-16774</a:t>
                      </a: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sym typeface="+mn-ea"/>
                        </a:rPr>
                        <a:t>APIMCIM-16772</a:t>
                      </a:r>
                    </a:p>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sym typeface="+mn-ea"/>
                        </a:rPr>
                        <a:t>APIMCIM-16094</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050">
                          <a:solidFill>
                            <a:srgbClr val="172B4D"/>
                          </a:solidFill>
                          <a:ea typeface="-apple-system" charset="0"/>
                          <a:sym typeface="+mn-ea"/>
                        </a:rPr>
                        <a:t>蓝牙音乐</a:t>
                      </a:r>
                      <a:r>
                        <a:rPr lang="en-US" altLang="zh-CN" sz="1050">
                          <a:solidFill>
                            <a:srgbClr val="172B4D"/>
                          </a:solidFill>
                          <a:ea typeface="-apple-system" charset="0"/>
                          <a:sym typeface="+mn-ea"/>
                        </a:rPr>
                        <a:t>/</a:t>
                      </a:r>
                      <a:r>
                        <a:rPr lang="zh-CN" sz="1050">
                          <a:solidFill>
                            <a:srgbClr val="172B4D"/>
                          </a:solidFill>
                          <a:ea typeface="-apple-system" charset="0"/>
                          <a:sym typeface="+mn-ea"/>
                        </a:rPr>
                        <a:t>usb音乐/usb视频</a:t>
                      </a:r>
                      <a:r>
                        <a:rPr lang="zh-CN" altLang="en-US" sz="1050">
                          <a:solidFill>
                            <a:srgbClr val="172B4D"/>
                          </a:solidFill>
                          <a:ea typeface="-apple-system" charset="0"/>
                          <a:sym typeface="+mn-ea"/>
                        </a:rPr>
                        <a:t>等多媒体</a:t>
                      </a:r>
                      <a:r>
                        <a:rPr lang="zh-CN" sz="1050">
                          <a:solidFill>
                            <a:srgbClr val="172B4D"/>
                          </a:solidFill>
                          <a:ea typeface="-apple-system" charset="0"/>
                          <a:sym typeface="+mn-ea"/>
                        </a:rPr>
                        <a:t>播放</a:t>
                      </a:r>
                      <a:r>
                        <a:rPr lang="zh-CN" altLang="en-US" sz="1050">
                          <a:solidFill>
                            <a:srgbClr val="172B4D"/>
                          </a:solidFill>
                          <a:ea typeface="-apple-system" charset="0"/>
                          <a:sym typeface="+mn-ea"/>
                        </a:rPr>
                        <a:t>发声中</a:t>
                      </a:r>
                      <a:r>
                        <a:rPr lang="zh-CN" sz="1050">
                          <a:solidFill>
                            <a:srgbClr val="172B4D"/>
                          </a:solidFill>
                          <a:ea typeface="-apple-system" charset="0"/>
                          <a:sym typeface="+mn-ea"/>
                        </a:rPr>
                        <a:t>，</a:t>
                      </a:r>
                      <a:r>
                        <a:rPr lang="zh-CN" altLang="en-US" sz="1050">
                          <a:solidFill>
                            <a:srgbClr val="172B4D"/>
                          </a:solidFill>
                          <a:ea typeface="-apple-system" charset="0"/>
                          <a:sym typeface="+mn-ea"/>
                        </a:rPr>
                        <a:t>音源变化时</a:t>
                      </a:r>
                      <a:r>
                        <a:rPr lang="zh-CN" sz="1050">
                          <a:solidFill>
                            <a:srgbClr val="172B4D"/>
                          </a:solidFill>
                          <a:ea typeface="-apple-system" charset="0"/>
                          <a:sym typeface="+mn-ea"/>
                        </a:rPr>
                        <a:t>会有一声爆破音</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050" b="0" dirty="0">
                          <a:solidFill>
                            <a:srgbClr val="172B4D"/>
                          </a:solidFill>
                          <a:ea typeface="-apple-system" charset="0"/>
                        </a:rPr>
                        <a:t>将媒体音量调到 </a:t>
                      </a:r>
                      <a:r>
                        <a:rPr lang="en-US" altLang="zh-CN" sz="1050" b="0" dirty="0">
                          <a:solidFill>
                            <a:srgbClr val="172B4D"/>
                          </a:solidFill>
                          <a:ea typeface="-apple-system" charset="0"/>
                        </a:rPr>
                        <a:t>5 </a:t>
                      </a:r>
                      <a:r>
                        <a:rPr lang="zh-CN" altLang="en-US" sz="1050" b="0" dirty="0">
                          <a:solidFill>
                            <a:srgbClr val="172B4D"/>
                          </a:solidFill>
                          <a:ea typeface="-apple-system" charset="0"/>
                        </a:rPr>
                        <a:t>以下</a:t>
                      </a:r>
                      <a:endParaRPr lang="zh-CN" sz="1050" b="0" dirty="0">
                        <a:solidFill>
                          <a:srgbClr val="172B4D"/>
                        </a:solidFill>
                        <a:ea typeface="-apple-system" charset="0"/>
                      </a:endParaRPr>
                    </a:p>
                  </a:txBody>
                  <a:tcPr marL="51229" marR="51229" marT="0" marB="0" anchor="ctr"/>
                </a:tc>
                <a:tc>
                  <a:txBody>
                    <a:bodyPr/>
                    <a:lstStyle/>
                    <a:p>
                      <a:pPr marL="0" algn="ctr" defTabSz="914400" rtl="0" eaLnBrk="1" latinLnBrk="0" hangingPunct="1">
                        <a:spcAft>
                          <a:spcPts val="0"/>
                        </a:spcAft>
                      </a:pPr>
                      <a:r>
                        <a:rPr lang="zh-CN" sz="1050" dirty="0">
                          <a:solidFill>
                            <a:srgbClr val="172B4D"/>
                          </a:solidFill>
                          <a:ea typeface="-apple-system" charset="0"/>
                          <a:sym typeface="+mn-ea"/>
                        </a:rPr>
                        <a:t>在</a:t>
                      </a:r>
                      <a:r>
                        <a:rPr lang="zh-CN" altLang="en-US" sz="1050" dirty="0">
                          <a:solidFill>
                            <a:srgbClr val="172B4D"/>
                          </a:solidFill>
                          <a:ea typeface="-apple-system" charset="0"/>
                          <a:sym typeface="+mn-ea"/>
                        </a:rPr>
                        <a:t>音源</a:t>
                      </a:r>
                      <a:r>
                        <a:rPr lang="zh-CN" sz="1050" dirty="0">
                          <a:solidFill>
                            <a:srgbClr val="172B4D"/>
                          </a:solidFill>
                          <a:ea typeface="-apple-system" charset="0"/>
                          <a:sym typeface="+mn-ea"/>
                        </a:rPr>
                        <a:t>焦点释放之后，</a:t>
                      </a:r>
                      <a:r>
                        <a:rPr lang="zh-CN" altLang="en-US" sz="1050" dirty="0">
                          <a:solidFill>
                            <a:srgbClr val="172B4D"/>
                          </a:solidFill>
                          <a:ea typeface="-apple-system" charset="0"/>
                          <a:sym typeface="+mn-ea"/>
                        </a:rPr>
                        <a:t>媒体</a:t>
                      </a:r>
                      <a:r>
                        <a:rPr lang="zh-CN" sz="1050" dirty="0">
                          <a:solidFill>
                            <a:srgbClr val="172B4D"/>
                          </a:solidFill>
                          <a:ea typeface="-apple-system" charset="0"/>
                          <a:sym typeface="+mn-ea"/>
                        </a:rPr>
                        <a:t>音量直接</a:t>
                      </a:r>
                      <a:r>
                        <a:rPr lang="zh-CN" altLang="en-US" sz="1050" dirty="0">
                          <a:solidFill>
                            <a:srgbClr val="172B4D"/>
                          </a:solidFill>
                          <a:ea typeface="-apple-system" charset="0"/>
                          <a:sym typeface="+mn-ea"/>
                        </a:rPr>
                        <a:t>又压制状态恢复</a:t>
                      </a:r>
                      <a:r>
                        <a:rPr lang="zh-CN" sz="1050" dirty="0">
                          <a:solidFill>
                            <a:srgbClr val="172B4D"/>
                          </a:solidFill>
                          <a:ea typeface="-apple-system" charset="0"/>
                          <a:sym typeface="+mn-ea"/>
                        </a:rPr>
                        <a:t>至当前设置的音量</a:t>
                      </a:r>
                      <a:r>
                        <a:rPr lang="zh-CN" altLang="en-US" sz="1050" dirty="0">
                          <a:solidFill>
                            <a:srgbClr val="172B4D"/>
                          </a:solidFill>
                          <a:ea typeface="-apple-system" charset="0"/>
                          <a:sym typeface="+mn-ea"/>
                        </a:rPr>
                        <a:t>，而不是渐进提升</a:t>
                      </a:r>
                      <a:endParaRPr lang="zh-CN" sz="1050" b="0" dirty="0">
                        <a:solidFill>
                          <a:srgbClr val="172B4D"/>
                        </a:solidFill>
                        <a:ea typeface="-apple-system" charset="0"/>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454783241"/>
                  </a:ext>
                </a:extLst>
              </a:tr>
            </a:tbl>
          </a:graphicData>
        </a:graphic>
      </p:graphicFrame>
    </p:spTree>
    <p:extLst>
      <p:ext uri="{BB962C8B-B14F-4D97-AF65-F5344CB8AC3E}">
        <p14:creationId xmlns:p14="http://schemas.microsoft.com/office/powerpoint/2010/main" val="4904595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altLang="zh-CN" sz="2400" dirty="0" smtClean="0"/>
              <a:t>R07</a:t>
            </a:r>
            <a:r>
              <a:rPr lang="zh-CN" altLang="en-US" sz="2400" dirty="0" smtClean="0"/>
              <a:t>版本发版建议</a:t>
            </a:r>
            <a:endParaRPr lang="en-US" sz="2400" dirty="0"/>
          </a:p>
        </p:txBody>
      </p:sp>
      <p:sp>
        <p:nvSpPr>
          <p:cNvPr id="7" name="文本框 6"/>
          <p:cNvSpPr txBox="1"/>
          <p:nvPr/>
        </p:nvSpPr>
        <p:spPr>
          <a:xfrm>
            <a:off x="1158368" y="1420836"/>
            <a:ext cx="9490875" cy="646331"/>
          </a:xfrm>
          <a:prstGeom prst="rect">
            <a:avLst/>
          </a:prstGeom>
          <a:noFill/>
        </p:spPr>
        <p:txBody>
          <a:bodyPr wrap="square" rtlCol="0">
            <a:spAutoFit/>
          </a:bodyPr>
          <a:lstStyle/>
          <a:p>
            <a:pPr lvl="0" eaLnBrk="0" fontAlgn="base" hangingPunct="0">
              <a:spcBef>
                <a:spcPct val="0"/>
              </a:spcBef>
              <a:spcAft>
                <a:spcPct val="0"/>
              </a:spcAft>
            </a:pPr>
            <a:r>
              <a:rPr lang="en-US" altLang="zh-CN" dirty="0">
                <a:latin typeface="Arial" panose="020B0604020202020204" pitchFamily="34" charset="0"/>
                <a:cs typeface="宋体" panose="02010600030101010101" pitchFamily="2" charset="-122"/>
              </a:rPr>
              <a:t>CDX707 </a:t>
            </a:r>
            <a:r>
              <a:rPr lang="en-US" altLang="zh-CN" dirty="0" smtClean="0">
                <a:latin typeface="Arial" panose="020B0604020202020204" pitchFamily="34" charset="0"/>
                <a:cs typeface="宋体" panose="02010600030101010101" pitchFamily="2" charset="-122"/>
              </a:rPr>
              <a:t>R07</a:t>
            </a:r>
            <a:r>
              <a:rPr lang="zh-CN" altLang="en-US" dirty="0" smtClean="0">
                <a:latin typeface="Arial" panose="020B0604020202020204" pitchFamily="34" charset="0"/>
                <a:cs typeface="宋体" panose="02010600030101010101" pitchFamily="2" charset="-122"/>
              </a:rPr>
              <a:t>发</a:t>
            </a:r>
            <a:r>
              <a:rPr lang="zh-CN" altLang="en-US" dirty="0">
                <a:latin typeface="Arial" panose="020B0604020202020204" pitchFamily="34" charset="0"/>
                <a:cs typeface="宋体" panose="02010600030101010101" pitchFamily="2" charset="-122"/>
              </a:rPr>
              <a:t>版说明如下：</a:t>
            </a:r>
          </a:p>
          <a:p>
            <a:pPr lvl="0" eaLnBrk="0" fontAlgn="base" hangingPunct="0">
              <a:spcBef>
                <a:spcPct val="0"/>
              </a:spcBef>
              <a:spcAft>
                <a:spcPct val="0"/>
              </a:spcAft>
            </a:pPr>
            <a:r>
              <a:rPr lang="zh-CN" altLang="en-US" dirty="0">
                <a:latin typeface="Arial" panose="020B0604020202020204" pitchFamily="34" charset="0"/>
                <a:cs typeface="宋体" panose="02010600030101010101" pitchFamily="2" charset="-122"/>
              </a:rPr>
              <a:t>经团队内部商议，认为</a:t>
            </a:r>
            <a:r>
              <a:rPr lang="en-US" altLang="zh-CN" dirty="0" smtClean="0">
                <a:latin typeface="Arial" panose="020B0604020202020204" pitchFamily="34" charset="0"/>
                <a:cs typeface="宋体" panose="02010600030101010101" pitchFamily="2" charset="-122"/>
              </a:rPr>
              <a:t>R07</a:t>
            </a:r>
            <a:r>
              <a:rPr lang="zh-CN" altLang="en-US" dirty="0" smtClean="0">
                <a:latin typeface="Arial" panose="020B0604020202020204" pitchFamily="34" charset="0"/>
                <a:cs typeface="宋体" panose="02010600030101010101" pitchFamily="2" charset="-122"/>
              </a:rPr>
              <a:t>版本无重大风险和问题可</a:t>
            </a:r>
            <a:r>
              <a:rPr lang="zh-CN" altLang="en-US" dirty="0">
                <a:latin typeface="Arial" panose="020B0604020202020204" pitchFamily="34" charset="0"/>
                <a:cs typeface="宋体" panose="02010600030101010101" pitchFamily="2" charset="-122"/>
              </a:rPr>
              <a:t>带偏差</a:t>
            </a:r>
            <a:r>
              <a:rPr lang="zh-CN" altLang="en-US" dirty="0" smtClean="0">
                <a:latin typeface="Arial" panose="020B0604020202020204" pitchFamily="34" charset="0"/>
                <a:cs typeface="宋体" panose="02010600030101010101" pitchFamily="2" charset="-122"/>
              </a:rPr>
              <a:t>发布</a:t>
            </a:r>
            <a:endParaRPr lang="zh-CN" altLang="en-US" dirty="0">
              <a:latin typeface="Arial" panose="020B0604020202020204" pitchFamily="34" charset="0"/>
              <a:cs typeface="宋体" panose="02010600030101010101" pitchFamily="2" charset="-122"/>
            </a:endParaRPr>
          </a:p>
        </p:txBody>
      </p:sp>
    </p:spTree>
    <p:extLst>
      <p:ext uri="{BB962C8B-B14F-4D97-AF65-F5344CB8AC3E}">
        <p14:creationId xmlns:p14="http://schemas.microsoft.com/office/powerpoint/2010/main" val="22406204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4908333" y="2208360"/>
            <a:ext cx="2238055" cy="502920"/>
          </a:xfrm>
        </p:spPr>
        <p:txBody>
          <a:bodyPr/>
          <a:lstStyle/>
          <a:p>
            <a:r>
              <a:rPr lang="en-US" altLang="zh-CN" dirty="0" smtClean="0"/>
              <a:t>BACK UP</a:t>
            </a:r>
            <a:endParaRPr lang="zh-CN" altLang="en-US" dirty="0"/>
          </a:p>
        </p:txBody>
      </p:sp>
    </p:spTree>
    <p:extLst>
      <p:ext uri="{BB962C8B-B14F-4D97-AF65-F5344CB8AC3E}">
        <p14:creationId xmlns:p14="http://schemas.microsoft.com/office/powerpoint/2010/main" val="10853164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125318" y="267019"/>
            <a:ext cx="5135999" cy="502920"/>
          </a:xfrm>
          <a:ln>
            <a:noFill/>
          </a:ln>
        </p:spPr>
        <p:txBody>
          <a:bodyPr/>
          <a:lstStyle/>
          <a:p>
            <a:endParaRPr lang="zh-CN" altLang="en-US" dirty="0"/>
          </a:p>
        </p:txBody>
      </p:sp>
      <p:graphicFrame>
        <p:nvGraphicFramePr>
          <p:cNvPr id="6" name="表格 5"/>
          <p:cNvGraphicFramePr>
            <a:graphicFrameLocks noGrp="1"/>
          </p:cNvGraphicFramePr>
          <p:nvPr>
            <p:extLst>
              <p:ext uri="{D42A27DB-BD31-4B8C-83A1-F6EECF244321}">
                <p14:modId xmlns:p14="http://schemas.microsoft.com/office/powerpoint/2010/main" val="2193399474"/>
              </p:ext>
            </p:extLst>
          </p:nvPr>
        </p:nvGraphicFramePr>
        <p:xfrm>
          <a:off x="211294" y="769939"/>
          <a:ext cx="5331844" cy="5015974"/>
        </p:xfrm>
        <a:graphic>
          <a:graphicData uri="http://schemas.openxmlformats.org/drawingml/2006/table">
            <a:tbl>
              <a:tblPr/>
              <a:tblGrid>
                <a:gridCol w="437353">
                  <a:extLst>
                    <a:ext uri="{9D8B030D-6E8A-4147-A177-3AD203B41FA5}">
                      <a16:colId xmlns:a16="http://schemas.microsoft.com/office/drawing/2014/main" val="3443250922"/>
                    </a:ext>
                  </a:extLst>
                </a:gridCol>
                <a:gridCol w="1736548">
                  <a:extLst>
                    <a:ext uri="{9D8B030D-6E8A-4147-A177-3AD203B41FA5}">
                      <a16:colId xmlns:a16="http://schemas.microsoft.com/office/drawing/2014/main" val="4063208227"/>
                    </a:ext>
                  </a:extLst>
                </a:gridCol>
                <a:gridCol w="694619">
                  <a:extLst>
                    <a:ext uri="{9D8B030D-6E8A-4147-A177-3AD203B41FA5}">
                      <a16:colId xmlns:a16="http://schemas.microsoft.com/office/drawing/2014/main" val="1290394632"/>
                    </a:ext>
                  </a:extLst>
                </a:gridCol>
                <a:gridCol w="437353">
                  <a:extLst>
                    <a:ext uri="{9D8B030D-6E8A-4147-A177-3AD203B41FA5}">
                      <a16:colId xmlns:a16="http://schemas.microsoft.com/office/drawing/2014/main" val="2521151016"/>
                    </a:ext>
                  </a:extLst>
                </a:gridCol>
                <a:gridCol w="1186641">
                  <a:extLst>
                    <a:ext uri="{9D8B030D-6E8A-4147-A177-3AD203B41FA5}">
                      <a16:colId xmlns:a16="http://schemas.microsoft.com/office/drawing/2014/main" val="1409969721"/>
                    </a:ext>
                  </a:extLst>
                </a:gridCol>
                <a:gridCol w="839330">
                  <a:extLst>
                    <a:ext uri="{9D8B030D-6E8A-4147-A177-3AD203B41FA5}">
                      <a16:colId xmlns:a16="http://schemas.microsoft.com/office/drawing/2014/main" val="2480983856"/>
                    </a:ext>
                  </a:extLst>
                </a:gridCol>
              </a:tblGrid>
              <a:tr h="244967">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N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Moud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Statu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N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Moud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等线" panose="02010600030101010101" pitchFamily="2" charset="-122"/>
                          <a:ea typeface="等线" panose="02010600030101010101" pitchFamily="2" charset="-122"/>
                        </a:rPr>
                        <a:t>Statu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8598493"/>
                  </a:ext>
                </a:extLst>
              </a:tr>
              <a:tr h="244967">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等线" panose="02010600030101010101" pitchFamily="2" charset="-122"/>
                          <a:ea typeface="等线" panose="02010600030101010101" pitchFamily="2" charset="-122"/>
                        </a:rPr>
                        <a:t>DL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20</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100" b="0" i="0" u="none" strike="noStrike">
                          <a:solidFill>
                            <a:srgbClr val="000000"/>
                          </a:solidFill>
                          <a:effectLst/>
                          <a:latin typeface="等线" panose="02010600030101010101" pitchFamily="2" charset="-122"/>
                          <a:ea typeface="等线" panose="02010600030101010101" pitchFamily="2" charset="-122"/>
                        </a:rPr>
                        <a:t>雷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98180390"/>
                  </a:ext>
                </a:extLst>
              </a:tr>
              <a:tr h="244967">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等线" panose="02010600030101010101" pitchFamily="2" charset="-122"/>
                          <a:ea typeface="等线" panose="02010600030101010101" pitchFamily="2" charset="-122"/>
                        </a:rPr>
                        <a:t>Car Pow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9.21%</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21</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等线" panose="02010600030101010101" pitchFamily="2" charset="-122"/>
                          <a:ea typeface="等线" panose="02010600030101010101" pitchFamily="2" charset="-122"/>
                        </a:rPr>
                        <a:t>FAP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252084297"/>
                  </a:ext>
                </a:extLst>
              </a:tr>
              <a:tr h="244967">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等线" panose="02010600030101010101" pitchFamily="2" charset="-122"/>
                          <a:ea typeface="等线" panose="02010600030101010101" pitchFamily="2" charset="-122"/>
                        </a:rPr>
                        <a:t>Car inpu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7.35%</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22</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err="1">
                          <a:solidFill>
                            <a:srgbClr val="000000"/>
                          </a:solidFill>
                          <a:effectLst/>
                          <a:latin typeface="等线" panose="02010600030101010101" pitchFamily="2" charset="-122"/>
                          <a:ea typeface="等线" panose="02010600030101010101" pitchFamily="2" charset="-122"/>
                        </a:rPr>
                        <a:t>powerflow</a:t>
                      </a:r>
                      <a:r>
                        <a:rPr lang="zh-CN" altLang="en-US" sz="1100" b="0" i="0" u="none" strike="noStrike" dirty="0">
                          <a:solidFill>
                            <a:srgbClr val="000000"/>
                          </a:solidFill>
                          <a:effectLst/>
                          <a:latin typeface="等线" panose="02010600030101010101" pitchFamily="2" charset="-122"/>
                          <a:ea typeface="等线" panose="02010600030101010101" pitchFamily="2" charset="-122"/>
                        </a:rPr>
                        <a:t>能量流</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048927273"/>
                  </a:ext>
                </a:extLst>
              </a:tr>
              <a:tr h="244967">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等线" panose="02010600030101010101" pitchFamily="2" charset="-122"/>
                          <a:ea typeface="等线" panose="02010600030101010101" pitchFamily="2" charset="-122"/>
                        </a:rPr>
                        <a:t>Them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23</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EM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9%</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927341787"/>
                  </a:ext>
                </a:extLst>
              </a:tr>
              <a:tr h="244967">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等线" panose="02010600030101010101" pitchFamily="2" charset="-122"/>
                          <a:ea typeface="等线" panose="02010600030101010101" pitchFamily="2" charset="-122"/>
                        </a:rPr>
                        <a:t>GNS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24</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蓝牙儿童座椅</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244164770"/>
                  </a:ext>
                </a:extLst>
              </a:tr>
              <a:tr h="244967">
                <a:tc>
                  <a:txBody>
                    <a:bodyPr/>
                    <a:lstStyle/>
                    <a:p>
                      <a:pPr algn="ctr" fontAlgn="b"/>
                      <a:r>
                        <a:rPr lang="en-US" altLang="zh-CN" sz="1100" b="0" i="0" u="none" strike="noStrike" dirty="0">
                          <a:solidFill>
                            <a:srgbClr val="000000"/>
                          </a:solidFill>
                          <a:effectLst/>
                          <a:latin typeface="等线" panose="02010600030101010101" pitchFamily="2" charset="-122"/>
                          <a:ea typeface="等线" panose="02010600030101010101" pitchFamily="2" charset="-122"/>
                        </a:rPr>
                        <a:t>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Launch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9.7%</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25</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3D</a:t>
                      </a:r>
                      <a:r>
                        <a:rPr lang="zh-CN" altLang="en-US" sz="1100" b="0" i="0" u="none" strike="noStrike" dirty="0">
                          <a:solidFill>
                            <a:srgbClr val="000000"/>
                          </a:solidFill>
                          <a:effectLst/>
                          <a:latin typeface="等线" panose="02010600030101010101" pitchFamily="2" charset="-122"/>
                          <a:ea typeface="等线" panose="02010600030101010101" pitchFamily="2" charset="-122"/>
                        </a:rPr>
                        <a:t>车模</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8.82%</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4021473542"/>
                  </a:ext>
                </a:extLst>
              </a:tr>
              <a:tr h="244967">
                <a:tc>
                  <a:txBody>
                    <a:bodyPr/>
                    <a:lstStyle/>
                    <a:p>
                      <a:pPr algn="ctr" fontAlgn="b"/>
                      <a:r>
                        <a:rPr lang="en-US" altLang="zh-CN" sz="1100" b="0" i="0" u="none" strike="noStrike" dirty="0">
                          <a:solidFill>
                            <a:srgbClr val="000000"/>
                          </a:solidFill>
                          <a:effectLst/>
                          <a:latin typeface="等线" panose="02010600030101010101" pitchFamily="2" charset="-122"/>
                          <a:ea typeface="等线" panose="02010600030101010101" pitchFamily="2" charset="-122"/>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Audio</a:t>
                      </a:r>
                      <a:r>
                        <a:rPr lang="zh-CN" altLang="en-US" sz="1100" b="0" i="0" u="none" strike="noStrike" dirty="0">
                          <a:solidFill>
                            <a:srgbClr val="000000"/>
                          </a:solidFill>
                          <a:effectLst/>
                          <a:latin typeface="等线" panose="02010600030101010101" pitchFamily="2" charset="-122"/>
                          <a:ea typeface="等线" panose="02010600030101010101" pitchFamily="2" charset="-122"/>
                        </a:rPr>
                        <a:t>内置</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9.46%</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26</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CC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5%</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166368145"/>
                  </a:ext>
                </a:extLst>
              </a:tr>
              <a:tr h="244967">
                <a:tc>
                  <a:txBody>
                    <a:bodyPr/>
                    <a:lstStyle/>
                    <a:p>
                      <a:pPr algn="ctr" fontAlgn="b"/>
                      <a:r>
                        <a:rPr lang="en-US" altLang="zh-CN" sz="1100" b="0" i="0" u="none" strike="noStrike" dirty="0">
                          <a:solidFill>
                            <a:srgbClr val="000000"/>
                          </a:solidFill>
                          <a:effectLst/>
                          <a:latin typeface="等线" panose="02010600030101010101" pitchFamily="2" charset="-122"/>
                          <a:ea typeface="等线" panose="02010600030101010101" pitchFamily="2" charset="-122"/>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Audio</a:t>
                      </a:r>
                      <a:r>
                        <a:rPr lang="zh-CN" altLang="en-US" sz="1100" b="0" i="0" u="none" strike="noStrike" dirty="0">
                          <a:solidFill>
                            <a:srgbClr val="000000"/>
                          </a:solidFill>
                          <a:effectLst/>
                          <a:latin typeface="等线" panose="02010600030101010101" pitchFamily="2" charset="-122"/>
                          <a:ea typeface="等线" panose="02010600030101010101" pitchFamily="2" charset="-122"/>
                        </a:rPr>
                        <a:t>外置（</a:t>
                      </a:r>
                      <a:r>
                        <a:rPr lang="en-US" altLang="zh-CN" sz="1100" b="0" i="0" u="none" strike="noStrike" dirty="0">
                          <a:solidFill>
                            <a:srgbClr val="000000"/>
                          </a:solidFill>
                          <a:effectLst/>
                          <a:latin typeface="等线" panose="02010600030101010101" pitchFamily="2" charset="-122"/>
                          <a:ea typeface="等线" panose="02010600030101010101" pitchFamily="2" charset="-122"/>
                        </a:rPr>
                        <a:t>12</a:t>
                      </a:r>
                      <a:r>
                        <a:rPr lang="en-US" sz="1100" b="0" i="0" u="none" strike="noStrike" dirty="0">
                          <a:solidFill>
                            <a:srgbClr val="000000"/>
                          </a:solidFill>
                          <a:effectLst/>
                          <a:latin typeface="等线" panose="02010600030101010101" pitchFamily="2" charset="-122"/>
                          <a:ea typeface="等线" panose="02010600030101010101" pitchFamily="2" charset="-122"/>
                        </a:rPr>
                        <a:t>c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4.7%</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27</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Provisio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178130214"/>
                  </a:ext>
                </a:extLst>
              </a:tr>
              <a:tr h="244967">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音源矩阵</a:t>
                      </a:r>
                      <a:r>
                        <a:rPr lang="en-US" altLang="zh-CN" sz="1100" b="0" i="0" u="none" strike="noStrike" dirty="0">
                          <a:solidFill>
                            <a:srgbClr val="000000"/>
                          </a:solidFill>
                          <a:effectLst/>
                          <a:latin typeface="等线" panose="02010600030101010101" pitchFamily="2" charset="-122"/>
                          <a:ea typeface="等线" panose="02010600030101010101" pitchFamily="2" charset="-122"/>
                        </a:rPr>
                        <a:t>(</a:t>
                      </a:r>
                      <a:r>
                        <a:rPr lang="en-US" sz="1100" b="0" i="0" u="none" strike="noStrike" dirty="0">
                          <a:solidFill>
                            <a:srgbClr val="000000"/>
                          </a:solidFill>
                          <a:effectLst/>
                          <a:latin typeface="等线" panose="02010600030101010101" pitchFamily="2" charset="-122"/>
                          <a:ea typeface="等线" panose="02010600030101010101" pitchFamily="2" charset="-122"/>
                        </a:rPr>
                        <a:t>Ecall-12c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28</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WI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67779175"/>
                  </a:ext>
                </a:extLst>
              </a:tr>
              <a:tr h="244967">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100" b="0" i="0" u="none" strike="noStrike">
                          <a:solidFill>
                            <a:srgbClr val="000000"/>
                          </a:solidFill>
                          <a:effectLst/>
                          <a:latin typeface="等线" panose="02010600030101010101" pitchFamily="2" charset="-122"/>
                          <a:ea typeface="等线" panose="02010600030101010101" pitchFamily="2" charset="-122"/>
                        </a:rPr>
                        <a:t>音源矩阵</a:t>
                      </a:r>
                      <a:r>
                        <a:rPr lang="en-US" altLang="zh-CN" sz="1100" b="0" i="0" u="none" strike="noStrike">
                          <a:solidFill>
                            <a:srgbClr val="000000"/>
                          </a:solidFill>
                          <a:effectLst/>
                          <a:latin typeface="等线" panose="02010600030101010101" pitchFamily="2" charset="-122"/>
                          <a:ea typeface="等线" panose="02010600030101010101" pitchFamily="2" charset="-122"/>
                        </a:rPr>
                        <a:t>(</a:t>
                      </a:r>
                      <a:r>
                        <a:rPr lang="en-US" sz="1100" b="0" i="0" u="none" strike="noStrike">
                          <a:solidFill>
                            <a:srgbClr val="000000"/>
                          </a:solidFill>
                          <a:effectLst/>
                          <a:latin typeface="等线" panose="02010600030101010101" pitchFamily="2" charset="-122"/>
                          <a:ea typeface="等线" panose="02010600030101010101" pitchFamily="2" charset="-122"/>
                        </a:rPr>
                        <a:t>Ec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7.27%</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29</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MMO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4.8%</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484648882"/>
                  </a:ext>
                </a:extLst>
              </a:tr>
              <a:tr h="244967">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1</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等线" panose="02010600030101010101" pitchFamily="2" charset="-122"/>
                          <a:ea typeface="等线" panose="02010600030101010101" pitchFamily="2" charset="-122"/>
                        </a:rPr>
                        <a:t>Vehicle Sett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9.71%</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30</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等线" panose="02010600030101010101" pitchFamily="2" charset="-122"/>
                          <a:ea typeface="等线" panose="02010600030101010101" pitchFamily="2" charset="-122"/>
                        </a:rPr>
                        <a:t>FNV</a:t>
                      </a:r>
                      <a:r>
                        <a:rPr lang="zh-CN" altLang="en-US" sz="1100" b="0" i="0" u="none" strike="noStrike">
                          <a:solidFill>
                            <a:srgbClr val="000000"/>
                          </a:solidFill>
                          <a:effectLst/>
                          <a:latin typeface="等线" panose="02010600030101010101" pitchFamily="2" charset="-122"/>
                          <a:ea typeface="等线" panose="02010600030101010101" pitchFamily="2" charset="-122"/>
                        </a:rPr>
                        <a:t>诊断</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620536095"/>
                  </a:ext>
                </a:extLst>
              </a:tr>
              <a:tr h="244967">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2</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数字香氛</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31</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100" b="0" i="0" u="none" strike="noStrike">
                          <a:solidFill>
                            <a:srgbClr val="000000"/>
                          </a:solidFill>
                          <a:effectLst/>
                          <a:latin typeface="等线" panose="02010600030101010101" pitchFamily="2" charset="-122"/>
                          <a:ea typeface="等线" panose="02010600030101010101" pitchFamily="2" charset="-122"/>
                        </a:rPr>
                        <a:t>车载热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918866787"/>
                  </a:ext>
                </a:extLst>
              </a:tr>
              <a:tr h="244967">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3</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无线充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32</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等线" panose="02010600030101010101" pitchFamily="2" charset="-122"/>
                          <a:ea typeface="等线" panose="02010600030101010101" pitchFamily="2" charset="-122"/>
                        </a:rPr>
                        <a:t>AA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7.8%</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4228558943"/>
                  </a:ext>
                </a:extLst>
              </a:tr>
              <a:tr h="244967">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4</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Multi-displa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33</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等线" panose="02010600030101010101" pitchFamily="2" charset="-122"/>
                          <a:ea typeface="等线" panose="02010600030101010101" pitchFamily="2" charset="-122"/>
                        </a:rPr>
                        <a:t>VH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482680528"/>
                  </a:ext>
                </a:extLst>
              </a:tr>
              <a:tr h="244967">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5</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FCS(Accou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4.7%</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34</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等线" panose="02010600030101010101" pitchFamily="2" charset="-122"/>
                          <a:ea typeface="等线" panose="02010600030101010101" pitchFamily="2" charset="-122"/>
                        </a:rPr>
                        <a:t>PAAK</a:t>
                      </a:r>
                      <a:r>
                        <a:rPr lang="zh-CN" altLang="en-US" sz="1100" b="0" i="0" u="none" strike="noStrike">
                          <a:solidFill>
                            <a:srgbClr val="000000"/>
                          </a:solidFill>
                          <a:effectLst/>
                          <a:latin typeface="等线" panose="02010600030101010101" pitchFamily="2" charset="-122"/>
                          <a:ea typeface="等线" panose="02010600030101010101" pitchFamily="2" charset="-122"/>
                        </a:rPr>
                        <a:t>手机钥匙</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646519540"/>
                  </a:ext>
                </a:extLst>
              </a:tr>
              <a:tr h="244967">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6</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Bezel Diagnostics</a:t>
                      </a:r>
                      <a:r>
                        <a:rPr lang="zh-CN" altLang="en-US" sz="1100" b="0" i="0" u="none" strike="noStrike" dirty="0">
                          <a:solidFill>
                            <a:srgbClr val="000000"/>
                          </a:solidFill>
                          <a:effectLst/>
                          <a:latin typeface="等线" panose="02010600030101010101" pitchFamily="2" charset="-122"/>
                          <a:ea typeface="等线" panose="02010600030101010101" pitchFamily="2" charset="-122"/>
                        </a:rPr>
                        <a:t>工程模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35</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100" b="0" i="0" u="none" strike="noStrike">
                          <a:solidFill>
                            <a:srgbClr val="000000"/>
                          </a:solidFill>
                          <a:effectLst/>
                          <a:latin typeface="等线" panose="02010600030101010101" pitchFamily="2" charset="-122"/>
                          <a:ea typeface="等线" panose="02010600030101010101" pitchFamily="2" charset="-122"/>
                        </a:rPr>
                        <a:t>流量统计</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482399485"/>
                  </a:ext>
                </a:extLst>
              </a:tr>
              <a:tr h="244967">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7</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100" b="0" i="0" u="none" strike="noStrike">
                          <a:solidFill>
                            <a:srgbClr val="000000"/>
                          </a:solidFill>
                          <a:effectLst/>
                          <a:latin typeface="等线" panose="02010600030101010101" pitchFamily="2" charset="-122"/>
                          <a:ea typeface="等线" panose="02010600030101010101" pitchFamily="2" charset="-122"/>
                        </a:rPr>
                        <a:t>个性化设置档案</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96.77%</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endParaRPr lang="zh-CN" altLang="en-US" dirty="0"/>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endParaRPr lang="zh-CN" altLang="en-US"/>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endParaRPr lang="zh-CN" altLang="en-US" dirty="0"/>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8571030"/>
                  </a:ext>
                </a:extLst>
              </a:tr>
              <a:tr h="244967">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8</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HVA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endParaRPr lang="zh-CN" altLang="en-US"/>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endParaRPr lang="zh-CN" altLang="en-US"/>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endParaRPr lang="zh-CN" altLang="en-US" dirty="0"/>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8983417"/>
                  </a:ext>
                </a:extLst>
              </a:tr>
              <a:tr h="244967">
                <a:tc>
                  <a:txBody>
                    <a:bodyPr/>
                    <a:lstStyle/>
                    <a:p>
                      <a:pPr algn="ctr" fontAlgn="b"/>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9</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等线" panose="02010600030101010101" pitchFamily="2" charset="-122"/>
                          <a:ea typeface="等线" panose="02010600030101010101" pitchFamily="2" charset="-122"/>
                        </a:rPr>
                        <a:t>VC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1100" b="0" i="0" u="none" strike="noStrike" dirty="0">
                          <a:solidFill>
                            <a:srgbClr val="000000"/>
                          </a:solidFill>
                          <a:effectLst/>
                          <a:latin typeface="等线" panose="02010600030101010101" pitchFamily="2" charset="-122"/>
                          <a:ea typeface="等线" panose="02010600030101010101" pitchFamily="2" charset="-122"/>
                        </a:rPr>
                        <a:t>　</a:t>
                      </a:r>
                      <a:r>
                        <a:rPr lang="en-US" altLang="zh-CN" sz="1100" b="0" i="0" u="none" strike="noStrike" dirty="0" smtClean="0">
                          <a:solidFill>
                            <a:srgbClr val="000000"/>
                          </a:solidFill>
                          <a:effectLst/>
                          <a:latin typeface="等线" panose="02010600030101010101" pitchFamily="2" charset="-122"/>
                          <a:ea typeface="等线" panose="02010600030101010101" pitchFamily="2" charset="-122"/>
                        </a:rPr>
                        <a:t>100%</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endParaRPr lang="zh-CN" altLang="en-US"/>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endParaRPr lang="zh-CN" altLang="en-US"/>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endParaRPr lang="zh-CN" altLang="en-US" dirty="0"/>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6871706"/>
                  </a:ext>
                </a:extLst>
              </a:tr>
            </a:tbl>
          </a:graphicData>
        </a:graphic>
      </p:graphicFrame>
    </p:spTree>
    <p:extLst>
      <p:ext uri="{BB962C8B-B14F-4D97-AF65-F5344CB8AC3E}">
        <p14:creationId xmlns:p14="http://schemas.microsoft.com/office/powerpoint/2010/main" val="36738978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altLang="zh-CN" sz="2400" dirty="0"/>
              <a:t>R07</a:t>
            </a:r>
            <a:r>
              <a:rPr lang="zh-CN" altLang="en-US" sz="2400" dirty="0"/>
              <a:t> 版本 </a:t>
            </a:r>
            <a:r>
              <a:rPr lang="en-US" altLang="zh-CN" sz="2400" dirty="0"/>
              <a:t>Performance</a:t>
            </a:r>
            <a:r>
              <a:rPr lang="zh-CN" altLang="en-US" sz="2400" dirty="0"/>
              <a:t> 现状</a:t>
            </a:r>
            <a:endParaRPr lang="en-US" sz="2400" dirty="0"/>
          </a:p>
        </p:txBody>
      </p:sp>
      <p:graphicFrame>
        <p:nvGraphicFramePr>
          <p:cNvPr id="4" name="表格 6">
            <a:extLst>
              <a:ext uri="{FF2B5EF4-FFF2-40B4-BE49-F238E27FC236}">
                <a16:creationId xmlns:a16="http://schemas.microsoft.com/office/drawing/2014/main" id="{F3202518-13BA-D2EF-377D-E4CD6FB36033}"/>
              </a:ext>
            </a:extLst>
          </p:cNvPr>
          <p:cNvGraphicFramePr>
            <a:graphicFrameLocks noGrp="1"/>
          </p:cNvGraphicFramePr>
          <p:nvPr>
            <p:extLst/>
          </p:nvPr>
        </p:nvGraphicFramePr>
        <p:xfrm>
          <a:off x="295667" y="812914"/>
          <a:ext cx="6403084" cy="3022600"/>
        </p:xfrm>
        <a:graphic>
          <a:graphicData uri="http://schemas.openxmlformats.org/drawingml/2006/table">
            <a:tbl>
              <a:tblPr firstRow="1" bandRow="1">
                <a:tableStyleId>{5C22544A-7EE6-4342-B048-85BDC9FD1C3A}</a:tableStyleId>
              </a:tblPr>
              <a:tblGrid>
                <a:gridCol w="1266005">
                  <a:extLst>
                    <a:ext uri="{9D8B030D-6E8A-4147-A177-3AD203B41FA5}">
                      <a16:colId xmlns:a16="http://schemas.microsoft.com/office/drawing/2014/main" val="3688378422"/>
                    </a:ext>
                  </a:extLst>
                </a:gridCol>
                <a:gridCol w="1294544">
                  <a:extLst>
                    <a:ext uri="{9D8B030D-6E8A-4147-A177-3AD203B41FA5}">
                      <a16:colId xmlns:a16="http://schemas.microsoft.com/office/drawing/2014/main" val="1902552666"/>
                    </a:ext>
                  </a:extLst>
                </a:gridCol>
                <a:gridCol w="1078786">
                  <a:extLst>
                    <a:ext uri="{9D8B030D-6E8A-4147-A177-3AD203B41FA5}">
                      <a16:colId xmlns:a16="http://schemas.microsoft.com/office/drawing/2014/main" val="1043138013"/>
                    </a:ext>
                  </a:extLst>
                </a:gridCol>
                <a:gridCol w="2763749">
                  <a:extLst>
                    <a:ext uri="{9D8B030D-6E8A-4147-A177-3AD203B41FA5}">
                      <a16:colId xmlns:a16="http://schemas.microsoft.com/office/drawing/2014/main" val="3821553737"/>
                    </a:ext>
                  </a:extLst>
                </a:gridCol>
              </a:tblGrid>
              <a:tr h="370840">
                <a:tc>
                  <a:txBody>
                    <a:bodyPr/>
                    <a:lstStyle/>
                    <a:p>
                      <a:r>
                        <a:rPr lang="en-US" altLang="zh-CN" sz="1600" dirty="0">
                          <a:effectLst/>
                        </a:rPr>
                        <a:t>Component</a:t>
                      </a:r>
                      <a:endParaRPr lang="zh-CN" altLang="en-US" sz="1600" dirty="0"/>
                    </a:p>
                  </a:txBody>
                  <a:tcPr/>
                </a:tc>
                <a:tc>
                  <a:txBody>
                    <a:bodyPr/>
                    <a:lstStyle/>
                    <a:p>
                      <a:r>
                        <a:rPr lang="en-US" altLang="zh-CN" sz="1600" dirty="0"/>
                        <a:t>Type</a:t>
                      </a:r>
                      <a:endParaRPr lang="zh-CN" altLang="en-US" sz="1600" dirty="0"/>
                    </a:p>
                  </a:txBody>
                  <a:tcPr/>
                </a:tc>
                <a:tc>
                  <a:txBody>
                    <a:bodyPr/>
                    <a:lstStyle/>
                    <a:p>
                      <a:r>
                        <a:rPr lang="en-US" altLang="zh-CN" sz="1600" dirty="0" err="1"/>
                        <a:t>Uesge</a:t>
                      </a:r>
                      <a:endParaRPr lang="zh-CN" altLang="en-US" sz="1600" dirty="0"/>
                    </a:p>
                  </a:txBody>
                  <a:tcPr/>
                </a:tc>
                <a:tc>
                  <a:txBody>
                    <a:bodyPr/>
                    <a:lstStyle/>
                    <a:p>
                      <a:r>
                        <a:rPr lang="zh-CN" altLang="en-US" sz="1600" dirty="0"/>
                        <a:t>备注</a:t>
                      </a:r>
                    </a:p>
                  </a:txBody>
                  <a:tcPr/>
                </a:tc>
                <a:extLst>
                  <a:ext uri="{0D108BD9-81ED-4DB2-BD59-A6C34878D82A}">
                    <a16:rowId xmlns:a16="http://schemas.microsoft.com/office/drawing/2014/main" val="3165267551"/>
                  </a:ext>
                </a:extLst>
              </a:tr>
              <a:tr h="370840">
                <a:tc rowSpan="7">
                  <a:txBody>
                    <a:bodyPr/>
                    <a:lstStyle/>
                    <a:p>
                      <a:pPr algn="ctr">
                        <a:lnSpc>
                          <a:spcPct val="250000"/>
                        </a:lnSpc>
                      </a:pPr>
                      <a:endParaRPr lang="en-US" altLang="zh-CN" sz="1100" dirty="0"/>
                    </a:p>
                    <a:p>
                      <a:pPr algn="ctr">
                        <a:lnSpc>
                          <a:spcPct val="250000"/>
                        </a:lnSpc>
                      </a:pPr>
                      <a:endParaRPr lang="en-US" altLang="zh-CN" sz="1100" dirty="0"/>
                    </a:p>
                    <a:p>
                      <a:pPr algn="ctr">
                        <a:lnSpc>
                          <a:spcPct val="250000"/>
                        </a:lnSpc>
                      </a:pPr>
                      <a:endParaRPr lang="en-US" altLang="zh-CN" sz="1100" dirty="0"/>
                    </a:p>
                    <a:p>
                      <a:pPr algn="ctr">
                        <a:lnSpc>
                          <a:spcPct val="100000"/>
                        </a:lnSpc>
                      </a:pPr>
                      <a:r>
                        <a:rPr lang="en-US" altLang="zh-CN" sz="1100" dirty="0"/>
                        <a:t>Launcher</a:t>
                      </a:r>
                      <a:endParaRPr lang="zh-CN" altLang="en-US" sz="1100" dirty="0"/>
                    </a:p>
                  </a:txBody>
                  <a:tcPr/>
                </a:tc>
                <a:tc>
                  <a:txBody>
                    <a:bodyPr/>
                    <a:lstStyle/>
                    <a:p>
                      <a:r>
                        <a:rPr lang="zh-CN" altLang="en-US" sz="1100" dirty="0"/>
                        <a:t>应用基础占用</a:t>
                      </a:r>
                    </a:p>
                  </a:txBody>
                  <a:tcPr/>
                </a:tc>
                <a:tc>
                  <a:txBody>
                    <a:bodyPr/>
                    <a:lstStyle/>
                    <a:p>
                      <a:r>
                        <a:rPr lang="en-US" altLang="zh-CN" sz="1100" dirty="0"/>
                        <a:t>45M</a:t>
                      </a:r>
                      <a:endParaRPr lang="zh-CN" altLang="en-US" sz="1100" dirty="0"/>
                    </a:p>
                  </a:txBody>
                  <a:tcPr/>
                </a:tc>
                <a:tc>
                  <a:txBody>
                    <a:bodyPr/>
                    <a:lstStyle/>
                    <a:p>
                      <a:endParaRPr lang="zh-CN" altLang="en-US" sz="1100"/>
                    </a:p>
                  </a:txBody>
                  <a:tcPr/>
                </a:tc>
                <a:extLst>
                  <a:ext uri="{0D108BD9-81ED-4DB2-BD59-A6C34878D82A}">
                    <a16:rowId xmlns:a16="http://schemas.microsoft.com/office/drawing/2014/main" val="908579407"/>
                  </a:ext>
                </a:extLst>
              </a:tr>
              <a:tr h="370840">
                <a:tc vMerge="1">
                  <a:txBody>
                    <a:bodyPr/>
                    <a:lstStyle/>
                    <a:p>
                      <a:endParaRPr lang="zh-CN" altLang="en-US" sz="1100" dirty="0"/>
                    </a:p>
                  </a:txBody>
                  <a:tcPr/>
                </a:tc>
                <a:tc>
                  <a:txBody>
                    <a:bodyPr/>
                    <a:lstStyle/>
                    <a:p>
                      <a:r>
                        <a:rPr lang="en" altLang="zh-CN" sz="1100" dirty="0"/>
                        <a:t>Launcher</a:t>
                      </a:r>
                      <a:r>
                        <a:rPr lang="zh-CN" altLang="en-US" sz="1100" dirty="0"/>
                        <a:t>首页</a:t>
                      </a:r>
                    </a:p>
                  </a:txBody>
                  <a:tcPr/>
                </a:tc>
                <a:tc>
                  <a:txBody>
                    <a:bodyPr/>
                    <a:lstStyle/>
                    <a:p>
                      <a:r>
                        <a:rPr lang="en-US" altLang="zh-CN" sz="1100" dirty="0"/>
                        <a:t>41M</a:t>
                      </a:r>
                      <a:endParaRPr lang="zh-CN" altLang="en-US" sz="1100" dirty="0"/>
                    </a:p>
                  </a:txBody>
                  <a:tcPr/>
                </a:tc>
                <a:tc>
                  <a:txBody>
                    <a:bodyPr/>
                    <a:lstStyle/>
                    <a:p>
                      <a:r>
                        <a:rPr lang="en" altLang="zh-CN" sz="1100" dirty="0"/>
                        <a:t>widget</a:t>
                      </a:r>
                      <a:r>
                        <a:rPr lang="zh-CN" altLang="en-US" sz="1100" dirty="0"/>
                        <a:t>卡片、账号信息、常用应用、背景图</a:t>
                      </a:r>
                    </a:p>
                  </a:txBody>
                  <a:tcPr/>
                </a:tc>
                <a:extLst>
                  <a:ext uri="{0D108BD9-81ED-4DB2-BD59-A6C34878D82A}">
                    <a16:rowId xmlns:a16="http://schemas.microsoft.com/office/drawing/2014/main" val="960238707"/>
                  </a:ext>
                </a:extLst>
              </a:tr>
              <a:tr h="370840">
                <a:tc vMerge="1">
                  <a:txBody>
                    <a:bodyPr/>
                    <a:lstStyle/>
                    <a:p>
                      <a:endParaRPr lang="zh-CN" alt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zh-CN" sz="1100" dirty="0">
                          <a:effectLst/>
                        </a:rPr>
                        <a:t>widget</a:t>
                      </a:r>
                      <a:r>
                        <a:rPr lang="zh-CN" altLang="en-US" sz="1100" dirty="0">
                          <a:effectLst/>
                        </a:rPr>
                        <a:t>编辑界面</a:t>
                      </a:r>
                      <a:endParaRPr lang="en" altLang="zh-CN" sz="1100" dirty="0">
                        <a:effectLst/>
                      </a:endParaRPr>
                    </a:p>
                  </a:txBody>
                  <a:tcPr/>
                </a:tc>
                <a:tc>
                  <a:txBody>
                    <a:bodyPr/>
                    <a:lstStyle/>
                    <a:p>
                      <a:r>
                        <a:rPr lang="en-US" altLang="zh-CN" sz="1100" dirty="0">
                          <a:effectLst/>
                        </a:rPr>
                        <a:t>28</a:t>
                      </a:r>
                      <a:r>
                        <a:rPr lang="en" altLang="zh-CN" sz="1100" dirty="0">
                          <a:effectLst/>
                        </a:rPr>
                        <a:t>M</a:t>
                      </a:r>
                      <a:endParaRPr lang="zh-CN" altLang="en-US" sz="1100" dirty="0"/>
                    </a:p>
                  </a:txBody>
                  <a:tcPr/>
                </a:tc>
                <a:tc>
                  <a:txBody>
                    <a:bodyPr/>
                    <a:lstStyle/>
                    <a:p>
                      <a:endParaRPr lang="zh-CN" altLang="en-US" sz="1100" dirty="0"/>
                    </a:p>
                  </a:txBody>
                  <a:tcPr/>
                </a:tc>
                <a:extLst>
                  <a:ext uri="{0D108BD9-81ED-4DB2-BD59-A6C34878D82A}">
                    <a16:rowId xmlns:a16="http://schemas.microsoft.com/office/drawing/2014/main" val="152271569"/>
                  </a:ext>
                </a:extLst>
              </a:tr>
              <a:tr h="370840">
                <a:tc vMerge="1">
                  <a:txBody>
                    <a:bodyPr/>
                    <a:lstStyle/>
                    <a:p>
                      <a:endParaRPr lang="zh-CN" alt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100" dirty="0">
                          <a:effectLst/>
                        </a:rPr>
                        <a:t>常用应用编辑 </a:t>
                      </a:r>
                      <a:endParaRPr lang="zh-CN" alt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zh-CN" sz="1100" dirty="0">
                          <a:effectLst/>
                        </a:rPr>
                        <a:t>40M</a:t>
                      </a:r>
                    </a:p>
                  </a:txBody>
                  <a:tcPr/>
                </a:tc>
                <a:tc>
                  <a:txBody>
                    <a:bodyPr/>
                    <a:lstStyle/>
                    <a:p>
                      <a:r>
                        <a:rPr lang="zh-CN" altLang="en-US" sz="1100" dirty="0">
                          <a:effectLst/>
                        </a:rPr>
                        <a:t>编辑列表 </a:t>
                      </a:r>
                      <a:r>
                        <a:rPr lang="en-US" altLang="zh-CN" sz="1100" dirty="0">
                          <a:effectLst/>
                        </a:rPr>
                        <a:t>15</a:t>
                      </a:r>
                      <a:r>
                        <a:rPr lang="en" altLang="zh-CN" sz="1100" dirty="0">
                          <a:effectLst/>
                        </a:rPr>
                        <a:t>M </a:t>
                      </a:r>
                      <a:r>
                        <a:rPr lang="zh-CN" altLang="en-US" sz="1100" dirty="0">
                          <a:effectLst/>
                        </a:rPr>
                        <a:t>所有应用选择界面 </a:t>
                      </a:r>
                      <a:r>
                        <a:rPr lang="en-US" altLang="zh-CN" sz="1100" dirty="0">
                          <a:effectLst/>
                        </a:rPr>
                        <a:t>25</a:t>
                      </a:r>
                      <a:r>
                        <a:rPr lang="en" altLang="zh-CN" sz="1100" dirty="0">
                          <a:effectLst/>
                        </a:rPr>
                        <a:t>M</a:t>
                      </a:r>
                      <a:endParaRPr lang="zh-CN" altLang="en-US" sz="1100" dirty="0"/>
                    </a:p>
                  </a:txBody>
                  <a:tcPr/>
                </a:tc>
                <a:extLst>
                  <a:ext uri="{0D108BD9-81ED-4DB2-BD59-A6C34878D82A}">
                    <a16:rowId xmlns:a16="http://schemas.microsoft.com/office/drawing/2014/main" val="3111074509"/>
                  </a:ext>
                </a:extLst>
              </a:tr>
              <a:tr h="370840">
                <a:tc vMerge="1">
                  <a:txBody>
                    <a:bodyPr/>
                    <a:lstStyle/>
                    <a:p>
                      <a:endParaRPr lang="zh-CN" alt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zh-CN" sz="1100" dirty="0">
                          <a:effectLst/>
                        </a:rPr>
                        <a:t>Kanzi</a:t>
                      </a:r>
                      <a:r>
                        <a:rPr lang="zh-CN" altLang="en-US" sz="1100" dirty="0">
                          <a:effectLst/>
                        </a:rPr>
                        <a:t>车模</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zh-CN" sz="1100" dirty="0">
                          <a:effectLst/>
                        </a:rPr>
                        <a:t>190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100" dirty="0">
                          <a:effectLst/>
                        </a:rPr>
                        <a:t>包含车模蒙版和虚化背景</a:t>
                      </a:r>
                      <a:r>
                        <a:rPr lang="en-US" altLang="zh-CN" sz="1100" dirty="0">
                          <a:effectLst/>
                        </a:rPr>
                        <a:t>30</a:t>
                      </a:r>
                      <a:r>
                        <a:rPr lang="en" altLang="zh-CN" sz="1100" dirty="0">
                          <a:effectLst/>
                        </a:rPr>
                        <a:t>M</a:t>
                      </a:r>
                    </a:p>
                  </a:txBody>
                  <a:tcPr/>
                </a:tc>
                <a:extLst>
                  <a:ext uri="{0D108BD9-81ED-4DB2-BD59-A6C34878D82A}">
                    <a16:rowId xmlns:a16="http://schemas.microsoft.com/office/drawing/2014/main" val="3551478477"/>
                  </a:ext>
                </a:extLst>
              </a:tr>
              <a:tr h="370840">
                <a:tc vMerge="1">
                  <a:txBody>
                    <a:bodyPr/>
                    <a:lstStyle/>
                    <a:p>
                      <a:endParaRPr lang="zh-CN" alt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100" dirty="0">
                          <a:effectLst/>
                        </a:rPr>
                        <a:t>车模车内</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zh-CN" sz="1100" dirty="0">
                          <a:effectLst/>
                        </a:rPr>
                        <a:t>35M</a:t>
                      </a:r>
                      <a:r>
                        <a:rPr lang="zh-CN" altLang="en" sz="1100" dirty="0">
                          <a:effectLst/>
                        </a:rPr>
                        <a:t>～</a:t>
                      </a:r>
                      <a:r>
                        <a:rPr lang="en" altLang="zh-CN" sz="1100" dirty="0">
                          <a:effectLst/>
                        </a:rPr>
                        <a:t>280M</a:t>
                      </a:r>
                    </a:p>
                  </a:txBody>
                  <a:tcPr/>
                </a:tc>
                <a:tc>
                  <a:txBody>
                    <a:bodyPr/>
                    <a:lstStyle/>
                    <a:p>
                      <a:r>
                        <a:rPr lang="zh-CN" altLang="en-US" sz="1100" dirty="0"/>
                        <a:t>座椅、香氛动画不播时不占内存</a:t>
                      </a:r>
                    </a:p>
                  </a:txBody>
                  <a:tcPr/>
                </a:tc>
                <a:extLst>
                  <a:ext uri="{0D108BD9-81ED-4DB2-BD59-A6C34878D82A}">
                    <a16:rowId xmlns:a16="http://schemas.microsoft.com/office/drawing/2014/main" val="1732495431"/>
                  </a:ext>
                </a:extLst>
              </a:tr>
              <a:tr h="370840">
                <a:tc vMerge="1">
                  <a:txBody>
                    <a:bodyPr/>
                    <a:lstStyle/>
                    <a:p>
                      <a:endParaRPr lang="zh-CN" alt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zh-CN" sz="1100" dirty="0" err="1">
                          <a:effectLst/>
                        </a:rPr>
                        <a:t>allapp</a:t>
                      </a:r>
                      <a:r>
                        <a:rPr lang="zh-CN" altLang="en-US" sz="1100" dirty="0">
                          <a:effectLst/>
                        </a:rPr>
                        <a:t>界面</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altLang="zh-CN" sz="1100" dirty="0">
                          <a:effectLst/>
                        </a:rPr>
                        <a:t>37M</a:t>
                      </a:r>
                    </a:p>
                  </a:txBody>
                  <a:tcPr/>
                </a:tc>
                <a:tc>
                  <a:txBody>
                    <a:bodyPr/>
                    <a:lstStyle/>
                    <a:p>
                      <a:r>
                        <a:rPr lang="zh-CN" altLang="en-US" sz="1100" dirty="0"/>
                        <a:t>退出界面后可释放</a:t>
                      </a:r>
                    </a:p>
                  </a:txBody>
                  <a:tcPr/>
                </a:tc>
                <a:extLst>
                  <a:ext uri="{0D108BD9-81ED-4DB2-BD59-A6C34878D82A}">
                    <a16:rowId xmlns:a16="http://schemas.microsoft.com/office/drawing/2014/main" val="736814766"/>
                  </a:ext>
                </a:extLst>
              </a:tr>
            </a:tbl>
          </a:graphicData>
        </a:graphic>
      </p:graphicFrame>
      <p:sp>
        <p:nvSpPr>
          <p:cNvPr id="7" name="文本框 6">
            <a:extLst>
              <a:ext uri="{FF2B5EF4-FFF2-40B4-BE49-F238E27FC236}">
                <a16:creationId xmlns:a16="http://schemas.microsoft.com/office/drawing/2014/main" id="{8BE4834F-D362-E405-C2D7-9EFB3CA188D5}"/>
              </a:ext>
            </a:extLst>
          </p:cNvPr>
          <p:cNvSpPr txBox="1"/>
          <p:nvPr/>
        </p:nvSpPr>
        <p:spPr>
          <a:xfrm>
            <a:off x="490876" y="4041503"/>
            <a:ext cx="10440827" cy="1169551"/>
          </a:xfrm>
          <a:prstGeom prst="rect">
            <a:avLst/>
          </a:prstGeom>
          <a:noFill/>
        </p:spPr>
        <p:txBody>
          <a:bodyPr wrap="square" rtlCol="0">
            <a:spAutoFit/>
          </a:bodyPr>
          <a:lstStyle/>
          <a:p>
            <a:pPr marL="228600" indent="-228600">
              <a:buAutoNum type="arabicPeriod"/>
            </a:pPr>
            <a:r>
              <a:rPr kumimoji="1" lang="en-US" altLang="zh-CN" sz="1400" dirty="0">
                <a:latin typeface="Ford Antenna Light" charset="0"/>
                <a:ea typeface="Ford Antenna Light" charset="0"/>
                <a:cs typeface="Ford Antenna Light" charset="0"/>
              </a:rPr>
              <a:t>Launcher</a:t>
            </a:r>
            <a:r>
              <a:rPr kumimoji="1" lang="zh-CN" altLang="en-US" sz="1400" dirty="0">
                <a:latin typeface="Ford Antenna Light" charset="0"/>
                <a:ea typeface="Ford Antenna Light" charset="0"/>
                <a:cs typeface="Ford Antenna Light" charset="0"/>
              </a:rPr>
              <a:t> 首页功能均为常驻，不考虑车模的座椅和香氛动画的影响，最小常驻内存占用</a:t>
            </a:r>
            <a:r>
              <a:rPr kumimoji="1" lang="zh-CN" altLang="en-US" sz="1400" dirty="0" smtClean="0">
                <a:latin typeface="Ford Antenna Light" charset="0"/>
                <a:ea typeface="Ford Antenna Light" charset="0"/>
                <a:cs typeface="Ford Antenna Light" charset="0"/>
              </a:rPr>
              <a:t>为</a:t>
            </a:r>
            <a:r>
              <a:rPr kumimoji="1" lang="en-US" altLang="zh-CN" sz="1400" dirty="0" smtClean="0">
                <a:latin typeface="Ford Antenna Light" charset="0"/>
                <a:ea typeface="Ford Antenna Light" charset="0"/>
                <a:cs typeface="Ford Antenna Light" charset="0"/>
              </a:rPr>
              <a:t>379M</a:t>
            </a:r>
            <a:r>
              <a:rPr kumimoji="1" lang="zh-CN" altLang="en-US" sz="1400" dirty="0" smtClean="0">
                <a:latin typeface="Ford Antenna Light" charset="0"/>
                <a:ea typeface="Ford Antenna Light" charset="0"/>
                <a:cs typeface="Ford Antenna Light" charset="0"/>
              </a:rPr>
              <a:t>；当座椅动画和香氛扶手动画在前台播放时，内存最高占用会达到</a:t>
            </a:r>
            <a:r>
              <a:rPr kumimoji="1" lang="en-US" altLang="zh-CN" sz="1400" dirty="0" smtClean="0">
                <a:latin typeface="Ford Antenna Light" charset="0"/>
                <a:ea typeface="Ford Antenna Light" charset="0"/>
                <a:cs typeface="Ford Antenna Light" charset="0"/>
              </a:rPr>
              <a:t>581M</a:t>
            </a:r>
            <a:r>
              <a:rPr kumimoji="1" lang="zh-CN" altLang="en-US" sz="1400" dirty="0" smtClean="0">
                <a:latin typeface="Ford Antenna Light" charset="0"/>
                <a:ea typeface="Ford Antenna Light" charset="0"/>
                <a:cs typeface="Ford Antenna Light" charset="0"/>
              </a:rPr>
              <a:t>。</a:t>
            </a:r>
            <a:endParaRPr kumimoji="1" lang="en-US" altLang="zh-CN" sz="1400" dirty="0">
              <a:latin typeface="Ford Antenna Light" charset="0"/>
              <a:ea typeface="Ford Antenna Light" charset="0"/>
              <a:cs typeface="Ford Antenna Light" charset="0"/>
            </a:endParaRPr>
          </a:p>
          <a:p>
            <a:pPr marL="228600" indent="-228600">
              <a:buAutoNum type="arabicPeriod"/>
            </a:pPr>
            <a:endParaRPr kumimoji="1" lang="en-US" altLang="zh-CN" sz="1400" dirty="0">
              <a:latin typeface="Ford Antenna Light" charset="0"/>
              <a:ea typeface="Ford Antenna Light" charset="0"/>
              <a:cs typeface="Ford Antenna Light" charset="0"/>
            </a:endParaRPr>
          </a:p>
          <a:p>
            <a:pPr marL="228600" indent="-228600">
              <a:buAutoNum type="arabicPeriod"/>
            </a:pPr>
            <a:r>
              <a:rPr kumimoji="1" lang="zh-CN" altLang="en-US" sz="1400" dirty="0">
                <a:latin typeface="Ford Antenna Light" charset="0"/>
                <a:ea typeface="Ford Antenna Light" charset="0"/>
                <a:cs typeface="Ford Antenna Light" charset="0"/>
              </a:rPr>
              <a:t>目前遗留一个内存泄漏点，内部调查为原生组件 </a:t>
            </a:r>
            <a:r>
              <a:rPr kumimoji="1" lang="en-US" altLang="zh-CN" sz="1400" dirty="0" err="1">
                <a:latin typeface="Ford Antenna Light" charset="0"/>
                <a:ea typeface="Ford Antenna Light" charset="0"/>
                <a:cs typeface="Ford Antenna Light" charset="0"/>
              </a:rPr>
              <a:t>InputMethodManager</a:t>
            </a:r>
            <a:r>
              <a:rPr kumimoji="1" lang="zh-CN" altLang="en-US" sz="1400" dirty="0">
                <a:latin typeface="Ford Antenna Light" charset="0"/>
                <a:ea typeface="Ford Antenna Light" charset="0"/>
                <a:cs typeface="Ford Antenna Light" charset="0"/>
              </a:rPr>
              <a:t> 导致的内存泄漏，只会在触发返回键逻辑时会出现（由于目前车机没有实体返回按键，所以只有</a:t>
            </a:r>
            <a:r>
              <a:rPr kumimoji="1" lang="en-US" altLang="zh-CN" sz="1400" dirty="0">
                <a:latin typeface="Ford Antenna Light" charset="0"/>
                <a:ea typeface="Ford Antenna Light" charset="0"/>
                <a:cs typeface="Ford Antenna Light" charset="0"/>
              </a:rPr>
              <a:t>Monkey</a:t>
            </a:r>
            <a:r>
              <a:rPr kumimoji="1" lang="zh-CN" altLang="en-US" sz="1400" dirty="0">
                <a:latin typeface="Ford Antenna Light" charset="0"/>
                <a:ea typeface="Ford Antenna Light" charset="0"/>
                <a:cs typeface="Ford Antenna Light" charset="0"/>
              </a:rPr>
              <a:t>测试可以复现），目前正在分析解决</a:t>
            </a:r>
            <a:r>
              <a:rPr kumimoji="1" lang="zh-CN" altLang="en-US" sz="1400" dirty="0" smtClean="0">
                <a:latin typeface="Ford Antenna Light" charset="0"/>
                <a:ea typeface="Ford Antenna Light" charset="0"/>
                <a:cs typeface="Ford Antenna Light" charset="0"/>
              </a:rPr>
              <a:t>方案，计划在</a:t>
            </a:r>
            <a:r>
              <a:rPr kumimoji="1" lang="en-US" altLang="zh-CN" sz="1400" dirty="0" smtClean="0">
                <a:latin typeface="Ford Antenna Light" charset="0"/>
                <a:ea typeface="Ford Antenna Light" charset="0"/>
                <a:cs typeface="Ford Antenna Light" charset="0"/>
              </a:rPr>
              <a:t>R07.1</a:t>
            </a:r>
            <a:r>
              <a:rPr kumimoji="1" lang="zh-CN" altLang="en-US" sz="1400" dirty="0" smtClean="0">
                <a:latin typeface="Ford Antenna Light" charset="0"/>
                <a:ea typeface="Ford Antenna Light" charset="0"/>
                <a:cs typeface="Ford Antenna Light" charset="0"/>
              </a:rPr>
              <a:t>解决。</a:t>
            </a:r>
            <a:endParaRPr kumimoji="1" lang="zh-CN" altLang="en-US" sz="1400" dirty="0">
              <a:latin typeface="Ford Antenna Light" charset="0"/>
              <a:ea typeface="Ford Antenna Light" charset="0"/>
              <a:cs typeface="Ford Antenna Light" charset="0"/>
            </a:endParaRPr>
          </a:p>
        </p:txBody>
      </p:sp>
      <p:pic>
        <p:nvPicPr>
          <p:cNvPr id="10" name="图片 9">
            <a:extLst>
              <a:ext uri="{FF2B5EF4-FFF2-40B4-BE49-F238E27FC236}">
                <a16:creationId xmlns:a16="http://schemas.microsoft.com/office/drawing/2014/main" id="{FAC85B36-2384-97A5-C792-85F39EE3551A}"/>
              </a:ext>
            </a:extLst>
          </p:cNvPr>
          <p:cNvPicPr>
            <a:picLocks noChangeAspect="1"/>
          </p:cNvPicPr>
          <p:nvPr/>
        </p:nvPicPr>
        <p:blipFill>
          <a:blip r:embed="rId2"/>
          <a:stretch>
            <a:fillRect/>
          </a:stretch>
        </p:blipFill>
        <p:spPr>
          <a:xfrm>
            <a:off x="6865426" y="812914"/>
            <a:ext cx="5167211" cy="2442681"/>
          </a:xfrm>
          <a:prstGeom prst="rect">
            <a:avLst/>
          </a:prstGeom>
        </p:spPr>
      </p:pic>
    </p:spTree>
    <p:extLst>
      <p:ext uri="{BB962C8B-B14F-4D97-AF65-F5344CB8AC3E}">
        <p14:creationId xmlns:p14="http://schemas.microsoft.com/office/powerpoint/2010/main" val="3712228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altLang="zh-CN" sz="2400" dirty="0" smtClean="0"/>
              <a:t>R07</a:t>
            </a:r>
            <a:r>
              <a:rPr lang="zh-CN" altLang="en-US" sz="2400" dirty="0" smtClean="0"/>
              <a:t>版本</a:t>
            </a:r>
            <a:r>
              <a:rPr lang="en-US" altLang="zh-CN" sz="2400" dirty="0" smtClean="0"/>
              <a:t>Gating</a:t>
            </a:r>
            <a:r>
              <a:rPr lang="zh-CN" altLang="en-US" sz="2400" dirty="0" smtClean="0"/>
              <a:t>问题</a:t>
            </a:r>
            <a:endParaRPr lang="en-US" sz="2400" dirty="0"/>
          </a:p>
        </p:txBody>
      </p:sp>
      <p:sp>
        <p:nvSpPr>
          <p:cNvPr id="3" name="文本框 2"/>
          <p:cNvSpPr txBox="1"/>
          <p:nvPr/>
        </p:nvSpPr>
        <p:spPr>
          <a:xfrm>
            <a:off x="8074855" y="1364566"/>
            <a:ext cx="3319976" cy="2031325"/>
          </a:xfrm>
          <a:prstGeom prst="rect">
            <a:avLst/>
          </a:prstGeom>
          <a:noFill/>
        </p:spPr>
        <p:txBody>
          <a:bodyPr wrap="square" rtlCol="0">
            <a:spAutoFit/>
          </a:bodyPr>
          <a:lstStyle/>
          <a:p>
            <a:r>
              <a:rPr lang="zh-CN" altLang="en-US" dirty="0" smtClean="0">
                <a:latin typeface="Ford Antenna Light" charset="0"/>
                <a:ea typeface="Ford Antenna Light" charset="0"/>
                <a:cs typeface="Ford Antenna Light" charset="0"/>
              </a:rPr>
              <a:t>截止目前，创达侧</a:t>
            </a:r>
            <a:r>
              <a:rPr lang="en-US" altLang="zh-CN" dirty="0" smtClean="0">
                <a:latin typeface="Ford Antenna Light" charset="0"/>
                <a:ea typeface="Ford Antenna Light" charset="0"/>
                <a:cs typeface="Ford Antenna Light" charset="0"/>
              </a:rPr>
              <a:t>R07</a:t>
            </a:r>
            <a:r>
              <a:rPr lang="zh-CN" altLang="en-US" dirty="0" smtClean="0">
                <a:latin typeface="Ford Antenna Light" charset="0"/>
                <a:ea typeface="Ford Antenna Light" charset="0"/>
                <a:cs typeface="Ford Antenna Light" charset="0"/>
              </a:rPr>
              <a:t>存在的</a:t>
            </a:r>
            <a:r>
              <a:rPr lang="en-US" altLang="zh-CN" dirty="0" smtClean="0">
                <a:latin typeface="Ford Antenna Light" charset="0"/>
                <a:ea typeface="Ford Antenna Light" charset="0"/>
                <a:cs typeface="Ford Antenna Light" charset="0"/>
              </a:rPr>
              <a:t>G</a:t>
            </a:r>
            <a:r>
              <a:rPr lang="zh-CN" altLang="en-US" dirty="0" smtClean="0">
                <a:latin typeface="Ford Antenna Light" charset="0"/>
                <a:ea typeface="Ford Antenna Light" charset="0"/>
                <a:cs typeface="Ford Antenna Light" charset="0"/>
              </a:rPr>
              <a:t>类</a:t>
            </a:r>
            <a:r>
              <a:rPr lang="en-US" altLang="zh-CN" dirty="0" smtClean="0">
                <a:latin typeface="Ford Antenna Light" charset="0"/>
                <a:ea typeface="Ford Antenna Light" charset="0"/>
                <a:cs typeface="Ford Antenna Light" charset="0"/>
              </a:rPr>
              <a:t>Bug</a:t>
            </a:r>
            <a:r>
              <a:rPr lang="zh-CN" altLang="en-US" dirty="0" smtClean="0">
                <a:latin typeface="Ford Antenna Light" charset="0"/>
                <a:ea typeface="Ford Antenna Light" charset="0"/>
                <a:cs typeface="Ford Antenna Light" charset="0"/>
              </a:rPr>
              <a:t>有</a:t>
            </a:r>
            <a:r>
              <a:rPr lang="en-US" altLang="zh-CN" dirty="0" smtClean="0">
                <a:latin typeface="Ford Antenna Light" charset="0"/>
                <a:ea typeface="Ford Antenna Light" charset="0"/>
                <a:cs typeface="Ford Antenna Light" charset="0"/>
              </a:rPr>
              <a:t>11</a:t>
            </a:r>
            <a:r>
              <a:rPr lang="zh-CN" altLang="en-US" dirty="0" smtClean="0">
                <a:latin typeface="Ford Antenna Light" charset="0"/>
                <a:ea typeface="Ford Antenna Light" charset="0"/>
                <a:cs typeface="Ford Antenna Light" charset="0"/>
              </a:rPr>
              <a:t>个，均为</a:t>
            </a:r>
            <a:r>
              <a:rPr lang="en-US" altLang="zh-CN" dirty="0" smtClean="0">
                <a:latin typeface="Ford Antenna Light" charset="0"/>
                <a:ea typeface="Ford Antenna Light" charset="0"/>
                <a:cs typeface="Ford Antenna Light" charset="0"/>
              </a:rPr>
              <a:t>R07</a:t>
            </a:r>
            <a:r>
              <a:rPr lang="zh-CN" altLang="en-US" dirty="0" smtClean="0">
                <a:latin typeface="Ford Antenna Light" charset="0"/>
                <a:ea typeface="Ford Antenna Light" charset="0"/>
                <a:cs typeface="Ford Antenna Light" charset="0"/>
              </a:rPr>
              <a:t>软件版本测试提出：</a:t>
            </a:r>
            <a:endParaRPr lang="en-US" altLang="zh-CN" dirty="0" smtClean="0">
              <a:latin typeface="Ford Antenna Light" charset="0"/>
              <a:ea typeface="Ford Antenna Light" charset="0"/>
              <a:cs typeface="Ford Antenna Light" charset="0"/>
            </a:endParaRPr>
          </a:p>
          <a:p>
            <a:pPr marL="285750" indent="-285750">
              <a:buFont typeface="Wingdings" panose="05000000000000000000" pitchFamily="2" charset="2"/>
              <a:buChar char="l"/>
            </a:pPr>
            <a:r>
              <a:rPr lang="zh-CN" altLang="en-US" dirty="0" smtClean="0">
                <a:latin typeface="Ford Antenna Light" charset="0"/>
                <a:ea typeface="Ford Antenna Light" charset="0"/>
                <a:cs typeface="Ford Antenna Light" charset="0"/>
              </a:rPr>
              <a:t>已修复并合入</a:t>
            </a:r>
            <a:r>
              <a:rPr lang="en-US" altLang="zh-CN" dirty="0" smtClean="0">
                <a:latin typeface="Ford Antenna Light" charset="0"/>
                <a:ea typeface="Ford Antenna Light" charset="0"/>
                <a:cs typeface="Ford Antenna Light" charset="0"/>
              </a:rPr>
              <a:t>R07.1</a:t>
            </a:r>
            <a:r>
              <a:rPr lang="zh-CN" altLang="en-US" dirty="0" smtClean="0">
                <a:latin typeface="Ford Antenna Light" charset="0"/>
                <a:ea typeface="Ford Antenna Light" charset="0"/>
                <a:cs typeface="Ford Antenna Light" charset="0"/>
              </a:rPr>
              <a:t>的有</a:t>
            </a:r>
            <a:r>
              <a:rPr lang="en-US" altLang="zh-CN" dirty="0" smtClean="0">
                <a:latin typeface="Ford Antenna Light" charset="0"/>
                <a:ea typeface="Ford Antenna Light" charset="0"/>
                <a:cs typeface="Ford Antenna Light" charset="0"/>
              </a:rPr>
              <a:t>11</a:t>
            </a:r>
            <a:r>
              <a:rPr lang="zh-CN" altLang="en-US" dirty="0" smtClean="0">
                <a:latin typeface="Ford Antenna Light" charset="0"/>
                <a:ea typeface="Ford Antenna Light" charset="0"/>
                <a:cs typeface="Ford Antenna Light" charset="0"/>
              </a:rPr>
              <a:t>个</a:t>
            </a:r>
            <a:endParaRPr lang="en-US" altLang="zh-CN" dirty="0" smtClean="0">
              <a:latin typeface="Ford Antenna Light" charset="0"/>
              <a:ea typeface="Ford Antenna Light" charset="0"/>
              <a:cs typeface="Ford Antenna Light" charset="0"/>
            </a:endParaRPr>
          </a:p>
          <a:p>
            <a:pPr marL="285750" indent="-285750">
              <a:buFont typeface="Wingdings" panose="05000000000000000000" pitchFamily="2" charset="2"/>
              <a:buChar char="l"/>
            </a:pPr>
            <a:r>
              <a:rPr lang="zh-CN" altLang="en-US" dirty="0" smtClean="0">
                <a:latin typeface="Ford Antenna Light" charset="0"/>
                <a:ea typeface="Ford Antenna Light" charset="0"/>
                <a:cs typeface="Ford Antenna Light" charset="0"/>
              </a:rPr>
              <a:t>此</a:t>
            </a:r>
            <a:r>
              <a:rPr lang="en-US" altLang="zh-CN" dirty="0" smtClean="0">
                <a:latin typeface="Ford Antenna Light" charset="0"/>
                <a:ea typeface="Ford Antenna Light" charset="0"/>
                <a:cs typeface="Ford Antenna Light" charset="0"/>
              </a:rPr>
              <a:t>11</a:t>
            </a:r>
            <a:r>
              <a:rPr lang="zh-CN" altLang="en-US" dirty="0" smtClean="0">
                <a:latin typeface="Ford Antenna Light" charset="0"/>
                <a:ea typeface="Ford Antenna Light" charset="0"/>
                <a:cs typeface="Ford Antenna Light" charset="0"/>
              </a:rPr>
              <a:t>个问题一直存在，皆为测试</a:t>
            </a:r>
            <a:r>
              <a:rPr lang="en-US" altLang="zh-CN" dirty="0" smtClean="0">
                <a:latin typeface="Ford Antenna Light" charset="0"/>
                <a:ea typeface="Ford Antenna Light" charset="0"/>
                <a:cs typeface="Ford Antenna Light" charset="0"/>
              </a:rPr>
              <a:t>Case</a:t>
            </a:r>
            <a:r>
              <a:rPr lang="zh-CN" altLang="en-US" dirty="0" smtClean="0">
                <a:latin typeface="Ford Antenna Light" charset="0"/>
                <a:ea typeface="Ford Antenna Light" charset="0"/>
                <a:cs typeface="Ford Antenna Light" charset="0"/>
              </a:rPr>
              <a:t>未覆盖遗漏的</a:t>
            </a:r>
          </a:p>
        </p:txBody>
      </p:sp>
      <p:graphicFrame>
        <p:nvGraphicFramePr>
          <p:cNvPr id="6" name="图表 5"/>
          <p:cNvGraphicFramePr>
            <a:graphicFrameLocks/>
          </p:cNvGraphicFramePr>
          <p:nvPr>
            <p:extLst>
              <p:ext uri="{D42A27DB-BD31-4B8C-83A1-F6EECF244321}">
                <p14:modId xmlns:p14="http://schemas.microsoft.com/office/powerpoint/2010/main" val="1453373932"/>
              </p:ext>
            </p:extLst>
          </p:nvPr>
        </p:nvGraphicFramePr>
        <p:xfrm>
          <a:off x="785446" y="731629"/>
          <a:ext cx="7176868" cy="461409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图表 4"/>
          <p:cNvGraphicFramePr>
            <a:graphicFrameLocks/>
          </p:cNvGraphicFramePr>
          <p:nvPr>
            <p:extLst>
              <p:ext uri="{D42A27DB-BD31-4B8C-83A1-F6EECF244321}">
                <p14:modId xmlns:p14="http://schemas.microsoft.com/office/powerpoint/2010/main" val="1303781471"/>
              </p:ext>
            </p:extLst>
          </p:nvPr>
        </p:nvGraphicFramePr>
        <p:xfrm>
          <a:off x="785445" y="1008628"/>
          <a:ext cx="6565265" cy="404276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558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altLang="zh-CN" sz="2400" dirty="0" smtClean="0"/>
              <a:t>R07</a:t>
            </a:r>
            <a:r>
              <a:rPr lang="zh-CN" altLang="en-US" sz="2400" dirty="0" smtClean="0"/>
              <a:t>检出未关闭问题分析</a:t>
            </a:r>
            <a:endParaRPr lang="en-US" sz="2400" dirty="0"/>
          </a:p>
        </p:txBody>
      </p:sp>
      <p:graphicFrame>
        <p:nvGraphicFramePr>
          <p:cNvPr id="8" name="表格 7">
            <a:extLst>
              <a:ext uri="{FF2B5EF4-FFF2-40B4-BE49-F238E27FC236}">
                <a16:creationId xmlns:a16="http://schemas.microsoft.com/office/drawing/2014/main" id="{C132A83D-6D9A-4D5C-9BBC-F406428D7ABC}"/>
              </a:ext>
            </a:extLst>
          </p:cNvPr>
          <p:cNvGraphicFramePr>
            <a:graphicFrameLocks noGrp="1"/>
          </p:cNvGraphicFramePr>
          <p:nvPr>
            <p:extLst>
              <p:ext uri="{D42A27DB-BD31-4B8C-83A1-F6EECF244321}">
                <p14:modId xmlns:p14="http://schemas.microsoft.com/office/powerpoint/2010/main" val="3412986220"/>
              </p:ext>
            </p:extLst>
          </p:nvPr>
        </p:nvGraphicFramePr>
        <p:xfrm>
          <a:off x="1" y="551045"/>
          <a:ext cx="11830928" cy="4690169"/>
        </p:xfrm>
        <a:graphic>
          <a:graphicData uri="http://schemas.openxmlformats.org/drawingml/2006/table">
            <a:tbl>
              <a:tblPr firstRow="1" firstCol="1" bandRow="1">
                <a:tableStyleId>{21E4AEA4-8DFA-4A89-87EB-49C32662AFE0}</a:tableStyleId>
              </a:tblPr>
              <a:tblGrid>
                <a:gridCol w="903686">
                  <a:extLst>
                    <a:ext uri="{9D8B030D-6E8A-4147-A177-3AD203B41FA5}">
                      <a16:colId xmlns:a16="http://schemas.microsoft.com/office/drawing/2014/main" val="3818951212"/>
                    </a:ext>
                  </a:extLst>
                </a:gridCol>
                <a:gridCol w="970406">
                  <a:extLst>
                    <a:ext uri="{9D8B030D-6E8A-4147-A177-3AD203B41FA5}">
                      <a16:colId xmlns:a16="http://schemas.microsoft.com/office/drawing/2014/main" val="2385958357"/>
                    </a:ext>
                  </a:extLst>
                </a:gridCol>
                <a:gridCol w="1234867">
                  <a:extLst>
                    <a:ext uri="{9D8B030D-6E8A-4147-A177-3AD203B41FA5}">
                      <a16:colId xmlns:a16="http://schemas.microsoft.com/office/drawing/2014/main" val="197795529"/>
                    </a:ext>
                  </a:extLst>
                </a:gridCol>
                <a:gridCol w="2803568">
                  <a:extLst>
                    <a:ext uri="{9D8B030D-6E8A-4147-A177-3AD203B41FA5}">
                      <a16:colId xmlns:a16="http://schemas.microsoft.com/office/drawing/2014/main" val="466168909"/>
                    </a:ext>
                  </a:extLst>
                </a:gridCol>
                <a:gridCol w="2050742">
                  <a:extLst>
                    <a:ext uri="{9D8B030D-6E8A-4147-A177-3AD203B41FA5}">
                      <a16:colId xmlns:a16="http://schemas.microsoft.com/office/drawing/2014/main" val="3276804130"/>
                    </a:ext>
                  </a:extLst>
                </a:gridCol>
                <a:gridCol w="2529460">
                  <a:extLst>
                    <a:ext uri="{9D8B030D-6E8A-4147-A177-3AD203B41FA5}">
                      <a16:colId xmlns:a16="http://schemas.microsoft.com/office/drawing/2014/main" val="2303682530"/>
                    </a:ext>
                  </a:extLst>
                </a:gridCol>
                <a:gridCol w="1338199">
                  <a:extLst>
                    <a:ext uri="{9D8B030D-6E8A-4147-A177-3AD203B41FA5}">
                      <a16:colId xmlns:a16="http://schemas.microsoft.com/office/drawing/2014/main" val="2485802800"/>
                    </a:ext>
                  </a:extLst>
                </a:gridCol>
              </a:tblGrid>
              <a:tr h="348343">
                <a:tc>
                  <a:txBody>
                    <a:bodyPr/>
                    <a:lstStyle/>
                    <a:p>
                      <a:pPr algn="ctr">
                        <a:spcAft>
                          <a:spcPts val="0"/>
                        </a:spcAft>
                      </a:pPr>
                      <a:r>
                        <a:rPr lang="en-US" sz="1200" dirty="0">
                          <a:effectLst/>
                        </a:rPr>
                        <a:t>NO.</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sz="1200" dirty="0">
                          <a:effectLst/>
                        </a:rPr>
                        <a:t>Component</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200" dirty="0" smtClean="0">
                          <a:effectLst/>
                          <a:latin typeface="宋体" panose="02010600030101010101" pitchFamily="2" charset="-122"/>
                          <a:ea typeface="宋体" panose="02010600030101010101" pitchFamily="2" charset="-122"/>
                          <a:cs typeface="宋体" panose="02010600030101010101" pitchFamily="2" charset="-122"/>
                        </a:rPr>
                        <a:t>Jira</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失效模式</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恢复手段</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对客户的影响</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200" dirty="0" smtClean="0">
                          <a:effectLst/>
                          <a:latin typeface="+mn-lt"/>
                          <a:ea typeface="+mn-ea"/>
                          <a:cs typeface="+mn-cs"/>
                        </a:rPr>
                        <a:t>Next Action</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extLst>
                  <a:ext uri="{0D108BD9-81ED-4DB2-BD59-A6C34878D82A}">
                    <a16:rowId xmlns:a16="http://schemas.microsoft.com/office/drawing/2014/main" val="371726706"/>
                  </a:ext>
                </a:extLst>
              </a:tr>
              <a:tr h="748791">
                <a:tc>
                  <a:txBody>
                    <a:bodyPr/>
                    <a:lstStyle/>
                    <a:p>
                      <a:pPr algn="ctr">
                        <a:spcAft>
                          <a:spcPts val="0"/>
                        </a:spcAft>
                      </a:pPr>
                      <a:r>
                        <a:rPr lang="en-US" altLang="zh-CN" sz="1200" dirty="0" smtClean="0">
                          <a:effectLst/>
                          <a:latin typeface="宋体" panose="02010600030101010101" pitchFamily="2" charset="-122"/>
                          <a:ea typeface="宋体" panose="02010600030101010101" pitchFamily="2" charset="-122"/>
                          <a:cs typeface="宋体" panose="02010600030101010101" pitchFamily="2" charset="-122"/>
                        </a:rPr>
                        <a:t>1</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rowSpan="2">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Enhanced Memory</a:t>
                      </a: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PIMCIM-17152</a:t>
                      </a:r>
                    </a:p>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PIMCIM-17153</a:t>
                      </a:r>
                    </a:p>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PIMCIM-17217</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rowSpan="2">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1</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删除非当前登陆账号的档案，会导致个性化档案代码逻辑错误，无法重新创建或删除个性化档案；</a:t>
                      </a:r>
                      <a:endParaRPr lang="en-US" altLang="zh-CN" sz="1100" dirty="0" smtClean="0">
                        <a:effectLst/>
                        <a:latin typeface="宋体" panose="02010600030101010101" pitchFamily="2" charset="-122"/>
                        <a:ea typeface="宋体" panose="02010600030101010101" pitchFamily="2" charset="-122"/>
                        <a:cs typeface="宋体" panose="02010600030101010101" pitchFamily="2" charset="-122"/>
                      </a:endParaRPr>
                    </a:p>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2</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首次创建个性化档案关联智能手机钥匙实际成功，界面无显示</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rowSpan="2">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NA</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非常规测试环境，对客户影响较小</a:t>
                      </a: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rowSpan="6">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已在</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R07.1</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修复</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extLst>
                  <a:ext uri="{0D108BD9-81ED-4DB2-BD59-A6C34878D82A}">
                    <a16:rowId xmlns:a16="http://schemas.microsoft.com/office/drawing/2014/main" val="1968201994"/>
                  </a:ext>
                </a:extLst>
              </a:tr>
              <a:tr h="597871">
                <a:tc>
                  <a:txBody>
                    <a:bodyPr/>
                    <a:lstStyle/>
                    <a:p>
                      <a:pPr algn="ctr">
                        <a:spcAft>
                          <a:spcPts val="0"/>
                        </a:spcAft>
                      </a:pPr>
                      <a:r>
                        <a:rPr lang="en-US" altLang="zh-CN" sz="1200" dirty="0" smtClean="0">
                          <a:effectLst/>
                          <a:latin typeface="宋体" panose="02010600030101010101" pitchFamily="2" charset="-122"/>
                          <a:ea typeface="宋体" panose="02010600030101010101" pitchFamily="2" charset="-122"/>
                          <a:cs typeface="宋体" panose="02010600030101010101" pitchFamily="2" charset="-122"/>
                        </a:rPr>
                        <a:t>2</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vMerge="1">
                  <a:txBody>
                    <a:bodyPr/>
                    <a:lstStyle/>
                    <a:p>
                      <a:pPr algn="ctr">
                        <a:spcAft>
                          <a:spcPts val="0"/>
                        </a:spcAft>
                      </a:pP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PIMCIM-17148</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vMerge="1">
                  <a:txBody>
                    <a:bodyPr/>
                    <a:lstStyle/>
                    <a:p>
                      <a:pPr algn="ctr">
                        <a:spcAft>
                          <a:spcPts val="0"/>
                        </a:spcAft>
                      </a:pP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vMerge="1">
                  <a:txBody>
                    <a:bodyPr/>
                    <a:lstStyle/>
                    <a:p>
                      <a:pPr algn="ctr">
                        <a:spcAft>
                          <a:spcPts val="0"/>
                        </a:spcAft>
                      </a:pP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UI</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界面显示问题，不影响功能，对客户影响较小</a:t>
                      </a: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vMerge="1">
                  <a:txBody>
                    <a:bodyPr/>
                    <a:lstStyle/>
                    <a:p>
                      <a:pPr algn="ctr">
                        <a:spcAft>
                          <a:spcPts val="0"/>
                        </a:spcAft>
                      </a:pP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extLst>
                  <a:ext uri="{0D108BD9-81ED-4DB2-BD59-A6C34878D82A}">
                    <a16:rowId xmlns:a16="http://schemas.microsoft.com/office/drawing/2014/main" val="3720649264"/>
                  </a:ext>
                </a:extLst>
              </a:tr>
              <a:tr h="748791">
                <a:tc>
                  <a:txBody>
                    <a:bodyPr/>
                    <a:lstStyle/>
                    <a:p>
                      <a:pPr algn="ctr">
                        <a:spcAft>
                          <a:spcPts val="0"/>
                        </a:spcAft>
                      </a:pPr>
                      <a:r>
                        <a:rPr lang="en-US" altLang="zh-CN" sz="1200" dirty="0" smtClean="0">
                          <a:effectLst/>
                          <a:latin typeface="宋体" panose="02010600030101010101" pitchFamily="2" charset="-122"/>
                          <a:ea typeface="宋体" panose="02010600030101010101" pitchFamily="2" charset="-122"/>
                          <a:cs typeface="宋体" panose="02010600030101010101" pitchFamily="2" charset="-122"/>
                        </a:rPr>
                        <a:t>3</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System Setting</a:t>
                      </a: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PIMCIM-17209</a:t>
                      </a:r>
                      <a:endParaRPr lang="zh-CN" altLang="zh-CN" sz="1100" dirty="0" smtClean="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Monkey</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测试系统更新页面产生</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NR</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界面会闪退</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重新点击进入此界面</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此为</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Monkey</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长时间运行，对客户影响较小</a:t>
                      </a: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vMerge="1">
                  <a:txBody>
                    <a:bodyPr/>
                    <a:lstStyle/>
                    <a:p>
                      <a:pPr algn="ctr">
                        <a:spcAft>
                          <a:spcPts val="0"/>
                        </a:spcAft>
                      </a:pP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extLst>
                  <a:ext uri="{0D108BD9-81ED-4DB2-BD59-A6C34878D82A}">
                    <a16:rowId xmlns:a16="http://schemas.microsoft.com/office/drawing/2014/main" val="1627771171"/>
                  </a:ext>
                </a:extLst>
              </a:tr>
              <a:tr h="748791">
                <a:tc>
                  <a:txBody>
                    <a:bodyPr/>
                    <a:lstStyle/>
                    <a:p>
                      <a:pPr algn="ctr">
                        <a:spcAft>
                          <a:spcPts val="0"/>
                        </a:spcAft>
                      </a:pPr>
                      <a:r>
                        <a:rPr lang="en-US" altLang="zh-CN" sz="1200" dirty="0" smtClean="0">
                          <a:effectLst/>
                          <a:latin typeface="宋体" panose="02010600030101010101" pitchFamily="2" charset="-122"/>
                          <a:ea typeface="宋体" panose="02010600030101010101" pitchFamily="2" charset="-122"/>
                          <a:cs typeface="宋体" panose="02010600030101010101" pitchFamily="2" charset="-122"/>
                        </a:rPr>
                        <a:t>4</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VHA</a:t>
                      </a:r>
                      <a:endParaRPr lang="zh-CN" altLang="zh-CN" sz="1100" dirty="0" smtClean="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PIMCIM-16784</a:t>
                      </a:r>
                      <a:endParaRPr lang="zh-CN" altLang="zh-CN" sz="1100" dirty="0" smtClean="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VHA</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护航历史行程为</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0</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NA</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VHA</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护航历史行程数据显示问题，非功能问题，对客户影响较小</a:t>
                      </a: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vMerge="1">
                  <a:txBody>
                    <a:bodyPr/>
                    <a:lstStyle/>
                    <a:p>
                      <a:pPr algn="ctr">
                        <a:spcAft>
                          <a:spcPts val="0"/>
                        </a:spcAft>
                      </a:pP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extLst>
                  <a:ext uri="{0D108BD9-81ED-4DB2-BD59-A6C34878D82A}">
                    <a16:rowId xmlns:a16="http://schemas.microsoft.com/office/drawing/2014/main" val="1470653383"/>
                  </a:ext>
                </a:extLst>
              </a:tr>
              <a:tr h="748791">
                <a:tc>
                  <a:txBody>
                    <a:bodyPr/>
                    <a:lstStyle/>
                    <a:p>
                      <a:pPr algn="ctr">
                        <a:spcAft>
                          <a:spcPts val="0"/>
                        </a:spcAft>
                      </a:pPr>
                      <a:r>
                        <a:rPr lang="en-US" altLang="zh-CN" sz="1200" dirty="0" smtClean="0">
                          <a:effectLst/>
                          <a:latin typeface="宋体" panose="02010600030101010101" pitchFamily="2" charset="-122"/>
                          <a:ea typeface="宋体" panose="02010600030101010101" pitchFamily="2" charset="-122"/>
                          <a:cs typeface="宋体" panose="02010600030101010101" pitchFamily="2" charset="-122"/>
                        </a:rPr>
                        <a:t>5</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vMerge="1">
                  <a:txBody>
                    <a:bodyPr/>
                    <a:lstStyle/>
                    <a:p>
                      <a:pPr algn="ctr">
                        <a:spcAft>
                          <a:spcPts val="0"/>
                        </a:spcAft>
                      </a:pP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PIMCIM-16506</a:t>
                      </a:r>
                      <a:endParaRPr lang="zh-CN" altLang="zh-CN" sz="1100" dirty="0" smtClean="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车辆不存在故障时所有</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PP</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中仍有告警红点显示</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重启车机恢复</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VHA</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健康显示问题，不影响功能，对客户影响较小</a:t>
                      </a: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vMerge="1">
                  <a:txBody>
                    <a:bodyPr/>
                    <a:lstStyle/>
                    <a:p>
                      <a:pPr algn="ctr">
                        <a:spcAft>
                          <a:spcPts val="0"/>
                        </a:spcAft>
                      </a:pP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extLst>
                  <a:ext uri="{0D108BD9-81ED-4DB2-BD59-A6C34878D82A}">
                    <a16:rowId xmlns:a16="http://schemas.microsoft.com/office/drawing/2014/main" val="1542812518"/>
                  </a:ext>
                </a:extLst>
              </a:tr>
              <a:tr h="748791">
                <a:tc>
                  <a:txBody>
                    <a:bodyPr/>
                    <a:lstStyle/>
                    <a:p>
                      <a:pPr algn="ctr">
                        <a:spcAft>
                          <a:spcPts val="0"/>
                        </a:spcAft>
                      </a:pPr>
                      <a:r>
                        <a:rPr lang="en-US" altLang="zh-CN" sz="1200" dirty="0" smtClean="0">
                          <a:effectLst/>
                          <a:latin typeface="宋体" panose="02010600030101010101" pitchFamily="2" charset="-122"/>
                          <a:ea typeface="宋体" panose="02010600030101010101" pitchFamily="2" charset="-122"/>
                          <a:cs typeface="宋体" panose="02010600030101010101" pitchFamily="2" charset="-122"/>
                        </a:rPr>
                        <a:t>6</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DLNA</a:t>
                      </a:r>
                      <a:endParaRPr lang="zh-CN" altLang="zh-CN" sz="1100" dirty="0" smtClean="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PIMCIM-166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PIMCIM-16667</a:t>
                      </a:r>
                      <a:endParaRPr lang="zh-CN" altLang="zh-CN" sz="1100" dirty="0" smtClean="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随心看结束投屏，</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IOD</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投屏由</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Card1</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回到</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Card2</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时未恢复小屏尺寸</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退出</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Control</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屏随心看即可</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界面显示问题，不影响功能，对客户影响较小</a:t>
                      </a: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vMerge="1">
                  <a:txBody>
                    <a:bodyPr/>
                    <a:lstStyle/>
                    <a:p>
                      <a:pPr algn="ctr">
                        <a:spcAft>
                          <a:spcPts val="0"/>
                        </a:spcAft>
                      </a:pP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extLst>
                  <a:ext uri="{0D108BD9-81ED-4DB2-BD59-A6C34878D82A}">
                    <a16:rowId xmlns:a16="http://schemas.microsoft.com/office/drawing/2014/main" val="2866599403"/>
                  </a:ext>
                </a:extLst>
              </a:tr>
            </a:tbl>
          </a:graphicData>
        </a:graphic>
      </p:graphicFrame>
    </p:spTree>
    <p:extLst>
      <p:ext uri="{BB962C8B-B14F-4D97-AF65-F5344CB8AC3E}">
        <p14:creationId xmlns:p14="http://schemas.microsoft.com/office/powerpoint/2010/main" val="40194276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altLang="zh-CN" sz="2400" dirty="0" smtClean="0"/>
              <a:t>R07</a:t>
            </a:r>
            <a:r>
              <a:rPr lang="zh-CN" altLang="en-US" sz="2400" dirty="0" smtClean="0"/>
              <a:t>检出未关闭问题分析</a:t>
            </a:r>
            <a:endParaRPr lang="en-US" sz="2400" dirty="0"/>
          </a:p>
        </p:txBody>
      </p:sp>
      <p:graphicFrame>
        <p:nvGraphicFramePr>
          <p:cNvPr id="8" name="表格 7">
            <a:extLst>
              <a:ext uri="{FF2B5EF4-FFF2-40B4-BE49-F238E27FC236}">
                <a16:creationId xmlns:a16="http://schemas.microsoft.com/office/drawing/2014/main" id="{C132A83D-6D9A-4D5C-9BBC-F406428D7ABC}"/>
              </a:ext>
            </a:extLst>
          </p:cNvPr>
          <p:cNvGraphicFramePr>
            <a:graphicFrameLocks noGrp="1"/>
          </p:cNvGraphicFramePr>
          <p:nvPr>
            <p:extLst>
              <p:ext uri="{D42A27DB-BD31-4B8C-83A1-F6EECF244321}">
                <p14:modId xmlns:p14="http://schemas.microsoft.com/office/powerpoint/2010/main" val="561582585"/>
              </p:ext>
            </p:extLst>
          </p:nvPr>
        </p:nvGraphicFramePr>
        <p:xfrm>
          <a:off x="1" y="551045"/>
          <a:ext cx="11830928" cy="1845925"/>
        </p:xfrm>
        <a:graphic>
          <a:graphicData uri="http://schemas.openxmlformats.org/drawingml/2006/table">
            <a:tbl>
              <a:tblPr firstRow="1" firstCol="1" bandRow="1">
                <a:tableStyleId>{21E4AEA4-8DFA-4A89-87EB-49C32662AFE0}</a:tableStyleId>
              </a:tblPr>
              <a:tblGrid>
                <a:gridCol w="903686">
                  <a:extLst>
                    <a:ext uri="{9D8B030D-6E8A-4147-A177-3AD203B41FA5}">
                      <a16:colId xmlns:a16="http://schemas.microsoft.com/office/drawing/2014/main" val="3818951212"/>
                    </a:ext>
                  </a:extLst>
                </a:gridCol>
                <a:gridCol w="970406">
                  <a:extLst>
                    <a:ext uri="{9D8B030D-6E8A-4147-A177-3AD203B41FA5}">
                      <a16:colId xmlns:a16="http://schemas.microsoft.com/office/drawing/2014/main" val="2385958357"/>
                    </a:ext>
                  </a:extLst>
                </a:gridCol>
                <a:gridCol w="1234867">
                  <a:extLst>
                    <a:ext uri="{9D8B030D-6E8A-4147-A177-3AD203B41FA5}">
                      <a16:colId xmlns:a16="http://schemas.microsoft.com/office/drawing/2014/main" val="197795529"/>
                    </a:ext>
                  </a:extLst>
                </a:gridCol>
                <a:gridCol w="2803568">
                  <a:extLst>
                    <a:ext uri="{9D8B030D-6E8A-4147-A177-3AD203B41FA5}">
                      <a16:colId xmlns:a16="http://schemas.microsoft.com/office/drawing/2014/main" val="466168909"/>
                    </a:ext>
                  </a:extLst>
                </a:gridCol>
                <a:gridCol w="2050742">
                  <a:extLst>
                    <a:ext uri="{9D8B030D-6E8A-4147-A177-3AD203B41FA5}">
                      <a16:colId xmlns:a16="http://schemas.microsoft.com/office/drawing/2014/main" val="3276804130"/>
                    </a:ext>
                  </a:extLst>
                </a:gridCol>
                <a:gridCol w="2529460">
                  <a:extLst>
                    <a:ext uri="{9D8B030D-6E8A-4147-A177-3AD203B41FA5}">
                      <a16:colId xmlns:a16="http://schemas.microsoft.com/office/drawing/2014/main" val="2303682530"/>
                    </a:ext>
                  </a:extLst>
                </a:gridCol>
                <a:gridCol w="1338199">
                  <a:extLst>
                    <a:ext uri="{9D8B030D-6E8A-4147-A177-3AD203B41FA5}">
                      <a16:colId xmlns:a16="http://schemas.microsoft.com/office/drawing/2014/main" val="2485802800"/>
                    </a:ext>
                  </a:extLst>
                </a:gridCol>
              </a:tblGrid>
              <a:tr h="348343">
                <a:tc>
                  <a:txBody>
                    <a:bodyPr/>
                    <a:lstStyle/>
                    <a:p>
                      <a:pPr algn="ctr">
                        <a:spcAft>
                          <a:spcPts val="0"/>
                        </a:spcAft>
                      </a:pPr>
                      <a:r>
                        <a:rPr lang="en-US" sz="1200" dirty="0">
                          <a:effectLst/>
                        </a:rPr>
                        <a:t>NO.</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sz="1200" dirty="0">
                          <a:effectLst/>
                        </a:rPr>
                        <a:t>Component</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200" dirty="0" smtClean="0">
                          <a:effectLst/>
                          <a:latin typeface="宋体" panose="02010600030101010101" pitchFamily="2" charset="-122"/>
                          <a:ea typeface="宋体" panose="02010600030101010101" pitchFamily="2" charset="-122"/>
                          <a:cs typeface="宋体" panose="02010600030101010101" pitchFamily="2" charset="-122"/>
                        </a:rPr>
                        <a:t>Jira</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失效模式</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恢复手段</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对客户的影响</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200" dirty="0" smtClean="0">
                          <a:effectLst/>
                          <a:latin typeface="+mn-lt"/>
                          <a:ea typeface="+mn-ea"/>
                          <a:cs typeface="+mn-cs"/>
                        </a:rPr>
                        <a:t>Next Action</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extLst>
                  <a:ext uri="{0D108BD9-81ED-4DB2-BD59-A6C34878D82A}">
                    <a16:rowId xmlns:a16="http://schemas.microsoft.com/office/drawing/2014/main" val="371726706"/>
                  </a:ext>
                </a:extLst>
              </a:tr>
              <a:tr h="748791">
                <a:tc>
                  <a:txBody>
                    <a:bodyPr/>
                    <a:lstStyle/>
                    <a:p>
                      <a:pPr algn="ctr">
                        <a:spcAft>
                          <a:spcPts val="0"/>
                        </a:spcAft>
                      </a:pPr>
                      <a:r>
                        <a:rPr lang="en-US" altLang="zh-CN" sz="1200" dirty="0" smtClean="0">
                          <a:effectLst/>
                          <a:latin typeface="宋体" panose="02010600030101010101" pitchFamily="2" charset="-122"/>
                          <a:ea typeface="宋体" panose="02010600030101010101" pitchFamily="2" charset="-122"/>
                          <a:cs typeface="宋体" panose="02010600030101010101" pitchFamily="2" charset="-122"/>
                        </a:rPr>
                        <a:t>7</a:t>
                      </a:r>
                      <a:endParaRPr lang="zh-CN" sz="12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Message Center</a:t>
                      </a: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APIMCIM-16628</a:t>
                      </a:r>
                      <a:endParaRPr lang="zh-CN" altLang="zh-CN" sz="1100" dirty="0" smtClean="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消息中心弹窗偶现误唤醒语音</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关闭</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VPA</a:t>
                      </a:r>
                      <a:endParaRPr 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algn="ctr">
                        <a:spcAft>
                          <a:spcPts val="0"/>
                        </a:spcAft>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此为</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VPA</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唤醒，不影响功能，对客户影响较小</a:t>
                      </a:r>
                      <a:endParaRPr lang="zh-CN" altLang="zh-CN" sz="1100" dirty="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已在</a:t>
                      </a: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R07.1</a:t>
                      </a:r>
                      <a:r>
                        <a:rPr lang="zh-CN" altLang="en-US" sz="1100" dirty="0" smtClean="0">
                          <a:effectLst/>
                          <a:latin typeface="宋体" panose="02010600030101010101" pitchFamily="2" charset="-122"/>
                          <a:ea typeface="宋体" panose="02010600030101010101" pitchFamily="2" charset="-122"/>
                          <a:cs typeface="宋体" panose="02010600030101010101" pitchFamily="2" charset="-122"/>
                        </a:rPr>
                        <a:t>修复</a:t>
                      </a:r>
                      <a:endParaRPr lang="zh-CN" altLang="zh-CN" sz="1100" dirty="0" smtClean="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extLst>
                  <a:ext uri="{0D108BD9-81ED-4DB2-BD59-A6C34878D82A}">
                    <a16:rowId xmlns:a16="http://schemas.microsoft.com/office/drawing/2014/main" val="1627771171"/>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anose="02010600030101010101" pitchFamily="2" charset="-122"/>
                          <a:ea typeface="宋体" panose="02010600030101010101" pitchFamily="2" charset="-122"/>
                          <a:cs typeface="宋体" panose="02010600030101010101" pitchFamily="2" charset="-122"/>
                        </a:rPr>
                        <a:t>8</a:t>
                      </a:r>
                      <a:endParaRPr lang="zh-CN" sz="1200" b="1" kern="1200" dirty="0">
                        <a:solidFill>
                          <a:schemeClr val="lt1"/>
                        </a:solidFill>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dirty="0" smtClean="0">
                          <a:effectLst/>
                          <a:latin typeface="宋体" panose="02010600030101010101" pitchFamily="2" charset="-122"/>
                          <a:ea typeface="宋体" panose="02010600030101010101" pitchFamily="2" charset="-122"/>
                          <a:cs typeface="宋体" panose="02010600030101010101" pitchFamily="2" charset="-122"/>
                        </a:rPr>
                        <a:t>Vehicle Setting</a:t>
                      </a:r>
                      <a:endParaRPr lang="zh-CN" altLang="zh-CN" sz="1100" dirty="0" smtClean="0">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kern="1200" dirty="0" smtClean="0">
                          <a:solidFill>
                            <a:schemeClr val="dk1"/>
                          </a:solidFill>
                          <a:effectLst/>
                          <a:latin typeface="宋体" panose="02010600030101010101" pitchFamily="2" charset="-122"/>
                          <a:ea typeface="宋体" panose="02010600030101010101" pitchFamily="2" charset="-122"/>
                          <a:cs typeface="宋体" panose="02010600030101010101" pitchFamily="2" charset="-122"/>
                        </a:rPr>
                        <a:t>APIMCIM-16751</a:t>
                      </a:r>
                      <a:endParaRPr lang="zh-CN" altLang="zh-CN" sz="1100" kern="1200" dirty="0" smtClean="0">
                        <a:solidFill>
                          <a:schemeClr val="dk1"/>
                        </a:solidFill>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marL="0" algn="ctr" defTabSz="914400" rtl="0" eaLnBrk="1" latinLnBrk="0" hangingPunct="1">
                        <a:spcAft>
                          <a:spcPts val="0"/>
                        </a:spcAft>
                      </a:pPr>
                      <a:r>
                        <a:rPr lang="zh-CN" altLang="en-US" sz="1100" kern="1200" dirty="0" smtClean="0">
                          <a:solidFill>
                            <a:schemeClr val="dk1"/>
                          </a:solidFill>
                          <a:effectLst/>
                          <a:latin typeface="宋体" panose="02010600030101010101" pitchFamily="2" charset="-122"/>
                          <a:ea typeface="宋体" panose="02010600030101010101" pitchFamily="2" charset="-122"/>
                          <a:cs typeface="宋体" panose="02010600030101010101" pitchFamily="2" charset="-122"/>
                        </a:rPr>
                        <a:t>车辆设置无法打开</a:t>
                      </a:r>
                      <a:endParaRPr lang="zh-CN" altLang="en-US" sz="1100" kern="1200" dirty="0">
                        <a:solidFill>
                          <a:schemeClr val="dk1"/>
                        </a:solidFill>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marL="0" algn="ctr" defTabSz="914400" rtl="0" eaLnBrk="1" latinLnBrk="0" hangingPunct="1">
                        <a:spcAft>
                          <a:spcPts val="0"/>
                        </a:spcAft>
                      </a:pPr>
                      <a:r>
                        <a:rPr lang="zh-CN" altLang="en-US" sz="1100" kern="1200" dirty="0" smtClean="0">
                          <a:solidFill>
                            <a:schemeClr val="dk1"/>
                          </a:solidFill>
                          <a:effectLst/>
                          <a:latin typeface="宋体" panose="02010600030101010101" pitchFamily="2" charset="-122"/>
                          <a:ea typeface="宋体" panose="02010600030101010101" pitchFamily="2" charset="-122"/>
                          <a:cs typeface="宋体" panose="02010600030101010101" pitchFamily="2" charset="-122"/>
                        </a:rPr>
                        <a:t>重启车机</a:t>
                      </a:r>
                      <a:endParaRPr lang="zh-CN" altLang="en-US" sz="1100" kern="1200" dirty="0">
                        <a:solidFill>
                          <a:schemeClr val="dk1"/>
                        </a:solidFill>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a:txBody>
                    <a:bodyPr/>
                    <a:lstStyle/>
                    <a:p>
                      <a:pPr marL="0" algn="ctr" defTabSz="914400" rtl="0" eaLnBrk="1" latinLnBrk="0" hangingPunct="1">
                        <a:spcAft>
                          <a:spcPts val="0"/>
                        </a:spcAft>
                      </a:pPr>
                      <a:r>
                        <a:rPr lang="zh-CN" altLang="en-US" sz="1100" kern="1200" dirty="0" smtClean="0">
                          <a:solidFill>
                            <a:schemeClr val="dk1"/>
                          </a:solidFill>
                          <a:effectLst/>
                          <a:latin typeface="宋体" panose="02010600030101010101" pitchFamily="2" charset="-122"/>
                          <a:ea typeface="宋体" panose="02010600030101010101" pitchFamily="2" charset="-122"/>
                          <a:cs typeface="宋体" panose="02010600030101010101" pitchFamily="2" charset="-122"/>
                        </a:rPr>
                        <a:t>多进程同时触发调用获取扫描列表，导已致保存设备</a:t>
                      </a:r>
                      <a:r>
                        <a:rPr lang="en-US" altLang="zh-CN" sz="1100" kern="1200" dirty="0" smtClean="0">
                          <a:solidFill>
                            <a:schemeClr val="dk1"/>
                          </a:solidFill>
                          <a:effectLst/>
                          <a:latin typeface="宋体" panose="02010600030101010101" pitchFamily="2" charset="-122"/>
                          <a:ea typeface="宋体" panose="02010600030101010101" pitchFamily="2" charset="-122"/>
                          <a:cs typeface="宋体" panose="02010600030101010101" pitchFamily="2" charset="-122"/>
                        </a:rPr>
                        <a:t>list</a:t>
                      </a:r>
                      <a:r>
                        <a:rPr lang="zh-CN" altLang="en-US" sz="1100" kern="1200" dirty="0" smtClean="0">
                          <a:solidFill>
                            <a:schemeClr val="dk1"/>
                          </a:solidFill>
                          <a:effectLst/>
                          <a:latin typeface="宋体" panose="02010600030101010101" pitchFamily="2" charset="-122"/>
                          <a:ea typeface="宋体" panose="02010600030101010101" pitchFamily="2" charset="-122"/>
                          <a:cs typeface="宋体" panose="02010600030101010101" pitchFamily="2" charset="-122"/>
                        </a:rPr>
                        <a:t>数据被同时填充导致数据填写错误。该</a:t>
                      </a:r>
                      <a:r>
                        <a:rPr lang="en-US" altLang="zh-CN" sz="1100" kern="1200" dirty="0" smtClean="0">
                          <a:solidFill>
                            <a:schemeClr val="dk1"/>
                          </a:solidFill>
                          <a:effectLst/>
                          <a:latin typeface="宋体" panose="02010600030101010101" pitchFamily="2" charset="-122"/>
                          <a:ea typeface="宋体" panose="02010600030101010101" pitchFamily="2" charset="-122"/>
                          <a:cs typeface="宋体" panose="02010600030101010101" pitchFamily="2" charset="-122"/>
                        </a:rPr>
                        <a:t>Bug</a:t>
                      </a:r>
                      <a:r>
                        <a:rPr lang="zh-CN" altLang="en-US" sz="1100" kern="1200" dirty="0" smtClean="0">
                          <a:solidFill>
                            <a:schemeClr val="dk1"/>
                          </a:solidFill>
                          <a:effectLst/>
                          <a:latin typeface="宋体" panose="02010600030101010101" pitchFamily="2" charset="-122"/>
                          <a:ea typeface="宋体" panose="02010600030101010101" pitchFamily="2" charset="-122"/>
                          <a:cs typeface="宋体" panose="02010600030101010101" pitchFamily="2" charset="-122"/>
                        </a:rPr>
                        <a:t>产生的概率极低，不影响客户正常使用。</a:t>
                      </a:r>
                      <a:endParaRPr lang="zh-CN" altLang="en-US" sz="1100" kern="1200" dirty="0">
                        <a:solidFill>
                          <a:schemeClr val="dk1"/>
                        </a:solidFill>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tc vMerge="1">
                  <a:txBody>
                    <a:bodyPr/>
                    <a:lstStyle/>
                    <a:p>
                      <a:pPr marL="0" algn="ctr" defTabSz="914400" rtl="0" eaLnBrk="1" latinLnBrk="0" hangingPunct="1">
                        <a:spcAft>
                          <a:spcPts val="0"/>
                        </a:spcAft>
                      </a:pPr>
                      <a:endParaRPr lang="zh-CN" sz="1100" kern="1200" dirty="0">
                        <a:solidFill>
                          <a:schemeClr val="dk1"/>
                        </a:solidFill>
                        <a:effectLst/>
                        <a:latin typeface="宋体" panose="02010600030101010101" pitchFamily="2" charset="-122"/>
                        <a:ea typeface="宋体" panose="02010600030101010101" pitchFamily="2" charset="-122"/>
                        <a:cs typeface="宋体" panose="02010600030101010101" pitchFamily="2" charset="-122"/>
                      </a:endParaRPr>
                    </a:p>
                  </a:txBody>
                  <a:tcPr marL="51229" marR="51229" marT="0" marB="0" anchor="ctr"/>
                </a:tc>
                <a:extLst>
                  <a:ext uri="{0D108BD9-81ED-4DB2-BD59-A6C34878D82A}">
                    <a16:rowId xmlns:a16="http://schemas.microsoft.com/office/drawing/2014/main" val="2866599403"/>
                  </a:ext>
                </a:extLst>
              </a:tr>
            </a:tbl>
          </a:graphicData>
        </a:graphic>
      </p:graphicFrame>
    </p:spTree>
    <p:extLst>
      <p:ext uri="{BB962C8B-B14F-4D97-AF65-F5344CB8AC3E}">
        <p14:creationId xmlns:p14="http://schemas.microsoft.com/office/powerpoint/2010/main" val="12010235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altLang="zh-CN" sz="2400" dirty="0" smtClean="0"/>
              <a:t>R07</a:t>
            </a:r>
            <a:r>
              <a:rPr lang="zh-CN" altLang="en-US" sz="2400" dirty="0" smtClean="0"/>
              <a:t>版本</a:t>
            </a:r>
            <a:r>
              <a:rPr lang="en-US" altLang="zh-CN" sz="2400" dirty="0" smtClean="0"/>
              <a:t>H</a:t>
            </a:r>
            <a:r>
              <a:rPr lang="zh-CN" altLang="en-US" sz="2400" dirty="0" smtClean="0"/>
              <a:t>级别问题</a:t>
            </a:r>
            <a:endParaRPr lang="en-US" sz="2400" dirty="0"/>
          </a:p>
        </p:txBody>
      </p:sp>
      <p:sp>
        <p:nvSpPr>
          <p:cNvPr id="3" name="文本框 2"/>
          <p:cNvSpPr txBox="1"/>
          <p:nvPr/>
        </p:nvSpPr>
        <p:spPr>
          <a:xfrm>
            <a:off x="8074855" y="1364566"/>
            <a:ext cx="3319976" cy="2308324"/>
          </a:xfrm>
          <a:prstGeom prst="rect">
            <a:avLst/>
          </a:prstGeom>
          <a:noFill/>
        </p:spPr>
        <p:txBody>
          <a:bodyPr wrap="square" rtlCol="0">
            <a:spAutoFit/>
          </a:bodyPr>
          <a:lstStyle/>
          <a:p>
            <a:r>
              <a:rPr lang="zh-CN" altLang="en-US" dirty="0" smtClean="0">
                <a:latin typeface="Ford Antenna Light" charset="0"/>
                <a:ea typeface="Ford Antenna Light" charset="0"/>
                <a:cs typeface="Ford Antenna Light" charset="0"/>
              </a:rPr>
              <a:t>截止目前，创达侧</a:t>
            </a:r>
            <a:r>
              <a:rPr lang="en-US" altLang="zh-CN" dirty="0" smtClean="0">
                <a:latin typeface="Ford Antenna Light" charset="0"/>
                <a:ea typeface="Ford Antenna Light" charset="0"/>
                <a:cs typeface="Ford Antenna Light" charset="0"/>
              </a:rPr>
              <a:t>R07</a:t>
            </a:r>
            <a:r>
              <a:rPr lang="zh-CN" altLang="en-US" dirty="0" smtClean="0">
                <a:latin typeface="Ford Antenna Light" charset="0"/>
                <a:ea typeface="Ford Antenna Light" charset="0"/>
                <a:cs typeface="Ford Antenna Light" charset="0"/>
              </a:rPr>
              <a:t>存在的</a:t>
            </a:r>
            <a:r>
              <a:rPr lang="en-US" altLang="zh-CN" dirty="0">
                <a:latin typeface="Ford Antenna Light" charset="0"/>
                <a:ea typeface="Ford Antenna Light" charset="0"/>
                <a:cs typeface="Ford Antenna Light" charset="0"/>
              </a:rPr>
              <a:t>H</a:t>
            </a:r>
            <a:r>
              <a:rPr lang="zh-CN" altLang="en-US" dirty="0" smtClean="0">
                <a:latin typeface="Ford Antenna Light" charset="0"/>
                <a:ea typeface="Ford Antenna Light" charset="0"/>
                <a:cs typeface="Ford Antenna Light" charset="0"/>
              </a:rPr>
              <a:t>类</a:t>
            </a:r>
            <a:r>
              <a:rPr lang="en-US" altLang="zh-CN" dirty="0" smtClean="0">
                <a:latin typeface="Ford Antenna Light" charset="0"/>
                <a:ea typeface="Ford Antenna Light" charset="0"/>
                <a:cs typeface="Ford Antenna Light" charset="0"/>
              </a:rPr>
              <a:t>Bug</a:t>
            </a:r>
            <a:r>
              <a:rPr lang="zh-CN" altLang="en-US" dirty="0" smtClean="0">
                <a:latin typeface="Ford Antenna Light" charset="0"/>
                <a:ea typeface="Ford Antenna Light" charset="0"/>
                <a:cs typeface="Ford Antenna Light" charset="0"/>
              </a:rPr>
              <a:t>有</a:t>
            </a:r>
            <a:r>
              <a:rPr lang="en-US" altLang="zh-CN" dirty="0" smtClean="0">
                <a:latin typeface="Ford Antenna Light" charset="0"/>
                <a:ea typeface="Ford Antenna Light" charset="0"/>
                <a:cs typeface="Ford Antenna Light" charset="0"/>
              </a:rPr>
              <a:t>21</a:t>
            </a:r>
            <a:r>
              <a:rPr lang="zh-CN" altLang="en-US" dirty="0" smtClean="0">
                <a:latin typeface="Ford Antenna Light" charset="0"/>
                <a:ea typeface="Ford Antenna Light" charset="0"/>
                <a:cs typeface="Ford Antenna Light" charset="0"/>
              </a:rPr>
              <a:t>个，均为</a:t>
            </a:r>
            <a:r>
              <a:rPr lang="en-US" altLang="zh-CN" dirty="0" smtClean="0">
                <a:latin typeface="Ford Antenna Light" charset="0"/>
                <a:ea typeface="Ford Antenna Light" charset="0"/>
                <a:cs typeface="Ford Antenna Light" charset="0"/>
              </a:rPr>
              <a:t>R07</a:t>
            </a:r>
            <a:r>
              <a:rPr lang="zh-CN" altLang="en-US" dirty="0" smtClean="0">
                <a:latin typeface="Ford Antenna Light" charset="0"/>
                <a:ea typeface="Ford Antenna Light" charset="0"/>
                <a:cs typeface="Ford Antenna Light" charset="0"/>
              </a:rPr>
              <a:t>软件版本测试提出：</a:t>
            </a:r>
            <a:endParaRPr lang="en-US" altLang="zh-CN" dirty="0" smtClean="0">
              <a:latin typeface="Ford Antenna Light" charset="0"/>
              <a:ea typeface="Ford Antenna Light" charset="0"/>
              <a:cs typeface="Ford Antenna Light" charset="0"/>
            </a:endParaRPr>
          </a:p>
          <a:p>
            <a:pPr marL="285750" indent="-285750">
              <a:buFont typeface="Wingdings" panose="05000000000000000000" pitchFamily="2" charset="2"/>
              <a:buChar char="l"/>
            </a:pPr>
            <a:r>
              <a:rPr lang="zh-CN" altLang="en-US" dirty="0" smtClean="0">
                <a:latin typeface="Ford Antenna Light" charset="0"/>
                <a:ea typeface="Ford Antenna Light" charset="0"/>
                <a:cs typeface="Ford Antenna Light" charset="0"/>
              </a:rPr>
              <a:t>已修复并合入</a:t>
            </a:r>
            <a:r>
              <a:rPr lang="en-US" altLang="zh-CN" dirty="0" smtClean="0">
                <a:latin typeface="Ford Antenna Light" charset="0"/>
                <a:ea typeface="Ford Antenna Light" charset="0"/>
                <a:cs typeface="Ford Antenna Light" charset="0"/>
              </a:rPr>
              <a:t>R07.1</a:t>
            </a:r>
            <a:r>
              <a:rPr lang="zh-CN" altLang="en-US" dirty="0" smtClean="0">
                <a:latin typeface="Ford Antenna Light" charset="0"/>
                <a:ea typeface="Ford Antenna Light" charset="0"/>
                <a:cs typeface="Ford Antenna Light" charset="0"/>
              </a:rPr>
              <a:t>的有</a:t>
            </a:r>
            <a:r>
              <a:rPr lang="en-US" altLang="zh-CN" dirty="0" smtClean="0">
                <a:latin typeface="Ford Antenna Light" charset="0"/>
                <a:ea typeface="Ford Antenna Light" charset="0"/>
                <a:cs typeface="Ford Antenna Light" charset="0"/>
              </a:rPr>
              <a:t>19</a:t>
            </a:r>
            <a:r>
              <a:rPr lang="zh-CN" altLang="en-US" dirty="0" smtClean="0">
                <a:latin typeface="Ford Antenna Light" charset="0"/>
                <a:ea typeface="Ford Antenna Light" charset="0"/>
                <a:cs typeface="Ford Antenna Light" charset="0"/>
              </a:rPr>
              <a:t>个</a:t>
            </a:r>
            <a:endParaRPr lang="en-US" altLang="zh-CN" dirty="0" smtClean="0">
              <a:latin typeface="Ford Antenna Light" charset="0"/>
              <a:ea typeface="Ford Antenna Light" charset="0"/>
              <a:cs typeface="Ford Antenna Light" charset="0"/>
            </a:endParaRPr>
          </a:p>
          <a:p>
            <a:pPr marL="285750" indent="-285750">
              <a:buFont typeface="Wingdings" panose="05000000000000000000" pitchFamily="2" charset="2"/>
              <a:buChar char="l"/>
            </a:pPr>
            <a:r>
              <a:rPr lang="zh-CN" altLang="en-US" dirty="0" smtClean="0">
                <a:latin typeface="Ford Antenna Light" charset="0"/>
                <a:ea typeface="Ford Antenna Light" charset="0"/>
                <a:cs typeface="Ford Antenna Light" charset="0"/>
              </a:rPr>
              <a:t>正在分析中的有</a:t>
            </a:r>
            <a:r>
              <a:rPr lang="en-US" altLang="zh-CN" dirty="0">
                <a:latin typeface="Ford Antenna Light" charset="0"/>
                <a:ea typeface="Ford Antenna Light" charset="0"/>
                <a:cs typeface="Ford Antenna Light" charset="0"/>
              </a:rPr>
              <a:t>2</a:t>
            </a:r>
            <a:r>
              <a:rPr lang="zh-CN" altLang="en-US" dirty="0" smtClean="0">
                <a:latin typeface="Ford Antenna Light" charset="0"/>
                <a:ea typeface="Ford Antenna Light" charset="0"/>
                <a:cs typeface="Ford Antenna Light" charset="0"/>
              </a:rPr>
              <a:t>个</a:t>
            </a:r>
            <a:endParaRPr lang="en-US" altLang="zh-CN" dirty="0" smtClean="0">
              <a:latin typeface="Ford Antenna Light" charset="0"/>
              <a:ea typeface="Ford Antenna Light" charset="0"/>
              <a:cs typeface="Ford Antenna Light" charset="0"/>
            </a:endParaRPr>
          </a:p>
          <a:p>
            <a:pPr marL="285750" indent="-285750">
              <a:buFont typeface="Wingdings" panose="05000000000000000000" pitchFamily="2" charset="2"/>
              <a:buChar char="l"/>
            </a:pPr>
            <a:r>
              <a:rPr lang="zh-CN" altLang="en-US" dirty="0" smtClean="0">
                <a:latin typeface="Ford Antenna Light" charset="0"/>
                <a:ea typeface="Ford Antenna Light" charset="0"/>
                <a:cs typeface="Ford Antenna Light" charset="0"/>
              </a:rPr>
              <a:t>此</a:t>
            </a:r>
            <a:r>
              <a:rPr lang="en-US" altLang="zh-CN" dirty="0" smtClean="0">
                <a:latin typeface="Ford Antenna Light" charset="0"/>
                <a:ea typeface="Ford Antenna Light" charset="0"/>
                <a:cs typeface="Ford Antenna Light" charset="0"/>
              </a:rPr>
              <a:t>19</a:t>
            </a:r>
            <a:r>
              <a:rPr lang="zh-CN" altLang="en-US" dirty="0" smtClean="0">
                <a:latin typeface="Ford Antenna Light" charset="0"/>
                <a:ea typeface="Ford Antenna Light" charset="0"/>
                <a:cs typeface="Ford Antenna Light" charset="0"/>
              </a:rPr>
              <a:t>个问题一直存在，皆为测试</a:t>
            </a:r>
            <a:r>
              <a:rPr lang="en-US" altLang="zh-CN" dirty="0" smtClean="0">
                <a:latin typeface="Ford Antenna Light" charset="0"/>
                <a:ea typeface="Ford Antenna Light" charset="0"/>
                <a:cs typeface="Ford Antenna Light" charset="0"/>
              </a:rPr>
              <a:t>Case</a:t>
            </a:r>
            <a:r>
              <a:rPr lang="zh-CN" altLang="en-US" dirty="0" smtClean="0">
                <a:latin typeface="Ford Antenna Light" charset="0"/>
                <a:ea typeface="Ford Antenna Light" charset="0"/>
                <a:cs typeface="Ford Antenna Light" charset="0"/>
              </a:rPr>
              <a:t>未覆盖遗漏</a:t>
            </a:r>
          </a:p>
        </p:txBody>
      </p:sp>
      <p:graphicFrame>
        <p:nvGraphicFramePr>
          <p:cNvPr id="5" name="图表 4"/>
          <p:cNvGraphicFramePr>
            <a:graphicFrameLocks/>
          </p:cNvGraphicFramePr>
          <p:nvPr>
            <p:extLst>
              <p:ext uri="{D42A27DB-BD31-4B8C-83A1-F6EECF244321}">
                <p14:modId xmlns:p14="http://schemas.microsoft.com/office/powerpoint/2010/main" val="2754017932"/>
              </p:ext>
            </p:extLst>
          </p:nvPr>
        </p:nvGraphicFramePr>
        <p:xfrm>
          <a:off x="445363" y="663605"/>
          <a:ext cx="7482396" cy="462748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575560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5940" y="48125"/>
            <a:ext cx="10835640" cy="502920"/>
          </a:xfrm>
        </p:spPr>
        <p:txBody>
          <a:bodyPr anchor="t">
            <a:noAutofit/>
          </a:bodyPr>
          <a:lstStyle/>
          <a:p>
            <a:r>
              <a:rPr lang="en-US" altLang="zh-CN" sz="2400" dirty="0" smtClean="0"/>
              <a:t>R07</a:t>
            </a:r>
            <a:r>
              <a:rPr lang="zh-CN" altLang="en-US" sz="2400" dirty="0" smtClean="0"/>
              <a:t>检出未关闭问题分析</a:t>
            </a:r>
            <a:endParaRPr lang="en-US" sz="2400" dirty="0"/>
          </a:p>
        </p:txBody>
      </p:sp>
      <p:graphicFrame>
        <p:nvGraphicFramePr>
          <p:cNvPr id="8" name="表格 7"/>
          <p:cNvGraphicFramePr>
            <a:graphicFrameLocks noGrp="1"/>
          </p:cNvGraphicFramePr>
          <p:nvPr/>
        </p:nvGraphicFramePr>
        <p:xfrm>
          <a:off x="1" y="551045"/>
          <a:ext cx="11830928" cy="4841089"/>
        </p:xfrm>
        <a:graphic>
          <a:graphicData uri="http://schemas.openxmlformats.org/drawingml/2006/table">
            <a:tbl>
              <a:tblPr firstRow="1" firstCol="1" bandRow="1">
                <a:tableStyleId>{21E4AEA4-8DFA-4A89-87EB-49C32662AFE0}</a:tableStyleId>
              </a:tblPr>
              <a:tblGrid>
                <a:gridCol w="903686">
                  <a:extLst>
                    <a:ext uri="{9D8B030D-6E8A-4147-A177-3AD203B41FA5}">
                      <a16:colId xmlns:a16="http://schemas.microsoft.com/office/drawing/2014/main" val="20000"/>
                    </a:ext>
                  </a:extLst>
                </a:gridCol>
                <a:gridCol w="970406">
                  <a:extLst>
                    <a:ext uri="{9D8B030D-6E8A-4147-A177-3AD203B41FA5}">
                      <a16:colId xmlns:a16="http://schemas.microsoft.com/office/drawing/2014/main" val="20001"/>
                    </a:ext>
                  </a:extLst>
                </a:gridCol>
                <a:gridCol w="1234867">
                  <a:extLst>
                    <a:ext uri="{9D8B030D-6E8A-4147-A177-3AD203B41FA5}">
                      <a16:colId xmlns:a16="http://schemas.microsoft.com/office/drawing/2014/main" val="20002"/>
                    </a:ext>
                  </a:extLst>
                </a:gridCol>
                <a:gridCol w="2803568">
                  <a:extLst>
                    <a:ext uri="{9D8B030D-6E8A-4147-A177-3AD203B41FA5}">
                      <a16:colId xmlns:a16="http://schemas.microsoft.com/office/drawing/2014/main" val="20003"/>
                    </a:ext>
                  </a:extLst>
                </a:gridCol>
                <a:gridCol w="2050742">
                  <a:extLst>
                    <a:ext uri="{9D8B030D-6E8A-4147-A177-3AD203B41FA5}">
                      <a16:colId xmlns:a16="http://schemas.microsoft.com/office/drawing/2014/main" val="20004"/>
                    </a:ext>
                  </a:extLst>
                </a:gridCol>
                <a:gridCol w="2529460">
                  <a:extLst>
                    <a:ext uri="{9D8B030D-6E8A-4147-A177-3AD203B41FA5}">
                      <a16:colId xmlns:a16="http://schemas.microsoft.com/office/drawing/2014/main" val="20005"/>
                    </a:ext>
                  </a:extLst>
                </a:gridCol>
                <a:gridCol w="1338199">
                  <a:extLst>
                    <a:ext uri="{9D8B030D-6E8A-4147-A177-3AD203B41FA5}">
                      <a16:colId xmlns:a16="http://schemas.microsoft.com/office/drawing/2014/main" val="20006"/>
                    </a:ext>
                  </a:extLst>
                </a:gridCol>
              </a:tblGrid>
              <a:tr h="348343">
                <a:tc>
                  <a:txBody>
                    <a:bodyPr/>
                    <a:lstStyle/>
                    <a:p>
                      <a:pPr algn="ctr">
                        <a:spcAft>
                          <a:spcPts val="0"/>
                        </a:spcAft>
                      </a:pPr>
                      <a:r>
                        <a:rPr lang="en-US" sz="1200" dirty="0">
                          <a:effectLst/>
                        </a:rPr>
                        <a:t>NO.</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en-US" sz="1200" dirty="0">
                          <a:effectLst/>
                        </a:rPr>
                        <a:t>Component</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en-US" altLang="zh-CN" sz="1200" dirty="0" smtClean="0">
                          <a:effectLst/>
                          <a:latin typeface="宋体" pitchFamily="2" charset="-122"/>
                          <a:ea typeface="宋体" pitchFamily="2" charset="-122"/>
                          <a:cs typeface="宋体" pitchFamily="2" charset="-122"/>
                        </a:rPr>
                        <a:t>Jira</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失效模式</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恢复手段</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对客户的影响</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en-US" altLang="zh-CN" sz="1200" dirty="0" smtClean="0">
                          <a:effectLst/>
                          <a:latin typeface="+mn-lt"/>
                          <a:ea typeface="+mn-ea"/>
                          <a:cs typeface="+mn-cs"/>
                        </a:rPr>
                        <a:t>Next Action</a:t>
                      </a:r>
                      <a:endParaRPr lang="zh-CN" sz="1200" dirty="0">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0"/>
                  </a:ext>
                </a:extLst>
              </a:tr>
              <a:tr h="748791">
                <a:tc>
                  <a:txBody>
                    <a:bodyPr/>
                    <a:lstStyle/>
                    <a:p>
                      <a:pPr algn="ctr">
                        <a:spcAft>
                          <a:spcPts val="0"/>
                        </a:spcAft>
                      </a:pPr>
                      <a:r>
                        <a:rPr lang="en-US" altLang="zh-CN" sz="1200" dirty="0" smtClean="0">
                          <a:effectLst/>
                          <a:latin typeface="宋体" pitchFamily="2" charset="-122"/>
                          <a:ea typeface="宋体" pitchFamily="2" charset="-122"/>
                          <a:cs typeface="宋体" pitchFamily="2" charset="-122"/>
                        </a:rPr>
                        <a:t>1</a:t>
                      </a:r>
                      <a:endParaRPr lang="zh-CN" sz="1200" dirty="0">
                        <a:effectLst/>
                        <a:latin typeface="宋体" pitchFamily="2" charset="-122"/>
                        <a:ea typeface="宋体" pitchFamily="2" charset="-122"/>
                        <a:cs typeface="宋体" pitchFamily="2" charset="-122"/>
                      </a:endParaRPr>
                    </a:p>
                  </a:txBody>
                  <a:tcPr marL="51229" marR="51229" marT="0" marB="0" anchor="ctr"/>
                </a:tc>
                <a:tc rowSpan="6">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Vehicle Setting</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APIMCIM-17030</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sz="1100" b="0" u="none">
                          <a:latin typeface="宋体" charset="0"/>
                          <a:ea typeface="宋体" charset="0"/>
                          <a:cs typeface="宋体" charset="0"/>
                        </a:rPr>
                        <a:t>电动后备箱的"感应开启"热区异常</a:t>
                      </a:r>
                      <a:endParaRPr lang="zh-CN" sz="1100" b="0" dirty="0">
                        <a:effectLst/>
                        <a:latin typeface="宋体" charset="0"/>
                        <a:ea typeface="宋体" charset="0"/>
                        <a:cs typeface="宋体" charset="0"/>
                      </a:endParaRPr>
                    </a:p>
                  </a:txBody>
                  <a:tcPr marL="51229" marR="51229" marT="0" marB="0" anchor="ctr"/>
                </a:tc>
                <a:tc>
                  <a:txBody>
                    <a:bodyPr/>
                    <a:lstStyle/>
                    <a:p>
                      <a:pPr algn="ctr">
                        <a:spcAft>
                          <a:spcPts val="0"/>
                        </a:spcAft>
                      </a:pPr>
                      <a:r>
                        <a:rPr lang="en-US" altLang="zh-CN" sz="1100" dirty="0">
                          <a:effectLst/>
                          <a:latin typeface="宋体" pitchFamily="2" charset="-122"/>
                          <a:ea typeface="宋体" pitchFamily="2" charset="-122"/>
                          <a:cs typeface="宋体" pitchFamily="2" charset="-122"/>
                          <a:sym typeface="+mn-ea"/>
                        </a:rPr>
                        <a:t>NA</a:t>
                      </a:r>
                      <a:endParaRPr lang="zh-CN" sz="11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en-US" altLang="zh-CN" sz="1100" dirty="0" smtClean="0">
                          <a:effectLst/>
                          <a:latin typeface="宋体" pitchFamily="2" charset="-122"/>
                          <a:ea typeface="宋体" pitchFamily="2" charset="-122"/>
                          <a:cs typeface="宋体" pitchFamily="2" charset="-122"/>
                          <a:sym typeface="+mn-ea"/>
                        </a:rPr>
                        <a:t>UI</a:t>
                      </a:r>
                      <a:r>
                        <a:rPr lang="zh-CN" altLang="en-US" sz="1100" dirty="0" smtClean="0">
                          <a:effectLst/>
                          <a:latin typeface="宋体" pitchFamily="2" charset="-122"/>
                          <a:ea typeface="宋体" pitchFamily="2" charset="-122"/>
                          <a:cs typeface="宋体" pitchFamily="2" charset="-122"/>
                          <a:sym typeface="+mn-ea"/>
                        </a:rPr>
                        <a:t>界面显示问题，不影响功能，对客户影响较小</a:t>
                      </a:r>
                      <a:endParaRPr lang="zh-CN" altLang="zh-CN" sz="11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dirty="0">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1"/>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2</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vMerge="1">
                  <a:txBody>
                    <a:bodyPr/>
                    <a:lstStyle/>
                    <a:p>
                      <a:endParaRPr lang="zh-CN"/>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6889</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sz="1100" b="0" u="none">
                          <a:latin typeface="宋体" charset="0"/>
                          <a:ea typeface="宋体" charset="0"/>
                          <a:cs typeface="宋体" charset="0"/>
                        </a:rPr>
                        <a:t>电动后视镜设置中的自动折叠开关无法关闭</a:t>
                      </a:r>
                      <a:endParaRPr lang="zh-CN" altLang="en-US" sz="1100" b="0" kern="1200" dirty="0">
                        <a:solidFill>
                          <a:schemeClr val="dk1"/>
                        </a:solidFill>
                        <a:effectLst/>
                        <a:latin typeface="宋体" charset="0"/>
                        <a:ea typeface="宋体" charset="0"/>
                        <a:cs typeface="宋体" charset="0"/>
                      </a:endParaRPr>
                    </a:p>
                  </a:txBody>
                  <a:tcPr marL="51229" marR="51229" marT="0" marB="0" anchor="ctr"/>
                </a:tc>
                <a:tc>
                  <a:txBody>
                    <a:bodyPr/>
                    <a:lstStyle/>
                    <a:p>
                      <a:pPr marL="0" algn="ctr" defTabSz="914400" rtl="0" eaLnBrk="1" latinLnBrk="0" hangingPunct="1">
                        <a:spcAft>
                          <a:spcPts val="0"/>
                        </a:spcAft>
                      </a:pPr>
                      <a:r>
                        <a:rPr lang="en-US" altLang="zh-CN" sz="1100" dirty="0">
                          <a:effectLst/>
                          <a:latin typeface="宋体" pitchFamily="2" charset="-122"/>
                          <a:ea typeface="宋体" pitchFamily="2" charset="-122"/>
                          <a:cs typeface="宋体" pitchFamily="2" charset="-122"/>
                          <a:sym typeface="+mn-ea"/>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功能不可用</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初步分析属于对手件问题</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2"/>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3</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vMerge="1">
                  <a:txBody>
                    <a:bodyPr/>
                    <a:lstStyle/>
                    <a:p>
                      <a:endParaRPr lang="zh-CN"/>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6822</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sz="1100" b="0" u="none">
                          <a:latin typeface="宋体" charset="0"/>
                          <a:ea typeface="宋体" charset="0"/>
                          <a:cs typeface="宋体" charset="0"/>
                        </a:rPr>
                        <a:t>调起氛围灯模式弹窗，语音输入：“关闭氛围灯”。氛围灯开关关闭，但是氛围灯模式的弹窗未消失</a:t>
                      </a:r>
                      <a:endParaRPr lang="zh-CN" altLang="en-US" sz="1100" b="0" kern="1200" dirty="0">
                        <a:solidFill>
                          <a:schemeClr val="dk1"/>
                        </a:solidFill>
                        <a:effectLst/>
                        <a:latin typeface="宋体" charset="0"/>
                        <a:ea typeface="宋体" charset="0"/>
                        <a:cs typeface="宋体" charset="0"/>
                      </a:endParaRPr>
                    </a:p>
                  </a:txBody>
                  <a:tcPr marL="51229" marR="51229" marT="0" marB="0" anchor="ctr"/>
                </a:tc>
                <a:tc>
                  <a:txBody>
                    <a:bodyPr/>
                    <a:lstStyle/>
                    <a:p>
                      <a:pPr marL="0" algn="ctr" defTabSz="914400" rtl="0" eaLnBrk="1" latinLnBrk="0" hangingPunct="1">
                        <a:spcAft>
                          <a:spcPts val="0"/>
                        </a:spcAft>
                      </a:pPr>
                      <a:r>
                        <a:rPr lang="en-US" altLang="zh-CN" sz="1100" dirty="0">
                          <a:effectLst/>
                          <a:latin typeface="宋体" pitchFamily="2" charset="-122"/>
                          <a:ea typeface="宋体" pitchFamily="2" charset="-122"/>
                          <a:cs typeface="宋体" pitchFamily="2" charset="-122"/>
                          <a:sym typeface="+mn-ea"/>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smtClean="0">
                          <a:effectLst/>
                          <a:latin typeface="宋体" pitchFamily="2" charset="-122"/>
                          <a:ea typeface="宋体" pitchFamily="2" charset="-122"/>
                          <a:cs typeface="宋体" pitchFamily="2" charset="-122"/>
                          <a:sym typeface="+mn-ea"/>
                        </a:rPr>
                        <a:t>不影响功能，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3"/>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4</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vMerge="1">
                  <a:txBody>
                    <a:bodyPr/>
                    <a:lstStyle/>
                    <a:p>
                      <a:endParaRPr lang="zh-CN"/>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6796</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sz="1100" b="0" u="none">
                          <a:latin typeface="宋体" charset="0"/>
                          <a:ea typeface="宋体" charset="0"/>
                          <a:cs typeface="宋体" charset="0"/>
                        </a:rPr>
                        <a:t>电动后备箱界面，点击感应开启右侧的动画卡片，可以开启/关闭感应开启开关</a:t>
                      </a:r>
                      <a:endParaRPr lang="zh-CN" altLang="en-US" sz="1100" b="0" kern="1200" dirty="0">
                        <a:solidFill>
                          <a:schemeClr val="dk1"/>
                        </a:solidFill>
                        <a:effectLst/>
                        <a:latin typeface="宋体" charset="0"/>
                        <a:ea typeface="宋体" charset="0"/>
                        <a:cs typeface="宋体" charset="0"/>
                      </a:endParaRPr>
                    </a:p>
                  </a:txBody>
                  <a:tcPr marL="51229" marR="51229" marT="0" marB="0" anchor="ctr"/>
                </a:tc>
                <a:tc>
                  <a:txBody>
                    <a:bodyPr/>
                    <a:lstStyle/>
                    <a:p>
                      <a:pPr marL="0" algn="ctr" defTabSz="914400" rtl="0" eaLnBrk="1" latinLnBrk="0" hangingPunct="1">
                        <a:spcAft>
                          <a:spcPts val="0"/>
                        </a:spcAft>
                      </a:pPr>
                      <a:r>
                        <a:rPr lang="en-US" altLang="zh-CN" sz="1100" dirty="0">
                          <a:effectLst/>
                          <a:latin typeface="宋体" pitchFamily="2" charset="-122"/>
                          <a:ea typeface="宋体" pitchFamily="2" charset="-122"/>
                          <a:cs typeface="宋体" pitchFamily="2" charset="-122"/>
                          <a:sym typeface="+mn-ea"/>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en-US" altLang="zh-CN" sz="1100" dirty="0" smtClean="0">
                          <a:effectLst/>
                          <a:latin typeface="宋体" pitchFamily="2" charset="-122"/>
                          <a:ea typeface="宋体" pitchFamily="2" charset="-122"/>
                          <a:cs typeface="宋体" pitchFamily="2" charset="-122"/>
                          <a:sym typeface="+mn-ea"/>
                        </a:rPr>
                        <a:t>UI</a:t>
                      </a:r>
                      <a:r>
                        <a:rPr lang="zh-CN" altLang="en-US" sz="1100" dirty="0" smtClean="0">
                          <a:effectLst/>
                          <a:latin typeface="宋体" pitchFamily="2" charset="-122"/>
                          <a:ea typeface="宋体" pitchFamily="2" charset="-122"/>
                          <a:cs typeface="宋体" pitchFamily="2" charset="-122"/>
                          <a:sym typeface="+mn-ea"/>
                        </a:rPr>
                        <a:t>界面显示问题，不影响功能，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4"/>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5</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vMerge="1">
                  <a:txBody>
                    <a:bodyPr/>
                    <a:lstStyle/>
                    <a:p>
                      <a:endParaRPr lang="zh-CN"/>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6769</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kern="1200" dirty="0">
                          <a:solidFill>
                            <a:schemeClr val="dk1"/>
                          </a:solidFill>
                          <a:effectLst/>
                          <a:latin typeface="宋体" pitchFamily="2" charset="-122"/>
                          <a:ea typeface="宋体" pitchFamily="2" charset="-122"/>
                          <a:cs typeface="宋体" pitchFamily="2" charset="-122"/>
                        </a:rPr>
                        <a:t>进入座椅按摩界面，先闪一下调节界面，再进入</a:t>
                      </a:r>
                    </a:p>
                  </a:txBody>
                  <a:tcPr marL="51229" marR="51229" marT="0" marB="0" anchor="ctr"/>
                </a:tc>
                <a:tc>
                  <a:txBody>
                    <a:bodyPr/>
                    <a:lstStyle/>
                    <a:p>
                      <a:pPr marL="0" algn="ctr" defTabSz="914400" rtl="0" eaLnBrk="1" latinLnBrk="0" hangingPunct="1">
                        <a:spcAft>
                          <a:spcPts val="0"/>
                        </a:spcAft>
                      </a:pPr>
                      <a:r>
                        <a:rPr lang="en-US" altLang="zh-CN" sz="1100" dirty="0">
                          <a:effectLst/>
                          <a:latin typeface="宋体" pitchFamily="2" charset="-122"/>
                          <a:ea typeface="宋体" pitchFamily="2" charset="-122"/>
                          <a:cs typeface="宋体" pitchFamily="2" charset="-122"/>
                          <a:sym typeface="+mn-ea"/>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en-US" altLang="zh-CN" sz="1100" dirty="0" smtClean="0">
                          <a:effectLst/>
                          <a:latin typeface="宋体" pitchFamily="2" charset="-122"/>
                          <a:ea typeface="宋体" pitchFamily="2" charset="-122"/>
                          <a:cs typeface="宋体" pitchFamily="2" charset="-122"/>
                          <a:sym typeface="+mn-ea"/>
                        </a:rPr>
                        <a:t>UI</a:t>
                      </a:r>
                      <a:r>
                        <a:rPr lang="zh-CN" altLang="en-US" sz="1100" dirty="0" smtClean="0">
                          <a:effectLst/>
                          <a:latin typeface="宋体" pitchFamily="2" charset="-122"/>
                          <a:ea typeface="宋体" pitchFamily="2" charset="-122"/>
                          <a:cs typeface="宋体" pitchFamily="2" charset="-122"/>
                          <a:sym typeface="+mn-ea"/>
                        </a:rPr>
                        <a:t>界面显示问题，不影响功能，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5"/>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6</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vMerge="1">
                  <a:txBody>
                    <a:bodyPr/>
                    <a:lstStyle/>
                    <a:p>
                      <a:endParaRPr lang="zh-CN"/>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6576</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sz="1100" b="0" u="none">
                          <a:latin typeface="宋体" charset="0"/>
                          <a:ea typeface="宋体" charset="0"/>
                          <a:cs typeface="宋体" charset="0"/>
                        </a:rPr>
                        <a:t>驾驶辅助，点击容限加减时，无按键音</a:t>
                      </a:r>
                      <a:endParaRPr lang="zh-CN" altLang="en-US" sz="1100" b="0" kern="1200" dirty="0">
                        <a:solidFill>
                          <a:schemeClr val="dk1"/>
                        </a:solidFill>
                        <a:effectLst/>
                        <a:latin typeface="宋体" charset="0"/>
                        <a:ea typeface="宋体" charset="0"/>
                        <a:cs typeface="宋体" charset="0"/>
                      </a:endParaRPr>
                    </a:p>
                  </a:txBody>
                  <a:tcPr marL="51229" marR="51229" marT="0" marB="0" anchor="ctr"/>
                </a:tc>
                <a:tc>
                  <a:txBody>
                    <a:bodyPr/>
                    <a:lstStyle/>
                    <a:p>
                      <a:pPr marL="0" algn="ctr" defTabSz="914400" rtl="0" eaLnBrk="1" latinLnBrk="0" hangingPunct="1">
                        <a:spcAft>
                          <a:spcPts val="0"/>
                        </a:spcAft>
                      </a:pPr>
                      <a:r>
                        <a:rPr lang="en-US" altLang="zh-CN" sz="1100" kern="1200" dirty="0">
                          <a:solidFill>
                            <a:schemeClr val="dk1"/>
                          </a:solidFill>
                          <a:effectLst/>
                          <a:latin typeface="宋体" pitchFamily="2" charset="-122"/>
                          <a:ea typeface="宋体" pitchFamily="2" charset="-122"/>
                          <a:cs typeface="宋体" pitchFamily="2" charset="-122"/>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smtClean="0">
                          <a:effectLst/>
                          <a:latin typeface="宋体" pitchFamily="2" charset="-122"/>
                          <a:ea typeface="宋体" pitchFamily="2" charset="-122"/>
                          <a:cs typeface="宋体" pitchFamily="2" charset="-122"/>
                          <a:sym typeface="+mn-ea"/>
                        </a:rPr>
                        <a:t>不影响功能，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5481214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5940" y="48125"/>
            <a:ext cx="10835640" cy="502920"/>
          </a:xfrm>
        </p:spPr>
        <p:txBody>
          <a:bodyPr anchor="t">
            <a:noAutofit/>
          </a:bodyPr>
          <a:lstStyle/>
          <a:p>
            <a:r>
              <a:rPr lang="en-US" altLang="zh-CN" sz="2400" dirty="0" smtClean="0"/>
              <a:t>R07</a:t>
            </a:r>
            <a:r>
              <a:rPr lang="zh-CN" altLang="en-US" sz="2400" dirty="0" smtClean="0"/>
              <a:t>检出未关闭问题分析</a:t>
            </a:r>
            <a:endParaRPr lang="en-US" sz="2400" dirty="0"/>
          </a:p>
        </p:txBody>
      </p:sp>
      <p:graphicFrame>
        <p:nvGraphicFramePr>
          <p:cNvPr id="8" name="表格 7"/>
          <p:cNvGraphicFramePr>
            <a:graphicFrameLocks noGrp="1"/>
          </p:cNvGraphicFramePr>
          <p:nvPr/>
        </p:nvGraphicFramePr>
        <p:xfrm>
          <a:off x="1" y="551045"/>
          <a:ext cx="11830928" cy="4841089"/>
        </p:xfrm>
        <a:graphic>
          <a:graphicData uri="http://schemas.openxmlformats.org/drawingml/2006/table">
            <a:tbl>
              <a:tblPr firstRow="1" firstCol="1" bandRow="1">
                <a:tableStyleId>{21E4AEA4-8DFA-4A89-87EB-49C32662AFE0}</a:tableStyleId>
              </a:tblPr>
              <a:tblGrid>
                <a:gridCol w="903686">
                  <a:extLst>
                    <a:ext uri="{9D8B030D-6E8A-4147-A177-3AD203B41FA5}">
                      <a16:colId xmlns:a16="http://schemas.microsoft.com/office/drawing/2014/main" val="20000"/>
                    </a:ext>
                  </a:extLst>
                </a:gridCol>
                <a:gridCol w="970406">
                  <a:extLst>
                    <a:ext uri="{9D8B030D-6E8A-4147-A177-3AD203B41FA5}">
                      <a16:colId xmlns:a16="http://schemas.microsoft.com/office/drawing/2014/main" val="20001"/>
                    </a:ext>
                  </a:extLst>
                </a:gridCol>
                <a:gridCol w="1234867">
                  <a:extLst>
                    <a:ext uri="{9D8B030D-6E8A-4147-A177-3AD203B41FA5}">
                      <a16:colId xmlns:a16="http://schemas.microsoft.com/office/drawing/2014/main" val="20002"/>
                    </a:ext>
                  </a:extLst>
                </a:gridCol>
                <a:gridCol w="2803568">
                  <a:extLst>
                    <a:ext uri="{9D8B030D-6E8A-4147-A177-3AD203B41FA5}">
                      <a16:colId xmlns:a16="http://schemas.microsoft.com/office/drawing/2014/main" val="20003"/>
                    </a:ext>
                  </a:extLst>
                </a:gridCol>
                <a:gridCol w="2050742">
                  <a:extLst>
                    <a:ext uri="{9D8B030D-6E8A-4147-A177-3AD203B41FA5}">
                      <a16:colId xmlns:a16="http://schemas.microsoft.com/office/drawing/2014/main" val="20004"/>
                    </a:ext>
                  </a:extLst>
                </a:gridCol>
                <a:gridCol w="2529460">
                  <a:extLst>
                    <a:ext uri="{9D8B030D-6E8A-4147-A177-3AD203B41FA5}">
                      <a16:colId xmlns:a16="http://schemas.microsoft.com/office/drawing/2014/main" val="20005"/>
                    </a:ext>
                  </a:extLst>
                </a:gridCol>
                <a:gridCol w="1338199">
                  <a:extLst>
                    <a:ext uri="{9D8B030D-6E8A-4147-A177-3AD203B41FA5}">
                      <a16:colId xmlns:a16="http://schemas.microsoft.com/office/drawing/2014/main" val="20006"/>
                    </a:ext>
                  </a:extLst>
                </a:gridCol>
              </a:tblGrid>
              <a:tr h="348343">
                <a:tc>
                  <a:txBody>
                    <a:bodyPr/>
                    <a:lstStyle/>
                    <a:p>
                      <a:pPr algn="ctr">
                        <a:spcAft>
                          <a:spcPts val="0"/>
                        </a:spcAft>
                      </a:pPr>
                      <a:r>
                        <a:rPr lang="en-US" sz="1200" dirty="0">
                          <a:effectLst/>
                        </a:rPr>
                        <a:t>NO.</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en-US" sz="1200" dirty="0">
                          <a:effectLst/>
                        </a:rPr>
                        <a:t>Component</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en-US" altLang="zh-CN" sz="1200" dirty="0" smtClean="0">
                          <a:effectLst/>
                          <a:latin typeface="宋体" pitchFamily="2" charset="-122"/>
                          <a:ea typeface="宋体" pitchFamily="2" charset="-122"/>
                          <a:cs typeface="宋体" pitchFamily="2" charset="-122"/>
                        </a:rPr>
                        <a:t>Jira</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失效模式</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恢复手段</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200" dirty="0" smtClean="0">
                          <a:effectLst/>
                          <a:latin typeface="+mn-lt"/>
                          <a:ea typeface="+mn-ea"/>
                          <a:cs typeface="+mn-cs"/>
                        </a:rPr>
                        <a:t>对客户的影响</a:t>
                      </a:r>
                      <a:endParaRPr lang="zh-CN" sz="12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en-US" altLang="zh-CN" sz="1200" dirty="0" smtClean="0">
                          <a:effectLst/>
                          <a:latin typeface="+mn-lt"/>
                          <a:ea typeface="+mn-ea"/>
                          <a:cs typeface="+mn-cs"/>
                        </a:rPr>
                        <a:t>Next Action</a:t>
                      </a:r>
                      <a:endParaRPr lang="zh-CN" sz="1200" dirty="0">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0"/>
                  </a:ext>
                </a:extLst>
              </a:tr>
              <a:tr h="748791">
                <a:tc>
                  <a:txBody>
                    <a:bodyPr/>
                    <a:lstStyle/>
                    <a:p>
                      <a:pPr algn="ctr">
                        <a:spcAft>
                          <a:spcPts val="0"/>
                        </a:spcAft>
                      </a:pPr>
                      <a:r>
                        <a:rPr lang="en-US" altLang="zh-CN" sz="1200" dirty="0" smtClean="0">
                          <a:effectLst/>
                          <a:latin typeface="宋体" pitchFamily="2" charset="-122"/>
                          <a:ea typeface="宋体" pitchFamily="2" charset="-122"/>
                          <a:cs typeface="宋体" pitchFamily="2" charset="-122"/>
                        </a:rPr>
                        <a:t>7</a:t>
                      </a:r>
                      <a:endParaRPr lang="zh-CN" sz="1200" dirty="0">
                        <a:effectLst/>
                        <a:latin typeface="宋体" pitchFamily="2" charset="-122"/>
                        <a:ea typeface="宋体" pitchFamily="2" charset="-122"/>
                        <a:cs typeface="宋体" pitchFamily="2" charset="-122"/>
                      </a:endParaRPr>
                    </a:p>
                  </a:txBody>
                  <a:tcPr marL="51229" marR="51229" marT="0" marB="0"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Vehicle Setting</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APIMCIM-16563</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sz="1100" b="0" u="none">
                          <a:latin typeface="宋体" charset="0"/>
                          <a:ea typeface="宋体" charset="0"/>
                          <a:cs typeface="宋体" charset="0"/>
                        </a:rPr>
                        <a:t>自适应前照灯开关无法打开</a:t>
                      </a:r>
                      <a:endParaRPr lang="zh-CN" sz="1100" b="0" dirty="0">
                        <a:effectLst/>
                        <a:latin typeface="宋体" charset="0"/>
                        <a:ea typeface="宋体" charset="0"/>
                        <a:cs typeface="宋体" charset="0"/>
                      </a:endParaRPr>
                    </a:p>
                  </a:txBody>
                  <a:tcPr marL="51229" marR="51229" marT="0" marB="0" anchor="ctr"/>
                </a:tc>
                <a:tc>
                  <a:txBody>
                    <a:bodyPr/>
                    <a:lstStyle/>
                    <a:p>
                      <a:pPr algn="ctr">
                        <a:spcAft>
                          <a:spcPts val="0"/>
                        </a:spcAft>
                      </a:pPr>
                      <a:r>
                        <a:rPr lang="en-US" altLang="zh-CN" sz="1100" dirty="0">
                          <a:effectLst/>
                          <a:latin typeface="宋体" pitchFamily="2" charset="-122"/>
                          <a:ea typeface="宋体" pitchFamily="2" charset="-122"/>
                          <a:cs typeface="宋体" pitchFamily="2" charset="-122"/>
                        </a:rPr>
                        <a:t>NA</a:t>
                      </a:r>
                      <a:endParaRPr lang="zh-CN" sz="11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100" dirty="0">
                          <a:effectLst/>
                          <a:latin typeface="宋体" pitchFamily="2" charset="-122"/>
                          <a:ea typeface="宋体" pitchFamily="2" charset="-122"/>
                          <a:cs typeface="宋体" pitchFamily="2" charset="-122"/>
                        </a:rPr>
                        <a:t>功能不可用</a:t>
                      </a:r>
                      <a:endParaRPr lang="zh-CN" altLang="zh-CN" sz="1100" dirty="0">
                        <a:effectLst/>
                        <a:latin typeface="宋体" pitchFamily="2" charset="-122"/>
                        <a:ea typeface="宋体" pitchFamily="2" charset="-122"/>
                        <a:cs typeface="宋体" pitchFamily="2" charset="-122"/>
                      </a:endParaRPr>
                    </a:p>
                  </a:txBody>
                  <a:tcPr marL="51229" marR="51229" marT="0" marB="0" anchor="ctr"/>
                </a:tc>
                <a:tc>
                  <a:txBody>
                    <a:bodyPr/>
                    <a:lstStyle/>
                    <a:p>
                      <a:pPr algn="ctr">
                        <a:spcAft>
                          <a:spcPts val="0"/>
                        </a:spcAft>
                      </a:pPr>
                      <a:r>
                        <a:rPr lang="zh-CN" altLang="en-US" sz="1100" dirty="0">
                          <a:effectLst/>
                          <a:latin typeface="宋体" pitchFamily="2" charset="-122"/>
                          <a:ea typeface="宋体" pitchFamily="2" charset="-122"/>
                          <a:cs typeface="宋体" pitchFamily="2" charset="-122"/>
                        </a:rPr>
                        <a:t>初步分析属于对手件问题</a:t>
                      </a:r>
                      <a:endParaRPr lang="zh-CN" sz="1100" dirty="0">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1"/>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8</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vMerge="1">
                  <a:txBody>
                    <a:bodyPr/>
                    <a:lstStyle/>
                    <a:p>
                      <a:endParaRPr lang="zh-CN"/>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5910</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sz="1100" b="0" u="none">
                          <a:latin typeface="宋体" charset="0"/>
                          <a:ea typeface="宋体" charset="0"/>
                          <a:cs typeface="宋体" charset="0"/>
                        </a:rPr>
                        <a:t>主菜单切换时切换完成，上一个选项背景色比其他未切换颜色亮</a:t>
                      </a:r>
                      <a:endParaRPr lang="zh-CN" altLang="en-US" sz="1100" b="0" kern="1200" dirty="0">
                        <a:solidFill>
                          <a:schemeClr val="dk1"/>
                        </a:solidFill>
                        <a:effectLst/>
                        <a:latin typeface="宋体" charset="0"/>
                        <a:ea typeface="宋体" charset="0"/>
                        <a:cs typeface="宋体" charset="0"/>
                      </a:endParaRPr>
                    </a:p>
                  </a:txBody>
                  <a:tcPr marL="51229" marR="51229" marT="0" marB="0" anchor="ctr"/>
                </a:tc>
                <a:tc>
                  <a:txBody>
                    <a:bodyPr/>
                    <a:lstStyle/>
                    <a:p>
                      <a:pPr marL="0" algn="ctr" defTabSz="914400" rtl="0" eaLnBrk="1" latinLnBrk="0" hangingPunct="1">
                        <a:spcAft>
                          <a:spcPts val="0"/>
                        </a:spcAft>
                      </a:pPr>
                      <a:r>
                        <a:rPr lang="en-US" altLang="zh-CN" sz="1100" kern="1200" dirty="0">
                          <a:solidFill>
                            <a:schemeClr val="dk1"/>
                          </a:solidFill>
                          <a:effectLst/>
                          <a:latin typeface="宋体" pitchFamily="2" charset="-122"/>
                          <a:ea typeface="宋体" pitchFamily="2" charset="-122"/>
                          <a:cs typeface="宋体" pitchFamily="2" charset="-122"/>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en-US" altLang="zh-CN" sz="1100" dirty="0" smtClean="0">
                          <a:effectLst/>
                          <a:latin typeface="宋体" pitchFamily="2" charset="-122"/>
                          <a:ea typeface="宋体" pitchFamily="2" charset="-122"/>
                          <a:cs typeface="宋体" pitchFamily="2" charset="-122"/>
                          <a:sym typeface="+mn-ea"/>
                        </a:rPr>
                        <a:t>UI</a:t>
                      </a:r>
                      <a:r>
                        <a:rPr lang="zh-CN" altLang="en-US" sz="1100" dirty="0" smtClean="0">
                          <a:effectLst/>
                          <a:latin typeface="宋体" pitchFamily="2" charset="-122"/>
                          <a:ea typeface="宋体" pitchFamily="2" charset="-122"/>
                          <a:cs typeface="宋体" pitchFamily="2" charset="-122"/>
                          <a:sym typeface="+mn-ea"/>
                        </a:rPr>
                        <a:t>界面显示问题，不影响功能，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2"/>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9</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Digital </a:t>
                      </a:r>
                      <a:r>
                        <a:rPr lang="en-US" altLang="zh-CN" sz="1100" dirty="0" smtClean="0">
                          <a:effectLst/>
                          <a:latin typeface="宋体" charset="0"/>
                          <a:ea typeface="宋体" charset="0"/>
                          <a:cs typeface="宋体" charset="0"/>
                        </a:rPr>
                        <a:t>Scent</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7181</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kern="1200" dirty="0">
                          <a:solidFill>
                            <a:schemeClr val="dk1"/>
                          </a:solidFill>
                          <a:effectLst/>
                          <a:latin typeface="宋体" pitchFamily="2" charset="-122"/>
                          <a:ea typeface="宋体" pitchFamily="2" charset="-122"/>
                          <a:cs typeface="宋体" pitchFamily="2" charset="-122"/>
                        </a:rPr>
                        <a:t>林肯香氛关闭状态，恋海图标闪一下</a:t>
                      </a:r>
                    </a:p>
                  </a:txBody>
                  <a:tcPr marL="51229" marR="51229" marT="0" marB="0" anchor="ctr"/>
                </a:tc>
                <a:tc>
                  <a:txBody>
                    <a:bodyPr/>
                    <a:lstStyle/>
                    <a:p>
                      <a:pPr marL="0" algn="ctr" defTabSz="914400" rtl="0" eaLnBrk="1" latinLnBrk="0" hangingPunct="1">
                        <a:spcAft>
                          <a:spcPts val="0"/>
                        </a:spcAft>
                      </a:pPr>
                      <a:r>
                        <a:rPr lang="en-US" altLang="zh-CN" sz="1100" kern="1200" dirty="0">
                          <a:solidFill>
                            <a:schemeClr val="dk1"/>
                          </a:solidFill>
                          <a:effectLst/>
                          <a:latin typeface="宋体" pitchFamily="2" charset="-122"/>
                          <a:ea typeface="宋体" pitchFamily="2" charset="-122"/>
                          <a:cs typeface="宋体" pitchFamily="2" charset="-122"/>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en-US" altLang="zh-CN" sz="1100" dirty="0" smtClean="0">
                          <a:effectLst/>
                          <a:latin typeface="宋体" pitchFamily="2" charset="-122"/>
                          <a:ea typeface="宋体" pitchFamily="2" charset="-122"/>
                          <a:cs typeface="宋体" pitchFamily="2" charset="-122"/>
                          <a:sym typeface="+mn-ea"/>
                        </a:rPr>
                        <a:t>UI</a:t>
                      </a:r>
                      <a:r>
                        <a:rPr lang="zh-CN" altLang="en-US" sz="1100" dirty="0" smtClean="0">
                          <a:effectLst/>
                          <a:latin typeface="宋体" pitchFamily="2" charset="-122"/>
                          <a:ea typeface="宋体" pitchFamily="2" charset="-122"/>
                          <a:cs typeface="宋体" pitchFamily="2" charset="-122"/>
                          <a:sym typeface="+mn-ea"/>
                        </a:rPr>
                        <a:t>界面显示问题，不影响功能，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3"/>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10</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VCS</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7023</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solidFill>
                            <a:schemeClr val="dk1"/>
                          </a:solidFill>
                          <a:effectLst/>
                          <a:latin typeface="宋体" charset="0"/>
                          <a:ea typeface="宋体" charset="0"/>
                          <a:cs typeface="宋体" charset="0"/>
                        </a:rPr>
                        <a:t>座椅通风档位最高时语音输入调高座椅通风，TTS播报文字内容错误</a:t>
                      </a:r>
                    </a:p>
                  </a:txBody>
                  <a:tcPr marL="51229" marR="51229" marT="0" marB="0" anchor="ctr"/>
                </a:tc>
                <a:tc>
                  <a:txBody>
                    <a:bodyPr/>
                    <a:lstStyle/>
                    <a:p>
                      <a:pPr marL="0" algn="ctr" defTabSz="914400" rtl="0" eaLnBrk="1" latinLnBrk="0" hangingPunct="1">
                        <a:spcAft>
                          <a:spcPts val="0"/>
                        </a:spcAft>
                      </a:pPr>
                      <a:r>
                        <a:rPr lang="en-US" altLang="zh-CN" sz="1100" kern="1200" dirty="0">
                          <a:solidFill>
                            <a:schemeClr val="dk1"/>
                          </a:solidFill>
                          <a:effectLst/>
                          <a:latin typeface="宋体" pitchFamily="2" charset="-122"/>
                          <a:ea typeface="宋体" pitchFamily="2" charset="-122"/>
                          <a:cs typeface="宋体" pitchFamily="2" charset="-122"/>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kern="1200" dirty="0">
                          <a:solidFill>
                            <a:schemeClr val="dk1"/>
                          </a:solidFill>
                          <a:effectLst/>
                          <a:latin typeface="宋体" pitchFamily="2" charset="-122"/>
                          <a:ea typeface="宋体" pitchFamily="2" charset="-122"/>
                          <a:cs typeface="宋体" pitchFamily="2" charset="-122"/>
                        </a:rPr>
                        <a:t>功能正常，仅</a:t>
                      </a:r>
                      <a:r>
                        <a:rPr lang="en-US" altLang="zh-CN" sz="1100" kern="1200" dirty="0">
                          <a:solidFill>
                            <a:schemeClr val="dk1"/>
                          </a:solidFill>
                          <a:effectLst/>
                          <a:latin typeface="宋体" pitchFamily="2" charset="-122"/>
                          <a:ea typeface="宋体" pitchFamily="2" charset="-122"/>
                          <a:cs typeface="宋体" pitchFamily="2" charset="-122"/>
                        </a:rPr>
                        <a:t>TTS</a:t>
                      </a:r>
                      <a:r>
                        <a:rPr lang="zh-CN" altLang="en-US" sz="1100" kern="1200" dirty="0">
                          <a:solidFill>
                            <a:schemeClr val="dk1"/>
                          </a:solidFill>
                          <a:effectLst/>
                          <a:latin typeface="宋体" pitchFamily="2" charset="-122"/>
                          <a:ea typeface="宋体" pitchFamily="2" charset="-122"/>
                          <a:cs typeface="宋体" pitchFamily="2" charset="-122"/>
                        </a:rPr>
                        <a:t>播报内容错误，</a:t>
                      </a:r>
                      <a:r>
                        <a:rPr lang="zh-CN" altLang="en-US" sz="1100" dirty="0" smtClean="0">
                          <a:effectLst/>
                          <a:latin typeface="宋体" pitchFamily="2" charset="-122"/>
                          <a:ea typeface="宋体" pitchFamily="2" charset="-122"/>
                          <a:cs typeface="宋体" pitchFamily="2" charset="-122"/>
                          <a:sym typeface="+mn-ea"/>
                        </a:rPr>
                        <a:t>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4"/>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11</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dirty="0" smtClean="0">
                          <a:effectLst/>
                          <a:latin typeface="宋体" pitchFamily="2" charset="-122"/>
                          <a:ea typeface="宋体" pitchFamily="2" charset="-122"/>
                          <a:cs typeface="宋体" pitchFamily="2" charset="-122"/>
                        </a:rPr>
                        <a:t>System Setting</a:t>
                      </a:r>
                      <a:endParaRPr lang="zh-CN" altLang="zh-CN" sz="1100" dirty="0" smtClean="0">
                        <a:effectLst/>
                        <a:latin typeface="宋体" pitchFamily="2" charset="-122"/>
                        <a:ea typeface="宋体" pitchFamily="2" charset="-122"/>
                        <a:cs typeface="宋体" pitchFamily="2" charset="-122"/>
                      </a:endParaRPr>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6803</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sz="1100" b="0" u="none">
                          <a:latin typeface="宋体" charset="0"/>
                          <a:ea typeface="宋体" charset="0"/>
                          <a:cs typeface="宋体" charset="0"/>
                        </a:rPr>
                        <a:t>更改主题后，驾驶模式界面的滑动条未跟随主题颜色改变</a:t>
                      </a:r>
                      <a:endParaRPr lang="zh-CN" altLang="en-US" sz="1100" b="0" kern="1200" dirty="0">
                        <a:solidFill>
                          <a:schemeClr val="dk1"/>
                        </a:solidFill>
                        <a:effectLst/>
                        <a:latin typeface="宋体" charset="0"/>
                        <a:ea typeface="宋体" charset="0"/>
                        <a:cs typeface="宋体" charset="0"/>
                      </a:endParaRPr>
                    </a:p>
                  </a:txBody>
                  <a:tcPr marL="51229" marR="51229" marT="0" marB="0" anchor="ctr"/>
                </a:tc>
                <a:tc>
                  <a:txBody>
                    <a:bodyPr/>
                    <a:lstStyle/>
                    <a:p>
                      <a:pPr marL="0" algn="ctr" defTabSz="914400" rtl="0" eaLnBrk="1" latinLnBrk="0" hangingPunct="1">
                        <a:spcAft>
                          <a:spcPts val="0"/>
                        </a:spcAft>
                      </a:pPr>
                      <a:r>
                        <a:rPr lang="en-US" altLang="zh-CN" sz="1100" kern="1200" dirty="0">
                          <a:solidFill>
                            <a:schemeClr val="dk1"/>
                          </a:solidFill>
                          <a:effectLst/>
                          <a:latin typeface="宋体" pitchFamily="2" charset="-122"/>
                          <a:ea typeface="宋体" pitchFamily="2" charset="-122"/>
                          <a:cs typeface="宋体" pitchFamily="2" charset="-122"/>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en-US" altLang="zh-CN" sz="1100" dirty="0" smtClean="0">
                          <a:effectLst/>
                          <a:latin typeface="宋体" pitchFamily="2" charset="-122"/>
                          <a:ea typeface="宋体" pitchFamily="2" charset="-122"/>
                          <a:cs typeface="宋体" pitchFamily="2" charset="-122"/>
                          <a:sym typeface="+mn-ea"/>
                        </a:rPr>
                        <a:t>UI</a:t>
                      </a:r>
                      <a:r>
                        <a:rPr lang="zh-CN" altLang="en-US" sz="1100" dirty="0" smtClean="0">
                          <a:effectLst/>
                          <a:latin typeface="宋体" pitchFamily="2" charset="-122"/>
                          <a:ea typeface="宋体" pitchFamily="2" charset="-122"/>
                          <a:cs typeface="宋体" pitchFamily="2" charset="-122"/>
                          <a:sym typeface="+mn-ea"/>
                        </a:rPr>
                        <a:t>界面显示问题，不影响功能，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5"/>
                  </a:ext>
                </a:extLst>
              </a:tr>
              <a:tr h="748791">
                <a:tc>
                  <a:txBody>
                    <a:bodyPr/>
                    <a:lstStyle/>
                    <a:p>
                      <a:pPr marL="0" algn="ctr" defTabSz="914400" rtl="0" eaLnBrk="1" latinLnBrk="0" hangingPunct="1">
                        <a:spcAft>
                          <a:spcPts val="0"/>
                        </a:spcAft>
                      </a:pPr>
                      <a:r>
                        <a:rPr lang="en-US" altLang="zh-CN" sz="1200" b="1" kern="1200" dirty="0" smtClean="0">
                          <a:solidFill>
                            <a:schemeClr val="lt1"/>
                          </a:solidFill>
                          <a:effectLst/>
                          <a:latin typeface="宋体" pitchFamily="2" charset="-122"/>
                          <a:ea typeface="宋体" pitchFamily="2" charset="-122"/>
                          <a:cs typeface="宋体" pitchFamily="2" charset="-122"/>
                        </a:rPr>
                        <a:t>12</a:t>
                      </a:r>
                      <a:endParaRPr lang="zh-CN" sz="1200" b="1" kern="1200" dirty="0">
                        <a:solidFill>
                          <a:schemeClr val="lt1"/>
                        </a:solidFill>
                        <a:effectLst/>
                        <a:latin typeface="宋体" pitchFamily="2" charset="-122"/>
                        <a:ea typeface="宋体" pitchFamily="2" charset="-122"/>
                        <a:cs typeface="宋体" pitchFamily="2" charset="-122"/>
                      </a:endParaRPr>
                    </a:p>
                  </a:txBody>
                  <a:tcPr marL="51229" marR="51229" marT="0" marB="0" anchor="ctr"/>
                </a:tc>
                <a:tc vMerge="1">
                  <a:txBody>
                    <a:bodyPr/>
                    <a:lstStyle/>
                    <a:p>
                      <a:endParaRPr lang="zh-CN"/>
                    </a:p>
                  </a:txBody>
                  <a:tcPr marL="51229" marR="51229"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kern="1200" dirty="0" smtClean="0">
                          <a:solidFill>
                            <a:schemeClr val="dk1"/>
                          </a:solidFill>
                          <a:effectLst/>
                          <a:latin typeface="宋体" pitchFamily="2" charset="-122"/>
                          <a:ea typeface="宋体" pitchFamily="2" charset="-122"/>
                          <a:cs typeface="宋体" pitchFamily="2" charset="-122"/>
                        </a:rPr>
                        <a:t>APIMCIM-16132</a:t>
                      </a:r>
                      <a:endParaRPr lang="zh-CN" altLang="zh-CN" sz="1100" kern="1200" dirty="0" smtClean="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kern="1200" dirty="0">
                          <a:solidFill>
                            <a:schemeClr val="dk1"/>
                          </a:solidFill>
                          <a:effectLst/>
                          <a:latin typeface="宋体" pitchFamily="2" charset="-122"/>
                          <a:ea typeface="宋体" pitchFamily="2" charset="-122"/>
                          <a:cs typeface="宋体" pitchFamily="2" charset="-122"/>
                        </a:rPr>
                        <a:t>IVI，快捷控制界面，右侧功能区，点击没有按键区域有反馈音</a:t>
                      </a:r>
                    </a:p>
                  </a:txBody>
                  <a:tcPr marL="51229" marR="51229" marT="0" marB="0" anchor="ctr"/>
                </a:tc>
                <a:tc>
                  <a:txBody>
                    <a:bodyPr/>
                    <a:lstStyle/>
                    <a:p>
                      <a:pPr marL="0" algn="ctr" defTabSz="914400" rtl="0" eaLnBrk="1" latinLnBrk="0" hangingPunct="1">
                        <a:spcAft>
                          <a:spcPts val="0"/>
                        </a:spcAft>
                      </a:pPr>
                      <a:r>
                        <a:rPr lang="en-US" altLang="zh-CN" sz="1100" dirty="0">
                          <a:effectLst/>
                          <a:latin typeface="宋体" pitchFamily="2" charset="-122"/>
                          <a:ea typeface="宋体" pitchFamily="2" charset="-122"/>
                          <a:cs typeface="宋体" pitchFamily="2" charset="-122"/>
                          <a:sym typeface="+mn-ea"/>
                        </a:rPr>
                        <a:t>NA</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smtClean="0">
                          <a:effectLst/>
                          <a:latin typeface="宋体" pitchFamily="2" charset="-122"/>
                          <a:ea typeface="宋体" pitchFamily="2" charset="-122"/>
                          <a:cs typeface="宋体" pitchFamily="2" charset="-122"/>
                          <a:sym typeface="+mn-ea"/>
                        </a:rPr>
                        <a:t>界面布局范围设置问题，不影响功能，对客户影响较小</a:t>
                      </a:r>
                      <a:endParaRPr lang="zh-CN" altLang="en-US"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tc>
                  <a:txBody>
                    <a:bodyPr/>
                    <a:lstStyle/>
                    <a:p>
                      <a:pPr marL="0" algn="ctr" defTabSz="914400" rtl="0" eaLnBrk="1" latinLnBrk="0" hangingPunct="1">
                        <a:spcAft>
                          <a:spcPts val="0"/>
                        </a:spcAft>
                      </a:pPr>
                      <a:r>
                        <a:rPr lang="zh-CN" altLang="en-US" sz="1100" dirty="0">
                          <a:effectLst/>
                          <a:latin typeface="宋体" pitchFamily="2" charset="-122"/>
                          <a:ea typeface="宋体" pitchFamily="2" charset="-122"/>
                          <a:cs typeface="宋体" pitchFamily="2" charset="-122"/>
                          <a:sym typeface="+mn-ea"/>
                        </a:rPr>
                        <a:t>合入</a:t>
                      </a:r>
                      <a:r>
                        <a:rPr lang="en-US" altLang="zh-CN" sz="1100" dirty="0">
                          <a:effectLst/>
                          <a:latin typeface="宋体" pitchFamily="2" charset="-122"/>
                          <a:ea typeface="宋体" pitchFamily="2" charset="-122"/>
                          <a:cs typeface="宋体" pitchFamily="2" charset="-122"/>
                          <a:sym typeface="+mn-ea"/>
                        </a:rPr>
                        <a:t>R07.1</a:t>
                      </a:r>
                      <a:endParaRPr lang="zh-CN" sz="1100" kern="1200" dirty="0">
                        <a:solidFill>
                          <a:schemeClr val="dk1"/>
                        </a:solidFill>
                        <a:effectLst/>
                        <a:latin typeface="宋体" pitchFamily="2" charset="-122"/>
                        <a:ea typeface="宋体" pitchFamily="2" charset="-122"/>
                        <a:cs typeface="宋体" pitchFamily="2" charset="-122"/>
                      </a:endParaRPr>
                    </a:p>
                  </a:txBody>
                  <a:tcPr marL="51229" marR="51229" marT="0"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2592795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0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6.12579511000000032084E+00&quot;&gt;&lt;m_msothmcolidx val=&quot;0&quot;/&gt;&lt;m_rgb r=&quot;FF&quot; g=&quot;00&quot; b=&quot;0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2021 Corp Template">
  <a:themeElements>
    <a:clrScheme name="Ford Brand Design System">
      <a:dk1>
        <a:srgbClr val="000000"/>
      </a:dk1>
      <a:lt1>
        <a:srgbClr val="FFFFFF"/>
      </a:lt1>
      <a:dk2>
        <a:srgbClr val="000000"/>
      </a:dk2>
      <a:lt2>
        <a:srgbClr val="F3F3F3"/>
      </a:lt2>
      <a:accent1>
        <a:srgbClr val="00095B"/>
      </a:accent1>
      <a:accent2>
        <a:srgbClr val="1700F4"/>
      </a:accent2>
      <a:accent3>
        <a:srgbClr val="00142E"/>
      </a:accent3>
      <a:accent4>
        <a:srgbClr val="B9BCBD"/>
      </a:accent4>
      <a:accent5>
        <a:srgbClr val="D62C14"/>
      </a:accent5>
      <a:accent6>
        <a:srgbClr val="008200"/>
      </a:accent6>
      <a:hlink>
        <a:srgbClr val="0000FF"/>
      </a:hlink>
      <a:folHlink>
        <a:srgbClr val="800080"/>
      </a:folHlink>
    </a:clrScheme>
    <a:fontScheme name="2021 Corporate Template">
      <a:majorFont>
        <a:latin typeface="Arial Nova"/>
        <a:ea typeface=""/>
        <a:cs typeface=""/>
      </a:majorFont>
      <a:minorFont>
        <a:latin typeface="Arial 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tailEnd type="arrow" w="med" len="sm"/>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200" dirty="0" smtClean="0">
            <a:latin typeface="Ford Antenna Light" charset="0"/>
            <a:ea typeface="Ford Antenna Light" charset="0"/>
            <a:cs typeface="Ford Antenna Light"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New Ford template">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ew Ford template" id="{DE03069C-7C1C-4639-BB0C-E93EF49322ED}" vid="{7315E0BF-4D34-47B5-8E5B-017D7658A04E}"/>
    </a:ext>
  </a:extLst>
</a:theme>
</file>

<file path=ppt/theme/theme4.xml><?xml version="1.0" encoding="utf-8"?>
<a:theme xmlns:a="http://schemas.openxmlformats.org/drawingml/2006/main" name="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245</TotalTime>
  <Words>1692</Words>
  <Application>Microsoft Office PowerPoint</Application>
  <PresentationFormat>宽屏</PresentationFormat>
  <Paragraphs>387</Paragraphs>
  <Slides>12</Slides>
  <Notes>1</Notes>
  <HiddenSlides>0</HiddenSlides>
  <MMClips>0</MMClips>
  <ScaleCrop>false</ScaleCrop>
  <HeadingPairs>
    <vt:vector size="8" baseType="variant">
      <vt:variant>
        <vt:lpstr>已用的字体</vt:lpstr>
      </vt:variant>
      <vt:variant>
        <vt:i4>21</vt:i4>
      </vt:variant>
      <vt:variant>
        <vt:lpstr>主题</vt:lpstr>
      </vt:variant>
      <vt:variant>
        <vt:i4>4</vt:i4>
      </vt:variant>
      <vt:variant>
        <vt:lpstr>嵌入 OLE 服务器</vt:lpstr>
      </vt:variant>
      <vt:variant>
        <vt:i4>1</vt:i4>
      </vt:variant>
      <vt:variant>
        <vt:lpstr>幻灯片标题</vt:lpstr>
      </vt:variant>
      <vt:variant>
        <vt:i4>12</vt:i4>
      </vt:variant>
    </vt:vector>
  </HeadingPairs>
  <TitlesOfParts>
    <vt:vector size="38" baseType="lpstr">
      <vt:lpstr>-apple-system</vt:lpstr>
      <vt:lpstr>Arial Nova</vt:lpstr>
      <vt:lpstr>Arial Nova Light</vt:lpstr>
      <vt:lpstr>Ford Antenna Cond</vt:lpstr>
      <vt:lpstr>Ford Antenna Cond Regular</vt:lpstr>
      <vt:lpstr>Ford Antenna Light</vt:lpstr>
      <vt:lpstr>Ford Antenna Medium</vt:lpstr>
      <vt:lpstr>Ford Antenna Regular</vt:lpstr>
      <vt:lpstr>ＭＳ Ｐゴシック</vt:lpstr>
      <vt:lpstr>ＭＳ Ｐゴシック</vt:lpstr>
      <vt:lpstr>System Font Regular</vt:lpstr>
      <vt:lpstr>等线</vt:lpstr>
      <vt:lpstr>等线 Light</vt:lpstr>
      <vt:lpstr>黑体</vt:lpstr>
      <vt:lpstr>宋体</vt:lpstr>
      <vt:lpstr>微软雅黑</vt:lpstr>
      <vt:lpstr>Arial</vt:lpstr>
      <vt:lpstr>Calibri</vt:lpstr>
      <vt:lpstr>Courier New</vt:lpstr>
      <vt:lpstr>Tahoma</vt:lpstr>
      <vt:lpstr>Wingdings</vt:lpstr>
      <vt:lpstr>Office Theme</vt:lpstr>
      <vt:lpstr>2_2021 Corp Template</vt:lpstr>
      <vt:lpstr>New Ford template</vt:lpstr>
      <vt:lpstr>Corp Presentations 2018</vt:lpstr>
      <vt:lpstr>think-cell Slide</vt:lpstr>
      <vt:lpstr>PowerPoint 演示文稿</vt:lpstr>
      <vt:lpstr>PowerPoint 演示文稿</vt:lpstr>
      <vt:lpstr>R07 版本 Performance 现状</vt:lpstr>
      <vt:lpstr>R07版本Gating问题</vt:lpstr>
      <vt:lpstr>R07检出未关闭问题分析</vt:lpstr>
      <vt:lpstr>R07检出未关闭问题分析</vt:lpstr>
      <vt:lpstr>R07版本H级别问题</vt:lpstr>
      <vt:lpstr>R07检出未关闭问题分析</vt:lpstr>
      <vt:lpstr>R07检出未关闭问题分析</vt:lpstr>
      <vt:lpstr>R07检出未关闭问题分析</vt:lpstr>
      <vt:lpstr>R07版本发版建议</vt:lpstr>
      <vt:lpstr>BACK 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ng, Jiacen (J.)</dc:creator>
  <cp:lastModifiedBy>ts</cp:lastModifiedBy>
  <cp:revision>385</cp:revision>
  <dcterms:created xsi:type="dcterms:W3CDTF">2021-07-28T03:33:56Z</dcterms:created>
  <dcterms:modified xsi:type="dcterms:W3CDTF">2023-02-03T06:20:52Z</dcterms:modified>
</cp:coreProperties>
</file>